
<file path=[Content_Types].xml><?xml version="1.0" encoding="utf-8"?>
<Types xmlns="http://schemas.openxmlformats.org/package/2006/content-types">
  <Default ContentType="application/vnd.openxmlformats-officedocument.oleObject" Extension="bin"/>
  <Default ContentType="image/x-emf" Extension="emf"/>
  <Default ContentType="application/x-fontdata" Extension="fntdata"/>
  <Default ContentType="image/jpeg" Extension="jpeg"/>
  <Default ContentType="image/png" Extension="png"/>
  <Default ContentType="application/vnd.openxmlformats-package.relationships+xml" Extension="rels"/>
  <Default ContentType="image/svg+xml" Extension="svg"/>
  <Default ContentType="application/vnd.openxmlformats-officedocument.vmlDrawing" Extension="vml"/>
  <Default ContentType="application/vnd.ms-visio.drawing" Extension="vsdx"/>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customXmlProperties+xml" PartName="/customXml/itemProps4.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notesSlide+xml" PartName="/ppt/notesSlides/notesSlide72.xml"/>
  <Override ContentType="application/vnd.openxmlformats-officedocument.presentationml.notesSlide+xml" PartName="/ppt/notesSlides/notesSlide73.xml"/>
  <Override ContentType="application/vnd.openxmlformats-officedocument.presentationml.notesSlide+xml" PartName="/ppt/notesSlides/notesSlide74.xml"/>
  <Override ContentType="application/vnd.openxmlformats-officedocument.presentationml.notesSlide+xml" PartName="/ppt/notesSlides/notesSlide75.xml"/>
  <Override ContentType="application/vnd.openxmlformats-officedocument.presentationml.notesSlide+xml" PartName="/ppt/notesSlides/notesSlide76.xml"/>
  <Override ContentType="application/vnd.openxmlformats-officedocument.presentationml.notesSlide+xml" PartName="/ppt/notesSlides/notesSlide77.xml"/>
  <Override ContentType="application/vnd.openxmlformats-officedocument.presentationml.notesSlide+xml" PartName="/ppt/notesSlides/notesSlide78.xml"/>
  <Override ContentType="application/vnd.openxmlformats-officedocument.presentationml.notesSlide+xml" PartName="/ppt/notesSlides/notesSlide79.xml"/>
  <Override ContentType="application/vnd.openxmlformats-officedocument.presentationml.notesSlide+xml" PartName="/ppt/notesSlides/notesSlide80.xml"/>
  <Override ContentType="application/vnd.openxmlformats-officedocument.presentationml.notesSlide+xml" PartName="/ppt/notesSlides/notesSlide81.xml"/>
  <Override ContentType="application/vnd.openxmlformats-officedocument.presentationml.notesSlide+xml" PartName="/ppt/notesSlides/notesSlide82.xml"/>
  <Override ContentType="application/vnd.openxmlformats-officedocument.presentationml.notesSlide+xml" PartName="/ppt/notesSlides/notesSlide83.xml"/>
  <Override ContentType="application/vnd.openxmlformats-officedocument.presentationml.notesSlide+xml" PartName="/ppt/notesSlides/notesSlide84.xml"/>
  <Override ContentType="application/vnd.openxmlformats-officedocument.presentationml.notesSlide+xml" PartName="/ppt/notesSlides/notesSlide85.xml"/>
  <Override ContentType="application/vnd.openxmlformats-officedocument.presentationml.notesSlide+xml" PartName="/ppt/notesSlides/notesSlide86.xml"/>
  <Override ContentType="application/vnd.openxmlformats-officedocument.presentationml.notesSlide+xml" PartName="/ppt/notesSlides/notesSlide87.xml"/>
  <Override ContentType="application/vnd.openxmlformats-officedocument.presentationml.notesSlide+xml" PartName="/ppt/notesSlides/notesSlide88.xml"/>
  <Override ContentType="application/vnd.openxmlformats-officedocument.presentationml.notesSlide+xml" PartName="/ppt/notesSlides/notesSlide89.xml"/>
  <Override ContentType="application/vnd.openxmlformats-officedocument.presentationml.notesSlide+xml" PartName="/ppt/notesSlides/notesSlide90.xml"/>
  <Override ContentType="application/vnd.openxmlformats-officedocument.presentationml.notesSlide+xml" PartName="/ppt/notesSlides/notesSlide91.xml"/>
  <Override ContentType="application/vnd.openxmlformats-officedocument.presentationml.notesSlide+xml" PartName="/ppt/notesSlides/notesSlide92.xml"/>
  <Override ContentType="application/vnd.openxmlformats-officedocument.presentationml.notesSlide+xml" PartName="/ppt/notesSlides/notesSlide93.xml"/>
  <Override ContentType="application/vnd.openxmlformats-officedocument.presentationml.notesSlide+xml" PartName="/ppt/notesSlides/notesSlide94.xml"/>
  <Override ContentType="application/vnd.openxmlformats-officedocument.presentationml.notesSlide+xml" PartName="/ppt/notesSlides/notesSlide95.xml"/>
  <Override ContentType="application/vnd.openxmlformats-officedocument.presentationml.notesSlide+xml" PartName="/ppt/notesSlides/notesSlide96.xml"/>
  <Override ContentType="application/vnd.openxmlformats-officedocument.presentationml.notesSlide+xml" PartName="/ppt/notesSlides/notesSlide97.xml"/>
  <Override ContentType="application/vnd.openxmlformats-officedocument.presentationml.notesSlide+xml" PartName="/ppt/notesSlides/notesSlide98.xml"/>
  <Override ContentType="application/vnd.openxmlformats-officedocument.presentationml.notesSlide+xml" PartName="/ppt/notesSlides/notesSlide99.xml"/>
  <Override ContentType="application/vnd.openxmlformats-officedocument.presentationml.notesSlide+xml" PartName="/ppt/notesSlides/notesSlide100.xml"/>
  <Override ContentType="application/vnd.openxmlformats-officedocument.presentationml.notesSlide+xml" PartName="/ppt/notesSlides/notesSlide101.xml"/>
  <Override ContentType="application/vnd.openxmlformats-officedocument.presentationml.notesSlide+xml" PartName="/ppt/notesSlides/notesSlide102.xml"/>
  <Override ContentType="application/vnd.openxmlformats-officedocument.presentationml.notesSlide+xml" PartName="/ppt/notesSlides/notesSlide103.xml"/>
  <Override ContentType="application/vnd.openxmlformats-officedocument.presentationml.notesSlide+xml" PartName="/ppt/notesSlides/notesSlide104.xml"/>
  <Override ContentType="application/vnd.openxmlformats-officedocument.presentationml.notesSlide+xml" PartName="/ppt/notesSlides/notesSlide105.xml"/>
  <Override ContentType="application/vnd.openxmlformats-officedocument.presentationml.notesSlide+xml" PartName="/ppt/notesSlides/notesSlide106.xml"/>
  <Override ContentType="application/vnd.openxmlformats-officedocument.presentationml.notesSlide+xml" PartName="/ppt/notesSlides/notesSlide107.xml"/>
  <Override ContentType="application/vnd.openxmlformats-officedocument.presentationml.notesSlide+xml" PartName="/ppt/notesSlides/notesSlide108.xml"/>
  <Override ContentType="application/vnd.openxmlformats-officedocument.presentationml.notesSlide+xml" PartName="/ppt/notesSlides/notesSlide109.xml"/>
  <Override ContentType="application/vnd.openxmlformats-officedocument.presentationml.notesSlide+xml" PartName="/ppt/notesSlides/notesSlide110.xml"/>
  <Override ContentType="application/vnd.openxmlformats-officedocument.presentationml.notesSlide+xml" PartName="/ppt/notesSlides/notesSlide111.xml"/>
  <Override ContentType="application/vnd.openxmlformats-officedocument.presentationml.notesSlide+xml" PartName="/ppt/notesSlides/notesSlide112.xml"/>
  <Override ContentType="application/vnd.openxmlformats-officedocument.presentationml.notesSlide+xml" PartName="/ppt/notesSlides/notesSlide113.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slide+xml" PartName="/ppt/slides/slide90.xml"/>
  <Override ContentType="application/vnd.openxmlformats-officedocument.presentationml.slide+xml" PartName="/ppt/slides/slide91.xml"/>
  <Override ContentType="application/vnd.openxmlformats-officedocument.presentationml.slide+xml" PartName="/ppt/slides/slide92.xml"/>
  <Override ContentType="application/vnd.openxmlformats-officedocument.presentationml.slide+xml" PartName="/ppt/slides/slide93.xml"/>
  <Override ContentType="application/vnd.openxmlformats-officedocument.presentationml.slide+xml" PartName="/ppt/slides/slide94.xml"/>
  <Override ContentType="application/vnd.openxmlformats-officedocument.presentationml.slide+xml" PartName="/ppt/slides/slide95.xml"/>
  <Override ContentType="application/vnd.openxmlformats-officedocument.presentationml.slide+xml" PartName="/ppt/slides/slide96.xml"/>
  <Override ContentType="application/vnd.openxmlformats-officedocument.presentationml.slide+xml" PartName="/ppt/slides/slide97.xml"/>
  <Override ContentType="application/vnd.openxmlformats-officedocument.presentationml.slide+xml" PartName="/ppt/slides/slide98.xml"/>
  <Override ContentType="application/vnd.openxmlformats-officedocument.presentationml.slide+xml" PartName="/ppt/slides/slide99.xml"/>
  <Override ContentType="application/vnd.openxmlformats-officedocument.presentationml.slide+xml" PartName="/ppt/slides/slide100.xml"/>
  <Override ContentType="application/vnd.openxmlformats-officedocument.presentationml.slide+xml" PartName="/ppt/slides/slide101.xml"/>
  <Override ContentType="application/vnd.openxmlformats-officedocument.presentationml.slide+xml" PartName="/ppt/slides/slide102.xml"/>
  <Override ContentType="application/vnd.openxmlformats-officedocument.presentationml.slide+xml" PartName="/ppt/slides/slide103.xml"/>
  <Override ContentType="application/vnd.openxmlformats-officedocument.presentationml.slide+xml" PartName="/ppt/slides/slide104.xml"/>
  <Override ContentType="application/vnd.openxmlformats-officedocument.presentationml.slide+xml" PartName="/ppt/slides/slide105.xml"/>
  <Override ContentType="application/vnd.openxmlformats-officedocument.presentationml.slide+xml" PartName="/ppt/slides/slide106.xml"/>
  <Override ContentType="application/vnd.openxmlformats-officedocument.presentationml.slide+xml" PartName="/ppt/slides/slide107.xml"/>
  <Override ContentType="application/vnd.openxmlformats-officedocument.presentationml.slide+xml" PartName="/ppt/slides/slide108.xml"/>
  <Override ContentType="application/vnd.openxmlformats-officedocument.presentationml.slide+xml" PartName="/ppt/slides/slide109.xml"/>
  <Override ContentType="application/vnd.openxmlformats-officedocument.presentationml.slide+xml" PartName="/ppt/slides/slide110.xml"/>
  <Override ContentType="application/vnd.openxmlformats-officedocument.presentationml.slide+xml" PartName="/ppt/slides/slide111.xml"/>
  <Override ContentType="application/vnd.openxmlformats-officedocument.presentationml.slide+xml" PartName="/ppt/slides/slide112.xml"/>
  <Override ContentType="application/vnd.openxmlformats-officedocument.presentationml.slide+xml" PartName="/ppt/slides/slide113.xml"/>
  <Override ContentType="application/vnd.openxmlformats-officedocument.presentationml.slide+xml" PartName="/ppt/slides/slide114.xml"/>
  <Override ContentType="application/vnd.openxmlformats-officedocument.presentationml.slide+xml" PartName="/ppt/slides/slide115.xml"/>
  <Override ContentType="application/vnd.openxmlformats-officedocument.presentationml.slide+xml" PartName="/ppt/slides/slide11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10" r:id="rId5"/>
    <p:sldMasterId id="2147483956" r:id="rId6"/>
    <p:sldMasterId id="2147484033" r:id="rId7"/>
    <p:sldMasterId id="2147484072" r:id="rId8"/>
  </p:sldMasterIdLst>
  <p:notesMasterIdLst>
    <p:notesMasterId r:id="rId125"/>
  </p:notesMasterIdLst>
  <p:handoutMasterIdLst>
    <p:handoutMasterId r:id="rId126"/>
  </p:handoutMasterIdLst>
  <p:sldIdLst>
    <p:sldId id="636" r:id="rId9"/>
    <p:sldId id="456" r:id="rId10"/>
    <p:sldId id="416" r:id="rId11"/>
    <p:sldId id="494" r:id="rId12"/>
    <p:sldId id="495" r:id="rId13"/>
    <p:sldId id="2134806076" r:id="rId14"/>
    <p:sldId id="557" r:id="rId15"/>
    <p:sldId id="511" r:id="rId16"/>
    <p:sldId id="633" r:id="rId17"/>
    <p:sldId id="15000" r:id="rId18"/>
    <p:sldId id="15001" r:id="rId19"/>
    <p:sldId id="15002" r:id="rId20"/>
    <p:sldId id="15003" r:id="rId21"/>
    <p:sldId id="2076136770" r:id="rId22"/>
    <p:sldId id="1448941988" r:id="rId23"/>
    <p:sldId id="422" r:id="rId24"/>
    <p:sldId id="2134806077" r:id="rId25"/>
    <p:sldId id="5093" r:id="rId26"/>
    <p:sldId id="14989" r:id="rId27"/>
    <p:sldId id="1434" r:id="rId28"/>
    <p:sldId id="15010" r:id="rId29"/>
    <p:sldId id="1444" r:id="rId30"/>
    <p:sldId id="14606" r:id="rId31"/>
    <p:sldId id="2076136768" r:id="rId32"/>
    <p:sldId id="1420" r:id="rId33"/>
    <p:sldId id="1436" r:id="rId34"/>
    <p:sldId id="2134806078" r:id="rId35"/>
    <p:sldId id="333" r:id="rId36"/>
    <p:sldId id="637" r:id="rId37"/>
    <p:sldId id="346" r:id="rId38"/>
    <p:sldId id="14492" r:id="rId39"/>
    <p:sldId id="605" r:id="rId40"/>
    <p:sldId id="5179" r:id="rId41"/>
    <p:sldId id="14852" r:id="rId42"/>
    <p:sldId id="14853" r:id="rId43"/>
    <p:sldId id="14854" r:id="rId44"/>
    <p:sldId id="14855" r:id="rId45"/>
    <p:sldId id="15004" r:id="rId46"/>
    <p:sldId id="14848" r:id="rId47"/>
    <p:sldId id="14999" r:id="rId48"/>
    <p:sldId id="2134806079" r:id="rId49"/>
    <p:sldId id="431" r:id="rId50"/>
    <p:sldId id="577" r:id="rId51"/>
    <p:sldId id="14846" r:id="rId52"/>
    <p:sldId id="14672" r:id="rId53"/>
    <p:sldId id="14585" r:id="rId54"/>
    <p:sldId id="5211" r:id="rId55"/>
    <p:sldId id="5195" r:id="rId56"/>
    <p:sldId id="613" r:id="rId57"/>
    <p:sldId id="15009" r:id="rId58"/>
    <p:sldId id="734" r:id="rId59"/>
    <p:sldId id="736" r:id="rId60"/>
    <p:sldId id="322" r:id="rId61"/>
    <p:sldId id="294" r:id="rId62"/>
    <p:sldId id="491" r:id="rId63"/>
    <p:sldId id="257" r:id="rId64"/>
    <p:sldId id="1044" r:id="rId65"/>
    <p:sldId id="504" r:id="rId66"/>
    <p:sldId id="474" r:id="rId67"/>
    <p:sldId id="552" r:id="rId68"/>
    <p:sldId id="616" r:id="rId69"/>
    <p:sldId id="278" r:id="rId70"/>
    <p:sldId id="618" r:id="rId71"/>
    <p:sldId id="619" r:id="rId72"/>
    <p:sldId id="15007" r:id="rId73"/>
    <p:sldId id="2076136769" r:id="rId74"/>
    <p:sldId id="524" r:id="rId75"/>
    <p:sldId id="15005" r:id="rId76"/>
    <p:sldId id="632" r:id="rId77"/>
    <p:sldId id="14849" r:id="rId78"/>
    <p:sldId id="14376" r:id="rId79"/>
    <p:sldId id="1343" r:id="rId80"/>
    <p:sldId id="14851" r:id="rId81"/>
    <p:sldId id="1352" r:id="rId82"/>
    <p:sldId id="14850" r:id="rId83"/>
    <p:sldId id="3197" r:id="rId84"/>
    <p:sldId id="3196" r:id="rId85"/>
    <p:sldId id="14952" r:id="rId86"/>
    <p:sldId id="14506" r:id="rId87"/>
    <p:sldId id="14953" r:id="rId88"/>
    <p:sldId id="14954" r:id="rId89"/>
    <p:sldId id="14955" r:id="rId90"/>
    <p:sldId id="282" r:id="rId91"/>
    <p:sldId id="4902" r:id="rId92"/>
    <p:sldId id="1448942856" r:id="rId93"/>
    <p:sldId id="14912" r:id="rId94"/>
    <p:sldId id="2134806075" r:id="rId95"/>
    <p:sldId id="348" r:id="rId96"/>
    <p:sldId id="289" r:id="rId97"/>
    <p:sldId id="2134806080" r:id="rId98"/>
    <p:sldId id="1464" r:id="rId99"/>
    <p:sldId id="5400" r:id="rId100"/>
    <p:sldId id="14610" r:id="rId101"/>
    <p:sldId id="5401" r:id="rId102"/>
    <p:sldId id="5118" r:id="rId103"/>
    <p:sldId id="5402" r:id="rId104"/>
    <p:sldId id="14470" r:id="rId105"/>
    <p:sldId id="4135" r:id="rId106"/>
    <p:sldId id="4141" r:id="rId107"/>
    <p:sldId id="4142" r:id="rId108"/>
    <p:sldId id="14395" r:id="rId109"/>
    <p:sldId id="1054" r:id="rId110"/>
    <p:sldId id="272" r:id="rId111"/>
    <p:sldId id="2768" r:id="rId112"/>
    <p:sldId id="2641" r:id="rId113"/>
    <p:sldId id="2134806081" r:id="rId114"/>
    <p:sldId id="5390" r:id="rId115"/>
    <p:sldId id="5412" r:id="rId116"/>
    <p:sldId id="527" r:id="rId117"/>
    <p:sldId id="560" r:id="rId118"/>
    <p:sldId id="610" r:id="rId119"/>
    <p:sldId id="611" r:id="rId120"/>
    <p:sldId id="612" r:id="rId121"/>
    <p:sldId id="640" r:id="rId122"/>
    <p:sldId id="641" r:id="rId123"/>
    <p:sldId id="639" r:id="rId124"/>
  </p:sldIdLst>
  <p:sldSz cx="12192000" cy="6858000"/>
  <p:notesSz cx="6797675" cy="9926638"/>
  <p:embeddedFontLst>
    <p:embeddedFont>
      <p:font typeface="Calibri" panose="020F0502020204030204" pitchFamily="34" charset="0"/>
      <p:regular r:id="rId127"/>
      <p:bold r:id="rId128"/>
      <p:italic r:id="rId129"/>
      <p:boldItalic r:id="rId130"/>
    </p:embeddedFont>
    <p:embeddedFont>
      <p:font typeface="Ericsson Capital TT" panose="02000503000000020004" pitchFamily="2" charset="0"/>
      <p:regular r:id="rId131"/>
    </p:embeddedFont>
    <p:embeddedFont>
      <p:font typeface="Ericsson Hilda" panose="00000500000000000000" pitchFamily="2" charset="0"/>
      <p:regular r:id="rId132"/>
      <p:bold r:id="rId133"/>
      <p:italic r:id="rId134"/>
      <p:boldItalic r:id="rId135"/>
    </p:embeddedFont>
    <p:embeddedFont>
      <p:font typeface="Ericsson Hilda Light" panose="00000400000000000000" pitchFamily="2" charset="0"/>
      <p:regular r:id="rId136"/>
      <p:bold r:id="rId137"/>
      <p:italic r:id="rId138"/>
    </p:embeddedFont>
    <p:embeddedFont>
      <p:font typeface="Ericsson Hilda Regular" panose="00000500000000000000" pitchFamily="2" charset="0"/>
      <p:regular r:id="rId139"/>
    </p:embeddedFont>
    <p:embeddedFont>
      <p:font typeface="Ericsson Technical Icons" panose="00000500000000000000" pitchFamily="2" charset="0"/>
      <p:regular r:id="rId140"/>
    </p:embeddedFont>
    <p:embeddedFont>
      <p:font typeface="Lucida Grande" panose="020B0604020202020204" charset="0"/>
      <p:regular r:id="rId141"/>
      <p:bold r:id="rId142"/>
      <p:italic r:id="rId143"/>
    </p:embeddedFont>
    <p:embeddedFont>
      <p:font typeface="MS Shell Dlg 2" panose="020B0604030504040204" pitchFamily="34" charset="0"/>
      <p:regular r:id="rId144"/>
      <p:bold r:id="rId145"/>
    </p:embeddedFont>
    <p:embeddedFont>
      <p:font typeface="Segoe UI" panose="020B0502040204020203" pitchFamily="34" charset="0"/>
      <p:regular r:id="rId146"/>
      <p:bold r:id="rId147"/>
      <p:italic r:id="rId148"/>
      <p:boldItalic r:id="rId149"/>
    </p:embeddedFont>
  </p:embeddedFontLst>
  <p:defaultTex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9386CF36-BFA9-4BB0-91B9-1B19D4CB6FFA}">
          <p14:sldIdLst>
            <p14:sldId id="636"/>
            <p14:sldId id="456"/>
            <p14:sldId id="416"/>
            <p14:sldId id="494"/>
            <p14:sldId id="495"/>
            <p14:sldId id="2134806076"/>
            <p14:sldId id="557"/>
            <p14:sldId id="511"/>
            <p14:sldId id="633"/>
            <p14:sldId id="15000"/>
            <p14:sldId id="15001"/>
            <p14:sldId id="15002"/>
            <p14:sldId id="15003"/>
            <p14:sldId id="2076136770"/>
            <p14:sldId id="1448941988"/>
            <p14:sldId id="422"/>
            <p14:sldId id="2134806077"/>
            <p14:sldId id="5093"/>
            <p14:sldId id="14989"/>
            <p14:sldId id="1434"/>
            <p14:sldId id="15010"/>
            <p14:sldId id="1444"/>
            <p14:sldId id="14606"/>
            <p14:sldId id="2076136768"/>
            <p14:sldId id="1420"/>
            <p14:sldId id="1436"/>
            <p14:sldId id="2134806078"/>
            <p14:sldId id="333"/>
            <p14:sldId id="637"/>
            <p14:sldId id="346"/>
            <p14:sldId id="14492"/>
            <p14:sldId id="605"/>
            <p14:sldId id="5179"/>
            <p14:sldId id="14852"/>
            <p14:sldId id="14853"/>
            <p14:sldId id="14854"/>
            <p14:sldId id="14855"/>
            <p14:sldId id="15004"/>
            <p14:sldId id="14848"/>
            <p14:sldId id="14999"/>
            <p14:sldId id="2134806079"/>
            <p14:sldId id="431"/>
            <p14:sldId id="577"/>
            <p14:sldId id="14846"/>
            <p14:sldId id="14672"/>
            <p14:sldId id="14585"/>
            <p14:sldId id="5211"/>
            <p14:sldId id="5195"/>
            <p14:sldId id="613"/>
            <p14:sldId id="15009"/>
            <p14:sldId id="734"/>
            <p14:sldId id="736"/>
            <p14:sldId id="322"/>
            <p14:sldId id="294"/>
            <p14:sldId id="491"/>
            <p14:sldId id="257"/>
            <p14:sldId id="1044"/>
            <p14:sldId id="504"/>
            <p14:sldId id="474"/>
            <p14:sldId id="552"/>
            <p14:sldId id="616"/>
            <p14:sldId id="278"/>
            <p14:sldId id="618"/>
            <p14:sldId id="619"/>
            <p14:sldId id="15007"/>
            <p14:sldId id="2076136769"/>
            <p14:sldId id="524"/>
            <p14:sldId id="15005"/>
            <p14:sldId id="632"/>
            <p14:sldId id="14849"/>
            <p14:sldId id="14376"/>
            <p14:sldId id="1343"/>
            <p14:sldId id="14851"/>
            <p14:sldId id="1352"/>
            <p14:sldId id="14850"/>
            <p14:sldId id="3197"/>
            <p14:sldId id="3196"/>
            <p14:sldId id="14952"/>
            <p14:sldId id="14506"/>
            <p14:sldId id="14953"/>
            <p14:sldId id="14954"/>
            <p14:sldId id="14955"/>
            <p14:sldId id="282"/>
            <p14:sldId id="4902"/>
            <p14:sldId id="1448942856"/>
            <p14:sldId id="14912"/>
            <p14:sldId id="2134806075"/>
            <p14:sldId id="348"/>
            <p14:sldId id="289"/>
            <p14:sldId id="2134806080"/>
            <p14:sldId id="1464"/>
            <p14:sldId id="5400"/>
            <p14:sldId id="14610"/>
            <p14:sldId id="5401"/>
            <p14:sldId id="5118"/>
            <p14:sldId id="5402"/>
            <p14:sldId id="14470"/>
            <p14:sldId id="4135"/>
            <p14:sldId id="4141"/>
            <p14:sldId id="4142"/>
            <p14:sldId id="14395"/>
            <p14:sldId id="1054"/>
            <p14:sldId id="272"/>
            <p14:sldId id="2768"/>
            <p14:sldId id="2641"/>
            <p14:sldId id="2134806081"/>
            <p14:sldId id="5390"/>
            <p14:sldId id="5412"/>
            <p14:sldId id="527"/>
            <p14:sldId id="560"/>
            <p14:sldId id="610"/>
            <p14:sldId id="611"/>
            <p14:sldId id="612"/>
            <p14:sldId id="640"/>
            <p14:sldId id="641"/>
            <p14:sldId id="639"/>
          </p14:sldIdLst>
        </p14:section>
      </p14:sectionLst>
    </p:ext>
    <p:ext uri="{EFAFB233-063F-42B5-8137-9DF3F51BA10A}">
      <p15:sldGuideLst xmlns:p15="http://schemas.microsoft.com/office/powerpoint/2012/main">
        <p15:guide id="1" orient="horz" pos="1136">
          <p15:clr>
            <a:srgbClr val="A4A3A4"/>
          </p15:clr>
        </p15:guide>
        <p15:guide id="2" orient="horz" pos="4110">
          <p15:clr>
            <a:srgbClr val="A4A3A4"/>
          </p15:clr>
        </p15:guide>
        <p15:guide id="3" orient="horz" pos="151">
          <p15:clr>
            <a:srgbClr val="A4A3A4"/>
          </p15:clr>
        </p15:guide>
        <p15:guide id="4" orient="horz" pos="2449">
          <p15:clr>
            <a:srgbClr val="A4A3A4"/>
          </p15:clr>
        </p15:guide>
        <p15:guide id="5" orient="horz" pos="3566">
          <p15:clr>
            <a:srgbClr val="A4A3A4"/>
          </p15:clr>
        </p15:guide>
        <p15:guide id="6" orient="horz" pos="2545">
          <p15:clr>
            <a:srgbClr val="A4A3A4"/>
          </p15:clr>
        </p15:guide>
        <p15:guide id="7" orient="horz" pos="3845">
          <p15:clr>
            <a:srgbClr val="A4A3A4"/>
          </p15:clr>
        </p15:guide>
        <p15:guide id="8" pos="6625">
          <p15:clr>
            <a:srgbClr val="A4A3A4"/>
          </p15:clr>
        </p15:guide>
        <p15:guide id="9" pos="2588">
          <p15:clr>
            <a:srgbClr val="A4A3A4"/>
          </p15:clr>
        </p15:guide>
        <p15:guide id="10" pos="5091">
          <p15:clr>
            <a:srgbClr val="A4A3A4"/>
          </p15:clr>
        </p15:guide>
        <p15:guide id="11" pos="4969">
          <p15:clr>
            <a:srgbClr val="A4A3A4"/>
          </p15:clr>
        </p15:guide>
        <p15:guide id="12" pos="3779">
          <p15:clr>
            <a:srgbClr val="A4A3A4"/>
          </p15:clr>
        </p15:guide>
        <p15:guide id="13" pos="3901">
          <p15:clr>
            <a:srgbClr val="A4A3A4"/>
          </p15:clr>
        </p15:guide>
        <p15:guide id="14" pos="331">
          <p15:clr>
            <a:srgbClr val="A4A3A4"/>
          </p15:clr>
        </p15:guide>
        <p15:guide id="15" pos="2712">
          <p15:clr>
            <a:srgbClr val="A4A3A4"/>
          </p15:clr>
        </p15:guide>
        <p15:guide id="16" pos="3839">
          <p15:clr>
            <a:srgbClr val="A4A3A4"/>
          </p15:clr>
        </p15:guide>
        <p15:guide id="17" pos="3568">
          <p15:clr>
            <a:srgbClr val="A4A3A4"/>
          </p15:clr>
        </p15:guide>
        <p15:guide id="18" pos="4112">
          <p15:clr>
            <a:srgbClr val="A4A3A4"/>
          </p15:clr>
        </p15:guide>
        <p15:guide id="19" pos="7348">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alf Keller" initials="RK [2]" lastIdx="19" clrIdx="6">
    <p:extLst>
      <p:ext uri="{19B8F6BF-5375-455C-9EA6-DF929625EA0E}">
        <p15:presenceInfo xmlns:p15="http://schemas.microsoft.com/office/powerpoint/2012/main" userId="S::ralf.keller@ericsson.com::ecac0821-0032-4c65-b83d-d57a5c70e2e6" providerId="AD"/>
      </p:ext>
    </p:extLst>
  </p:cmAuthor>
  <p:cmAuthor id="1" name="Ericsson1" initials="RG" lastIdx="1" clrIdx="0">
    <p:extLst>
      <p:ext uri="{19B8F6BF-5375-455C-9EA6-DF929625EA0E}">
        <p15:presenceInfo xmlns:p15="http://schemas.microsoft.com/office/powerpoint/2012/main" userId="Ericsson1" providerId="None"/>
      </p:ext>
    </p:extLst>
  </p:cmAuthor>
  <p:cmAuthor id="8" name="Ericsson User" initials="EU" lastIdx="6" clrIdx="7">
    <p:extLst>
      <p:ext uri="{19B8F6BF-5375-455C-9EA6-DF929625EA0E}">
        <p15:presenceInfo xmlns:p15="http://schemas.microsoft.com/office/powerpoint/2012/main" userId="Ericsson User" providerId="None"/>
      </p:ext>
    </p:extLst>
  </p:cmAuthor>
  <p:cmAuthor id="2" name="David Castellanos" initials="DC" lastIdx="3" clrIdx="1">
    <p:extLst>
      <p:ext uri="{19B8F6BF-5375-455C-9EA6-DF929625EA0E}">
        <p15:presenceInfo xmlns:p15="http://schemas.microsoft.com/office/powerpoint/2012/main" userId="S-1-5-21-1538607324-3213881460-940295383-471641" providerId="AD"/>
      </p:ext>
    </p:extLst>
  </p:cmAuthor>
  <p:cmAuthor id="9" name="Göran Hall" initials="GH [2]" lastIdx="14" clrIdx="8">
    <p:extLst>
      <p:ext uri="{19B8F6BF-5375-455C-9EA6-DF929625EA0E}">
        <p15:presenceInfo xmlns:p15="http://schemas.microsoft.com/office/powerpoint/2012/main" userId="S::goran.hall@ericsson.com::4d071ab4-e79c-490f-93a9-f71927649e61" providerId="AD"/>
      </p:ext>
    </p:extLst>
  </p:cmAuthor>
  <p:cmAuthor id="3" name="Ralf Keller" initials="RK" lastIdx="21" clrIdx="2">
    <p:extLst>
      <p:ext uri="{19B8F6BF-5375-455C-9EA6-DF929625EA0E}">
        <p15:presenceInfo xmlns:p15="http://schemas.microsoft.com/office/powerpoint/2012/main" userId="S-1-5-21-1538607324-3213881460-940295383-356539" providerId="AD"/>
      </p:ext>
    </p:extLst>
  </p:cmAuthor>
  <p:cmAuthor id="10" name="Torbjorn Cagenius" initials="TC [2]" lastIdx="6" clrIdx="9">
    <p:extLst>
      <p:ext uri="{19B8F6BF-5375-455C-9EA6-DF929625EA0E}">
        <p15:presenceInfo xmlns:p15="http://schemas.microsoft.com/office/powerpoint/2012/main" userId="S::torbjorn.cagenius@ericsson.com::9de97db1-1ab7-4ae7-be7d-09d6dab08846" providerId="AD"/>
      </p:ext>
    </p:extLst>
  </p:cmAuthor>
  <p:cmAuthor id="4" name="Aldo" initials="EMWALBO" lastIdx="1" clrIdx="3">
    <p:extLst>
      <p:ext uri="{19B8F6BF-5375-455C-9EA6-DF929625EA0E}">
        <p15:presenceInfo xmlns:p15="http://schemas.microsoft.com/office/powerpoint/2012/main" userId="Aldo" providerId="None"/>
      </p:ext>
    </p:extLst>
  </p:cmAuthor>
  <p:cmAuthor id="5" name="Göran Hall" initials="GH" lastIdx="7" clrIdx="4">
    <p:extLst>
      <p:ext uri="{19B8F6BF-5375-455C-9EA6-DF929625EA0E}">
        <p15:presenceInfo xmlns:p15="http://schemas.microsoft.com/office/powerpoint/2012/main" userId="S-1-5-21-1538607324-3213881460-940295383-441409" providerId="AD"/>
      </p:ext>
    </p:extLst>
  </p:cmAuthor>
  <p:cmAuthor id="6" name="Torbjorn Cagenius" initials="TC" lastIdx="3" clrIdx="5">
    <p:extLst>
      <p:ext uri="{19B8F6BF-5375-455C-9EA6-DF929625EA0E}">
        <p15:presenceInfo xmlns:p15="http://schemas.microsoft.com/office/powerpoint/2012/main" userId="S-1-5-21-1538607324-3213881460-940295383-202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B00"/>
    <a:srgbClr val="8F3F7B"/>
    <a:srgbClr val="9FB7D3"/>
    <a:srgbClr val="8BC5FF"/>
    <a:srgbClr val="99CCFF"/>
    <a:srgbClr val="6A8FBF"/>
    <a:srgbClr val="00A9D4"/>
    <a:srgbClr val="007B78"/>
    <a:srgbClr val="89BA17"/>
    <a:srgbClr val="F08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33BF58-8E0A-414D-9311-240C5A9F1CB4}" v="104" dt="2020-09-28T12:56:12.3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511" autoAdjust="0"/>
  </p:normalViewPr>
  <p:slideViewPr>
    <p:cSldViewPr snapToGrid="0">
      <p:cViewPr varScale="1">
        <p:scale>
          <a:sx n="91" d="100"/>
          <a:sy n="91" d="100"/>
        </p:scale>
        <p:origin x="492" y="78"/>
      </p:cViewPr>
      <p:guideLst>
        <p:guide orient="horz" pos="1136"/>
        <p:guide orient="horz" pos="4110"/>
        <p:guide orient="horz" pos="151"/>
        <p:guide orient="horz" pos="2449"/>
        <p:guide orient="horz" pos="3566"/>
        <p:guide orient="horz" pos="2545"/>
        <p:guide orient="horz" pos="3845"/>
        <p:guide pos="6625"/>
        <p:guide pos="2588"/>
        <p:guide pos="5091"/>
        <p:guide pos="4969"/>
        <p:guide pos="3779"/>
        <p:guide pos="3901"/>
        <p:guide pos="331"/>
        <p:guide pos="2712"/>
        <p:guide pos="3839"/>
        <p:guide pos="3568"/>
        <p:guide pos="4112"/>
        <p:guide pos="734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26"/>
        <p:guide pos="2141"/>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2.xml" Type="http://schemas.openxmlformats.org/officeDocument/2006/relationships/slide"/><Relationship Id="rId100" Target="slides/slide92.xml" Type="http://schemas.openxmlformats.org/officeDocument/2006/relationships/slide"/><Relationship Id="rId101" Target="slides/slide93.xml" Type="http://schemas.openxmlformats.org/officeDocument/2006/relationships/slide"/><Relationship Id="rId102" Target="slides/slide94.xml" Type="http://schemas.openxmlformats.org/officeDocument/2006/relationships/slide"/><Relationship Id="rId103" Target="slides/slide95.xml" Type="http://schemas.openxmlformats.org/officeDocument/2006/relationships/slide"/><Relationship Id="rId104" Target="slides/slide96.xml" Type="http://schemas.openxmlformats.org/officeDocument/2006/relationships/slide"/><Relationship Id="rId105" Target="slides/slide97.xml" Type="http://schemas.openxmlformats.org/officeDocument/2006/relationships/slide"/><Relationship Id="rId106" Target="slides/slide98.xml" Type="http://schemas.openxmlformats.org/officeDocument/2006/relationships/slide"/><Relationship Id="rId107" Target="slides/slide99.xml" Type="http://schemas.openxmlformats.org/officeDocument/2006/relationships/slide"/><Relationship Id="rId108" Target="slides/slide100.xml" Type="http://schemas.openxmlformats.org/officeDocument/2006/relationships/slide"/><Relationship Id="rId109" Target="slides/slide101.xml" Type="http://schemas.openxmlformats.org/officeDocument/2006/relationships/slide"/><Relationship Id="rId11" Target="slides/slide3.xml" Type="http://schemas.openxmlformats.org/officeDocument/2006/relationships/slide"/><Relationship Id="rId110" Target="slides/slide102.xml" Type="http://schemas.openxmlformats.org/officeDocument/2006/relationships/slide"/><Relationship Id="rId111" Target="slides/slide103.xml" Type="http://schemas.openxmlformats.org/officeDocument/2006/relationships/slide"/><Relationship Id="rId112" Target="slides/slide104.xml" Type="http://schemas.openxmlformats.org/officeDocument/2006/relationships/slide"/><Relationship Id="rId113" Target="slides/slide105.xml" Type="http://schemas.openxmlformats.org/officeDocument/2006/relationships/slide"/><Relationship Id="rId114" Target="slides/slide106.xml" Type="http://schemas.openxmlformats.org/officeDocument/2006/relationships/slide"/><Relationship Id="rId115" Target="slides/slide107.xml" Type="http://schemas.openxmlformats.org/officeDocument/2006/relationships/slide"/><Relationship Id="rId116" Target="slides/slide108.xml" Type="http://schemas.openxmlformats.org/officeDocument/2006/relationships/slide"/><Relationship Id="rId117" Target="slides/slide109.xml" Type="http://schemas.openxmlformats.org/officeDocument/2006/relationships/slide"/><Relationship Id="rId118" Target="slides/slide110.xml" Type="http://schemas.openxmlformats.org/officeDocument/2006/relationships/slide"/><Relationship Id="rId119" Target="slides/slide111.xml" Type="http://schemas.openxmlformats.org/officeDocument/2006/relationships/slide"/><Relationship Id="rId12" Target="slides/slide4.xml" Type="http://schemas.openxmlformats.org/officeDocument/2006/relationships/slide"/><Relationship Id="rId120" Target="slides/slide112.xml" Type="http://schemas.openxmlformats.org/officeDocument/2006/relationships/slide"/><Relationship Id="rId121" Target="slides/slide113.xml" Type="http://schemas.openxmlformats.org/officeDocument/2006/relationships/slide"/><Relationship Id="rId122" Target="slides/slide114.xml" Type="http://schemas.openxmlformats.org/officeDocument/2006/relationships/slide"/><Relationship Id="rId123" Target="slides/slide115.xml" Type="http://schemas.openxmlformats.org/officeDocument/2006/relationships/slide"/><Relationship Id="rId124" Target="slides/slide116.xml" Type="http://schemas.openxmlformats.org/officeDocument/2006/relationships/slide"/><Relationship Id="rId125" Target="notesMasters/notesMaster1.xml" Type="http://schemas.openxmlformats.org/officeDocument/2006/relationships/notesMaster"/><Relationship Id="rId126" Target="handoutMasters/handoutMaster1.xml" Type="http://schemas.openxmlformats.org/officeDocument/2006/relationships/handoutMaster"/><Relationship Id="rId127" Target="fonts/font1.fntdata" Type="http://schemas.openxmlformats.org/officeDocument/2006/relationships/font"/><Relationship Id="rId128" Target="fonts/font2.fntdata" Type="http://schemas.openxmlformats.org/officeDocument/2006/relationships/font"/><Relationship Id="rId129" Target="fonts/font3.fntdata" Type="http://schemas.openxmlformats.org/officeDocument/2006/relationships/font"/><Relationship Id="rId13" Target="slides/slide5.xml" Type="http://schemas.openxmlformats.org/officeDocument/2006/relationships/slide"/><Relationship Id="rId130" Target="fonts/font4.fntdata" Type="http://schemas.openxmlformats.org/officeDocument/2006/relationships/font"/><Relationship Id="rId131" Target="fonts/font5.fntdata" Type="http://schemas.openxmlformats.org/officeDocument/2006/relationships/font"/><Relationship Id="rId132" Target="fonts/font6.fntdata" Type="http://schemas.openxmlformats.org/officeDocument/2006/relationships/font"/><Relationship Id="rId133" Target="fonts/font7.fntdata" Type="http://schemas.openxmlformats.org/officeDocument/2006/relationships/font"/><Relationship Id="rId134" Target="fonts/font8.fntdata" Type="http://schemas.openxmlformats.org/officeDocument/2006/relationships/font"/><Relationship Id="rId135" Target="fonts/font9.fntdata" Type="http://schemas.openxmlformats.org/officeDocument/2006/relationships/font"/><Relationship Id="rId136" Target="fonts/font10.fntdata" Type="http://schemas.openxmlformats.org/officeDocument/2006/relationships/font"/><Relationship Id="rId137" Target="fonts/font11.fntdata" Type="http://schemas.openxmlformats.org/officeDocument/2006/relationships/font"/><Relationship Id="rId138" Target="fonts/font12.fntdata" Type="http://schemas.openxmlformats.org/officeDocument/2006/relationships/font"/><Relationship Id="rId139" Target="fonts/font13.fntdata" Type="http://schemas.openxmlformats.org/officeDocument/2006/relationships/font"/><Relationship Id="rId14" Target="slides/slide6.xml" Type="http://schemas.openxmlformats.org/officeDocument/2006/relationships/slide"/><Relationship Id="rId140" Target="fonts/font14.fntdata" Type="http://schemas.openxmlformats.org/officeDocument/2006/relationships/font"/><Relationship Id="rId141" Target="fonts/font15.fntdata" Type="http://schemas.openxmlformats.org/officeDocument/2006/relationships/font"/><Relationship Id="rId142" Target="fonts/font16.fntdata" Type="http://schemas.openxmlformats.org/officeDocument/2006/relationships/font"/><Relationship Id="rId143" Target="fonts/font17.fntdata" Type="http://schemas.openxmlformats.org/officeDocument/2006/relationships/font"/><Relationship Id="rId144" Target="fonts/font18.fntdata" Type="http://schemas.openxmlformats.org/officeDocument/2006/relationships/font"/><Relationship Id="rId145" Target="fonts/font19.fntdata" Type="http://schemas.openxmlformats.org/officeDocument/2006/relationships/font"/><Relationship Id="rId146" Target="fonts/font20.fntdata" Type="http://schemas.openxmlformats.org/officeDocument/2006/relationships/font"/><Relationship Id="rId147" Target="fonts/font21.fntdata" Type="http://schemas.openxmlformats.org/officeDocument/2006/relationships/font"/><Relationship Id="rId148" Target="fonts/font22.fntdata" Type="http://schemas.openxmlformats.org/officeDocument/2006/relationships/font"/><Relationship Id="rId149" Target="fonts/font23.fntdata" Type="http://schemas.openxmlformats.org/officeDocument/2006/relationships/font"/><Relationship Id="rId15" Target="slides/slide7.xml" Type="http://schemas.openxmlformats.org/officeDocument/2006/relationships/slide"/><Relationship Id="rId150" Target="commentAuthors.xml" Type="http://schemas.openxmlformats.org/officeDocument/2006/relationships/commentAuthors"/><Relationship Id="rId151" Target="presProps.xml" Type="http://schemas.openxmlformats.org/officeDocument/2006/relationships/presProps"/><Relationship Id="rId152" Target="viewProps.xml" Type="http://schemas.openxmlformats.org/officeDocument/2006/relationships/viewProps"/><Relationship Id="rId153" Target="theme/theme1.xml" Type="http://schemas.openxmlformats.org/officeDocument/2006/relationships/theme"/><Relationship Id="rId154" Target="tableStyles.xml" Type="http://schemas.openxmlformats.org/officeDocument/2006/relationships/tableStyles"/><Relationship Id="rId155" Target="revisionInfo.xml" Type="http://schemas.microsoft.com/office/2015/10/relationships/revisionInfo"/><Relationship Id="rId16" Target="slides/slide8.xml" Type="http://schemas.openxmlformats.org/officeDocument/2006/relationships/slide"/><Relationship Id="rId17" Target="slides/slide9.xml" Type="http://schemas.openxmlformats.org/officeDocument/2006/relationships/slide"/><Relationship Id="rId18" Target="slides/slide10.xml" Type="http://schemas.openxmlformats.org/officeDocument/2006/relationships/slide"/><Relationship Id="rId19" Target="slides/slide11.xml" Type="http://schemas.openxmlformats.org/officeDocument/2006/relationships/slide"/><Relationship Id="rId2" Target="../customXml/item2.xml" Type="http://schemas.openxmlformats.org/officeDocument/2006/relationships/customXml"/><Relationship Id="rId20" Target="slides/slide12.xml" Type="http://schemas.openxmlformats.org/officeDocument/2006/relationships/slide"/><Relationship Id="rId21" Target="slides/slide13.xml" Type="http://schemas.openxmlformats.org/officeDocument/2006/relationships/slide"/><Relationship Id="rId22" Target="slides/slide14.xml" Type="http://schemas.openxmlformats.org/officeDocument/2006/relationships/slide"/><Relationship Id="rId23" Target="slides/slide15.xml" Type="http://schemas.openxmlformats.org/officeDocument/2006/relationships/slide"/><Relationship Id="rId24" Target="slides/slide16.xml" Type="http://schemas.openxmlformats.org/officeDocument/2006/relationships/slide"/><Relationship Id="rId25" Target="slides/slide17.xml" Type="http://schemas.openxmlformats.org/officeDocument/2006/relationships/slide"/><Relationship Id="rId26" Target="slides/slide18.xml" Type="http://schemas.openxmlformats.org/officeDocument/2006/relationships/slide"/><Relationship Id="rId27" Target="slides/slide19.xml" Type="http://schemas.openxmlformats.org/officeDocument/2006/relationships/slide"/><Relationship Id="rId28" Target="slides/slide20.xml" Type="http://schemas.openxmlformats.org/officeDocument/2006/relationships/slide"/><Relationship Id="rId29" Target="slides/slide21.xml" Type="http://schemas.openxmlformats.org/officeDocument/2006/relationships/slide"/><Relationship Id="rId3" Target="../customXml/item3.xml" Type="http://schemas.openxmlformats.org/officeDocument/2006/relationships/customXml"/><Relationship Id="rId30" Target="slides/slide22.xml" Type="http://schemas.openxmlformats.org/officeDocument/2006/relationships/slide"/><Relationship Id="rId31" Target="slides/slide23.xml" Type="http://schemas.openxmlformats.org/officeDocument/2006/relationships/slide"/><Relationship Id="rId32" Target="slides/slide24.xml" Type="http://schemas.openxmlformats.org/officeDocument/2006/relationships/slide"/><Relationship Id="rId33" Target="slides/slide25.xml" Type="http://schemas.openxmlformats.org/officeDocument/2006/relationships/slide"/><Relationship Id="rId34" Target="slides/slide26.xml" Type="http://schemas.openxmlformats.org/officeDocument/2006/relationships/slide"/><Relationship Id="rId35" Target="slides/slide27.xml" Type="http://schemas.openxmlformats.org/officeDocument/2006/relationships/slide"/><Relationship Id="rId36" Target="slides/slide28.xml" Type="http://schemas.openxmlformats.org/officeDocument/2006/relationships/slide"/><Relationship Id="rId37" Target="slides/slide29.xml" Type="http://schemas.openxmlformats.org/officeDocument/2006/relationships/slide"/><Relationship Id="rId38" Target="slides/slide30.xml" Type="http://schemas.openxmlformats.org/officeDocument/2006/relationships/slide"/><Relationship Id="rId39" Target="slides/slide31.xml" Type="http://schemas.openxmlformats.org/officeDocument/2006/relationships/slide"/><Relationship Id="rId4" Target="../customXml/item4.xml" Type="http://schemas.openxmlformats.org/officeDocument/2006/relationships/customXml"/><Relationship Id="rId40" Target="slides/slide32.xml" Type="http://schemas.openxmlformats.org/officeDocument/2006/relationships/slide"/><Relationship Id="rId41" Target="slides/slide33.xml" Type="http://schemas.openxmlformats.org/officeDocument/2006/relationships/slide"/><Relationship Id="rId42" Target="slides/slide34.xml" Type="http://schemas.openxmlformats.org/officeDocument/2006/relationships/slide"/><Relationship Id="rId43" Target="slides/slide35.xml" Type="http://schemas.openxmlformats.org/officeDocument/2006/relationships/slide"/><Relationship Id="rId44" Target="slides/slide36.xml" Type="http://schemas.openxmlformats.org/officeDocument/2006/relationships/slide"/><Relationship Id="rId45" Target="slides/slide37.xml" Type="http://schemas.openxmlformats.org/officeDocument/2006/relationships/slide"/><Relationship Id="rId46" Target="slides/slide38.xml" Type="http://schemas.openxmlformats.org/officeDocument/2006/relationships/slide"/><Relationship Id="rId47" Target="slides/slide39.xml" Type="http://schemas.openxmlformats.org/officeDocument/2006/relationships/slide"/><Relationship Id="rId48" Target="slides/slide40.xml" Type="http://schemas.openxmlformats.org/officeDocument/2006/relationships/slide"/><Relationship Id="rId49" Target="slides/slide41.xml" Type="http://schemas.openxmlformats.org/officeDocument/2006/relationships/slide"/><Relationship Id="rId5" Target="slideMasters/slideMaster1.xml" Type="http://schemas.openxmlformats.org/officeDocument/2006/relationships/slideMaster"/><Relationship Id="rId50" Target="slides/slide42.xml" Type="http://schemas.openxmlformats.org/officeDocument/2006/relationships/slide"/><Relationship Id="rId51" Target="slides/slide43.xml" Type="http://schemas.openxmlformats.org/officeDocument/2006/relationships/slide"/><Relationship Id="rId52" Target="slides/slide44.xml" Type="http://schemas.openxmlformats.org/officeDocument/2006/relationships/slide"/><Relationship Id="rId53" Target="slides/slide45.xml" Type="http://schemas.openxmlformats.org/officeDocument/2006/relationships/slide"/><Relationship Id="rId54" Target="slides/slide46.xml" Type="http://schemas.openxmlformats.org/officeDocument/2006/relationships/slide"/><Relationship Id="rId55" Target="slides/slide47.xml" Type="http://schemas.openxmlformats.org/officeDocument/2006/relationships/slide"/><Relationship Id="rId56" Target="slides/slide48.xml" Type="http://schemas.openxmlformats.org/officeDocument/2006/relationships/slide"/><Relationship Id="rId57" Target="slides/slide49.xml" Type="http://schemas.openxmlformats.org/officeDocument/2006/relationships/slide"/><Relationship Id="rId58" Target="slides/slide50.xml" Type="http://schemas.openxmlformats.org/officeDocument/2006/relationships/slide"/><Relationship Id="rId59" Target="slides/slide51.xml" Type="http://schemas.openxmlformats.org/officeDocument/2006/relationships/slide"/><Relationship Id="rId6" Target="slideMasters/slideMaster2.xml" Type="http://schemas.openxmlformats.org/officeDocument/2006/relationships/slideMaster"/><Relationship Id="rId60" Target="slides/slide52.xml" Type="http://schemas.openxmlformats.org/officeDocument/2006/relationships/slide"/><Relationship Id="rId61" Target="slides/slide53.xml" Type="http://schemas.openxmlformats.org/officeDocument/2006/relationships/slide"/><Relationship Id="rId62" Target="slides/slide54.xml" Type="http://schemas.openxmlformats.org/officeDocument/2006/relationships/slide"/><Relationship Id="rId63" Target="slides/slide55.xml" Type="http://schemas.openxmlformats.org/officeDocument/2006/relationships/slide"/><Relationship Id="rId64" Target="slides/slide56.xml" Type="http://schemas.openxmlformats.org/officeDocument/2006/relationships/slide"/><Relationship Id="rId65" Target="slides/slide57.xml" Type="http://schemas.openxmlformats.org/officeDocument/2006/relationships/slide"/><Relationship Id="rId66" Target="slides/slide58.xml" Type="http://schemas.openxmlformats.org/officeDocument/2006/relationships/slide"/><Relationship Id="rId67" Target="slides/slide59.xml" Type="http://schemas.openxmlformats.org/officeDocument/2006/relationships/slide"/><Relationship Id="rId68" Target="slides/slide60.xml" Type="http://schemas.openxmlformats.org/officeDocument/2006/relationships/slide"/><Relationship Id="rId69" Target="slides/slide61.xml" Type="http://schemas.openxmlformats.org/officeDocument/2006/relationships/slide"/><Relationship Id="rId7" Target="slideMasters/slideMaster3.xml" Type="http://schemas.openxmlformats.org/officeDocument/2006/relationships/slideMaster"/><Relationship Id="rId70" Target="slides/slide62.xml" Type="http://schemas.openxmlformats.org/officeDocument/2006/relationships/slide"/><Relationship Id="rId71" Target="slides/slide63.xml" Type="http://schemas.openxmlformats.org/officeDocument/2006/relationships/slide"/><Relationship Id="rId72" Target="slides/slide64.xml" Type="http://schemas.openxmlformats.org/officeDocument/2006/relationships/slide"/><Relationship Id="rId73" Target="slides/slide65.xml" Type="http://schemas.openxmlformats.org/officeDocument/2006/relationships/slide"/><Relationship Id="rId74" Target="slides/slide66.xml" Type="http://schemas.openxmlformats.org/officeDocument/2006/relationships/slide"/><Relationship Id="rId75" Target="slides/slide67.xml" Type="http://schemas.openxmlformats.org/officeDocument/2006/relationships/slide"/><Relationship Id="rId76" Target="slides/slide68.xml" Type="http://schemas.openxmlformats.org/officeDocument/2006/relationships/slide"/><Relationship Id="rId77" Target="slides/slide69.xml" Type="http://schemas.openxmlformats.org/officeDocument/2006/relationships/slide"/><Relationship Id="rId78" Target="slides/slide70.xml" Type="http://schemas.openxmlformats.org/officeDocument/2006/relationships/slide"/><Relationship Id="rId79" Target="slides/slide71.xml" Type="http://schemas.openxmlformats.org/officeDocument/2006/relationships/slide"/><Relationship Id="rId8" Target="slideMasters/slideMaster4.xml" Type="http://schemas.openxmlformats.org/officeDocument/2006/relationships/slideMaster"/><Relationship Id="rId80" Target="slides/slide72.xml" Type="http://schemas.openxmlformats.org/officeDocument/2006/relationships/slide"/><Relationship Id="rId81" Target="slides/slide73.xml" Type="http://schemas.openxmlformats.org/officeDocument/2006/relationships/slide"/><Relationship Id="rId82" Target="slides/slide74.xml" Type="http://schemas.openxmlformats.org/officeDocument/2006/relationships/slide"/><Relationship Id="rId83" Target="slides/slide75.xml" Type="http://schemas.openxmlformats.org/officeDocument/2006/relationships/slide"/><Relationship Id="rId84" Target="slides/slide76.xml" Type="http://schemas.openxmlformats.org/officeDocument/2006/relationships/slide"/><Relationship Id="rId85" Target="slides/slide77.xml" Type="http://schemas.openxmlformats.org/officeDocument/2006/relationships/slide"/><Relationship Id="rId86" Target="slides/slide78.xml" Type="http://schemas.openxmlformats.org/officeDocument/2006/relationships/slide"/><Relationship Id="rId87" Target="slides/slide79.xml" Type="http://schemas.openxmlformats.org/officeDocument/2006/relationships/slide"/><Relationship Id="rId88" Target="slides/slide80.xml" Type="http://schemas.openxmlformats.org/officeDocument/2006/relationships/slide"/><Relationship Id="rId89" Target="slides/slide81.xml" Type="http://schemas.openxmlformats.org/officeDocument/2006/relationships/slide"/><Relationship Id="rId9" Target="slides/slide1.xml" Type="http://schemas.openxmlformats.org/officeDocument/2006/relationships/slide"/><Relationship Id="rId90" Target="slides/slide82.xml" Type="http://schemas.openxmlformats.org/officeDocument/2006/relationships/slide"/><Relationship Id="rId91" Target="slides/slide83.xml" Type="http://schemas.openxmlformats.org/officeDocument/2006/relationships/slide"/><Relationship Id="rId92" Target="slides/slide84.xml" Type="http://schemas.openxmlformats.org/officeDocument/2006/relationships/slide"/><Relationship Id="rId93" Target="slides/slide85.xml" Type="http://schemas.openxmlformats.org/officeDocument/2006/relationships/slide"/><Relationship Id="rId94" Target="slides/slide86.xml" Type="http://schemas.openxmlformats.org/officeDocument/2006/relationships/slide"/><Relationship Id="rId95" Target="slides/slide87.xml" Type="http://schemas.openxmlformats.org/officeDocument/2006/relationships/slide"/><Relationship Id="rId96" Target="slides/slide88.xml" Type="http://schemas.openxmlformats.org/officeDocument/2006/relationships/slide"/><Relationship Id="rId97" Target="slides/slide89.xml" Type="http://schemas.openxmlformats.org/officeDocument/2006/relationships/slide"/><Relationship Id="rId98" Target="slides/slide90.xml" Type="http://schemas.openxmlformats.org/officeDocument/2006/relationships/slide"/><Relationship Id="rId99" Target="slides/slide91.xml" Type="http://schemas.openxmlformats.org/officeDocument/2006/relationships/slide"/></Relationships>
</file>

<file path=ppt/drawings/_rels/vmlDrawing1.vml.rels><?xml version="1.0" encoding="UTF-8" standalone="yes"?><Relationships xmlns="http://schemas.openxmlformats.org/package/2006/relationships"><Relationship Id="rId1" Target="../media/image8.emf" Type="http://schemas.openxmlformats.org/officeDocument/2006/relationships/image"/></Relationships>
</file>

<file path=ppt/drawings/_rels/vmlDrawing2.vml.rels><?xml version="1.0" encoding="UTF-8" standalone="yes"?><Relationships xmlns="http://schemas.openxmlformats.org/package/2006/relationships"><Relationship Id="rId1" Target="../media/image12.emf" Type="http://schemas.openxmlformats.org/officeDocument/2006/relationships/image"/></Relationships>
</file>

<file path=ppt/drawings/_rels/vmlDrawing3.vml.rels><?xml version="1.0" encoding="UTF-8" standalone="yes"?><Relationships xmlns="http://schemas.openxmlformats.org/package/2006/relationships"><Relationship Id="rId1" Target="../media/image69.emf" Type="http://schemas.openxmlformats.org/officeDocument/2006/relationships/image"/></Relationships>
</file>

<file path=ppt/drawings/_rels/vmlDrawing4.vml.rels><?xml version="1.0" encoding="UTF-8" standalone="yes"?><Relationships xmlns="http://schemas.openxmlformats.org/package/2006/relationships"><Relationship Id="rId1" Target="../media/image72.emf" Type="http://schemas.openxmlformats.org/officeDocument/2006/relationships/image"/></Relationships>
</file>

<file path=ppt/drawings/_rels/vmlDrawing5.vml.rels><?xml version="1.0" encoding="UTF-8" standalone="yes"?><Relationships xmlns="http://schemas.openxmlformats.org/package/2006/relationships"><Relationship Id="rId1" Target="../media/image77.emf" Type="http://schemas.openxmlformats.org/officeDocument/2006/relationships/image"/></Relationships>
</file>

<file path=ppt/drawings/_rels/vmlDrawing6.vml.rels><?xml version="1.0" encoding="UTF-8" standalone="yes"?><Relationships xmlns="http://schemas.openxmlformats.org/package/2006/relationships"><Relationship Id="rId1" Target="../media/image78.emf" Type="http://schemas.openxmlformats.org/officeDocument/2006/relationships/image"/></Relationships>
</file>

<file path=ppt/drawings/_rels/vmlDrawing7.vml.rels><?xml version="1.0" encoding="UTF-8" standalone="yes"?><Relationships xmlns="http://schemas.openxmlformats.org/package/2006/relationships"><Relationship Id="rId1" Target="../media/image97.emf" Type="http://schemas.openxmlformats.org/officeDocument/2006/relationships/image"/></Relationships>
</file>

<file path=ppt/drawings/_rels/vmlDrawing8.vml.rels><?xml version="1.0" encoding="UTF-8" standalone="yes"?><Relationships xmlns="http://schemas.openxmlformats.org/package/2006/relationships"><Relationship Id="rId1" Target="../media/image101.emf" Type="http://schemas.openxmlformats.org/officeDocument/2006/relationships/image"/><Relationship Id="rId2" Target="../media/image102.emf" Type="http://schemas.openxmlformats.org/officeDocument/2006/relationships/image"/><Relationship Id="rId3" Target="../media/image103.emf" Type="http://schemas.openxmlformats.org/officeDocument/2006/relationships/image"/></Relationships>
</file>

<file path=ppt/drawings/_rels/vmlDrawing9.vml.rels><?xml version="1.0" encoding="UTF-8" standalone="yes"?><Relationships xmlns="http://schemas.openxmlformats.org/package/2006/relationships"><Relationship Id="rId1" Target="../media/image116.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6.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1" y="0"/>
            <a:ext cx="2945659" cy="496332"/>
          </a:xfrm>
          <a:prstGeom prst="rect">
            <a:avLst/>
          </a:prstGeom>
          <a:noFill/>
          <a:ln w="9525">
            <a:noFill/>
            <a:miter lim="800000"/>
            <a:headEnd/>
            <a:tailEnd/>
          </a:ln>
          <a:effectLst/>
        </p:spPr>
        <p:txBody>
          <a:bodyPr vert="horz" wrap="square" lIns="95555" tIns="47777" rIns="95555" bIns="47777" numCol="1" anchor="t" anchorCtr="0" compatLnSpc="1">
            <a:prstTxWarp prst="textNoShape">
              <a:avLst/>
            </a:prstTxWarp>
          </a:bodyPr>
          <a:lstStyle>
            <a:lvl1pPr>
              <a:spcBef>
                <a:spcPct val="0"/>
              </a:spcBef>
              <a:defRPr sz="1300"/>
            </a:lvl1pPr>
          </a:lstStyle>
          <a:p>
            <a:r>
              <a:rPr lang="en-US" sz="1200"/>
              <a:t>The 5G Core Network Deep Dive </a:t>
            </a:r>
          </a:p>
        </p:txBody>
      </p:sp>
      <p:sp>
        <p:nvSpPr>
          <p:cNvPr id="79875" name="Rectangle 3"/>
          <p:cNvSpPr>
            <a:spLocks noGrp="1" noChangeArrowheads="1"/>
          </p:cNvSpPr>
          <p:nvPr>
            <p:ph type="dt" sz="quarter" idx="1"/>
          </p:nvPr>
        </p:nvSpPr>
        <p:spPr bwMode="auto">
          <a:xfrm>
            <a:off x="3850444" y="0"/>
            <a:ext cx="2945659" cy="496332"/>
          </a:xfrm>
          <a:prstGeom prst="rect">
            <a:avLst/>
          </a:prstGeom>
          <a:noFill/>
          <a:ln w="9525">
            <a:noFill/>
            <a:miter lim="800000"/>
            <a:headEnd/>
            <a:tailEnd/>
          </a:ln>
          <a:effectLst/>
        </p:spPr>
        <p:txBody>
          <a:bodyPr vert="horz" wrap="square" lIns="95555" tIns="47777" rIns="95555" bIns="47777" numCol="1" anchor="t" anchorCtr="0" compatLnSpc="1">
            <a:prstTxWarp prst="textNoShape">
              <a:avLst/>
            </a:prstTxWarp>
          </a:bodyPr>
          <a:lstStyle>
            <a:lvl1pPr algn="r">
              <a:spcBef>
                <a:spcPct val="0"/>
              </a:spcBef>
              <a:defRPr sz="1300"/>
            </a:lvl1pPr>
          </a:lstStyle>
          <a:p>
            <a:r>
              <a:rPr lang="en-US" sz="1200"/>
              <a:t>2019-10-07 </a:t>
            </a:r>
          </a:p>
        </p:txBody>
      </p:sp>
      <p:sp>
        <p:nvSpPr>
          <p:cNvPr id="79876" name="Rectangle 4"/>
          <p:cNvSpPr>
            <a:spLocks noGrp="1" noChangeArrowheads="1"/>
          </p:cNvSpPr>
          <p:nvPr>
            <p:ph type="ftr" sz="quarter" idx="2"/>
          </p:nvPr>
        </p:nvSpPr>
        <p:spPr bwMode="auto">
          <a:xfrm>
            <a:off x="1" y="9428583"/>
            <a:ext cx="2945659" cy="496332"/>
          </a:xfrm>
          <a:prstGeom prst="rect">
            <a:avLst/>
          </a:prstGeom>
          <a:noFill/>
          <a:ln w="9525">
            <a:noFill/>
            <a:miter lim="800000"/>
            <a:headEnd/>
            <a:tailEnd/>
          </a:ln>
          <a:effectLst/>
        </p:spPr>
        <p:txBody>
          <a:bodyPr vert="horz" wrap="square" lIns="95555" tIns="47777" rIns="95555" bIns="47777" numCol="1" anchor="b" anchorCtr="0" compatLnSpc="1">
            <a:prstTxWarp prst="textNoShape">
              <a:avLst/>
            </a:prstTxWarp>
          </a:bodyPr>
          <a:lstStyle>
            <a:lvl1pPr>
              <a:spcBef>
                <a:spcPct val="0"/>
              </a:spcBef>
              <a:defRPr sz="1300"/>
            </a:lvl1pPr>
          </a:lstStyle>
          <a:p>
            <a:r>
              <a:rPr lang="en-US" sz="1200"/>
              <a:t>BICP-16:000214 Uen, Rev N </a:t>
            </a:r>
          </a:p>
        </p:txBody>
      </p:sp>
      <p:sp>
        <p:nvSpPr>
          <p:cNvPr id="79877" name="Rectangle 5"/>
          <p:cNvSpPr>
            <a:spLocks noGrp="1" noChangeArrowheads="1"/>
          </p:cNvSpPr>
          <p:nvPr>
            <p:ph type="sldNum" sz="quarter" idx="3"/>
          </p:nvPr>
        </p:nvSpPr>
        <p:spPr bwMode="auto">
          <a:xfrm>
            <a:off x="3850444" y="9428583"/>
            <a:ext cx="2945659" cy="496332"/>
          </a:xfrm>
          <a:prstGeom prst="rect">
            <a:avLst/>
          </a:prstGeom>
          <a:noFill/>
          <a:ln w="9525">
            <a:noFill/>
            <a:miter lim="800000"/>
            <a:headEnd/>
            <a:tailEnd/>
          </a:ln>
          <a:effectLst/>
        </p:spPr>
        <p:txBody>
          <a:bodyPr vert="horz" wrap="square" lIns="95555" tIns="47777" rIns="95555" bIns="47777" numCol="1" anchor="b" anchorCtr="0" compatLnSpc="1">
            <a:prstTxWarp prst="textNoShape">
              <a:avLst/>
            </a:prstTxWarp>
          </a:bodyPr>
          <a:lstStyle>
            <a:lvl1pPr algn="r">
              <a:spcBef>
                <a:spcPct val="0"/>
              </a:spcBef>
              <a:defRPr sz="1300"/>
            </a:lvl1pPr>
          </a:lstStyle>
          <a:p>
            <a:fld id="{4ECEF30E-552D-42ED-82CA-C73F83CA10A8}" type="slidenum">
              <a:rPr lang="en-US" sz="1200"/>
              <a:pPr/>
              <a:t>‹#›</a:t>
            </a:fld>
            <a:endParaRPr lang="en-US" sz="1200"/>
          </a:p>
        </p:txBody>
      </p:sp>
    </p:spTree>
    <p:extLst>
      <p:ext uri="{BB962C8B-B14F-4D97-AF65-F5344CB8AC3E}">
        <p14:creationId xmlns:p14="http://schemas.microsoft.com/office/powerpoint/2010/main" val="298558323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Relationships xmlns="http://schemas.openxmlformats.org/package/2006/relationships"><Relationship Id="rId1" Target="../theme/theme5.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3851023" y="0"/>
            <a:ext cx="2945084" cy="497040"/>
          </a:xfrm>
          <a:prstGeom prst="rect">
            <a:avLst/>
          </a:prstGeom>
        </p:spPr>
        <p:txBody>
          <a:bodyPr vert="horz" lIns="90462" tIns="45231" rIns="90462" bIns="45231" rtlCol="0"/>
          <a:lstStyle>
            <a:lvl1pPr algn="r">
              <a:defRPr sz="1200"/>
            </a:lvl1pPr>
          </a:lstStyle>
          <a:p>
            <a:r>
              <a:rPr lang="en-US"/>
              <a:t>2019-10-07 </a:t>
            </a:r>
          </a:p>
        </p:txBody>
      </p:sp>
      <p:sp>
        <p:nvSpPr>
          <p:cNvPr id="3" name="Slide Number Placeholder 2"/>
          <p:cNvSpPr>
            <a:spLocks noGrp="1"/>
          </p:cNvSpPr>
          <p:nvPr>
            <p:ph type="sldNum" sz="quarter" idx="5"/>
          </p:nvPr>
        </p:nvSpPr>
        <p:spPr>
          <a:xfrm>
            <a:off x="3851023" y="9428025"/>
            <a:ext cx="2945084" cy="497040"/>
          </a:xfrm>
          <a:prstGeom prst="rect">
            <a:avLst/>
          </a:prstGeom>
        </p:spPr>
        <p:txBody>
          <a:bodyPr vert="horz" lIns="90462" tIns="45231" rIns="90462" bIns="45231" rtlCol="0" anchor="b"/>
          <a:lstStyle>
            <a:lvl1pPr algn="r">
              <a:defRPr sz="1200"/>
            </a:lvl1pPr>
          </a:lstStyle>
          <a:p>
            <a:fld id="{5852353D-F306-481A-B3D0-C36CE0BF9563}" type="slidenum">
              <a:rPr lang="en-US" smtClean="0"/>
              <a:pPr/>
              <a:t>‹#›</a:t>
            </a:fld>
            <a:endParaRPr lang="en-US"/>
          </a:p>
        </p:txBody>
      </p:sp>
      <p:sp>
        <p:nvSpPr>
          <p:cNvPr id="4" name="Header Placeholder 3"/>
          <p:cNvSpPr>
            <a:spLocks noGrp="1"/>
          </p:cNvSpPr>
          <p:nvPr>
            <p:ph type="hdr" sz="quarter"/>
          </p:nvPr>
        </p:nvSpPr>
        <p:spPr>
          <a:xfrm>
            <a:off x="0" y="0"/>
            <a:ext cx="2945085" cy="497040"/>
          </a:xfrm>
          <a:prstGeom prst="rect">
            <a:avLst/>
          </a:prstGeom>
        </p:spPr>
        <p:txBody>
          <a:bodyPr vert="horz" lIns="90462" tIns="45231" rIns="90462" bIns="45231" rtlCol="0"/>
          <a:lstStyle>
            <a:lvl1pPr algn="l">
              <a:defRPr sz="1200"/>
            </a:lvl1pPr>
          </a:lstStyle>
          <a:p>
            <a:r>
              <a:rPr lang="en-US"/>
              <a:t>The 5G Core Network Deep Dive </a:t>
            </a:r>
          </a:p>
        </p:txBody>
      </p:sp>
      <p:sp>
        <p:nvSpPr>
          <p:cNvPr id="5" name="Slide Image Placeholder 4"/>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0462" tIns="45231" rIns="90462" bIns="45231" rtlCol="0" anchor="ctr"/>
          <a:lstStyle/>
          <a:p>
            <a:endParaRPr lang="en-US"/>
          </a:p>
        </p:txBody>
      </p:sp>
      <p:sp>
        <p:nvSpPr>
          <p:cNvPr id="6" name="Footer Placeholder 5"/>
          <p:cNvSpPr>
            <a:spLocks noGrp="1"/>
          </p:cNvSpPr>
          <p:nvPr>
            <p:ph type="ftr" sz="quarter" idx="4"/>
          </p:nvPr>
        </p:nvSpPr>
        <p:spPr>
          <a:xfrm>
            <a:off x="0" y="9428025"/>
            <a:ext cx="2945085" cy="497040"/>
          </a:xfrm>
          <a:prstGeom prst="rect">
            <a:avLst/>
          </a:prstGeom>
        </p:spPr>
        <p:txBody>
          <a:bodyPr vert="horz" lIns="90462" tIns="45231" rIns="90462" bIns="45231" rtlCol="0" anchor="b"/>
          <a:lstStyle>
            <a:lvl1pPr algn="l">
              <a:defRPr sz="1200"/>
            </a:lvl1pPr>
          </a:lstStyle>
          <a:p>
            <a:r>
              <a:rPr lang="en-US"/>
              <a:t>BICP-16:000214 Uen, Rev N </a:t>
            </a:r>
          </a:p>
        </p:txBody>
      </p:sp>
      <p:sp>
        <p:nvSpPr>
          <p:cNvPr id="7" name="Notes Placeholder 6"/>
          <p:cNvSpPr>
            <a:spLocks noGrp="1"/>
          </p:cNvSpPr>
          <p:nvPr>
            <p:ph type="body" sz="quarter" idx="3"/>
          </p:nvPr>
        </p:nvSpPr>
        <p:spPr>
          <a:xfrm>
            <a:off x="680238" y="4715585"/>
            <a:ext cx="5437200" cy="4467066"/>
          </a:xfrm>
          <a:prstGeom prst="rect">
            <a:avLst/>
          </a:prstGeom>
        </p:spPr>
        <p:txBody>
          <a:bodyPr vert="horz" lIns="90462" tIns="45231" rIns="90462" bIns="452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257339"/>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0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3.xml" Type="http://schemas.openxmlformats.org/officeDocument/2006/relationships/slide"/></Relationships>
</file>

<file path=ppt/notesSlides/_rels/notesSlide10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4.xml" Type="http://schemas.openxmlformats.org/officeDocument/2006/relationships/slide"/></Relationships>
</file>

<file path=ppt/notesSlides/_rels/notesSlide10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5.xml" Type="http://schemas.openxmlformats.org/officeDocument/2006/relationships/slide"/></Relationships>
</file>

<file path=ppt/notesSlides/_rels/notesSlide10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6.xml" Type="http://schemas.openxmlformats.org/officeDocument/2006/relationships/slide"/></Relationships>
</file>

<file path=ppt/notesSlides/_rels/notesSlide10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7.xml" Type="http://schemas.openxmlformats.org/officeDocument/2006/relationships/slide"/></Relationships>
</file>

<file path=ppt/notesSlides/_rels/notesSlide10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8.xml" Type="http://schemas.openxmlformats.org/officeDocument/2006/relationships/slide"/></Relationships>
</file>

<file path=ppt/notesSlides/_rels/notesSlide10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9.xml" Type="http://schemas.openxmlformats.org/officeDocument/2006/relationships/slide"/></Relationships>
</file>

<file path=ppt/notesSlides/_rels/notesSlide10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0.xml" Type="http://schemas.openxmlformats.org/officeDocument/2006/relationships/slide"/></Relationships>
</file>

<file path=ppt/notesSlides/_rels/notesSlide10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1.xml" Type="http://schemas.openxmlformats.org/officeDocument/2006/relationships/slide"/></Relationships>
</file>

<file path=ppt/notesSlides/_rels/notesSlide10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2.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3.xml" Type="http://schemas.openxmlformats.org/officeDocument/2006/relationships/slide"/></Relationships>
</file>

<file path=ppt/notesSlides/_rels/notesSlide1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4.xml" Type="http://schemas.openxmlformats.org/officeDocument/2006/relationships/slide"/></Relationships>
</file>

<file path=ppt/notesSlides/_rels/notesSlide1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5.xml" Type="http://schemas.openxmlformats.org/officeDocument/2006/relationships/slide"/></Relationships>
</file>

<file path=ppt/notesSlides/_rels/notesSlide1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6.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 Id="rId3" Target="http://www.sciencedirect.com/science/article/pii/S240595951730019X#br000030" TargetMode="External" Type="http://schemas.openxmlformats.org/officeDocument/2006/relationships/hyperlink"/></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6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6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6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6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6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6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1.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2.xml" Type="http://schemas.openxmlformats.org/officeDocument/2006/relationships/slide"/></Relationships>
</file>

<file path=ppt/notesSlides/_rels/notesSlide7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3.xml" Type="http://schemas.openxmlformats.org/officeDocument/2006/relationships/slide"/></Relationships>
</file>

<file path=ppt/notesSlides/_rels/notesSlide7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4.xml" Type="http://schemas.openxmlformats.org/officeDocument/2006/relationships/slide"/></Relationships>
</file>

<file path=ppt/notesSlides/_rels/notesSlide7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5.xml" Type="http://schemas.openxmlformats.org/officeDocument/2006/relationships/slide"/></Relationships>
</file>

<file path=ppt/notesSlides/_rels/notesSlide7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6.xml" Type="http://schemas.openxmlformats.org/officeDocument/2006/relationships/slide"/></Relationships>
</file>

<file path=ppt/notesSlides/_rels/notesSlide7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7.xml" Type="http://schemas.openxmlformats.org/officeDocument/2006/relationships/slide"/></Relationships>
</file>

<file path=ppt/notesSlides/_rels/notesSlide7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8.xml" Type="http://schemas.openxmlformats.org/officeDocument/2006/relationships/slide"/></Relationships>
</file>

<file path=ppt/notesSlides/_rels/notesSlide7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9.xml" Type="http://schemas.openxmlformats.org/officeDocument/2006/relationships/slide"/></Relationships>
</file>

<file path=ppt/notesSlides/_rels/notesSlide7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0.xml" Type="http://schemas.openxmlformats.org/officeDocument/2006/relationships/slide"/></Relationships>
</file>

<file path=ppt/notesSlides/_rels/notesSlide7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1.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2.xml" Type="http://schemas.openxmlformats.org/officeDocument/2006/relationships/slide"/></Relationships>
</file>

<file path=ppt/notesSlides/_rels/notesSlide8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3.xml" Type="http://schemas.openxmlformats.org/officeDocument/2006/relationships/slide"/></Relationships>
</file>

<file path=ppt/notesSlides/_rels/notesSlide8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4.xml" Type="http://schemas.openxmlformats.org/officeDocument/2006/relationships/slide"/></Relationships>
</file>

<file path=ppt/notesSlides/_rels/notesSlide8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5.xml" Type="http://schemas.openxmlformats.org/officeDocument/2006/relationships/slide"/></Relationships>
</file>

<file path=ppt/notesSlides/_rels/notesSlide8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6.xml" Type="http://schemas.openxmlformats.org/officeDocument/2006/relationships/slide"/></Relationships>
</file>

<file path=ppt/notesSlides/_rels/notesSlide8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8.xml" Type="http://schemas.openxmlformats.org/officeDocument/2006/relationships/slide"/></Relationships>
</file>

<file path=ppt/notesSlides/_rels/notesSlide8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9.xml" Type="http://schemas.openxmlformats.org/officeDocument/2006/relationships/slide"/></Relationships>
</file>

<file path=ppt/notesSlides/_rels/notesSlide8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0.xml" Type="http://schemas.openxmlformats.org/officeDocument/2006/relationships/slide"/></Relationships>
</file>

<file path=ppt/notesSlides/_rels/notesSlide8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1.xml" Type="http://schemas.openxmlformats.org/officeDocument/2006/relationships/slide"/></Relationships>
</file>

<file path=ppt/notesSlides/_rels/notesSlide8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2.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3.xml" Type="http://schemas.openxmlformats.org/officeDocument/2006/relationships/slide"/></Relationships>
</file>

<file path=ppt/notesSlides/_rels/notesSlide9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4.xml" Type="http://schemas.openxmlformats.org/officeDocument/2006/relationships/slide"/></Relationships>
</file>

<file path=ppt/notesSlides/_rels/notesSlide9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5.xml" Type="http://schemas.openxmlformats.org/officeDocument/2006/relationships/slide"/></Relationships>
</file>

<file path=ppt/notesSlides/_rels/notesSlide9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6.xml" Type="http://schemas.openxmlformats.org/officeDocument/2006/relationships/slide"/></Relationships>
</file>

<file path=ppt/notesSlides/_rels/notesSlide9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7.xml" Type="http://schemas.openxmlformats.org/officeDocument/2006/relationships/slide"/></Relationships>
</file>

<file path=ppt/notesSlides/_rels/notesSlide9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8.xml" Type="http://schemas.openxmlformats.org/officeDocument/2006/relationships/slide"/></Relationships>
</file>

<file path=ppt/notesSlides/_rels/notesSlide9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9.xml" Type="http://schemas.openxmlformats.org/officeDocument/2006/relationships/slide"/></Relationships>
</file>

<file path=ppt/notesSlides/_rels/notesSlide9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0.xml" Type="http://schemas.openxmlformats.org/officeDocument/2006/relationships/slide"/></Relationships>
</file>

<file path=ppt/notesSlides/_rels/notesSlide9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1.xml" Type="http://schemas.openxmlformats.org/officeDocument/2006/relationships/slide"/></Relationships>
</file>

<file path=ppt/notesSlides/_rels/notesSlide9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The 5G Core Network Deep Dive </a:t>
            </a:r>
          </a:p>
        </p:txBody>
      </p:sp>
      <p:sp>
        <p:nvSpPr>
          <p:cNvPr id="5" name="Date Placeholder 4"/>
          <p:cNvSpPr>
            <a:spLocks noGrp="1"/>
          </p:cNvSpPr>
          <p:nvPr>
            <p:ph type="dt" idx="11"/>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2019-10-07 </a:t>
            </a:r>
          </a:p>
        </p:txBody>
      </p:sp>
      <p:sp>
        <p:nvSpPr>
          <p:cNvPr id="6" name="Footer Placeholder 5"/>
          <p:cNvSpPr>
            <a:spLocks noGrp="1"/>
          </p:cNvSpPr>
          <p:nvPr>
            <p:ph type="ftr" sz="quarter" idx="12"/>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BICP-16:000214 Uen, Rev N </a:t>
            </a:r>
          </a:p>
        </p:txBody>
      </p:sp>
      <p:sp>
        <p:nvSpPr>
          <p:cNvPr id="7" name="Slide Number Placeholder 6"/>
          <p:cNvSpPr>
            <a:spLocks noGrp="1"/>
          </p:cNvSpPr>
          <p:nvPr>
            <p:ph type="sldNum" sz="quarter" idx="13"/>
          </p:nvPr>
        </p:nvSpPr>
        <p:spPr/>
        <p:txBody>
          <a:bodyPr/>
          <a:lstStyle/>
          <a:p>
            <a:pPr defTabSz="904616" fontAlgn="auto">
              <a:spcBef>
                <a:spcPts val="0"/>
              </a:spcBef>
              <a:spcAft>
                <a:spcPts val="0"/>
              </a:spcAft>
              <a:defRPr/>
            </a:pPr>
            <a:fld id="{87E36626-1965-401B-8906-9190E95D2D29}" type="slidenum">
              <a:rPr lang="en-US" smtClean="0">
                <a:solidFill>
                  <a:prstClr val="black"/>
                </a:solidFill>
                <a:latin typeface="Ericsson Hilda Light" panose="00000400000000000000" pitchFamily="2" charset="0"/>
              </a:rPr>
              <a:t>1</a:t>
            </a:fld>
            <a:endParaRPr lang="en-US">
              <a:solidFill>
                <a:prstClr val="black"/>
              </a:solidFill>
              <a:latin typeface="Ericsson Hilda Light" panose="00000400000000000000" pitchFamily="2" charset="0"/>
            </a:endParaRPr>
          </a:p>
        </p:txBody>
      </p:sp>
    </p:spTree>
    <p:extLst>
      <p:ext uri="{BB962C8B-B14F-4D97-AF65-F5344CB8AC3E}">
        <p14:creationId xmlns:p14="http://schemas.microsoft.com/office/powerpoint/2010/main" val="4179169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kern="0"/>
              <a:t>The 5G System Architecture contains the following Network Functions:</a:t>
            </a:r>
          </a:p>
          <a:p>
            <a:pPr defTabSz="904616">
              <a:defRPr/>
            </a:pPr>
            <a:r>
              <a:rPr lang="en-US" b="1"/>
              <a:t>RF/BF</a:t>
            </a:r>
            <a:r>
              <a:rPr lang="en-US"/>
              <a:t>: Radio function/ Beamforming function</a:t>
            </a:r>
          </a:p>
          <a:p>
            <a:pPr defTabSz="904616">
              <a:defRPr/>
            </a:pPr>
            <a:r>
              <a:rPr lang="en-US" b="1"/>
              <a:t>BPF</a:t>
            </a:r>
            <a:r>
              <a:rPr lang="en-US"/>
              <a:t>:    Baseband Processing function</a:t>
            </a:r>
          </a:p>
          <a:p>
            <a:pPr defTabSz="904616">
              <a:defRPr/>
            </a:pPr>
            <a:r>
              <a:rPr lang="en-US" b="1"/>
              <a:t>PPF</a:t>
            </a:r>
            <a:r>
              <a:rPr lang="en-US"/>
              <a:t>:    Packet Processing function</a:t>
            </a:r>
          </a:p>
          <a:p>
            <a:pPr defTabSz="904616">
              <a:defRPr/>
            </a:pPr>
            <a:r>
              <a:rPr lang="en-US" b="1"/>
              <a:t>RCF</a:t>
            </a:r>
            <a:r>
              <a:rPr lang="en-US"/>
              <a:t>:    Radio Controller function</a:t>
            </a:r>
          </a:p>
          <a:p>
            <a:endParaRPr lang="en-US" kern="0"/>
          </a:p>
          <a:p>
            <a:pPr hangingPunct="0">
              <a:spcBef>
                <a:spcPts val="0"/>
              </a:spcBef>
              <a:tabLst>
                <a:tab pos="530834" algn="l"/>
              </a:tabLst>
            </a:pPr>
            <a:r>
              <a:rPr lang="en-US" b="1"/>
              <a:t>AF</a:t>
            </a:r>
            <a:r>
              <a:rPr lang="en-US"/>
              <a:t>	Application Function</a:t>
            </a:r>
          </a:p>
          <a:p>
            <a:pPr hangingPunct="0">
              <a:spcBef>
                <a:spcPts val="0"/>
              </a:spcBef>
              <a:tabLst>
                <a:tab pos="530834" algn="l"/>
              </a:tabLst>
            </a:pPr>
            <a:r>
              <a:rPr lang="en-US" b="1"/>
              <a:t>AMF</a:t>
            </a:r>
            <a:r>
              <a:rPr lang="en-US"/>
              <a:t>	Access and Mobility Management Function</a:t>
            </a:r>
          </a:p>
          <a:p>
            <a:pPr>
              <a:spcBef>
                <a:spcPts val="0"/>
              </a:spcBef>
              <a:tabLst>
                <a:tab pos="530834" algn="l"/>
              </a:tabLst>
            </a:pPr>
            <a:r>
              <a:rPr lang="en-US" b="1"/>
              <a:t>AUSF</a:t>
            </a:r>
            <a:r>
              <a:rPr lang="en-US"/>
              <a:t>	Authentication Server Function </a:t>
            </a:r>
          </a:p>
          <a:p>
            <a:pPr>
              <a:spcBef>
                <a:spcPts val="0"/>
              </a:spcBef>
              <a:tabLst>
                <a:tab pos="530834" algn="l"/>
              </a:tabLst>
            </a:pPr>
            <a:r>
              <a:rPr lang="en-US" b="1"/>
              <a:t>NEF</a:t>
            </a:r>
            <a:r>
              <a:rPr lang="en-US"/>
              <a:t>	Network Exposure Function</a:t>
            </a:r>
          </a:p>
          <a:p>
            <a:pPr>
              <a:spcBef>
                <a:spcPts val="0"/>
              </a:spcBef>
              <a:tabLst>
                <a:tab pos="530834" algn="l"/>
              </a:tabLst>
            </a:pPr>
            <a:r>
              <a:rPr lang="en-US" b="1"/>
              <a:t>NRF</a:t>
            </a:r>
            <a:r>
              <a:rPr lang="en-US"/>
              <a:t>	Network Repository Function</a:t>
            </a:r>
          </a:p>
          <a:p>
            <a:pPr>
              <a:spcBef>
                <a:spcPts val="0"/>
              </a:spcBef>
              <a:tabLst>
                <a:tab pos="530834" algn="l"/>
              </a:tabLst>
            </a:pPr>
            <a:r>
              <a:rPr lang="en-US" b="1"/>
              <a:t>PCF</a:t>
            </a:r>
            <a:r>
              <a:rPr lang="en-US"/>
              <a:t>	Policy Control Function</a:t>
            </a:r>
          </a:p>
          <a:p>
            <a:pPr hangingPunct="0">
              <a:spcBef>
                <a:spcPts val="0"/>
              </a:spcBef>
              <a:tabLst>
                <a:tab pos="530834" algn="l"/>
              </a:tabLst>
            </a:pPr>
            <a:r>
              <a:rPr lang="en-US" b="1"/>
              <a:t>SMF</a:t>
            </a:r>
            <a:r>
              <a:rPr lang="en-US"/>
              <a:t>	Session Management Function</a:t>
            </a:r>
          </a:p>
          <a:p>
            <a:pPr>
              <a:spcBef>
                <a:spcPts val="0"/>
              </a:spcBef>
              <a:tabLst>
                <a:tab pos="530834" algn="l"/>
              </a:tabLst>
            </a:pPr>
            <a:r>
              <a:rPr lang="en-US" b="1"/>
              <a:t>UDM</a:t>
            </a:r>
            <a:r>
              <a:rPr lang="en-US"/>
              <a:t>	Unified Data Management </a:t>
            </a:r>
          </a:p>
          <a:p>
            <a:pPr>
              <a:spcBef>
                <a:spcPts val="0"/>
              </a:spcBef>
              <a:tabLst>
                <a:tab pos="530834" algn="l"/>
              </a:tabLst>
            </a:pPr>
            <a:endParaRPr lang="en-US" altLang="en-US">
              <a:latin typeface="Arial" panose="020B0604020202020204" pitchFamily="34" charset="0"/>
            </a:endParaRPr>
          </a:p>
          <a:p>
            <a:r>
              <a:rPr lang="en-US" sz="1400" kern="0"/>
              <a:t>The 5G System Architecture contains the following service-based interfaces:</a:t>
            </a:r>
          </a:p>
          <a:p>
            <a:pPr lvl="1"/>
            <a:r>
              <a:rPr lang="en-US" sz="1000" b="1" kern="0" err="1"/>
              <a:t>Namf</a:t>
            </a:r>
            <a:r>
              <a:rPr lang="en-US" sz="1000" b="1" kern="0"/>
              <a:t>:</a:t>
            </a:r>
            <a:r>
              <a:rPr lang="en-US" sz="1000" kern="0"/>
              <a:t>	Service-based interface exhibited by AMF.</a:t>
            </a:r>
          </a:p>
          <a:p>
            <a:pPr lvl="1"/>
            <a:r>
              <a:rPr lang="en-US" sz="1000" b="1" kern="0" err="1"/>
              <a:t>Nsmf</a:t>
            </a:r>
            <a:r>
              <a:rPr lang="en-US" sz="1000" b="1" kern="0"/>
              <a:t>:</a:t>
            </a:r>
            <a:r>
              <a:rPr lang="en-US" sz="1000" kern="0"/>
              <a:t>	Service-based interface exhibited by SMF.</a:t>
            </a:r>
          </a:p>
          <a:p>
            <a:pPr lvl="1"/>
            <a:r>
              <a:rPr lang="en-US" sz="1000" b="1" kern="0" err="1"/>
              <a:t>Nnef</a:t>
            </a:r>
            <a:r>
              <a:rPr lang="en-US" sz="1000" b="1" kern="0"/>
              <a:t>:</a:t>
            </a:r>
            <a:r>
              <a:rPr lang="en-US" sz="1000" kern="0"/>
              <a:t>	Service-based interface exhibited by NEF.</a:t>
            </a:r>
          </a:p>
          <a:p>
            <a:pPr lvl="1"/>
            <a:r>
              <a:rPr lang="en-US" sz="1000" b="1" kern="0" err="1"/>
              <a:t>Npcf</a:t>
            </a:r>
            <a:r>
              <a:rPr lang="en-US" sz="1000" b="1" kern="0"/>
              <a:t>:</a:t>
            </a:r>
            <a:r>
              <a:rPr lang="en-US" sz="1000" kern="0"/>
              <a:t>	Service-based interface exhibited by PCF.</a:t>
            </a:r>
          </a:p>
          <a:p>
            <a:pPr lvl="1"/>
            <a:r>
              <a:rPr lang="en-US" sz="1000" b="1" kern="0" err="1"/>
              <a:t>Nudm</a:t>
            </a:r>
            <a:r>
              <a:rPr lang="en-US" sz="1000" b="1" kern="0"/>
              <a:t>: </a:t>
            </a:r>
            <a:r>
              <a:rPr lang="en-US" sz="1000" kern="0"/>
              <a:t>Service-based interface exhibited by UDM.</a:t>
            </a:r>
          </a:p>
          <a:p>
            <a:pPr lvl="1"/>
            <a:r>
              <a:rPr lang="en-US" sz="1000" b="1" kern="0" err="1"/>
              <a:t>Naf</a:t>
            </a:r>
            <a:r>
              <a:rPr lang="en-US" sz="1000" b="1" kern="0"/>
              <a:t>:</a:t>
            </a:r>
            <a:r>
              <a:rPr lang="en-US" sz="1000" kern="0"/>
              <a:t>	Service-based interface exhibited by AF.</a:t>
            </a:r>
          </a:p>
          <a:p>
            <a:pPr lvl="1"/>
            <a:r>
              <a:rPr lang="en-US" sz="1000" b="1" kern="0" err="1"/>
              <a:t>Nnrf</a:t>
            </a:r>
            <a:r>
              <a:rPr lang="en-US" sz="1000" b="1" kern="0"/>
              <a:t>:</a:t>
            </a:r>
            <a:r>
              <a:rPr lang="en-US" sz="1000" kern="0"/>
              <a:t>	Service-based interface exhibited by NRF.</a:t>
            </a:r>
          </a:p>
          <a:p>
            <a:pPr lvl="1"/>
            <a:r>
              <a:rPr lang="en-US" sz="1000" b="1" kern="0" err="1"/>
              <a:t>Nausf</a:t>
            </a:r>
            <a:r>
              <a:rPr lang="en-US" sz="1000" b="1" kern="0"/>
              <a:t>: </a:t>
            </a:r>
            <a:r>
              <a:rPr lang="en-US" sz="1000" kern="0"/>
              <a:t>Service-based interface exhibited by AUSF.</a:t>
            </a:r>
          </a:p>
          <a:p>
            <a:pPr lvl="1"/>
            <a:endParaRPr lang="en-US" altLang="en-US" sz="1000" kern="0">
              <a:latin typeface="Arial" panose="020B0604020202020204" pitchFamily="34" charset="0"/>
            </a:endParaRPr>
          </a:p>
          <a:p>
            <a:pPr lvl="0"/>
            <a:r>
              <a:rPr lang="en-US" altLang="en-US" kern="0">
                <a:latin typeface="Arial" panose="020B0604020202020204" pitchFamily="34" charset="0"/>
              </a:rPr>
              <a:t>In the NG-RAN:</a:t>
            </a:r>
          </a:p>
          <a:p>
            <a:pPr marL="621923" lvl="1" indent="-169615">
              <a:buFont typeface="Arial" panose="020B0604020202020204" pitchFamily="34" charset="0"/>
              <a:buChar char="•"/>
            </a:pPr>
            <a:r>
              <a:rPr lang="en-US">
                <a:effectLst/>
              </a:rPr>
              <a:t>the “F1-C/U” is mainly for </a:t>
            </a:r>
            <a:r>
              <a:rPr lang="en-US" err="1">
                <a:effectLst/>
              </a:rPr>
              <a:t>gNBs</a:t>
            </a:r>
            <a:r>
              <a:rPr lang="en-US">
                <a:effectLst/>
              </a:rPr>
              <a:t>. Similar work is ongoing for LTE as well but with slightly lower </a:t>
            </a:r>
            <a:r>
              <a:rPr lang="en-US" err="1">
                <a:effectLst/>
              </a:rPr>
              <a:t>prio</a:t>
            </a:r>
            <a:r>
              <a:rPr lang="en-US">
                <a:effectLst/>
              </a:rPr>
              <a:t> so far and in that case the F1 is called V1</a:t>
            </a:r>
            <a:br>
              <a:rPr lang="en-US">
                <a:effectLst/>
              </a:rPr>
            </a:br>
            <a:r>
              <a:rPr lang="en-US">
                <a:effectLst/>
              </a:rPr>
              <a:t>    ….but it could all converge in the end (and maybe even in Rel-15)</a:t>
            </a:r>
            <a:endParaRPr lang="sv-SE">
              <a:effectLst/>
            </a:endParaRPr>
          </a:p>
          <a:p>
            <a:pPr marL="621923" lvl="1" indent="-169615">
              <a:buFont typeface="Arial" panose="020B0604020202020204" pitchFamily="34" charset="0"/>
              <a:buChar char="•"/>
            </a:pPr>
            <a:r>
              <a:rPr lang="en-US">
                <a:effectLst/>
              </a:rPr>
              <a:t>The E1 is only for </a:t>
            </a:r>
            <a:r>
              <a:rPr lang="en-US" err="1">
                <a:effectLst/>
              </a:rPr>
              <a:t>gNBs</a:t>
            </a:r>
            <a:r>
              <a:rPr lang="en-US">
                <a:effectLst/>
              </a:rPr>
              <a:t> (in NG-RAN). </a:t>
            </a:r>
            <a:endParaRPr lang="sv-SE">
              <a:effectLst/>
            </a:endParaRPr>
          </a:p>
          <a:p>
            <a:pPr lvl="0"/>
            <a:endParaRPr lang="en-US" altLang="en-US">
              <a:latin typeface="Arial" panose="020B0604020202020204" pitchFamily="34" charset="0"/>
            </a:endParaRPr>
          </a:p>
        </p:txBody>
      </p:sp>
      <p:sp>
        <p:nvSpPr>
          <p:cNvPr id="2662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2019-10-07 </a:t>
            </a:r>
          </a:p>
        </p:txBody>
      </p:sp>
      <p:sp>
        <p:nvSpPr>
          <p:cNvPr id="2662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76782BA-D977-473C-B4B3-37772E1AFB16}"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t>1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Tree>
    <p:extLst>
      <p:ext uri="{BB962C8B-B14F-4D97-AF65-F5344CB8AC3E}">
        <p14:creationId xmlns:p14="http://schemas.microsoft.com/office/powerpoint/2010/main" val="18426097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Ericsson preference/first solution planned is to use integration via ePDG since it is based on the existing installed base for e.g. WiFi Calling, and as it will take some time for 5GC with N3IWF to mature.</a:t>
            </a:r>
          </a:p>
          <a:p>
            <a:endParaRPr lang="sv-SE"/>
          </a:p>
          <a:p>
            <a:r>
              <a:rPr lang="en-US" sz="1200" kern="1200">
                <a:solidFill>
                  <a:schemeClr val="tx1"/>
                </a:solidFill>
                <a:effectLst/>
                <a:latin typeface="Arial" charset="0"/>
                <a:ea typeface="+mn-ea"/>
                <a:cs typeface="+mn-cs"/>
              </a:rPr>
              <a:t>UE support for N3IWF needs to mature as well as N3IWF itself. There are currently no roadmap plans from UE-vendors as far as we know that includes N3IWF support for </a:t>
            </a:r>
            <a:r>
              <a:rPr lang="en-US" sz="1200" kern="1200" err="1">
                <a:solidFill>
                  <a:schemeClr val="tx1"/>
                </a:solidFill>
                <a:effectLst/>
                <a:latin typeface="Arial" charset="0"/>
                <a:ea typeface="+mn-ea"/>
                <a:cs typeface="+mn-cs"/>
              </a:rPr>
              <a:t>wifi</a:t>
            </a:r>
            <a:r>
              <a:rPr lang="en-US" sz="1200" kern="1200">
                <a:solidFill>
                  <a:schemeClr val="tx1"/>
                </a:solidFill>
                <a:effectLst/>
                <a:latin typeface="Arial" charset="0"/>
                <a:ea typeface="+mn-ea"/>
                <a:cs typeface="+mn-cs"/>
              </a:rPr>
              <a:t> calling.</a:t>
            </a:r>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7FCD689A-8E09-46F3-A29E-EF850F0EF8A2}" type="slidenum">
              <a:rPr lang="en-US" smtClean="0"/>
              <a:t>103</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40682826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rly 5G UEs are not expected to support N3IWF capability. For early 5G deployments, the </a:t>
            </a:r>
            <a:r>
              <a:rPr lang="en-US" err="1"/>
              <a:t>WiFi</a:t>
            </a:r>
            <a:r>
              <a:rPr lang="en-US"/>
              <a:t> calling service shall be provided by the </a:t>
            </a:r>
            <a:r>
              <a:rPr lang="en-US" err="1"/>
              <a:t>ePDG</a:t>
            </a:r>
            <a:r>
              <a:rPr lang="en-US"/>
              <a:t>/WMG. The interworking  (i.e., voice handover) between </a:t>
            </a:r>
            <a:r>
              <a:rPr lang="en-US" err="1"/>
              <a:t>ePDG</a:t>
            </a:r>
            <a:r>
              <a:rPr lang="en-US"/>
              <a:t>/EPC and 5G can be supported by the further enhancement on </a:t>
            </a:r>
            <a:r>
              <a:rPr lang="en-US" err="1"/>
              <a:t>ePDG</a:t>
            </a:r>
            <a:r>
              <a:rPr lang="en-US"/>
              <a:t>/WMG and 5GC when </a:t>
            </a:r>
            <a:r>
              <a:rPr lang="en-US" err="1"/>
              <a:t>VoNR</a:t>
            </a:r>
            <a:r>
              <a:rPr lang="en-US"/>
              <a:t> in place. </a:t>
            </a:r>
          </a:p>
          <a:p>
            <a:endParaRPr lang="en-US"/>
          </a:p>
          <a:p>
            <a:r>
              <a:rPr lang="en-US"/>
              <a:t>No urgent need for N3IWF integrated WLAN, the benefits of N3IWF to end users and operators are not obvious in the early 5G deployment. Development of N3IWF is to be considered in the 2020 timeframe as devices, non-3GPP access services and the ecosystem for 5G matures.</a:t>
            </a:r>
          </a:p>
          <a:p>
            <a:endParaRPr lang="en-US"/>
          </a:p>
          <a:p>
            <a:pPr marL="0" indent="0">
              <a:buNone/>
            </a:pPr>
            <a:r>
              <a:rPr lang="en-US" sz="1800"/>
              <a:t>HSS and UDM interaction for </a:t>
            </a:r>
            <a:r>
              <a:rPr lang="en-GB" sz="1800"/>
              <a:t>5GS and </a:t>
            </a:r>
            <a:r>
              <a:rPr lang="en-GB" sz="1800" err="1"/>
              <a:t>ePDG</a:t>
            </a:r>
            <a:r>
              <a:rPr lang="en-GB" sz="1800"/>
              <a:t>/EPC IWK</a:t>
            </a:r>
          </a:p>
          <a:p>
            <a:pPr marL="285750" indent="-285750">
              <a:buFont typeface="Arial" panose="020B0604020202020204" pitchFamily="34" charset="0"/>
              <a:buChar char="•"/>
            </a:pPr>
            <a:r>
              <a:rPr lang="en-GB" sz="1800"/>
              <a:t>The interworking (handover) between 5GS and </a:t>
            </a:r>
            <a:r>
              <a:rPr lang="en-GB" sz="1800" err="1"/>
              <a:t>ePDG</a:t>
            </a:r>
            <a:r>
              <a:rPr lang="en-GB" sz="1800"/>
              <a:t>/EPC requires the synchronization of PGW-C FQDN + SMF Id for each APN/DNN between HSS and UDM. </a:t>
            </a:r>
          </a:p>
          <a:p>
            <a:pPr marL="285750" indent="-285750">
              <a:buFont typeface="Arial" panose="020B0604020202020204" pitchFamily="34" charset="0"/>
              <a:buChar char="•"/>
            </a:pPr>
            <a:r>
              <a:rPr lang="en-GB" sz="1800"/>
              <a:t>The HSS and UDM interaction is currently being defined under 3GPP </a:t>
            </a:r>
            <a:r>
              <a:rPr lang="en-GB" sz="1800" err="1"/>
              <a:t>Rel</a:t>
            </a:r>
            <a:r>
              <a:rPr lang="en-GB" sz="1800"/>
              <a:t> 16 UDICOM WID. </a:t>
            </a:r>
          </a:p>
          <a:p>
            <a:pPr marL="742950" lvl="1" indent="-285750">
              <a:buFont typeface="Arial" panose="020B0604020202020204" pitchFamily="34" charset="0"/>
              <a:buChar char="•"/>
            </a:pPr>
            <a:r>
              <a:rPr lang="en-GB" sz="1800"/>
              <a:t>The proprietary mechanism is needed for HSS and UDM interaction before </a:t>
            </a:r>
            <a:r>
              <a:rPr lang="en-GB" sz="1800" err="1"/>
              <a:t>Rel</a:t>
            </a:r>
            <a:r>
              <a:rPr lang="en-GB" sz="1800"/>
              <a:t> 16. The interaction between HSS and UDM is transparent to the other NFs.</a:t>
            </a:r>
            <a:endParaRPr lang="en-US" sz="1800"/>
          </a:p>
          <a:p>
            <a:pPr marL="0" lvl="0" indent="0">
              <a:buFont typeface="Arial" panose="020B0604020202020204" pitchFamily="34" charset="0"/>
              <a:buNone/>
            </a:pPr>
            <a:endParaRPr lang="en-US" sz="1800"/>
          </a:p>
          <a:p>
            <a:pPr marL="0" indent="0">
              <a:buNone/>
            </a:pPr>
            <a:r>
              <a:rPr lang="en-US" sz="1800"/>
              <a:t>Current understanding of N10 replacing S6b</a:t>
            </a:r>
          </a:p>
          <a:p>
            <a:pPr marL="285750" indent="-285750">
              <a:buFont typeface="Arial" panose="020B0604020202020204" pitchFamily="34" charset="0"/>
              <a:buChar char="•"/>
            </a:pPr>
            <a:r>
              <a:rPr lang="en-US" sz="1800">
                <a:cs typeface="Calibri" panose="020F0502020204030204" pitchFamily="34" charset="0"/>
              </a:rPr>
              <a:t>N10 replacing S6b is motivated by removing Diameter interface on PGW+SMF with SBI. </a:t>
            </a:r>
          </a:p>
          <a:p>
            <a:pPr marL="285750" indent="-285750">
              <a:buFont typeface="Arial" panose="020B0604020202020204" pitchFamily="34" charset="0"/>
              <a:buChar char="•"/>
            </a:pPr>
            <a:r>
              <a:rPr lang="en-US" sz="1800">
                <a:cs typeface="Calibri" panose="020F0502020204030204" pitchFamily="34" charset="0"/>
              </a:rPr>
              <a:t>N10 does not introduce new services compared to S6b</a:t>
            </a:r>
            <a:r>
              <a:rPr lang="en-US" sz="1800" b="1">
                <a:cs typeface="Calibri" panose="020F0502020204030204" pitchFamily="34" charset="0"/>
              </a:rPr>
              <a:t>, </a:t>
            </a:r>
            <a:r>
              <a:rPr lang="en-US" sz="1800">
                <a:cs typeface="Calibri" panose="020F0502020204030204" pitchFamily="34" charset="0"/>
              </a:rPr>
              <a:t>yet leads to more complexity in the interaction between HSS and UDM. And PGW needs to support N10 for </a:t>
            </a:r>
            <a:r>
              <a:rPr lang="en-US" sz="1800" err="1">
                <a:cs typeface="Calibri" panose="020F0502020204030204" pitchFamily="34" charset="0"/>
              </a:rPr>
              <a:t>ePDG</a:t>
            </a:r>
            <a:r>
              <a:rPr lang="en-US" sz="1800">
                <a:cs typeface="Calibri" panose="020F0502020204030204" pitchFamily="34" charset="0"/>
              </a:rPr>
              <a:t> access.</a:t>
            </a:r>
          </a:p>
          <a:p>
            <a:pPr marL="285750" indent="-285750">
              <a:buFont typeface="Arial" panose="020B0604020202020204" pitchFamily="34" charset="0"/>
              <a:buChar char="•"/>
            </a:pPr>
            <a:r>
              <a:rPr lang="en-US" sz="1800">
                <a:cs typeface="Calibri" panose="020F0502020204030204" pitchFamily="34" charset="0"/>
              </a:rPr>
              <a:t>It impacts the legacy LTE and </a:t>
            </a:r>
            <a:r>
              <a:rPr lang="en-US" sz="1800" err="1">
                <a:cs typeface="Calibri" panose="020F0502020204030204" pitchFamily="34" charset="0"/>
              </a:rPr>
              <a:t>WiFi</a:t>
            </a:r>
            <a:r>
              <a:rPr lang="en-US" sz="1800">
                <a:cs typeface="Calibri" panose="020F0502020204030204" pitchFamily="34" charset="0"/>
              </a:rPr>
              <a:t> interworking as the interaction between HSS and UDM is added.</a:t>
            </a:r>
            <a:endParaRPr lang="en-US" sz="1800"/>
          </a:p>
          <a:p>
            <a:pPr marL="0" lvl="0" indent="0">
              <a:buFont typeface="Arial" panose="020B0604020202020204" pitchFamily="34" charset="0"/>
              <a:buNone/>
            </a:pPr>
            <a:endParaRPr lang="en-US" sz="18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14 </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94D618-4C70-48CD-8C6C-922A7213C06D}"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66713180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 y="742950"/>
            <a:ext cx="6604000" cy="3714750"/>
          </a:xfrm>
        </p:spPr>
      </p:sp>
      <p:sp>
        <p:nvSpPr>
          <p:cNvPr id="3" name="Notes Placeholder 2"/>
          <p:cNvSpPr>
            <a:spLocks noGrp="1"/>
          </p:cNvSpPr>
          <p:nvPr>
            <p:ph type="body" idx="1"/>
          </p:nvPr>
        </p:nvSpPr>
        <p:spPr/>
        <p:txBody>
          <a:bodyPr/>
          <a:lstStyle/>
          <a:p>
            <a:r>
              <a:rPr lang="en-US">
                <a:solidFill>
                  <a:schemeClr val="bg1"/>
                </a:solidFill>
              </a:rPr>
              <a:t>All IMS services are supported via EPC integrated WLAN (single registration) and are also supported via 5GC integrated WLAN  (Untrusted WiFi in Rel 15)</a:t>
            </a:r>
          </a:p>
          <a:p>
            <a:pPr lvl="1"/>
            <a:endParaRPr lang="en-US">
              <a:solidFill>
                <a:schemeClr val="bg1"/>
              </a:solidFill>
            </a:endParaRPr>
          </a:p>
          <a:p>
            <a:pPr marL="628650" lvl="1" indent="-171450">
              <a:buFont typeface="Arial" panose="020B0604020202020204" pitchFamily="34" charset="0"/>
              <a:buChar char="•"/>
            </a:pPr>
            <a:r>
              <a:rPr lang="en-US">
                <a:highlight>
                  <a:srgbClr val="FFFF00"/>
                </a:highlight>
              </a:rPr>
              <a:t>Recommended to evolve EPC integrated WLAN</a:t>
            </a:r>
          </a:p>
          <a:p>
            <a:pPr marL="628650" lvl="1" indent="-171450">
              <a:buFont typeface="Arial" panose="020B0604020202020204" pitchFamily="34" charset="0"/>
              <a:buChar char="•"/>
            </a:pPr>
            <a:r>
              <a:rPr lang="en-US">
                <a:highlight>
                  <a:srgbClr val="FFFF00"/>
                </a:highlight>
              </a:rPr>
              <a:t>No urgent need for 5GC integrated WLAN – only needed in 5GC stand-alone deployments</a:t>
            </a:r>
          </a:p>
          <a:p>
            <a:pPr lvl="1"/>
            <a:endParaRPr lang="en-US">
              <a:solidFill>
                <a:schemeClr val="bg1"/>
              </a:solidFill>
            </a:endParaRPr>
          </a:p>
          <a:p>
            <a:r>
              <a:rPr lang="en-US">
                <a:solidFill>
                  <a:schemeClr val="bg1"/>
                </a:solidFill>
              </a:rPr>
              <a:t>Support of handover between </a:t>
            </a:r>
          </a:p>
          <a:p>
            <a:pPr lvl="1"/>
            <a:r>
              <a:rPr lang="en-US">
                <a:solidFill>
                  <a:schemeClr val="bg1"/>
                </a:solidFill>
              </a:rPr>
              <a:t>WiFi and LTE and </a:t>
            </a:r>
          </a:p>
          <a:p>
            <a:pPr lvl="1"/>
            <a:r>
              <a:rPr lang="en-US">
                <a:solidFill>
                  <a:schemeClr val="bg1"/>
                </a:solidFill>
              </a:rPr>
              <a:t>WiFi and NG-RAN</a:t>
            </a:r>
          </a:p>
          <a:p>
            <a:endParaRPr lang="en-US"/>
          </a:p>
          <a:p>
            <a:r>
              <a:rPr lang="en-GB" sz="1200" kern="1200">
                <a:solidFill>
                  <a:schemeClr val="tx1"/>
                </a:solidFill>
                <a:effectLst/>
                <a:latin typeface="Arial" charset="0"/>
                <a:ea typeface="+mn-ea"/>
                <a:cs typeface="+mn-cs"/>
              </a:rPr>
              <a:t>Non-3GPP </a:t>
            </a:r>
            <a:r>
              <a:rPr lang="en-GB" sz="1200" kern="1200" err="1">
                <a:solidFill>
                  <a:schemeClr val="tx1"/>
                </a:solidFill>
                <a:effectLst/>
                <a:latin typeface="Arial" charset="0"/>
                <a:ea typeface="+mn-ea"/>
                <a:cs typeface="+mn-cs"/>
              </a:rPr>
              <a:t>InterWorking</a:t>
            </a:r>
            <a:r>
              <a:rPr lang="en-GB" sz="1200" kern="1200">
                <a:solidFill>
                  <a:schemeClr val="tx1"/>
                </a:solidFill>
                <a:effectLst/>
                <a:latin typeface="Arial" charset="0"/>
                <a:ea typeface="+mn-ea"/>
                <a:cs typeface="+mn-cs"/>
              </a:rPr>
              <a:t> Function (N3IWF)</a:t>
            </a:r>
          </a:p>
          <a:p>
            <a:endParaRPr lang="en-GB" sz="1200" kern="1200">
              <a:solidFill>
                <a:schemeClr val="tx1"/>
              </a:solidFill>
              <a:effectLst/>
              <a:latin typeface="Arial" charset="0"/>
              <a:ea typeface="+mn-ea"/>
              <a:cs typeface="+mn-cs"/>
            </a:endParaRPr>
          </a:p>
          <a:p>
            <a:endParaRPr lang="en-GB" sz="1200" kern="1200">
              <a:solidFill>
                <a:schemeClr val="tx1"/>
              </a:solidFill>
              <a:effectLst/>
              <a:latin typeface="Arial" charset="0"/>
              <a:ea typeface="+mn-ea"/>
              <a:cs typeface="+mn-cs"/>
            </a:endParaRPr>
          </a:p>
          <a:p>
            <a:pPr lvl="1"/>
            <a:r>
              <a:rPr lang="en-US" sz="1600"/>
              <a:t>Recommended to evolve </a:t>
            </a:r>
            <a:r>
              <a:rPr lang="en-US" sz="1600" err="1"/>
              <a:t>ePDG</a:t>
            </a:r>
            <a:r>
              <a:rPr lang="en-US" sz="1600"/>
              <a:t>/EPC to support 5GC interworking</a:t>
            </a:r>
          </a:p>
          <a:p>
            <a:pPr lvl="1"/>
            <a:r>
              <a:rPr lang="en-US" sz="1600"/>
              <a:t>No urgent need for 5GC/N3IWF </a:t>
            </a:r>
          </a:p>
          <a:p>
            <a:r>
              <a:rPr lang="en-US" sz="1600" err="1"/>
              <a:t>ePDG</a:t>
            </a:r>
            <a:r>
              <a:rPr lang="en-US" sz="1600"/>
              <a:t>/EPC and 5GC/3GPP interworking</a:t>
            </a:r>
          </a:p>
          <a:p>
            <a:pPr lvl="2"/>
            <a:r>
              <a:rPr lang="en-US" sz="1600"/>
              <a:t>Support of UE-initiated handover between</a:t>
            </a:r>
          </a:p>
          <a:p>
            <a:pPr lvl="3"/>
            <a:r>
              <a:rPr lang="en-US" sz="1600"/>
              <a:t>WLAN and E-UTRAN/EPC (pre Rel 15)</a:t>
            </a:r>
          </a:p>
          <a:p>
            <a:pPr lvl="3"/>
            <a:r>
              <a:rPr lang="en-US" sz="1600"/>
              <a:t>WLAN and NG-RAN/5GC (Rel 15)</a:t>
            </a:r>
          </a:p>
          <a:p>
            <a:r>
              <a:rPr lang="en-US" sz="1600"/>
              <a:t>N3IWF/5GC and 5GC/3GPP, N3IWF/5GC and EPC/3GPP interworking</a:t>
            </a:r>
          </a:p>
          <a:p>
            <a:pPr lvl="1"/>
            <a:r>
              <a:rPr lang="en-US" sz="1600"/>
              <a:t>Support of NAS between UE and AMF (incl.  SMS over NAS)</a:t>
            </a:r>
          </a:p>
          <a:p>
            <a:pPr lvl="1"/>
            <a:r>
              <a:rPr lang="en-US" sz="1600"/>
              <a:t>All IMS services and required handover cases are supported both via EPC integrated WLAN and via 5GC integrated WLAN</a:t>
            </a:r>
          </a:p>
          <a:p>
            <a:endParaRPr lang="en-US"/>
          </a:p>
        </p:txBody>
      </p:sp>
      <p:sp>
        <p:nvSpPr>
          <p:cNvPr id="8" name="Slide Number Placeholder 7">
            <a:extLst>
              <a:ext uri="{FF2B5EF4-FFF2-40B4-BE49-F238E27FC236}">
                <a16:creationId xmlns:a16="http://schemas.microsoft.com/office/drawing/2014/main" id="{503CC260-B8EE-4276-A1B4-4BC97077C7B6}"/>
              </a:ext>
            </a:extLst>
          </p:cNvPr>
          <p:cNvSpPr>
            <a:spLocks noGrp="1"/>
          </p:cNvSpPr>
          <p:nvPr>
            <p:ph type="sldNum" sz="quarter" idx="5"/>
          </p:nvPr>
        </p:nvSpPr>
        <p:spPr/>
        <p:txBody>
          <a:bodyPr/>
          <a:lstStyle/>
          <a:p>
            <a:fld id="{3D81E753-DC98-4129-9E35-94B58E3A1199}" type="slidenum">
              <a:rPr lang="en-US" smtClean="0"/>
              <a:t>105</a:t>
            </a:fld>
            <a:endParaRPr lang="en-US"/>
          </a:p>
        </p:txBody>
      </p:sp>
      <p:sp>
        <p:nvSpPr>
          <p:cNvPr id="9" name="Header Placeholder 8">
            <a:extLst>
              <a:ext uri="{FF2B5EF4-FFF2-40B4-BE49-F238E27FC236}">
                <a16:creationId xmlns:a16="http://schemas.microsoft.com/office/drawing/2014/main" id="{A564781B-2563-485E-A883-2F88FC4C2AD2}"/>
              </a:ext>
            </a:extLst>
          </p:cNvPr>
          <p:cNvSpPr>
            <a:spLocks noGrp="1"/>
          </p:cNvSpPr>
          <p:nvPr>
            <p:ph type="hdr" sz="quarter"/>
          </p:nvPr>
        </p:nvSpPr>
        <p:spPr/>
        <p:txBody>
          <a:bodyPr/>
          <a:lstStyle/>
          <a:p>
            <a:r>
              <a:rPr lang="en-US"/>
              <a:t> </a:t>
            </a:r>
          </a:p>
        </p:txBody>
      </p:sp>
      <p:sp>
        <p:nvSpPr>
          <p:cNvPr id="10" name="Footer Placeholder 9">
            <a:extLst>
              <a:ext uri="{FF2B5EF4-FFF2-40B4-BE49-F238E27FC236}">
                <a16:creationId xmlns:a16="http://schemas.microsoft.com/office/drawing/2014/main" id="{2ADEAF8B-4865-48EA-B7E0-8155800C15CF}"/>
              </a:ext>
            </a:extLst>
          </p:cNvPr>
          <p:cNvSpPr>
            <a:spLocks noGrp="1"/>
          </p:cNvSpPr>
          <p:nvPr>
            <p:ph type="ftr" sz="quarter" idx="4"/>
          </p:nvPr>
        </p:nvSpPr>
        <p:spPr/>
        <p:txBody>
          <a:bodyPr/>
          <a:lstStyle/>
          <a:p>
            <a:r>
              <a:rPr lang="en-US"/>
              <a:t> </a:t>
            </a:r>
          </a:p>
        </p:txBody>
      </p:sp>
      <p:sp>
        <p:nvSpPr>
          <p:cNvPr id="11" name="Date Placeholder 10">
            <a:extLst>
              <a:ext uri="{FF2B5EF4-FFF2-40B4-BE49-F238E27FC236}">
                <a16:creationId xmlns:a16="http://schemas.microsoft.com/office/drawing/2014/main" id="{A989A258-663E-44FE-898F-F1454D58B2CF}"/>
              </a:ext>
            </a:extLst>
          </p:cNvPr>
          <p:cNvSpPr>
            <a:spLocks noGrp="1"/>
          </p:cNvSpPr>
          <p:nvPr>
            <p:ph type="dt" idx="1"/>
          </p:nvPr>
        </p:nvSpPr>
        <p:spPr/>
        <p:txBody>
          <a:bodyPr/>
          <a:lstStyle/>
          <a:p>
            <a:r>
              <a:rPr lang="en-US"/>
              <a:t>2019-10-14 </a:t>
            </a:r>
          </a:p>
        </p:txBody>
      </p:sp>
    </p:spTree>
    <p:extLst>
      <p:ext uri="{BB962C8B-B14F-4D97-AF65-F5344CB8AC3E}">
        <p14:creationId xmlns:p14="http://schemas.microsoft.com/office/powerpoint/2010/main" val="69021999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106</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49531551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sv-SE" sz="1200"/>
              <a:t>HSS	Home Subscriber Server</a:t>
            </a:r>
          </a:p>
          <a:p>
            <a:pPr>
              <a:buClr>
                <a:schemeClr val="tx1"/>
              </a:buClr>
            </a:pPr>
            <a:r>
              <a:rPr lang="sv-SE" sz="1200"/>
              <a:t>MME	Mobility Management Entity</a:t>
            </a:r>
          </a:p>
          <a:p>
            <a:pPr>
              <a:buClr>
                <a:schemeClr val="tx1"/>
              </a:buClr>
            </a:pPr>
            <a:r>
              <a:rPr lang="en-US" sz="1200"/>
              <a:t>PCRF	Policy and Charging Rules Function</a:t>
            </a:r>
          </a:p>
          <a:p>
            <a:pPr>
              <a:buClr>
                <a:schemeClr val="tx1"/>
              </a:buClr>
            </a:pPr>
            <a:r>
              <a:rPr lang="en-US" sz="1200"/>
              <a:t>PGW	PDN Gateway</a:t>
            </a:r>
          </a:p>
          <a:p>
            <a:pPr>
              <a:buClr>
                <a:schemeClr val="tx1"/>
              </a:buClr>
            </a:pPr>
            <a:r>
              <a:rPr lang="en-US" sz="1200"/>
              <a:t>SGW	Serving Gateway</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B4A7F-B7AC-49CA-9795-E6D0B126477F}"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07</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4095406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a:cs typeface="Arial" panose="020B0604020202020204" pitchFamily="34" charset="0"/>
              </a:rPr>
              <a:t>Dynamic mobility switching is about support for switching N3-U tunnels at switch between radio accesses, e.g. in option 3x (NR as Master for UP) and option 1 (LTE) or within option 3a between NR and LTE.</a:t>
            </a:r>
            <a:endParaRPr lang="en-US">
              <a:solidFill>
                <a:schemeClr val="bg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586E87-7527-4128-AFA5-447858A581A8}"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08</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0113402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US">
                <a:solidFill>
                  <a:schemeClr val="bg1"/>
                </a:solidFill>
              </a:rPr>
              <a:t>For Option 3a the strict interpretation is that there is only a SCG bearer towards </a:t>
            </a:r>
            <a:r>
              <a:rPr lang="en-US" err="1">
                <a:solidFill>
                  <a:schemeClr val="bg1"/>
                </a:solidFill>
              </a:rPr>
              <a:t>gNB</a:t>
            </a:r>
            <a:r>
              <a:rPr lang="en-US">
                <a:solidFill>
                  <a:schemeClr val="bg1"/>
                </a:solidFill>
              </a:rPr>
              <a:t> and UP is only over NR, </a:t>
            </a:r>
            <a:br>
              <a:rPr lang="en-US">
                <a:solidFill>
                  <a:schemeClr val="bg1"/>
                </a:solidFill>
              </a:rPr>
            </a:br>
            <a:r>
              <a:rPr lang="en-US">
                <a:solidFill>
                  <a:schemeClr val="bg1"/>
                </a:solidFill>
              </a:rPr>
              <a:t>but in case NR coverage is lost there needs to be a possibility to use LTE access and in this case the CN bearers can be switched to a MCG bearer to </a:t>
            </a:r>
            <a:r>
              <a:rPr lang="en-US" err="1">
                <a:solidFill>
                  <a:schemeClr val="bg1"/>
                </a:solidFill>
              </a:rPr>
              <a:t>eNB</a:t>
            </a:r>
            <a:r>
              <a:rPr lang="en-US">
                <a:solidFill>
                  <a:schemeClr val="bg1"/>
                </a:solidFill>
              </a:rPr>
              <a:t> while still in EN-DC</a:t>
            </a:r>
            <a:br>
              <a:rPr lang="en-US">
                <a:solidFill>
                  <a:schemeClr val="bg1"/>
                </a:solidFill>
              </a:rPr>
            </a:br>
            <a:r>
              <a:rPr lang="en-US">
                <a:solidFill>
                  <a:schemeClr val="bg1"/>
                </a:solidFill>
              </a:rPr>
              <a:t>It is also possible for a UE to using a SCG bearer in parallel with a MCG bearer for different services, e.g. MBB/Internet over SCG and </a:t>
            </a:r>
            <a:r>
              <a:rPr lang="en-US" err="1">
                <a:solidFill>
                  <a:schemeClr val="bg1"/>
                </a:solidFill>
              </a:rPr>
              <a:t>VoLTE</a:t>
            </a:r>
            <a:r>
              <a:rPr lang="en-US">
                <a:solidFill>
                  <a:schemeClr val="bg1"/>
                </a:solidFill>
              </a:rPr>
              <a:t> over MCG</a:t>
            </a:r>
          </a:p>
          <a:p>
            <a:endParaRPr lang="en-US"/>
          </a:p>
        </p:txBody>
      </p:sp>
      <p:sp>
        <p:nvSpPr>
          <p:cNvPr id="4" name="Date Placeholder 3"/>
          <p:cNvSpPr>
            <a:spLocks noGrp="1"/>
          </p:cNvSpPr>
          <p:nvPr>
            <p:ph type="dt" idx="10"/>
          </p:nvPr>
        </p:nvSpPr>
        <p:spPr/>
        <p:txBody>
          <a:bodyPr/>
          <a:lstStyle/>
          <a:p>
            <a:pPr defTabSz="904616" fontAlgn="auto">
              <a:spcBef>
                <a:spcPts val="0"/>
              </a:spcBef>
              <a:spcAft>
                <a:spcPts val="0"/>
              </a:spcAft>
              <a:defRPr/>
            </a:pPr>
            <a:r>
              <a:rPr lang="en-US" sz="1800" kern="0">
                <a:solidFill>
                  <a:sysClr val="windowText" lastClr="000000"/>
                </a:solidFill>
              </a:rPr>
              <a:t>2019-10-07 </a:t>
            </a:r>
          </a:p>
        </p:txBody>
      </p:sp>
      <p:sp>
        <p:nvSpPr>
          <p:cNvPr id="5" name="Slide Number Placeholder 4"/>
          <p:cNvSpPr>
            <a:spLocks noGrp="1"/>
          </p:cNvSpPr>
          <p:nvPr>
            <p:ph type="sldNum" sz="quarter" idx="11"/>
          </p:nvPr>
        </p:nvSpPr>
        <p:spPr/>
        <p:txBody>
          <a:bodyPr/>
          <a:lstStyle/>
          <a:p>
            <a:pPr defTabSz="904616" fontAlgn="auto">
              <a:spcBef>
                <a:spcPts val="0"/>
              </a:spcBef>
              <a:spcAft>
                <a:spcPts val="0"/>
              </a:spcAft>
              <a:defRPr/>
            </a:pPr>
            <a:fld id="{FEADBF2D-3098-4EBD-B4F3-43AB22846CA6}" type="slidenum">
              <a:rPr lang="en-US" sz="1800" kern="0" smtClean="0">
                <a:solidFill>
                  <a:sysClr val="windowText" lastClr="000000"/>
                </a:solidFill>
              </a:rPr>
              <a:t>109</a:t>
            </a:fld>
            <a:endParaRPr lang="en-US" sz="1800" kern="0">
              <a:solidFill>
                <a:sysClr val="windowText" lastClr="000000"/>
              </a:solidFill>
            </a:endParaRPr>
          </a:p>
        </p:txBody>
      </p:sp>
      <p:sp>
        <p:nvSpPr>
          <p:cNvPr id="6" name="Header Placeholder 5"/>
          <p:cNvSpPr>
            <a:spLocks noGrp="1"/>
          </p:cNvSpPr>
          <p:nvPr>
            <p:ph type="hdr" sz="quarter" idx="12"/>
          </p:nvPr>
        </p:nvSpPr>
        <p:spPr/>
        <p:txBody>
          <a:bodyPr/>
          <a:lstStyle/>
          <a:p>
            <a:pPr defTabSz="904616" fontAlgn="auto">
              <a:spcBef>
                <a:spcPts val="0"/>
              </a:spcBef>
              <a:spcAft>
                <a:spcPts val="0"/>
              </a:spcAft>
              <a:defRPr/>
            </a:pPr>
            <a:r>
              <a:rPr lang="en-US" sz="1800" kern="0">
                <a:solidFill>
                  <a:sysClr val="windowText" lastClr="000000"/>
                </a:solidFill>
              </a:rPr>
              <a:t>The 5G Core Network Deep Dive </a:t>
            </a:r>
          </a:p>
        </p:txBody>
      </p:sp>
      <p:sp>
        <p:nvSpPr>
          <p:cNvPr id="7" name="Footer Placeholder 6"/>
          <p:cNvSpPr>
            <a:spLocks noGrp="1"/>
          </p:cNvSpPr>
          <p:nvPr>
            <p:ph type="ftr" sz="quarter" idx="13"/>
          </p:nvPr>
        </p:nvSpPr>
        <p:spPr/>
        <p:txBody>
          <a:bodyPr/>
          <a:lstStyle/>
          <a:p>
            <a:pPr defTabSz="904616" fontAlgn="auto">
              <a:spcBef>
                <a:spcPts val="0"/>
              </a:spcBef>
              <a:spcAft>
                <a:spcPts val="0"/>
              </a:spcAft>
              <a:defRPr/>
            </a:pPr>
            <a:r>
              <a:rPr lang="en-US" sz="1800" kern="0">
                <a:solidFill>
                  <a:sysClr val="windowText" lastClr="000000"/>
                </a:solidFill>
              </a:rPr>
              <a:t>BICP-16:000214 Uen, Rev N </a:t>
            </a:r>
          </a:p>
        </p:txBody>
      </p:sp>
    </p:spTree>
    <p:extLst>
      <p:ext uri="{BB962C8B-B14F-4D97-AF65-F5344CB8AC3E}">
        <p14:creationId xmlns:p14="http://schemas.microsoft.com/office/powerpoint/2010/main" val="400919174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08">
              <a:defRPr/>
            </a:pPr>
            <a:r>
              <a:rPr lang="en-US">
                <a:solidFill>
                  <a:schemeClr val="bg1"/>
                </a:solidFill>
              </a:rPr>
              <a:t>A more detailed alternative is available in slide 56</a:t>
            </a:r>
          </a:p>
          <a:p>
            <a:pPr defTabSz="896108">
              <a:defRPr/>
            </a:pPr>
            <a:r>
              <a:rPr lang="en-US">
                <a:solidFill>
                  <a:schemeClr val="bg1"/>
                </a:solidFill>
              </a:rPr>
              <a:t>For Option 3a the strict interpretation is that there is only a SCG bearer towards </a:t>
            </a:r>
            <a:r>
              <a:rPr lang="en-US" err="1">
                <a:solidFill>
                  <a:schemeClr val="bg1"/>
                </a:solidFill>
              </a:rPr>
              <a:t>gNB</a:t>
            </a:r>
            <a:r>
              <a:rPr lang="en-US">
                <a:solidFill>
                  <a:schemeClr val="bg1"/>
                </a:solidFill>
              </a:rPr>
              <a:t> and UP is only over NR, </a:t>
            </a:r>
            <a:br>
              <a:rPr lang="en-US">
                <a:solidFill>
                  <a:schemeClr val="bg1"/>
                </a:solidFill>
              </a:rPr>
            </a:br>
            <a:r>
              <a:rPr lang="en-US">
                <a:solidFill>
                  <a:schemeClr val="bg1"/>
                </a:solidFill>
              </a:rPr>
              <a:t>but in case NR coverage is lost there needs to be a possibility to use LTE access and in this case the CN bearers can be switched to a MCG bearer to </a:t>
            </a:r>
            <a:r>
              <a:rPr lang="en-US" err="1">
                <a:solidFill>
                  <a:schemeClr val="bg1"/>
                </a:solidFill>
              </a:rPr>
              <a:t>eNB</a:t>
            </a:r>
            <a:r>
              <a:rPr lang="en-US">
                <a:solidFill>
                  <a:schemeClr val="bg1"/>
                </a:solidFill>
              </a:rPr>
              <a:t> while still in EN-DC</a:t>
            </a:r>
            <a:br>
              <a:rPr lang="en-US">
                <a:solidFill>
                  <a:schemeClr val="bg1"/>
                </a:solidFill>
              </a:rPr>
            </a:br>
            <a:r>
              <a:rPr lang="en-US">
                <a:solidFill>
                  <a:schemeClr val="bg1"/>
                </a:solidFill>
              </a:rPr>
              <a:t>It is also possible for a UE to using a SCG bearer in parallel with a MCG bearer for different services, e.g. MBB/Internet over SCG and </a:t>
            </a:r>
            <a:r>
              <a:rPr lang="en-US" err="1">
                <a:solidFill>
                  <a:schemeClr val="bg1"/>
                </a:solidFill>
              </a:rPr>
              <a:t>VoLTE</a:t>
            </a:r>
            <a:r>
              <a:rPr lang="en-US">
                <a:solidFill>
                  <a:schemeClr val="bg1"/>
                </a:solidFill>
              </a:rPr>
              <a:t> over MCG</a:t>
            </a:r>
          </a:p>
          <a:p>
            <a:pPr defTabSz="896108">
              <a:defRPr/>
            </a:pPr>
            <a:endParaRPr lang="en-US">
              <a:solidFill>
                <a:schemeClr val="bg1"/>
              </a:solidFill>
            </a:endParaRPr>
          </a:p>
          <a:p>
            <a:pPr defTabSz="894937">
              <a:defRPr/>
            </a:pPr>
            <a:r>
              <a:rPr lang="en-US">
                <a:solidFill>
                  <a:schemeClr val="bg1"/>
                </a:solidFill>
              </a:rPr>
              <a:t>3GPP TR 38.801 is the technical report (study) done in preparation of 5G </a:t>
            </a:r>
            <a:r>
              <a:rPr lang="en-US" err="1">
                <a:solidFill>
                  <a:schemeClr val="bg1"/>
                </a:solidFill>
              </a:rPr>
              <a:t>Rel</a:t>
            </a:r>
            <a:r>
              <a:rPr lang="en-US">
                <a:solidFill>
                  <a:schemeClr val="bg1"/>
                </a:solidFill>
              </a:rPr>
              <a:t> 15.</a:t>
            </a:r>
          </a:p>
          <a:p>
            <a:pPr defTabSz="894937">
              <a:defRPr/>
            </a:pPr>
            <a:endParaRPr lang="en-US">
              <a:solidFill>
                <a:schemeClr val="bg1"/>
              </a:solidFill>
            </a:endParaRPr>
          </a:p>
          <a:p>
            <a:pPr defTabSz="894937">
              <a:defRPr/>
            </a:pPr>
            <a:r>
              <a:rPr lang="en-US">
                <a:solidFill>
                  <a:schemeClr val="bg1"/>
                </a:solidFill>
                <a:sym typeface="Wingdings" panose="05000000000000000000" pitchFamily="2" charset="2"/>
              </a:rPr>
              <a:t>3GPP TS </a:t>
            </a:r>
            <a:r>
              <a:rPr lang="en-US">
                <a:solidFill>
                  <a:schemeClr val="bg1"/>
                </a:solidFill>
              </a:rPr>
              <a:t>37.340 is the technical specification (normative) for 5G </a:t>
            </a:r>
            <a:r>
              <a:rPr lang="en-US" err="1">
                <a:solidFill>
                  <a:schemeClr val="bg1"/>
                </a:solidFill>
              </a:rPr>
              <a:t>Rel</a:t>
            </a:r>
            <a:r>
              <a:rPr lang="en-US">
                <a:solidFill>
                  <a:schemeClr val="bg1"/>
                </a:solidFill>
              </a:rPr>
              <a:t> 15, work still ongoing. In this specification the terminology of the different options is not used but rather how they are realized by using different bearer types with dual connectivity as baseline.</a:t>
            </a:r>
          </a:p>
          <a:p>
            <a:endParaRPr lang="en-US"/>
          </a:p>
        </p:txBody>
      </p:sp>
      <p:sp>
        <p:nvSpPr>
          <p:cNvPr id="4" name="Date Placeholder 3"/>
          <p:cNvSpPr>
            <a:spLocks noGrp="1"/>
          </p:cNvSpPr>
          <p:nvPr>
            <p:ph type="dt" idx="10"/>
          </p:nvPr>
        </p:nvSpPr>
        <p:spPr/>
        <p:txBody>
          <a:bodyPr/>
          <a:lstStyle/>
          <a:p>
            <a:pPr defTabSz="904616" fontAlgn="auto">
              <a:spcBef>
                <a:spcPts val="0"/>
              </a:spcBef>
              <a:spcAft>
                <a:spcPts val="0"/>
              </a:spcAft>
              <a:defRPr/>
            </a:pPr>
            <a:r>
              <a:rPr lang="en-US" sz="1800" kern="0">
                <a:solidFill>
                  <a:sysClr val="windowText" lastClr="000000"/>
                </a:solidFill>
              </a:rPr>
              <a:t>2019-10-07 </a:t>
            </a:r>
          </a:p>
        </p:txBody>
      </p:sp>
      <p:sp>
        <p:nvSpPr>
          <p:cNvPr id="5" name="Slide Number Placeholder 4"/>
          <p:cNvSpPr>
            <a:spLocks noGrp="1"/>
          </p:cNvSpPr>
          <p:nvPr>
            <p:ph type="sldNum" sz="quarter" idx="11"/>
          </p:nvPr>
        </p:nvSpPr>
        <p:spPr/>
        <p:txBody>
          <a:bodyPr/>
          <a:lstStyle/>
          <a:p>
            <a:pPr defTabSz="904616" fontAlgn="auto">
              <a:spcBef>
                <a:spcPts val="0"/>
              </a:spcBef>
              <a:spcAft>
                <a:spcPts val="0"/>
              </a:spcAft>
              <a:defRPr/>
            </a:pPr>
            <a:fld id="{CEF70699-71D5-45D5-B254-62A0A6E45806}" type="slidenum">
              <a:rPr lang="en-US" sz="1800" kern="0" smtClean="0">
                <a:solidFill>
                  <a:sysClr val="windowText" lastClr="000000"/>
                </a:solidFill>
              </a:rPr>
              <a:t>110</a:t>
            </a:fld>
            <a:endParaRPr lang="en-US" sz="1800" kern="0">
              <a:solidFill>
                <a:sysClr val="windowText" lastClr="000000"/>
              </a:solidFill>
            </a:endParaRPr>
          </a:p>
        </p:txBody>
      </p:sp>
      <p:sp>
        <p:nvSpPr>
          <p:cNvPr id="6" name="Header Placeholder 5"/>
          <p:cNvSpPr>
            <a:spLocks noGrp="1"/>
          </p:cNvSpPr>
          <p:nvPr>
            <p:ph type="hdr" sz="quarter" idx="12"/>
          </p:nvPr>
        </p:nvSpPr>
        <p:spPr/>
        <p:txBody>
          <a:bodyPr/>
          <a:lstStyle/>
          <a:p>
            <a:pPr defTabSz="904616" fontAlgn="auto">
              <a:spcBef>
                <a:spcPts val="0"/>
              </a:spcBef>
              <a:spcAft>
                <a:spcPts val="0"/>
              </a:spcAft>
              <a:defRPr/>
            </a:pPr>
            <a:r>
              <a:rPr lang="en-US" sz="1800" kern="0">
                <a:solidFill>
                  <a:sysClr val="windowText" lastClr="000000"/>
                </a:solidFill>
              </a:rPr>
              <a:t>The 5G Core Network Deep Dive </a:t>
            </a:r>
          </a:p>
        </p:txBody>
      </p:sp>
      <p:sp>
        <p:nvSpPr>
          <p:cNvPr id="7" name="Footer Placeholder 6"/>
          <p:cNvSpPr>
            <a:spLocks noGrp="1"/>
          </p:cNvSpPr>
          <p:nvPr>
            <p:ph type="ftr" sz="quarter" idx="13"/>
          </p:nvPr>
        </p:nvSpPr>
        <p:spPr/>
        <p:txBody>
          <a:bodyPr/>
          <a:lstStyle/>
          <a:p>
            <a:pPr defTabSz="904616" fontAlgn="auto">
              <a:spcBef>
                <a:spcPts val="0"/>
              </a:spcBef>
              <a:spcAft>
                <a:spcPts val="0"/>
              </a:spcAft>
              <a:defRPr/>
            </a:pPr>
            <a:r>
              <a:rPr lang="en-US" sz="1800" kern="0">
                <a:solidFill>
                  <a:sysClr val="windowText" lastClr="000000"/>
                </a:solidFill>
              </a:rPr>
              <a:t>BICP-16:000214 Uen, Rev N </a:t>
            </a:r>
          </a:p>
        </p:txBody>
      </p:sp>
    </p:spTree>
    <p:extLst>
      <p:ext uri="{BB962C8B-B14F-4D97-AF65-F5344CB8AC3E}">
        <p14:creationId xmlns:p14="http://schemas.microsoft.com/office/powerpoint/2010/main" val="84728899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08">
              <a:defRPr/>
            </a:pPr>
            <a:r>
              <a:rPr lang="en-US" sz="1100">
                <a:solidFill>
                  <a:schemeClr val="bg1"/>
                </a:solidFill>
              </a:rPr>
              <a:t>A more detailed alternative to slide 55</a:t>
            </a:r>
          </a:p>
          <a:p>
            <a:pPr defTabSz="896108">
              <a:defRPr/>
            </a:pPr>
            <a:r>
              <a:rPr lang="en-US" sz="1100">
                <a:solidFill>
                  <a:schemeClr val="bg1"/>
                </a:solidFill>
              </a:rPr>
              <a:t>For Option 3a the strict interpretation is that there is only a SCG bearer towards </a:t>
            </a:r>
            <a:r>
              <a:rPr lang="en-US" sz="1100" err="1">
                <a:solidFill>
                  <a:schemeClr val="bg1"/>
                </a:solidFill>
              </a:rPr>
              <a:t>gNB</a:t>
            </a:r>
            <a:r>
              <a:rPr lang="en-US" sz="1100">
                <a:solidFill>
                  <a:schemeClr val="bg1"/>
                </a:solidFill>
              </a:rPr>
              <a:t> and UP is only over NR, </a:t>
            </a:r>
            <a:br>
              <a:rPr lang="en-US" sz="1100">
                <a:solidFill>
                  <a:schemeClr val="bg1"/>
                </a:solidFill>
              </a:rPr>
            </a:br>
            <a:r>
              <a:rPr lang="en-US" sz="1100">
                <a:solidFill>
                  <a:schemeClr val="bg1"/>
                </a:solidFill>
              </a:rPr>
              <a:t>but in case NR coverage is lost there needs to be a possibility to use LTE access and in this case the CN bearers can be switched to a MCG bearer to </a:t>
            </a:r>
            <a:r>
              <a:rPr lang="en-US" sz="1100" err="1">
                <a:solidFill>
                  <a:schemeClr val="bg1"/>
                </a:solidFill>
              </a:rPr>
              <a:t>eNB</a:t>
            </a:r>
            <a:r>
              <a:rPr lang="en-US" sz="1100">
                <a:solidFill>
                  <a:schemeClr val="bg1"/>
                </a:solidFill>
              </a:rPr>
              <a:t> while still in EN-DC</a:t>
            </a:r>
            <a:br>
              <a:rPr lang="en-US" sz="1100">
                <a:solidFill>
                  <a:schemeClr val="bg1"/>
                </a:solidFill>
              </a:rPr>
            </a:br>
            <a:r>
              <a:rPr lang="en-US" sz="1100">
                <a:solidFill>
                  <a:schemeClr val="bg1"/>
                </a:solidFill>
              </a:rPr>
              <a:t>It is also possible for a UE to using a SCG bearer in parallel with a MCG bearer for different services, e.g. MBB/Internet over SCG and VoLTE over MCG</a:t>
            </a:r>
          </a:p>
          <a:p>
            <a:pPr defTabSz="896108">
              <a:defRPr/>
            </a:pPr>
            <a:endParaRPr lang="en-US" sz="1100">
              <a:solidFill>
                <a:schemeClr val="bg1"/>
              </a:solidFill>
            </a:endParaRPr>
          </a:p>
          <a:p>
            <a:pPr defTabSz="896108">
              <a:defRPr/>
            </a:pPr>
            <a:r>
              <a:rPr lang="en-US" sz="1100">
                <a:solidFill>
                  <a:schemeClr val="bg1"/>
                </a:solidFill>
              </a:rPr>
              <a:t>3GPP TR 38.801 is the technical report (study) done in preparation of 5G Rel 15. </a:t>
            </a:r>
          </a:p>
          <a:p>
            <a:pPr defTabSz="896108">
              <a:defRPr/>
            </a:pPr>
            <a:endParaRPr lang="en-US" sz="1100">
              <a:solidFill>
                <a:schemeClr val="bg1"/>
              </a:solidFill>
            </a:endParaRPr>
          </a:p>
          <a:p>
            <a:pPr defTabSz="896108">
              <a:defRPr/>
            </a:pPr>
            <a:r>
              <a:rPr lang="en-US" sz="1100">
                <a:solidFill>
                  <a:schemeClr val="bg1"/>
                </a:solidFill>
                <a:sym typeface="Wingdings" panose="05000000000000000000" pitchFamily="2" charset="2"/>
              </a:rPr>
              <a:t>3GPP TS </a:t>
            </a:r>
            <a:r>
              <a:rPr lang="en-US" sz="1100">
                <a:solidFill>
                  <a:schemeClr val="bg1"/>
                </a:solidFill>
              </a:rPr>
              <a:t>37.340 is the technical specification (normative) for 5G Rel 15, work still ongoing. In this specification the terminology of the different options is not used but rather how they are realized by using different bearer types with dual connectivity as baseline.</a:t>
            </a:r>
          </a:p>
          <a:p>
            <a:endParaRPr lang="en-US" sz="1100"/>
          </a:p>
        </p:txBody>
      </p:sp>
      <p:sp>
        <p:nvSpPr>
          <p:cNvPr id="4" name="Date Placeholder 3"/>
          <p:cNvSpPr>
            <a:spLocks noGrp="1"/>
          </p:cNvSpPr>
          <p:nvPr>
            <p:ph type="dt" idx="10"/>
          </p:nvPr>
        </p:nvSpPr>
        <p:spPr/>
        <p:txBody>
          <a:bodyPr/>
          <a:lstStyle/>
          <a:p>
            <a:pPr defTabSz="905800" fontAlgn="auto">
              <a:spcBef>
                <a:spcPts val="0"/>
              </a:spcBef>
              <a:spcAft>
                <a:spcPts val="0"/>
              </a:spcAft>
              <a:defRPr/>
            </a:pPr>
            <a:r>
              <a:rPr lang="en-US" sz="1800" kern="0">
                <a:solidFill>
                  <a:sysClr val="windowText" lastClr="000000"/>
                </a:solidFill>
              </a:rPr>
              <a:t>2019-10-07 </a:t>
            </a:r>
          </a:p>
        </p:txBody>
      </p:sp>
      <p:sp>
        <p:nvSpPr>
          <p:cNvPr id="5" name="Slide Number Placeholder 4"/>
          <p:cNvSpPr>
            <a:spLocks noGrp="1"/>
          </p:cNvSpPr>
          <p:nvPr>
            <p:ph type="sldNum" sz="quarter" idx="11"/>
          </p:nvPr>
        </p:nvSpPr>
        <p:spPr/>
        <p:txBody>
          <a:bodyPr/>
          <a:lstStyle/>
          <a:p>
            <a:pPr defTabSz="905800" fontAlgn="auto">
              <a:spcBef>
                <a:spcPts val="0"/>
              </a:spcBef>
              <a:spcAft>
                <a:spcPts val="0"/>
              </a:spcAft>
              <a:defRPr/>
            </a:pPr>
            <a:fld id="{86DE5D08-02B7-48F5-B4FC-6C357A6CC3CA}" type="slidenum">
              <a:rPr lang="en-US" sz="1800" kern="0" smtClean="0">
                <a:solidFill>
                  <a:sysClr val="windowText" lastClr="000000"/>
                </a:solidFill>
              </a:rPr>
              <a:t>111</a:t>
            </a:fld>
            <a:endParaRPr lang="en-US" sz="1800" kern="0">
              <a:solidFill>
                <a:sysClr val="windowText" lastClr="000000"/>
              </a:solidFill>
            </a:endParaRPr>
          </a:p>
        </p:txBody>
      </p:sp>
      <p:sp>
        <p:nvSpPr>
          <p:cNvPr id="6" name="Header Placeholder 5"/>
          <p:cNvSpPr>
            <a:spLocks noGrp="1"/>
          </p:cNvSpPr>
          <p:nvPr>
            <p:ph type="hdr" sz="quarter" idx="12"/>
          </p:nvPr>
        </p:nvSpPr>
        <p:spPr/>
        <p:txBody>
          <a:bodyPr/>
          <a:lstStyle/>
          <a:p>
            <a:pPr defTabSz="905800" fontAlgn="auto">
              <a:spcBef>
                <a:spcPts val="0"/>
              </a:spcBef>
              <a:spcAft>
                <a:spcPts val="0"/>
              </a:spcAft>
              <a:defRPr/>
            </a:pPr>
            <a:r>
              <a:rPr lang="en-US" sz="1800" kern="0">
                <a:solidFill>
                  <a:sysClr val="windowText" lastClr="000000"/>
                </a:solidFill>
              </a:rPr>
              <a:t>The 5G Core Network Deep Dive </a:t>
            </a:r>
          </a:p>
        </p:txBody>
      </p:sp>
      <p:sp>
        <p:nvSpPr>
          <p:cNvPr id="7" name="Footer Placeholder 6"/>
          <p:cNvSpPr>
            <a:spLocks noGrp="1"/>
          </p:cNvSpPr>
          <p:nvPr>
            <p:ph type="ftr" sz="quarter" idx="13"/>
          </p:nvPr>
        </p:nvSpPr>
        <p:spPr/>
        <p:txBody>
          <a:bodyPr/>
          <a:lstStyle/>
          <a:p>
            <a:pPr defTabSz="905800" fontAlgn="auto">
              <a:spcBef>
                <a:spcPts val="0"/>
              </a:spcBef>
              <a:spcAft>
                <a:spcPts val="0"/>
              </a:spcAft>
              <a:defRPr/>
            </a:pPr>
            <a:r>
              <a:rPr lang="en-US" sz="1800" kern="0">
                <a:solidFill>
                  <a:sysClr val="windowText" lastClr="000000"/>
                </a:solidFill>
              </a:rPr>
              <a:t>BICP-16:000214 Uen, Rev N </a:t>
            </a:r>
          </a:p>
        </p:txBody>
      </p:sp>
    </p:spTree>
    <p:extLst>
      <p:ext uri="{BB962C8B-B14F-4D97-AF65-F5344CB8AC3E}">
        <p14:creationId xmlns:p14="http://schemas.microsoft.com/office/powerpoint/2010/main" val="133265025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11"/>
          </p:nvPr>
        </p:nvSpPr>
        <p:spPr/>
        <p:txBody>
          <a:bodyPr/>
          <a:lstStyle/>
          <a:p>
            <a:pPr defTabSz="904616">
              <a:defRPr/>
            </a:pPr>
            <a:fld id="{3A196DE8-7CC5-4D0B-829B-61192D3488B0}" type="slidenum">
              <a:rPr lang="en-US" smtClean="0">
                <a:solidFill>
                  <a:srgbClr val="000000"/>
                </a:solidFill>
              </a:rPr>
              <a:t>112</a:t>
            </a:fld>
            <a:endParaRPr lang="en-US">
              <a:solidFill>
                <a:srgbClr val="000000"/>
              </a:solidFill>
            </a:endParaRPr>
          </a:p>
        </p:txBody>
      </p:sp>
      <p:sp>
        <p:nvSpPr>
          <p:cNvPr id="6" name="Header Placeholder 5"/>
          <p:cNvSpPr>
            <a:spLocks noGrp="1"/>
          </p:cNvSpPr>
          <p:nvPr>
            <p:ph type="hdr" sz="quarter" idx="12"/>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1450969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kern="0"/>
              <a:t>The 5G System Architecture contains the following Network Functions:</a:t>
            </a:r>
          </a:p>
          <a:p>
            <a:endParaRPr lang="en-US" kern="0"/>
          </a:p>
          <a:p>
            <a:pPr hangingPunct="0">
              <a:spcBef>
                <a:spcPts val="0"/>
              </a:spcBef>
              <a:tabLst>
                <a:tab pos="530834" algn="l"/>
              </a:tabLst>
            </a:pPr>
            <a:r>
              <a:rPr lang="en-US" b="1"/>
              <a:t>AF</a:t>
            </a:r>
            <a:r>
              <a:rPr lang="en-US"/>
              <a:t>	Application Function</a:t>
            </a:r>
          </a:p>
          <a:p>
            <a:pPr hangingPunct="0">
              <a:spcBef>
                <a:spcPts val="0"/>
              </a:spcBef>
              <a:tabLst>
                <a:tab pos="530834" algn="l"/>
              </a:tabLst>
            </a:pPr>
            <a:r>
              <a:rPr lang="en-US" b="1"/>
              <a:t>AMF</a:t>
            </a:r>
            <a:r>
              <a:rPr lang="en-US"/>
              <a:t>	Access and Mobility Management Function</a:t>
            </a:r>
          </a:p>
          <a:p>
            <a:pPr>
              <a:spcBef>
                <a:spcPts val="0"/>
              </a:spcBef>
              <a:tabLst>
                <a:tab pos="530834" algn="l"/>
              </a:tabLst>
            </a:pPr>
            <a:r>
              <a:rPr lang="en-US" b="1"/>
              <a:t>AUSF</a:t>
            </a:r>
            <a:r>
              <a:rPr lang="en-US"/>
              <a:t>	Authentication Server Function </a:t>
            </a:r>
          </a:p>
          <a:p>
            <a:pPr>
              <a:spcBef>
                <a:spcPts val="0"/>
              </a:spcBef>
              <a:tabLst>
                <a:tab pos="530834" algn="l"/>
              </a:tabLst>
            </a:pPr>
            <a:r>
              <a:rPr lang="en-US" b="1"/>
              <a:t>BSF</a:t>
            </a:r>
            <a:r>
              <a:rPr lang="en-US"/>
              <a:t>	Binding support Function</a:t>
            </a:r>
          </a:p>
          <a:p>
            <a:pPr>
              <a:spcBef>
                <a:spcPts val="0"/>
              </a:spcBef>
              <a:tabLst>
                <a:tab pos="530834" algn="l"/>
              </a:tabLst>
            </a:pPr>
            <a:r>
              <a:rPr lang="en-US" b="1"/>
              <a:t>CHF</a:t>
            </a:r>
            <a:r>
              <a:rPr lang="en-US"/>
              <a:t>	Charging Handling Function </a:t>
            </a:r>
          </a:p>
          <a:p>
            <a:pPr>
              <a:spcBef>
                <a:spcPts val="0"/>
              </a:spcBef>
              <a:tabLst>
                <a:tab pos="530834" algn="l"/>
              </a:tabLst>
            </a:pPr>
            <a:r>
              <a:rPr lang="en-US" b="1"/>
              <a:t>EIR</a:t>
            </a:r>
            <a:r>
              <a:rPr lang="en-US"/>
              <a:t>	5G-Equipment Identity Register </a:t>
            </a:r>
          </a:p>
          <a:p>
            <a:pPr>
              <a:spcBef>
                <a:spcPts val="0"/>
              </a:spcBef>
              <a:tabLst>
                <a:tab pos="530834" algn="l"/>
              </a:tabLst>
            </a:pPr>
            <a:r>
              <a:rPr lang="en-US" b="1"/>
              <a:t>GMLC</a:t>
            </a:r>
            <a:r>
              <a:rPr lang="en-US"/>
              <a:t>	Gateway Mobile Location Center</a:t>
            </a:r>
          </a:p>
          <a:p>
            <a:pPr>
              <a:spcBef>
                <a:spcPts val="0"/>
              </a:spcBef>
              <a:tabLst>
                <a:tab pos="530834" algn="l"/>
              </a:tabLst>
            </a:pPr>
            <a:r>
              <a:rPr lang="en-US" b="1"/>
              <a:t>LMF</a:t>
            </a:r>
            <a:r>
              <a:rPr lang="en-US"/>
              <a:t>	Location Management Function</a:t>
            </a:r>
          </a:p>
          <a:p>
            <a:pPr>
              <a:spcBef>
                <a:spcPts val="0"/>
              </a:spcBef>
              <a:tabLst>
                <a:tab pos="530834" algn="l"/>
              </a:tabLst>
            </a:pPr>
            <a:r>
              <a:rPr lang="en-US" b="1"/>
              <a:t>N3IWF</a:t>
            </a:r>
            <a:r>
              <a:rPr lang="en-US"/>
              <a:t>	Non-3GPP Interworking Function </a:t>
            </a:r>
          </a:p>
          <a:p>
            <a:pPr>
              <a:spcBef>
                <a:spcPts val="0"/>
              </a:spcBef>
              <a:tabLst>
                <a:tab pos="530834" algn="l"/>
              </a:tabLst>
            </a:pPr>
            <a:r>
              <a:rPr lang="en-US" b="1"/>
              <a:t>NEF</a:t>
            </a:r>
            <a:r>
              <a:rPr lang="en-US"/>
              <a:t>	Network Exposure Function</a:t>
            </a:r>
          </a:p>
          <a:p>
            <a:pPr>
              <a:spcBef>
                <a:spcPts val="0"/>
              </a:spcBef>
              <a:tabLst>
                <a:tab pos="530834" algn="l"/>
              </a:tabLst>
            </a:pPr>
            <a:r>
              <a:rPr lang="en-US" b="1"/>
              <a:t>NRF</a:t>
            </a:r>
            <a:r>
              <a:rPr lang="en-US"/>
              <a:t>	Network Repository Function</a:t>
            </a:r>
          </a:p>
          <a:p>
            <a:pPr>
              <a:spcBef>
                <a:spcPts val="0"/>
              </a:spcBef>
              <a:tabLst>
                <a:tab pos="530834" algn="l"/>
              </a:tabLst>
            </a:pPr>
            <a:r>
              <a:rPr lang="en-US" b="1"/>
              <a:t>NSSF</a:t>
            </a:r>
            <a:r>
              <a:rPr lang="en-US"/>
              <a:t>	Network Slice Selection Function</a:t>
            </a:r>
          </a:p>
          <a:p>
            <a:pPr>
              <a:spcBef>
                <a:spcPts val="0"/>
              </a:spcBef>
              <a:tabLst>
                <a:tab pos="530834" algn="l"/>
              </a:tabLst>
            </a:pPr>
            <a:r>
              <a:rPr lang="en-US" b="1"/>
              <a:t>NWDAF</a:t>
            </a:r>
            <a:r>
              <a:rPr lang="en-US"/>
              <a:t>	 Network Data Analytics Function</a:t>
            </a:r>
          </a:p>
          <a:p>
            <a:pPr>
              <a:spcBef>
                <a:spcPts val="0"/>
              </a:spcBef>
              <a:tabLst>
                <a:tab pos="530834" algn="l"/>
              </a:tabLst>
            </a:pPr>
            <a:r>
              <a:rPr lang="en-US" b="1"/>
              <a:t>PCF</a:t>
            </a:r>
            <a:r>
              <a:rPr lang="en-US"/>
              <a:t>	Policy Control Function</a:t>
            </a:r>
          </a:p>
          <a:p>
            <a:pPr>
              <a:spcBef>
                <a:spcPts val="0"/>
              </a:spcBef>
              <a:tabLst>
                <a:tab pos="530834" algn="l"/>
              </a:tabLst>
            </a:pPr>
            <a:r>
              <a:rPr lang="en-US" b="1"/>
              <a:t>SEPP</a:t>
            </a:r>
            <a:r>
              <a:rPr lang="en-US"/>
              <a:t>	Security Edge Protection Proxy</a:t>
            </a:r>
          </a:p>
          <a:p>
            <a:pPr hangingPunct="0">
              <a:spcBef>
                <a:spcPts val="0"/>
              </a:spcBef>
              <a:tabLst>
                <a:tab pos="530834" algn="l"/>
              </a:tabLst>
            </a:pPr>
            <a:r>
              <a:rPr lang="en-US" b="1"/>
              <a:t>SMF</a:t>
            </a:r>
            <a:r>
              <a:rPr lang="en-US"/>
              <a:t>	Session Management Function</a:t>
            </a:r>
          </a:p>
          <a:p>
            <a:pPr hangingPunct="0">
              <a:spcBef>
                <a:spcPts val="0"/>
              </a:spcBef>
              <a:tabLst>
                <a:tab pos="530834" algn="l"/>
              </a:tabLst>
            </a:pPr>
            <a:r>
              <a:rPr lang="en-US" b="1"/>
              <a:t>SMSF</a:t>
            </a:r>
            <a:r>
              <a:rPr lang="en-US"/>
              <a:t>	SMS Function</a:t>
            </a:r>
          </a:p>
          <a:p>
            <a:pPr>
              <a:spcBef>
                <a:spcPts val="0"/>
              </a:spcBef>
              <a:tabLst>
                <a:tab pos="530834" algn="l"/>
              </a:tabLst>
            </a:pPr>
            <a:r>
              <a:rPr lang="en-US" b="1"/>
              <a:t>UDM</a:t>
            </a:r>
            <a:r>
              <a:rPr lang="en-US"/>
              <a:t>	Unified Data Management </a:t>
            </a:r>
          </a:p>
          <a:p>
            <a:pPr>
              <a:spcBef>
                <a:spcPts val="0"/>
              </a:spcBef>
              <a:tabLst>
                <a:tab pos="530834" algn="l"/>
              </a:tabLst>
            </a:pPr>
            <a:r>
              <a:rPr lang="en-US" b="1"/>
              <a:t>UDR</a:t>
            </a:r>
            <a:r>
              <a:rPr lang="en-US"/>
              <a:t>	Unified Data Repository </a:t>
            </a:r>
          </a:p>
          <a:p>
            <a:pPr>
              <a:spcBef>
                <a:spcPts val="0"/>
              </a:spcBef>
              <a:tabLst>
                <a:tab pos="530834" algn="l"/>
              </a:tabLst>
            </a:pPr>
            <a:r>
              <a:rPr lang="en-US" b="1"/>
              <a:t>UDSF</a:t>
            </a:r>
            <a:r>
              <a:rPr lang="en-US"/>
              <a:t>	Unstructured Data Storage Function</a:t>
            </a:r>
          </a:p>
          <a:p>
            <a:pPr>
              <a:spcBef>
                <a:spcPts val="0"/>
              </a:spcBef>
              <a:tabLst>
                <a:tab pos="530834" algn="l"/>
              </a:tabLst>
            </a:pPr>
            <a:r>
              <a:rPr lang="en-US" b="1"/>
              <a:t>UPF</a:t>
            </a:r>
            <a:r>
              <a:rPr lang="en-US"/>
              <a:t>	User Plane Function</a:t>
            </a:r>
          </a:p>
          <a:p>
            <a:pPr>
              <a:spcBef>
                <a:spcPts val="0"/>
              </a:spcBef>
              <a:tabLst>
                <a:tab pos="530834" algn="l"/>
              </a:tabLst>
            </a:pPr>
            <a:endParaRPr lang="en-US" altLang="en-US">
              <a:latin typeface="Arial" panose="020B0604020202020204" pitchFamily="34" charset="0"/>
            </a:endParaRPr>
          </a:p>
          <a:p>
            <a:r>
              <a:rPr lang="en-US" sz="1400" kern="0"/>
              <a:t>The 5G System Architecture contains the following service-based interfaces:</a:t>
            </a:r>
          </a:p>
          <a:p>
            <a:pPr lvl="1"/>
            <a:r>
              <a:rPr lang="en-US" sz="1000" b="1" kern="0" err="1"/>
              <a:t>Namf</a:t>
            </a:r>
            <a:r>
              <a:rPr lang="en-US" sz="1000" b="1" kern="0"/>
              <a:t>:</a:t>
            </a:r>
            <a:r>
              <a:rPr lang="en-US" sz="1000" kern="0"/>
              <a:t>	Service-based interface exhibited by AMF.</a:t>
            </a:r>
          </a:p>
          <a:p>
            <a:pPr lvl="1"/>
            <a:r>
              <a:rPr lang="en-US" sz="1000" b="1" kern="0" err="1"/>
              <a:t>Nsmf</a:t>
            </a:r>
            <a:r>
              <a:rPr lang="en-US" sz="1000" b="1" kern="0"/>
              <a:t>:</a:t>
            </a:r>
            <a:r>
              <a:rPr lang="en-US" sz="1000" kern="0"/>
              <a:t>	Service-based interface exhibited by SMF.</a:t>
            </a:r>
          </a:p>
          <a:p>
            <a:pPr lvl="1"/>
            <a:r>
              <a:rPr lang="en-US" sz="1000" b="1" kern="0" err="1"/>
              <a:t>Nnef</a:t>
            </a:r>
            <a:r>
              <a:rPr lang="en-US" sz="1000" b="1" kern="0"/>
              <a:t>:</a:t>
            </a:r>
            <a:r>
              <a:rPr lang="en-US" sz="1000" kern="0"/>
              <a:t>	Service-based interface exhibited by NEF.</a:t>
            </a:r>
          </a:p>
          <a:p>
            <a:pPr lvl="1"/>
            <a:r>
              <a:rPr lang="en-US" sz="1000" b="1" kern="0" err="1"/>
              <a:t>Npcf</a:t>
            </a:r>
            <a:r>
              <a:rPr lang="en-US" sz="1000" b="1" kern="0"/>
              <a:t>:</a:t>
            </a:r>
            <a:r>
              <a:rPr lang="en-US" sz="1000" kern="0"/>
              <a:t>	Service-based interface exhibited by PCF.</a:t>
            </a:r>
          </a:p>
          <a:p>
            <a:pPr lvl="1"/>
            <a:r>
              <a:rPr lang="en-US" sz="1000" b="1" kern="0" err="1"/>
              <a:t>Nudm</a:t>
            </a:r>
            <a:r>
              <a:rPr lang="en-US" sz="1000" b="1" kern="0"/>
              <a:t>: </a:t>
            </a:r>
            <a:r>
              <a:rPr lang="en-US" sz="1000" kern="0"/>
              <a:t>Service-based interface exhibited by UDM.</a:t>
            </a:r>
          </a:p>
          <a:p>
            <a:pPr lvl="1"/>
            <a:r>
              <a:rPr lang="en-US" sz="1000" b="1" kern="0" err="1"/>
              <a:t>Naf</a:t>
            </a:r>
            <a:r>
              <a:rPr lang="en-US" sz="1000" b="1" kern="0"/>
              <a:t>:</a:t>
            </a:r>
            <a:r>
              <a:rPr lang="en-US" sz="1000" kern="0"/>
              <a:t>	Service-based interface exhibited by AF.</a:t>
            </a:r>
          </a:p>
          <a:p>
            <a:pPr lvl="1"/>
            <a:r>
              <a:rPr lang="en-US" sz="1000" b="1" kern="0" err="1"/>
              <a:t>Nnrf</a:t>
            </a:r>
            <a:r>
              <a:rPr lang="en-US" sz="1000" b="1" kern="0"/>
              <a:t>:</a:t>
            </a:r>
            <a:r>
              <a:rPr lang="en-US" sz="1000" kern="0"/>
              <a:t>	Service-based interface exhibited by NRF.</a:t>
            </a:r>
          </a:p>
          <a:p>
            <a:pPr lvl="1"/>
            <a:r>
              <a:rPr lang="en-US" sz="1000" b="1" kern="0" err="1"/>
              <a:t>Nausf</a:t>
            </a:r>
            <a:r>
              <a:rPr lang="en-US" sz="1000" b="1" kern="0"/>
              <a:t>: </a:t>
            </a:r>
            <a:r>
              <a:rPr lang="en-US" sz="1000" kern="0"/>
              <a:t>Service-based interface exhibited by AUSF.</a:t>
            </a:r>
          </a:p>
          <a:p>
            <a:pPr lvl="1"/>
            <a:endParaRPr lang="sv-SE" altLang="en-US" sz="1000" kern="0">
              <a:latin typeface="Arial" panose="020B0604020202020204" pitchFamily="34" charset="0"/>
            </a:endParaRPr>
          </a:p>
          <a:p>
            <a:pPr lvl="0"/>
            <a:endParaRPr lang="sv-SE" altLang="en-US" sz="1000" kern="0">
              <a:latin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sv-SE" altLang="en-US" sz="1000" kern="0">
                <a:latin typeface="Arial" panose="020B0604020202020204" pitchFamily="34" charset="0"/>
              </a:rPr>
              <a:t>*N</a:t>
            </a:r>
            <a:r>
              <a:rPr lang="en-US" altLang="en-US" sz="1000" kern="0" err="1">
                <a:latin typeface="Arial" panose="020B0604020202020204" pitchFamily="34" charset="0"/>
              </a:rPr>
              <a:t>ote</a:t>
            </a:r>
            <a:r>
              <a:rPr lang="en-US" altLang="en-US" sz="1000" kern="0">
                <a:latin typeface="Arial" panose="020B0604020202020204" pitchFamily="34" charset="0"/>
              </a:rPr>
              <a:t>: </a:t>
            </a:r>
            <a:r>
              <a:rPr lang="en-US" sz="1000" kern="0"/>
              <a:t>23 5G Core Network Functions. </a:t>
            </a:r>
            <a:r>
              <a:rPr lang="en-US" altLang="en-US" sz="1000" kern="0">
                <a:latin typeface="Arial" panose="020B0604020202020204" pitchFamily="34" charset="0"/>
              </a:rPr>
              <a:t>NFs for public warnings system (PWS and CBC) are missing from the pictur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000" kern="0">
              <a:latin typeface="Arial" panose="020B0604020202020204" pitchFamily="34" charset="0"/>
            </a:endParaRPr>
          </a:p>
          <a:p>
            <a:pPr lvl="0"/>
            <a:r>
              <a:rPr lang="en-US" altLang="en-US" kern="0">
                <a:latin typeface="Arial" panose="020B0604020202020204" pitchFamily="34" charset="0"/>
              </a:rPr>
              <a:t>In the NG-RAN (Not shown in the figure)</a:t>
            </a:r>
          </a:p>
          <a:p>
            <a:pPr marL="615268" lvl="1" indent="-167800">
              <a:buFont typeface="Arial" panose="020B0604020202020204" pitchFamily="34" charset="0"/>
              <a:buChar char="•"/>
            </a:pPr>
            <a:r>
              <a:rPr lang="en-US">
                <a:effectLst/>
              </a:rPr>
              <a:t>the “F1-C/U” is mainly for </a:t>
            </a:r>
            <a:r>
              <a:rPr lang="en-US" err="1">
                <a:effectLst/>
              </a:rPr>
              <a:t>gNBs</a:t>
            </a:r>
            <a:r>
              <a:rPr lang="en-US">
                <a:effectLst/>
              </a:rPr>
              <a:t>. Similar work is ongoing for LTE as well but with slightly lower </a:t>
            </a:r>
            <a:r>
              <a:rPr lang="en-US" err="1">
                <a:effectLst/>
              </a:rPr>
              <a:t>prio</a:t>
            </a:r>
            <a:r>
              <a:rPr lang="en-US">
                <a:effectLst/>
              </a:rPr>
              <a:t> so far and in that case the F1 is called V1</a:t>
            </a:r>
            <a:br>
              <a:rPr lang="en-US">
                <a:effectLst/>
              </a:rPr>
            </a:br>
            <a:r>
              <a:rPr lang="en-US">
                <a:effectLst/>
              </a:rPr>
              <a:t>    ….but it could all converge in the end (and maybe even in Rel-15)</a:t>
            </a:r>
            <a:endParaRPr lang="sv-SE">
              <a:effectLst/>
            </a:endParaRPr>
          </a:p>
          <a:p>
            <a:pPr marL="615268" lvl="1" indent="-167800">
              <a:buFont typeface="Arial" panose="020B0604020202020204" pitchFamily="34" charset="0"/>
              <a:buChar char="•"/>
            </a:pPr>
            <a:r>
              <a:rPr lang="en-US">
                <a:effectLst/>
              </a:rPr>
              <a:t>The E1 is only for </a:t>
            </a:r>
            <a:r>
              <a:rPr lang="en-US" err="1">
                <a:effectLst/>
              </a:rPr>
              <a:t>gNBs</a:t>
            </a:r>
            <a:r>
              <a:rPr lang="en-US">
                <a:effectLst/>
              </a:rPr>
              <a:t> (in NG-RAN). </a:t>
            </a:r>
            <a:endParaRPr lang="sv-SE">
              <a:effectLst/>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000" kern="0">
              <a:latin typeface="Arial" panose="020B0604020202020204" pitchFamily="34" charset="0"/>
            </a:endParaRPr>
          </a:p>
          <a:p>
            <a:pPr lvl="0"/>
            <a:endParaRPr lang="en-US" altLang="en-US">
              <a:latin typeface="Arial" panose="020B0604020202020204" pitchFamily="34" charset="0"/>
            </a:endParaRPr>
          </a:p>
        </p:txBody>
      </p:sp>
      <p:sp>
        <p:nvSpPr>
          <p:cNvPr id="2662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2019-10-07 </a:t>
            </a:r>
          </a:p>
        </p:txBody>
      </p:sp>
      <p:sp>
        <p:nvSpPr>
          <p:cNvPr id="2662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89E3200-DFDB-4078-8053-627E7577EA2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t>1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Tree>
    <p:extLst>
      <p:ext uri="{BB962C8B-B14F-4D97-AF65-F5344CB8AC3E}">
        <p14:creationId xmlns:p14="http://schemas.microsoft.com/office/powerpoint/2010/main" val="7673879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te</a:t>
            </a:r>
            <a:r>
              <a:rPr lang="en-US"/>
              <a:t>: “user plane path switch” aka “Dynamic Mobility switching”</a:t>
            </a:r>
          </a:p>
        </p:txBody>
      </p:sp>
      <p:sp>
        <p:nvSpPr>
          <p:cNvPr id="4" name="Date Placeholder 3"/>
          <p:cNvSpPr>
            <a:spLocks noGrp="1"/>
          </p:cNvSpPr>
          <p:nvPr>
            <p:ph type="dt" idx="10"/>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11"/>
          </p:nvPr>
        </p:nvSpPr>
        <p:spPr/>
        <p:txBody>
          <a:bodyPr/>
          <a:lstStyle/>
          <a:p>
            <a:pPr defTabSz="904616">
              <a:defRPr/>
            </a:pPr>
            <a:fld id="{F3C5DAC6-6F50-40D7-BD5A-DC3031058456}" type="slidenum">
              <a:rPr lang="en-US" smtClean="0">
                <a:solidFill>
                  <a:srgbClr val="000000"/>
                </a:solidFill>
              </a:rPr>
              <a:t>113</a:t>
            </a:fld>
            <a:endParaRPr lang="en-US">
              <a:solidFill>
                <a:srgbClr val="000000"/>
              </a:solidFill>
            </a:endParaRPr>
          </a:p>
        </p:txBody>
      </p:sp>
      <p:sp>
        <p:nvSpPr>
          <p:cNvPr id="6" name="Header Placeholder 5"/>
          <p:cNvSpPr>
            <a:spLocks noGrp="1"/>
          </p:cNvSpPr>
          <p:nvPr>
            <p:ph type="hdr" sz="quarter" idx="12"/>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5250792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xfrm>
            <a:off x="2667000" y="511175"/>
            <a:ext cx="4541838" cy="25558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sz="1100"/>
              <a:t>Step 3:</a:t>
            </a:r>
          </a:p>
          <a:p>
            <a:pPr>
              <a:defRPr/>
            </a:pPr>
            <a:r>
              <a:rPr lang="en-US" sz="1100"/>
              <a:t>  </a:t>
            </a:r>
            <a:r>
              <a:rPr lang="en-US" sz="1100">
                <a:sym typeface="Wingdings" panose="05000000000000000000" pitchFamily="2" charset="2"/>
              </a:rPr>
              <a:t> </a:t>
            </a:r>
            <a:r>
              <a:rPr lang="en-US" sz="1100"/>
              <a:t>Update Location Request (No registration flag set)</a:t>
            </a:r>
          </a:p>
          <a:p>
            <a:pPr>
              <a:defRPr/>
            </a:pPr>
            <a:r>
              <a:rPr lang="en-US" sz="1100"/>
              <a:t>  </a:t>
            </a:r>
            <a:r>
              <a:rPr lang="en-US" sz="1100">
                <a:sym typeface="Wingdings" panose="05000000000000000000" pitchFamily="2" charset="2"/>
              </a:rPr>
              <a:t> </a:t>
            </a:r>
            <a:r>
              <a:rPr lang="en-US" sz="1100"/>
              <a:t>Update Location Acknowledge (UE Usage Type)</a:t>
            </a:r>
          </a:p>
          <a:p>
            <a:pPr>
              <a:defRPr/>
            </a:pPr>
            <a:endParaRPr lang="en-US" sz="1100"/>
          </a:p>
          <a:p>
            <a:pPr>
              <a:defRPr/>
            </a:pPr>
            <a:r>
              <a:rPr lang="en-US" sz="1100"/>
              <a:t>Step 4: </a:t>
            </a:r>
          </a:p>
          <a:p>
            <a:pPr>
              <a:defRPr/>
            </a:pPr>
            <a:r>
              <a:rPr lang="en-US" sz="1100"/>
              <a:t>  </a:t>
            </a:r>
            <a:r>
              <a:rPr lang="en-US" sz="1100">
                <a:sym typeface="Wingdings" panose="05000000000000000000" pitchFamily="2" charset="2"/>
              </a:rPr>
              <a:t> DNS request (UE Usage Type)</a:t>
            </a:r>
          </a:p>
          <a:p>
            <a:pPr>
              <a:defRPr/>
            </a:pPr>
            <a:r>
              <a:rPr lang="en-US" sz="1100">
                <a:sym typeface="Wingdings" panose="05000000000000000000" pitchFamily="2" charset="2"/>
              </a:rPr>
              <a:t>   DNS reply (MMEGI)</a:t>
            </a:r>
          </a:p>
          <a:p>
            <a:pPr>
              <a:defRPr/>
            </a:pPr>
            <a:endParaRPr lang="en-US" sz="1100">
              <a:sym typeface="Wingdings" panose="05000000000000000000" pitchFamily="2" charset="2"/>
            </a:endParaRPr>
          </a:p>
          <a:p>
            <a:pPr>
              <a:defRPr/>
            </a:pPr>
            <a:r>
              <a:rPr lang="en-US" sz="1100">
                <a:sym typeface="Wingdings" panose="05000000000000000000" pitchFamily="2" charset="2"/>
              </a:rPr>
              <a:t>Step 5:</a:t>
            </a:r>
          </a:p>
          <a:p>
            <a:pPr>
              <a:defRPr/>
            </a:pPr>
            <a:r>
              <a:rPr lang="en-US" sz="1100">
                <a:sym typeface="Wingdings" panose="05000000000000000000" pitchFamily="2" charset="2"/>
              </a:rPr>
              <a:t>   Reroute NAS Message Request (MMEGI, …)</a:t>
            </a:r>
          </a:p>
          <a:p>
            <a:pPr>
              <a:defRPr/>
            </a:pPr>
            <a:endParaRPr lang="en-US" sz="1100">
              <a:sym typeface="Wingdings" panose="05000000000000000000" pitchFamily="2" charset="2"/>
            </a:endParaRPr>
          </a:p>
          <a:p>
            <a:pPr>
              <a:defRPr/>
            </a:pPr>
            <a:r>
              <a:rPr lang="en-US" sz="1100">
                <a:sym typeface="Wingdings" panose="05000000000000000000" pitchFamily="2" charset="2"/>
              </a:rPr>
              <a:t>Step 6:</a:t>
            </a:r>
          </a:p>
          <a:p>
            <a:pPr>
              <a:defRPr/>
            </a:pPr>
            <a:r>
              <a:rPr lang="en-US" sz="1100">
                <a:sym typeface="Wingdings" panose="05000000000000000000" pitchFamily="2" charset="2"/>
              </a:rPr>
              <a:t>   </a:t>
            </a:r>
            <a:r>
              <a:rPr lang="en-US" sz="1100"/>
              <a:t>Initial UE Message (MMEGI, …)</a:t>
            </a:r>
          </a:p>
          <a:p>
            <a:pPr>
              <a:defRPr/>
            </a:pPr>
            <a:endParaRPr lang="en-US" sz="1100"/>
          </a:p>
          <a:p>
            <a:pPr>
              <a:defRPr/>
            </a:pPr>
            <a:r>
              <a:rPr lang="en-US" sz="1100"/>
              <a:t>Additional details:</a:t>
            </a:r>
          </a:p>
          <a:p>
            <a:pPr>
              <a:defRPr/>
            </a:pPr>
            <a:r>
              <a:rPr lang="en-US" sz="1100"/>
              <a:t>The first MME may omit the request of UE Usage Type from the HSS in the following cases</a:t>
            </a:r>
          </a:p>
          <a:p>
            <a:pPr lvl="1">
              <a:defRPr/>
            </a:pPr>
            <a:r>
              <a:rPr lang="en-US" sz="1100"/>
              <a:t>The UE Usage Type is locally configured in the MME</a:t>
            </a:r>
          </a:p>
          <a:p>
            <a:pPr lvl="1">
              <a:defRPr/>
            </a:pPr>
            <a:r>
              <a:rPr lang="en-US" sz="1100"/>
              <a:t>The UE Usage Type is received from a previously connected MME</a:t>
            </a:r>
          </a:p>
          <a:p>
            <a:pPr marL="347613" lvl="1">
              <a:defRPr/>
            </a:pPr>
            <a:endParaRPr lang="en-US" sz="1100"/>
          </a:p>
          <a:p>
            <a:pPr>
              <a:defRPr/>
            </a:pPr>
            <a:r>
              <a:rPr lang="en-US" sz="1100"/>
              <a:t>The </a:t>
            </a:r>
            <a:r>
              <a:rPr lang="en-US" sz="1100" err="1"/>
              <a:t>eNB</a:t>
            </a:r>
            <a:r>
              <a:rPr lang="en-US" sz="1100"/>
              <a:t> will include the MMEGI when re-routing to a correct MME after a Reroute NAS Message Request. </a:t>
            </a:r>
            <a:r>
              <a:rPr lang="en-US" sz="1100" b="1"/>
              <a:t>The presence of MMEGI will indicate to the selected MME to not attempt to re-route again.</a:t>
            </a:r>
          </a:p>
          <a:p>
            <a:pPr>
              <a:defRPr/>
            </a:pPr>
            <a:endParaRPr lang="en-US" sz="1100"/>
          </a:p>
          <a:p>
            <a:pPr>
              <a:defRPr/>
            </a:pPr>
            <a:r>
              <a:rPr lang="en-US" sz="1100"/>
              <a:t>The GUTI association between UE and MME will be used to route subsequent messages, like Service Request to the selected MME in the correct DCN (slice).</a:t>
            </a:r>
          </a:p>
          <a:p>
            <a:pPr>
              <a:defRPr/>
            </a:pPr>
            <a:endParaRPr lang="en-US" sz="1100"/>
          </a:p>
          <a:p>
            <a:pPr>
              <a:defRPr/>
            </a:pPr>
            <a:endParaRPr lang="en-US" sz="1100"/>
          </a:p>
          <a:p>
            <a:pPr>
              <a:defRPr/>
            </a:pPr>
            <a:endParaRPr lang="en-US" sz="1100"/>
          </a:p>
        </p:txBody>
      </p:sp>
      <p:sp>
        <p:nvSpPr>
          <p:cNvPr id="4" name="Date Placeholder 3"/>
          <p:cNvSpPr>
            <a:spLocks noGrp="1"/>
          </p:cNvSpPr>
          <p:nvPr>
            <p:ph type="dt" sz="quarter" idx="1"/>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5"/>
          </p:nvPr>
        </p:nvSpPr>
        <p:spPr/>
        <p:txBody>
          <a:bodyPr/>
          <a:lstStyle/>
          <a:p>
            <a:pPr defTabSz="904616">
              <a:defRPr/>
            </a:pPr>
            <a:fld id="{D284EA51-9B07-4C15-8FCB-C91739D6644A}" type="slidenum">
              <a:rPr lang="en-US" smtClean="0">
                <a:solidFill>
                  <a:srgbClr val="000000"/>
                </a:solidFill>
              </a:rPr>
              <a:t>114</a:t>
            </a:fld>
            <a:endParaRPr lang="en-US">
              <a:solidFill>
                <a:srgbClr val="000000"/>
              </a:solidFill>
            </a:endParaRPr>
          </a:p>
        </p:txBody>
      </p:sp>
      <p:sp>
        <p:nvSpPr>
          <p:cNvPr id="6" name="Header Placeholder 5"/>
          <p:cNvSpPr>
            <a:spLocks noGrp="1"/>
          </p:cNvSpPr>
          <p:nvPr>
            <p:ph type="hdr" sz="quarter"/>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4"/>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2061350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357188"/>
            <a:ext cx="3176587" cy="1787525"/>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defTabSz="904616">
              <a:defRPr/>
            </a:pPr>
            <a:r>
              <a:rPr lang="en-US">
                <a:solidFill>
                  <a:prstClr val="black"/>
                </a:solidFill>
              </a:rPr>
              <a:t>2019-10-07 </a:t>
            </a:r>
          </a:p>
        </p:txBody>
      </p:sp>
      <p:sp>
        <p:nvSpPr>
          <p:cNvPr id="5" name="Slide Number Placeholder 4"/>
          <p:cNvSpPr>
            <a:spLocks noGrp="1"/>
          </p:cNvSpPr>
          <p:nvPr>
            <p:ph type="sldNum" sz="quarter" idx="11"/>
          </p:nvPr>
        </p:nvSpPr>
        <p:spPr/>
        <p:txBody>
          <a:bodyPr/>
          <a:lstStyle/>
          <a:p>
            <a:pPr defTabSz="904616">
              <a:defRPr/>
            </a:pPr>
            <a:fld id="{9BE03E73-13C8-4472-B9A7-DB4B3D01468F}" type="slidenum">
              <a:rPr lang="en-US" smtClean="0">
                <a:solidFill>
                  <a:prstClr val="black"/>
                </a:solidFill>
              </a:rPr>
              <a:t>115</a:t>
            </a:fld>
            <a:endParaRPr lang="en-US">
              <a:solidFill>
                <a:prstClr val="black"/>
              </a:solidFill>
            </a:endParaRPr>
          </a:p>
        </p:txBody>
      </p:sp>
      <p:sp>
        <p:nvSpPr>
          <p:cNvPr id="6" name="Header Placeholder 5"/>
          <p:cNvSpPr>
            <a:spLocks noGrp="1"/>
          </p:cNvSpPr>
          <p:nvPr>
            <p:ph type="hdr" sz="quarter" idx="12"/>
          </p:nvPr>
        </p:nvSpPr>
        <p:spPr/>
        <p:txBody>
          <a:bodyPr/>
          <a:lstStyle/>
          <a:p>
            <a:pPr defTabSz="904616">
              <a:defRPr/>
            </a:pPr>
            <a:r>
              <a:rPr lang="en-US">
                <a:solidFill>
                  <a:prstClr val="black"/>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prstClr val="black"/>
                </a:solidFill>
              </a:rPr>
              <a:t>BICP-16:000214 Uen, Rev N </a:t>
            </a:r>
          </a:p>
        </p:txBody>
      </p:sp>
    </p:spTree>
    <p:extLst>
      <p:ext uri="{BB962C8B-B14F-4D97-AF65-F5344CB8AC3E}">
        <p14:creationId xmlns:p14="http://schemas.microsoft.com/office/powerpoint/2010/main" val="402168695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AC368EA2-4DEE-486A-9D8E-E75837CEE484}" type="slidenum">
              <a:rPr lang="en-US" smtClean="0"/>
              <a:t>116</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1347827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C018E925-A0E9-4971-B293-9108996ABB83}" type="slidenum">
              <a:rPr lang="en-US" smtClean="0"/>
              <a:t>12</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2172593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kern="0"/>
              <a:t>The 5G System Architecture contains the following Network Functions:</a:t>
            </a:r>
          </a:p>
          <a:p>
            <a:pPr defTabSz="894937">
              <a:defRPr/>
            </a:pPr>
            <a:r>
              <a:rPr lang="en-US" b="1"/>
              <a:t>RF/BF</a:t>
            </a:r>
            <a:r>
              <a:rPr lang="en-US"/>
              <a:t>: Radio function/ Beamforming function</a:t>
            </a:r>
          </a:p>
          <a:p>
            <a:pPr defTabSz="894937">
              <a:defRPr/>
            </a:pPr>
            <a:r>
              <a:rPr lang="en-US" b="1"/>
              <a:t>BPF</a:t>
            </a:r>
            <a:r>
              <a:rPr lang="en-US"/>
              <a:t>:    Baseband Processing function</a:t>
            </a:r>
          </a:p>
          <a:p>
            <a:pPr defTabSz="894937">
              <a:defRPr/>
            </a:pPr>
            <a:r>
              <a:rPr lang="en-US" b="1"/>
              <a:t>PPF</a:t>
            </a:r>
            <a:r>
              <a:rPr lang="en-US"/>
              <a:t>:    Packet Processing function</a:t>
            </a:r>
          </a:p>
          <a:p>
            <a:pPr defTabSz="894937">
              <a:defRPr/>
            </a:pPr>
            <a:r>
              <a:rPr lang="en-US" b="1"/>
              <a:t>RCF</a:t>
            </a:r>
            <a:r>
              <a:rPr lang="en-US"/>
              <a:t>:    Radio Controller function</a:t>
            </a:r>
          </a:p>
          <a:p>
            <a:endParaRPr lang="en-US" kern="0"/>
          </a:p>
          <a:p>
            <a:pPr hangingPunct="0">
              <a:spcBef>
                <a:spcPts val="0"/>
              </a:spcBef>
              <a:tabLst>
                <a:tab pos="525154" algn="l"/>
              </a:tabLst>
            </a:pPr>
            <a:r>
              <a:rPr lang="en-US" b="1"/>
              <a:t>AF</a:t>
            </a:r>
            <a:r>
              <a:rPr lang="en-US"/>
              <a:t>	Application Function</a:t>
            </a:r>
          </a:p>
          <a:p>
            <a:pPr hangingPunct="0">
              <a:spcBef>
                <a:spcPts val="0"/>
              </a:spcBef>
              <a:tabLst>
                <a:tab pos="525154" algn="l"/>
              </a:tabLst>
            </a:pPr>
            <a:r>
              <a:rPr lang="en-US" b="1"/>
              <a:t>AMF</a:t>
            </a:r>
            <a:r>
              <a:rPr lang="en-US"/>
              <a:t>	Access and Mobility Management Function</a:t>
            </a:r>
          </a:p>
          <a:p>
            <a:pPr>
              <a:spcBef>
                <a:spcPts val="0"/>
              </a:spcBef>
              <a:tabLst>
                <a:tab pos="525154" algn="l"/>
              </a:tabLst>
            </a:pPr>
            <a:r>
              <a:rPr lang="en-US" b="1"/>
              <a:t>AUSF</a:t>
            </a:r>
            <a:r>
              <a:rPr lang="en-US"/>
              <a:t>	Authentication Server Function </a:t>
            </a:r>
          </a:p>
          <a:p>
            <a:pPr>
              <a:spcBef>
                <a:spcPts val="0"/>
              </a:spcBef>
              <a:tabLst>
                <a:tab pos="525154" algn="l"/>
              </a:tabLst>
            </a:pPr>
            <a:r>
              <a:rPr lang="en-US" b="1"/>
              <a:t>NEF</a:t>
            </a:r>
            <a:r>
              <a:rPr lang="en-US"/>
              <a:t>	Network Exposure Function</a:t>
            </a:r>
          </a:p>
          <a:p>
            <a:pPr>
              <a:spcBef>
                <a:spcPts val="0"/>
              </a:spcBef>
              <a:tabLst>
                <a:tab pos="525154" algn="l"/>
              </a:tabLst>
            </a:pPr>
            <a:r>
              <a:rPr lang="en-US" b="1"/>
              <a:t>NRF</a:t>
            </a:r>
            <a:r>
              <a:rPr lang="en-US"/>
              <a:t>	Network Repository Function</a:t>
            </a:r>
          </a:p>
          <a:p>
            <a:pPr>
              <a:spcBef>
                <a:spcPts val="0"/>
              </a:spcBef>
              <a:tabLst>
                <a:tab pos="525154" algn="l"/>
              </a:tabLst>
            </a:pPr>
            <a:r>
              <a:rPr lang="en-US" b="1"/>
              <a:t>PCF</a:t>
            </a:r>
            <a:r>
              <a:rPr lang="en-US"/>
              <a:t>	Policy Control Function</a:t>
            </a:r>
          </a:p>
          <a:p>
            <a:pPr hangingPunct="0">
              <a:spcBef>
                <a:spcPts val="0"/>
              </a:spcBef>
              <a:tabLst>
                <a:tab pos="525154" algn="l"/>
              </a:tabLst>
            </a:pPr>
            <a:r>
              <a:rPr lang="en-US" b="1"/>
              <a:t>SMF</a:t>
            </a:r>
            <a:r>
              <a:rPr lang="en-US"/>
              <a:t>	Session Management Function</a:t>
            </a:r>
          </a:p>
          <a:p>
            <a:pPr>
              <a:spcBef>
                <a:spcPts val="0"/>
              </a:spcBef>
              <a:tabLst>
                <a:tab pos="525154" algn="l"/>
              </a:tabLst>
            </a:pPr>
            <a:r>
              <a:rPr lang="en-US" b="1"/>
              <a:t>UDM</a:t>
            </a:r>
            <a:r>
              <a:rPr lang="en-US"/>
              <a:t>	Unified Data Management </a:t>
            </a:r>
          </a:p>
          <a:p>
            <a:pPr>
              <a:spcBef>
                <a:spcPts val="0"/>
              </a:spcBef>
              <a:tabLst>
                <a:tab pos="525154" algn="l"/>
              </a:tabLst>
            </a:pPr>
            <a:endParaRPr lang="en-US" altLang="en-US">
              <a:latin typeface="Arial" panose="020B0604020202020204" pitchFamily="34" charset="0"/>
            </a:endParaRPr>
          </a:p>
          <a:p>
            <a:r>
              <a:rPr lang="en-US" sz="1400" kern="0"/>
              <a:t>The 5G System Architecture contains the following service-based interfaces:</a:t>
            </a:r>
          </a:p>
          <a:p>
            <a:pPr lvl="1"/>
            <a:r>
              <a:rPr lang="en-US" sz="1000" b="1" kern="0" err="1"/>
              <a:t>Namf</a:t>
            </a:r>
            <a:r>
              <a:rPr lang="en-US" sz="1000" b="1" kern="0"/>
              <a:t>:</a:t>
            </a:r>
            <a:r>
              <a:rPr lang="en-US" sz="1000" kern="0"/>
              <a:t>	Service-based interface exhibited by AMF.</a:t>
            </a:r>
          </a:p>
          <a:p>
            <a:pPr lvl="1"/>
            <a:r>
              <a:rPr lang="en-US" sz="1000" b="1" kern="0" err="1"/>
              <a:t>Nsmf</a:t>
            </a:r>
            <a:r>
              <a:rPr lang="en-US" sz="1000" b="1" kern="0"/>
              <a:t>:</a:t>
            </a:r>
            <a:r>
              <a:rPr lang="en-US" sz="1000" kern="0"/>
              <a:t>	Service-based interface exhibited by SMF.</a:t>
            </a:r>
          </a:p>
          <a:p>
            <a:pPr lvl="1"/>
            <a:r>
              <a:rPr lang="en-US" sz="1000" b="1" kern="0" err="1"/>
              <a:t>Nnef</a:t>
            </a:r>
            <a:r>
              <a:rPr lang="en-US" sz="1000" b="1" kern="0"/>
              <a:t>:</a:t>
            </a:r>
            <a:r>
              <a:rPr lang="en-US" sz="1000" kern="0"/>
              <a:t>	Service-based interface exhibited by NEF.</a:t>
            </a:r>
          </a:p>
          <a:p>
            <a:pPr lvl="1"/>
            <a:r>
              <a:rPr lang="en-US" sz="1000" b="1" kern="0" err="1"/>
              <a:t>Npcf</a:t>
            </a:r>
            <a:r>
              <a:rPr lang="en-US" sz="1000" b="1" kern="0"/>
              <a:t>:</a:t>
            </a:r>
            <a:r>
              <a:rPr lang="en-US" sz="1000" kern="0"/>
              <a:t>	Service-based interface exhibited by PCF.</a:t>
            </a:r>
          </a:p>
          <a:p>
            <a:pPr lvl="1"/>
            <a:r>
              <a:rPr lang="en-US" sz="1000" b="1" kern="0" err="1"/>
              <a:t>Nudm</a:t>
            </a:r>
            <a:r>
              <a:rPr lang="en-US" sz="1000" b="1" kern="0"/>
              <a:t>: </a:t>
            </a:r>
            <a:r>
              <a:rPr lang="en-US" sz="1000" kern="0"/>
              <a:t>Service-based interface exhibited by UDM.</a:t>
            </a:r>
          </a:p>
          <a:p>
            <a:pPr lvl="1"/>
            <a:r>
              <a:rPr lang="en-US" sz="1000" b="1" kern="0" err="1"/>
              <a:t>Naf</a:t>
            </a:r>
            <a:r>
              <a:rPr lang="en-US" sz="1000" b="1" kern="0"/>
              <a:t>:</a:t>
            </a:r>
            <a:r>
              <a:rPr lang="en-US" sz="1000" kern="0"/>
              <a:t>	Service-based interface exhibited by AF.</a:t>
            </a:r>
          </a:p>
          <a:p>
            <a:pPr lvl="1"/>
            <a:r>
              <a:rPr lang="en-US" sz="1000" b="1" kern="0" err="1"/>
              <a:t>Nnrf</a:t>
            </a:r>
            <a:r>
              <a:rPr lang="en-US" sz="1000" b="1" kern="0"/>
              <a:t>:</a:t>
            </a:r>
            <a:r>
              <a:rPr lang="en-US" sz="1000" kern="0"/>
              <a:t>	Service-based interface exhibited by NRF.</a:t>
            </a:r>
          </a:p>
          <a:p>
            <a:pPr lvl="1"/>
            <a:r>
              <a:rPr lang="en-US" sz="1000" b="1" kern="0" err="1"/>
              <a:t>Nausf</a:t>
            </a:r>
            <a:r>
              <a:rPr lang="en-US" sz="1000" b="1" kern="0"/>
              <a:t>: </a:t>
            </a:r>
            <a:r>
              <a:rPr lang="en-US" sz="1000" kern="0"/>
              <a:t>Service-based interface exhibited by AUSF.</a:t>
            </a:r>
          </a:p>
          <a:p>
            <a:pPr lvl="1"/>
            <a:endParaRPr lang="en-US" altLang="en-US" sz="1000" kern="0">
              <a:latin typeface="Arial" panose="020B0604020202020204" pitchFamily="34" charset="0"/>
            </a:endParaRPr>
          </a:p>
          <a:p>
            <a:pPr lvl="0"/>
            <a:r>
              <a:rPr lang="en-US" altLang="en-US" kern="0">
                <a:latin typeface="Arial" panose="020B0604020202020204" pitchFamily="34" charset="0"/>
              </a:rPr>
              <a:t>In the NG-RAN:</a:t>
            </a:r>
          </a:p>
          <a:p>
            <a:pPr marL="615268" lvl="1" indent="-167800">
              <a:buFont typeface="Arial" panose="020B0604020202020204" pitchFamily="34" charset="0"/>
              <a:buChar char="•"/>
            </a:pPr>
            <a:r>
              <a:rPr lang="en-US">
                <a:effectLst/>
              </a:rPr>
              <a:t>the “F1-C/U” is mainly for </a:t>
            </a:r>
            <a:r>
              <a:rPr lang="en-US" err="1">
                <a:effectLst/>
              </a:rPr>
              <a:t>gNBs</a:t>
            </a:r>
            <a:r>
              <a:rPr lang="en-US">
                <a:effectLst/>
              </a:rPr>
              <a:t>. Similar work is ongoing for LTE as well but with slightly lower </a:t>
            </a:r>
            <a:r>
              <a:rPr lang="en-US" err="1">
                <a:effectLst/>
              </a:rPr>
              <a:t>prio</a:t>
            </a:r>
            <a:r>
              <a:rPr lang="en-US">
                <a:effectLst/>
              </a:rPr>
              <a:t> so far and in that case the F1 is called V1</a:t>
            </a:r>
            <a:br>
              <a:rPr lang="en-US">
                <a:effectLst/>
              </a:rPr>
            </a:br>
            <a:r>
              <a:rPr lang="en-US">
                <a:effectLst/>
              </a:rPr>
              <a:t>    ….but it could all converge in the end (and maybe even in Rel-15)</a:t>
            </a:r>
            <a:endParaRPr lang="sv-SE">
              <a:effectLst/>
            </a:endParaRPr>
          </a:p>
          <a:p>
            <a:pPr marL="615268" lvl="1" indent="-167800">
              <a:buFont typeface="Arial" panose="020B0604020202020204" pitchFamily="34" charset="0"/>
              <a:buChar char="•"/>
            </a:pPr>
            <a:r>
              <a:rPr lang="en-US">
                <a:effectLst/>
              </a:rPr>
              <a:t>The E1 is only for </a:t>
            </a:r>
            <a:r>
              <a:rPr lang="en-US" err="1">
                <a:effectLst/>
              </a:rPr>
              <a:t>gNBs</a:t>
            </a:r>
            <a:r>
              <a:rPr lang="en-US">
                <a:effectLst/>
              </a:rPr>
              <a:t> (in NG-RAN). </a:t>
            </a:r>
            <a:endParaRPr lang="sv-SE">
              <a:effectLst/>
            </a:endParaRPr>
          </a:p>
          <a:p>
            <a:pPr lvl="0"/>
            <a:endParaRPr lang="en-US" altLang="en-US">
              <a:latin typeface="Arial" panose="020B0604020202020204" pitchFamily="34" charset="0"/>
            </a:endParaRPr>
          </a:p>
        </p:txBody>
      </p:sp>
      <p:sp>
        <p:nvSpPr>
          <p:cNvPr id="2662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35000" indent="-282692">
              <a:defRPr sz="2000">
                <a:solidFill>
                  <a:schemeClr val="tx1"/>
                </a:solidFill>
                <a:latin typeface="Arial" panose="020B0604020202020204" pitchFamily="34" charset="0"/>
                <a:ea typeface="MS PGothic" panose="020B0600070205080204" pitchFamily="34" charset="-128"/>
              </a:defRPr>
            </a:lvl2pPr>
            <a:lvl3pPr marL="1130770" indent="-226154">
              <a:defRPr sz="2000">
                <a:solidFill>
                  <a:schemeClr val="tx1"/>
                </a:solidFill>
                <a:latin typeface="Arial" panose="020B0604020202020204" pitchFamily="34" charset="0"/>
                <a:ea typeface="MS PGothic" panose="020B0600070205080204" pitchFamily="34" charset="-128"/>
              </a:defRPr>
            </a:lvl3pPr>
            <a:lvl4pPr marL="1583078" indent="-226154">
              <a:defRPr sz="2000">
                <a:solidFill>
                  <a:schemeClr val="tx1"/>
                </a:solidFill>
                <a:latin typeface="Arial" panose="020B0604020202020204" pitchFamily="34" charset="0"/>
                <a:ea typeface="MS PGothic" panose="020B0600070205080204" pitchFamily="34" charset="-128"/>
              </a:defRPr>
            </a:lvl4pPr>
            <a:lvl5pPr marL="2035386" indent="-226154">
              <a:defRPr sz="2000">
                <a:solidFill>
                  <a:schemeClr val="tx1"/>
                </a:solidFill>
                <a:latin typeface="Arial" panose="020B0604020202020204" pitchFamily="34" charset="0"/>
                <a:ea typeface="MS PGothic" panose="020B0600070205080204" pitchFamily="34" charset="-128"/>
              </a:defRPr>
            </a:lvl5pPr>
            <a:lvl6pPr marL="2487694"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40002"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392310"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44618"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defTabSz="904616" fontAlgn="auto">
              <a:spcBef>
                <a:spcPts val="0"/>
              </a:spcBef>
              <a:spcAft>
                <a:spcPts val="0"/>
              </a:spcAft>
              <a:defRPr/>
            </a:pPr>
            <a:r>
              <a:rPr lang="en-US" altLang="en-US" sz="1200">
                <a:solidFill>
                  <a:prstClr val="black"/>
                </a:solidFill>
              </a:rPr>
              <a:t>2019-10-07 </a:t>
            </a:r>
          </a:p>
        </p:txBody>
      </p:sp>
      <p:sp>
        <p:nvSpPr>
          <p:cNvPr id="2662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35000" indent="-282692">
              <a:defRPr sz="2000">
                <a:solidFill>
                  <a:schemeClr val="tx1"/>
                </a:solidFill>
                <a:latin typeface="Arial" panose="020B0604020202020204" pitchFamily="34" charset="0"/>
                <a:ea typeface="MS PGothic" panose="020B0600070205080204" pitchFamily="34" charset="-128"/>
              </a:defRPr>
            </a:lvl2pPr>
            <a:lvl3pPr marL="1130770" indent="-226154">
              <a:defRPr sz="2000">
                <a:solidFill>
                  <a:schemeClr val="tx1"/>
                </a:solidFill>
                <a:latin typeface="Arial" panose="020B0604020202020204" pitchFamily="34" charset="0"/>
                <a:ea typeface="MS PGothic" panose="020B0600070205080204" pitchFamily="34" charset="-128"/>
              </a:defRPr>
            </a:lvl3pPr>
            <a:lvl4pPr marL="1583078" indent="-226154">
              <a:defRPr sz="2000">
                <a:solidFill>
                  <a:schemeClr val="tx1"/>
                </a:solidFill>
                <a:latin typeface="Arial" panose="020B0604020202020204" pitchFamily="34" charset="0"/>
                <a:ea typeface="MS PGothic" panose="020B0600070205080204" pitchFamily="34" charset="-128"/>
              </a:defRPr>
            </a:lvl4pPr>
            <a:lvl5pPr marL="2035386" indent="-226154">
              <a:defRPr sz="2000">
                <a:solidFill>
                  <a:schemeClr val="tx1"/>
                </a:solidFill>
                <a:latin typeface="Arial" panose="020B0604020202020204" pitchFamily="34" charset="0"/>
                <a:ea typeface="MS PGothic" panose="020B0600070205080204" pitchFamily="34" charset="-128"/>
              </a:defRPr>
            </a:lvl5pPr>
            <a:lvl6pPr marL="2487694"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40002"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392310"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44618" indent="-226154"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defTabSz="904616" fontAlgn="auto">
              <a:spcBef>
                <a:spcPts val="0"/>
              </a:spcBef>
              <a:spcAft>
                <a:spcPts val="0"/>
              </a:spcAft>
              <a:defRPr/>
            </a:pPr>
            <a:fld id="{0B120186-6325-458F-8FA0-EB11C49F4474}" type="slidenum">
              <a:rPr lang="en-US" altLang="en-US" sz="1200" smtClean="0">
                <a:solidFill>
                  <a:prstClr val="black"/>
                </a:solidFill>
              </a:rPr>
              <a:t>13</a:t>
            </a:fld>
            <a:endParaRPr lang="en-US" altLang="en-US" sz="1200">
              <a:solidFill>
                <a:prstClr val="black"/>
              </a:solidFill>
            </a:endParaRPr>
          </a:p>
        </p:txBody>
      </p:sp>
      <p:sp>
        <p:nvSpPr>
          <p:cNvPr id="6" name="Header Placeholder 5"/>
          <p:cNvSpPr>
            <a:spLocks noGrp="1"/>
          </p:cNvSpPr>
          <p:nvPr>
            <p:ph type="hdr" sz="quarter"/>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The 5G Core Network Deep Dive </a:t>
            </a:r>
          </a:p>
        </p:txBody>
      </p:sp>
      <p:sp>
        <p:nvSpPr>
          <p:cNvPr id="7" name="Footer Placeholder 6"/>
          <p:cNvSpPr>
            <a:spLocks noGrp="1"/>
          </p:cNvSpPr>
          <p:nvPr>
            <p:ph type="ftr" sz="quarter" idx="4"/>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BICP-16:000214 Uen, Rev N </a:t>
            </a:r>
          </a:p>
        </p:txBody>
      </p:sp>
    </p:spTree>
    <p:extLst>
      <p:ext uri="{BB962C8B-B14F-4D97-AF65-F5344CB8AC3E}">
        <p14:creationId xmlns:p14="http://schemas.microsoft.com/office/powerpoint/2010/main" val="224637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sv-SE" sz="1800"/>
              <a:t>Ericsson preference/first solution planned is to use integration via ePDG since it is based on the existing installed base for e.g. WiFi Calling and associated support in early 5G devices.</a:t>
            </a:r>
            <a:endParaRPr lang="en-US" sz="1800"/>
          </a:p>
          <a:p>
            <a:pPr marL="0" indent="0">
              <a:buNone/>
            </a:pPr>
            <a:endParaRPr lang="en-US" sz="1800"/>
          </a:p>
          <a:p>
            <a:pPr marL="0" indent="0">
              <a:buNone/>
            </a:pPr>
            <a:r>
              <a:rPr lang="en-US" sz="1800"/>
              <a:t>Having said that – the Enhanced network functions for non-3GPP access - N3IWF compared to </a:t>
            </a:r>
            <a:r>
              <a:rPr lang="en-US" sz="1800" err="1"/>
              <a:t>ePDG</a:t>
            </a:r>
            <a:r>
              <a:rPr lang="en-US" sz="1800"/>
              <a:t>:</a:t>
            </a:r>
          </a:p>
          <a:p>
            <a:endParaRPr lang="en-US" sz="1800"/>
          </a:p>
          <a:p>
            <a:r>
              <a:rPr lang="en-US" sz="1800"/>
              <a:t>Security: More secured authentication and security mechanism. The real UE Id is not sent to the network in the 1st IKE AUTH. Only after the UE authenticates the network, the SUCI or GUTI is sent to AMF via N3IWF.</a:t>
            </a:r>
          </a:p>
          <a:p>
            <a:endParaRPr lang="en-US" sz="1800"/>
          </a:p>
          <a:p>
            <a:r>
              <a:rPr lang="en-US" sz="1800"/>
              <a:t>Less consumption of UE battery and network resource. Support NAS CM-Idle and RM-Registered state over non-3GPP access. The UE can quickly re-establish the IPSec SA and reactivate PDU session for a new service request</a:t>
            </a:r>
          </a:p>
          <a:p>
            <a:pPr lvl="2"/>
            <a:r>
              <a:rPr lang="en-US" sz="1800"/>
              <a:t>Note: If there is only </a:t>
            </a:r>
            <a:r>
              <a:rPr lang="en-US" sz="1800" err="1"/>
              <a:t>WiFi</a:t>
            </a:r>
            <a:r>
              <a:rPr lang="en-US" sz="1800"/>
              <a:t> coverage, the UE shall not enter CM-Idle. Otherwise MT call will fail.</a:t>
            </a:r>
          </a:p>
          <a:p>
            <a:endParaRPr lang="en-US" sz="1800"/>
          </a:p>
          <a:p>
            <a:r>
              <a:rPr lang="en-US" sz="1800"/>
              <a:t>UPF selection: AMF can pass the last known 3GPP user location and timestamp to SMF for UPF selection according to UE location</a:t>
            </a:r>
          </a:p>
          <a:p>
            <a:endParaRPr lang="en-US" sz="1800"/>
          </a:p>
          <a:p>
            <a:r>
              <a:rPr lang="en-US" sz="1800"/>
              <a:t>N3IWF is 5GC native NF, most 5G services can be applied to N3IWF based access. </a:t>
            </a:r>
          </a:p>
          <a:p>
            <a:pPr lvl="2"/>
            <a:r>
              <a:rPr lang="en-US" sz="1800"/>
              <a:t>Network Slicing: network slicing info is exchanged between UE and AMF during non-3GPP access registration.</a:t>
            </a:r>
          </a:p>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F1DAC3B7-9FE1-4FBB-A2AF-7F06751566E2}" type="slidenum">
              <a:rPr lang="en-US" smtClean="0"/>
              <a:t>14</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2443266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kern="0"/>
              <a:t>The 5G System Architecture contains the following Network Functions:</a:t>
            </a:r>
          </a:p>
          <a:p>
            <a:endParaRPr lang="en-US" kern="0"/>
          </a:p>
          <a:p>
            <a:pPr hangingPunct="0">
              <a:spcBef>
                <a:spcPts val="0"/>
              </a:spcBef>
              <a:tabLst>
                <a:tab pos="530834" algn="l"/>
              </a:tabLst>
            </a:pPr>
            <a:r>
              <a:rPr lang="en-US" b="1"/>
              <a:t>AF</a:t>
            </a:r>
            <a:r>
              <a:rPr lang="en-US"/>
              <a:t>	Application Function</a:t>
            </a:r>
          </a:p>
          <a:p>
            <a:pPr hangingPunct="0">
              <a:spcBef>
                <a:spcPts val="0"/>
              </a:spcBef>
              <a:tabLst>
                <a:tab pos="530834" algn="l"/>
              </a:tabLst>
            </a:pPr>
            <a:r>
              <a:rPr lang="en-US" b="1"/>
              <a:t>AMF</a:t>
            </a:r>
            <a:r>
              <a:rPr lang="en-US"/>
              <a:t>	Access and Mobility Management Function</a:t>
            </a:r>
          </a:p>
          <a:p>
            <a:pPr>
              <a:spcBef>
                <a:spcPts val="0"/>
              </a:spcBef>
              <a:tabLst>
                <a:tab pos="530834" algn="l"/>
              </a:tabLst>
            </a:pPr>
            <a:r>
              <a:rPr lang="en-US" b="1"/>
              <a:t>AUSF</a:t>
            </a:r>
            <a:r>
              <a:rPr lang="en-US"/>
              <a:t>	Authentication Server Function </a:t>
            </a:r>
          </a:p>
          <a:p>
            <a:pPr>
              <a:spcBef>
                <a:spcPts val="0"/>
              </a:spcBef>
              <a:tabLst>
                <a:tab pos="530834" algn="l"/>
              </a:tabLst>
            </a:pPr>
            <a:r>
              <a:rPr lang="en-US" b="1"/>
              <a:t>BSF</a:t>
            </a:r>
            <a:r>
              <a:rPr lang="en-US"/>
              <a:t>	Binding support Function</a:t>
            </a:r>
          </a:p>
          <a:p>
            <a:pPr>
              <a:spcBef>
                <a:spcPts val="0"/>
              </a:spcBef>
              <a:tabLst>
                <a:tab pos="530834" algn="l"/>
              </a:tabLst>
            </a:pPr>
            <a:r>
              <a:rPr lang="en-US" b="1"/>
              <a:t>CHF</a:t>
            </a:r>
            <a:r>
              <a:rPr lang="en-US"/>
              <a:t>	Charging Handling Function </a:t>
            </a:r>
          </a:p>
          <a:p>
            <a:pPr>
              <a:spcBef>
                <a:spcPts val="0"/>
              </a:spcBef>
              <a:tabLst>
                <a:tab pos="530834" algn="l"/>
              </a:tabLst>
            </a:pPr>
            <a:r>
              <a:rPr lang="en-US" b="1"/>
              <a:t>EIR</a:t>
            </a:r>
            <a:r>
              <a:rPr lang="en-US"/>
              <a:t>	5G-Equipment Identity Register </a:t>
            </a:r>
          </a:p>
          <a:p>
            <a:pPr>
              <a:spcBef>
                <a:spcPts val="0"/>
              </a:spcBef>
              <a:tabLst>
                <a:tab pos="530834" algn="l"/>
              </a:tabLst>
            </a:pPr>
            <a:r>
              <a:rPr lang="en-US" b="1"/>
              <a:t>GMLC</a:t>
            </a:r>
            <a:r>
              <a:rPr lang="en-US"/>
              <a:t>	Gateway Mobile Location Center</a:t>
            </a:r>
          </a:p>
          <a:p>
            <a:pPr>
              <a:spcBef>
                <a:spcPts val="0"/>
              </a:spcBef>
              <a:tabLst>
                <a:tab pos="530834" algn="l"/>
              </a:tabLst>
            </a:pPr>
            <a:r>
              <a:rPr lang="en-US" b="1"/>
              <a:t>LMF</a:t>
            </a:r>
            <a:r>
              <a:rPr lang="en-US"/>
              <a:t>	Location Management Function</a:t>
            </a:r>
          </a:p>
          <a:p>
            <a:pPr>
              <a:spcBef>
                <a:spcPts val="0"/>
              </a:spcBef>
              <a:tabLst>
                <a:tab pos="530834" algn="l"/>
              </a:tabLst>
            </a:pPr>
            <a:r>
              <a:rPr lang="en-US" b="1"/>
              <a:t>N3IWF</a:t>
            </a:r>
            <a:r>
              <a:rPr lang="en-US"/>
              <a:t>	Non-3GPP Interworking Function </a:t>
            </a:r>
          </a:p>
          <a:p>
            <a:pPr>
              <a:spcBef>
                <a:spcPts val="0"/>
              </a:spcBef>
              <a:tabLst>
                <a:tab pos="530834" algn="l"/>
              </a:tabLst>
            </a:pPr>
            <a:r>
              <a:rPr lang="en-US" b="1"/>
              <a:t>NEF</a:t>
            </a:r>
            <a:r>
              <a:rPr lang="en-US"/>
              <a:t>	Network Exposure Function</a:t>
            </a:r>
          </a:p>
          <a:p>
            <a:pPr>
              <a:spcBef>
                <a:spcPts val="0"/>
              </a:spcBef>
              <a:tabLst>
                <a:tab pos="530834" algn="l"/>
              </a:tabLst>
            </a:pPr>
            <a:r>
              <a:rPr lang="en-US" b="1"/>
              <a:t>NRF</a:t>
            </a:r>
            <a:r>
              <a:rPr lang="en-US"/>
              <a:t>	Network Repository Function</a:t>
            </a:r>
          </a:p>
          <a:p>
            <a:pPr>
              <a:spcBef>
                <a:spcPts val="0"/>
              </a:spcBef>
              <a:tabLst>
                <a:tab pos="530834" algn="l"/>
              </a:tabLst>
            </a:pPr>
            <a:r>
              <a:rPr lang="en-US" b="1" err="1"/>
              <a:t>NSSAAF</a:t>
            </a:r>
            <a:r>
              <a:rPr lang="en-US" err="1"/>
              <a:t>Network</a:t>
            </a:r>
            <a:r>
              <a:rPr lang="en-US"/>
              <a:t> Slice Specific Authentication and Authorization Function</a:t>
            </a:r>
          </a:p>
          <a:p>
            <a:pPr>
              <a:spcBef>
                <a:spcPts val="0"/>
              </a:spcBef>
              <a:tabLst>
                <a:tab pos="530834" algn="l"/>
              </a:tabLst>
            </a:pPr>
            <a:r>
              <a:rPr lang="en-US" b="1"/>
              <a:t>NSSF</a:t>
            </a:r>
            <a:r>
              <a:rPr lang="en-US"/>
              <a:t>	Network Slice Selection Function</a:t>
            </a:r>
          </a:p>
          <a:p>
            <a:pPr>
              <a:spcBef>
                <a:spcPts val="0"/>
              </a:spcBef>
              <a:tabLst>
                <a:tab pos="530834" algn="l"/>
              </a:tabLst>
            </a:pPr>
            <a:r>
              <a:rPr lang="en-US" b="1"/>
              <a:t>NWDAF</a:t>
            </a:r>
            <a:r>
              <a:rPr lang="en-US"/>
              <a:t>	 Network Data Analytics Function</a:t>
            </a:r>
          </a:p>
          <a:p>
            <a:pPr>
              <a:spcBef>
                <a:spcPts val="0"/>
              </a:spcBef>
              <a:tabLst>
                <a:tab pos="530834" algn="l"/>
              </a:tabLst>
            </a:pPr>
            <a:r>
              <a:rPr lang="en-US" b="1"/>
              <a:t>PCF</a:t>
            </a:r>
            <a:r>
              <a:rPr lang="en-US"/>
              <a:t>	Policy Control Function</a:t>
            </a:r>
          </a:p>
          <a:p>
            <a:pPr>
              <a:spcBef>
                <a:spcPts val="0"/>
              </a:spcBef>
              <a:tabLst>
                <a:tab pos="530834" algn="l"/>
              </a:tabLst>
            </a:pPr>
            <a:r>
              <a:rPr lang="en-US" b="1"/>
              <a:t>SEPP</a:t>
            </a:r>
            <a:r>
              <a:rPr lang="en-US"/>
              <a:t>	Security Edge Protection Proxy</a:t>
            </a:r>
          </a:p>
          <a:p>
            <a:pPr>
              <a:spcBef>
                <a:spcPts val="0"/>
              </a:spcBef>
              <a:tabLst>
                <a:tab pos="530834" algn="l"/>
              </a:tabLst>
            </a:pPr>
            <a:r>
              <a:rPr lang="en-US" b="1"/>
              <a:t>SCP</a:t>
            </a:r>
            <a:r>
              <a:rPr lang="en-US"/>
              <a:t>	Service Communication Proxy</a:t>
            </a:r>
          </a:p>
          <a:p>
            <a:pPr hangingPunct="0">
              <a:spcBef>
                <a:spcPts val="0"/>
              </a:spcBef>
              <a:tabLst>
                <a:tab pos="530834" algn="l"/>
              </a:tabLst>
            </a:pPr>
            <a:r>
              <a:rPr lang="en-US" b="1"/>
              <a:t>SMF</a:t>
            </a:r>
            <a:r>
              <a:rPr lang="en-US"/>
              <a:t>	Session Management Function</a:t>
            </a:r>
          </a:p>
          <a:p>
            <a:pPr hangingPunct="0">
              <a:spcBef>
                <a:spcPts val="0"/>
              </a:spcBef>
              <a:tabLst>
                <a:tab pos="530834" algn="l"/>
              </a:tabLst>
            </a:pPr>
            <a:r>
              <a:rPr lang="en-US" b="1"/>
              <a:t>SMSF</a:t>
            </a:r>
            <a:r>
              <a:rPr lang="en-US"/>
              <a:t>	SMS Function</a:t>
            </a:r>
          </a:p>
          <a:p>
            <a:pPr>
              <a:spcBef>
                <a:spcPts val="0"/>
              </a:spcBef>
              <a:tabLst>
                <a:tab pos="530834" algn="l"/>
              </a:tabLst>
            </a:pPr>
            <a:r>
              <a:rPr lang="en-US" b="1"/>
              <a:t>UCMF	</a:t>
            </a:r>
            <a:r>
              <a:rPr lang="en-US" b="0"/>
              <a:t>UE radio Capability Management Function</a:t>
            </a:r>
          </a:p>
          <a:p>
            <a:pPr>
              <a:spcBef>
                <a:spcPts val="0"/>
              </a:spcBef>
              <a:tabLst>
                <a:tab pos="530834" algn="l"/>
              </a:tabLst>
            </a:pPr>
            <a:r>
              <a:rPr lang="en-US" b="1"/>
              <a:t>UDM</a:t>
            </a:r>
            <a:r>
              <a:rPr lang="en-US"/>
              <a:t>	Unified Data Management </a:t>
            </a:r>
          </a:p>
          <a:p>
            <a:pPr>
              <a:spcBef>
                <a:spcPts val="0"/>
              </a:spcBef>
              <a:tabLst>
                <a:tab pos="530834" algn="l"/>
              </a:tabLst>
            </a:pPr>
            <a:r>
              <a:rPr lang="en-US" b="1"/>
              <a:t>UDR</a:t>
            </a:r>
            <a:r>
              <a:rPr lang="en-US"/>
              <a:t>	Unified Data Repository </a:t>
            </a:r>
          </a:p>
          <a:p>
            <a:pPr>
              <a:spcBef>
                <a:spcPts val="0"/>
              </a:spcBef>
              <a:tabLst>
                <a:tab pos="530834" algn="l"/>
              </a:tabLst>
            </a:pPr>
            <a:r>
              <a:rPr lang="en-US" b="1"/>
              <a:t>UDSF</a:t>
            </a:r>
            <a:r>
              <a:rPr lang="en-US"/>
              <a:t>	Unstructured Data Storage Function</a:t>
            </a:r>
          </a:p>
          <a:p>
            <a:pPr>
              <a:spcBef>
                <a:spcPts val="0"/>
              </a:spcBef>
              <a:tabLst>
                <a:tab pos="530834" algn="l"/>
              </a:tabLst>
            </a:pPr>
            <a:r>
              <a:rPr lang="en-US" b="1"/>
              <a:t>UPF</a:t>
            </a:r>
            <a:r>
              <a:rPr lang="en-US"/>
              <a:t>	User Plane Function</a:t>
            </a:r>
          </a:p>
          <a:p>
            <a:pPr>
              <a:spcBef>
                <a:spcPts val="0"/>
              </a:spcBef>
              <a:tabLst>
                <a:tab pos="530834" algn="l"/>
              </a:tabLst>
            </a:pPr>
            <a:r>
              <a:rPr lang="en-US" b="1"/>
              <a:t>W-AGF</a:t>
            </a:r>
            <a:r>
              <a:rPr lang="en-US"/>
              <a:t>	Wireline-Access Gateway Function</a:t>
            </a:r>
          </a:p>
          <a:p>
            <a:pPr>
              <a:spcBef>
                <a:spcPts val="0"/>
              </a:spcBef>
              <a:tabLst>
                <a:tab pos="530834" algn="l"/>
              </a:tabLst>
            </a:pPr>
            <a:endParaRPr lang="en-US" altLang="en-US">
              <a:latin typeface="Arial" panose="020B0604020202020204" pitchFamily="34" charset="0"/>
            </a:endParaRPr>
          </a:p>
          <a:p>
            <a:r>
              <a:rPr lang="en-US" sz="1400" kern="0"/>
              <a:t>The 5G System Architecture contains the following service-based interfaces:</a:t>
            </a:r>
          </a:p>
          <a:p>
            <a:pPr lvl="1"/>
            <a:r>
              <a:rPr lang="en-US" sz="1000" b="1" kern="0" err="1"/>
              <a:t>Namf</a:t>
            </a:r>
            <a:r>
              <a:rPr lang="en-US" sz="1000" b="1" kern="0"/>
              <a:t>:</a:t>
            </a:r>
            <a:r>
              <a:rPr lang="en-US" sz="1000" kern="0"/>
              <a:t>	Service-based interface exhibited by AMF.</a:t>
            </a:r>
          </a:p>
          <a:p>
            <a:pPr lvl="1"/>
            <a:r>
              <a:rPr lang="en-US" sz="1000" b="1" kern="0" err="1"/>
              <a:t>Nsmf</a:t>
            </a:r>
            <a:r>
              <a:rPr lang="en-US" sz="1000" b="1" kern="0"/>
              <a:t>:</a:t>
            </a:r>
            <a:r>
              <a:rPr lang="en-US" sz="1000" kern="0"/>
              <a:t>	Service-based interface exhibited by SMF.</a:t>
            </a:r>
          </a:p>
          <a:p>
            <a:pPr lvl="1"/>
            <a:r>
              <a:rPr lang="en-US" sz="1000" b="1" kern="0" err="1"/>
              <a:t>Nnef</a:t>
            </a:r>
            <a:r>
              <a:rPr lang="en-US" sz="1000" b="1" kern="0"/>
              <a:t>:</a:t>
            </a:r>
            <a:r>
              <a:rPr lang="en-US" sz="1000" kern="0"/>
              <a:t>	Service-based interface exhibited by NEF.</a:t>
            </a:r>
          </a:p>
          <a:p>
            <a:pPr lvl="1"/>
            <a:r>
              <a:rPr lang="en-US" sz="1000" b="1" kern="0" err="1"/>
              <a:t>Npcf</a:t>
            </a:r>
            <a:r>
              <a:rPr lang="en-US" sz="1000" b="1" kern="0"/>
              <a:t>:</a:t>
            </a:r>
            <a:r>
              <a:rPr lang="en-US" sz="1000" kern="0"/>
              <a:t>	Service-based interface exhibited by PCF.</a:t>
            </a:r>
          </a:p>
          <a:p>
            <a:pPr lvl="1"/>
            <a:r>
              <a:rPr lang="en-US" sz="1000" b="1" kern="0" err="1"/>
              <a:t>Nudm</a:t>
            </a:r>
            <a:r>
              <a:rPr lang="en-US" sz="1000" b="1" kern="0"/>
              <a:t>: </a:t>
            </a:r>
            <a:r>
              <a:rPr lang="en-US" sz="1000" kern="0"/>
              <a:t>Service-based interface exhibited by UDM.</a:t>
            </a:r>
          </a:p>
          <a:p>
            <a:pPr lvl="1"/>
            <a:r>
              <a:rPr lang="en-US" sz="1000" b="1" kern="0" err="1"/>
              <a:t>Naf</a:t>
            </a:r>
            <a:r>
              <a:rPr lang="en-US" sz="1000" b="1" kern="0"/>
              <a:t>:</a:t>
            </a:r>
            <a:r>
              <a:rPr lang="en-US" sz="1000" kern="0"/>
              <a:t>	Service-based interface exhibited by AF.</a:t>
            </a:r>
          </a:p>
          <a:p>
            <a:pPr lvl="1"/>
            <a:r>
              <a:rPr lang="en-US" sz="1000" b="1" kern="0" err="1"/>
              <a:t>Nnrf</a:t>
            </a:r>
            <a:r>
              <a:rPr lang="en-US" sz="1000" b="1" kern="0"/>
              <a:t>:</a:t>
            </a:r>
            <a:r>
              <a:rPr lang="en-US" sz="1000" kern="0"/>
              <a:t>	Service-based interface exhibited by NRF.</a:t>
            </a:r>
          </a:p>
          <a:p>
            <a:pPr lvl="1"/>
            <a:r>
              <a:rPr lang="en-US" sz="1000" b="1" kern="0" err="1"/>
              <a:t>Nausf</a:t>
            </a:r>
            <a:r>
              <a:rPr lang="en-US" sz="1000" b="1" kern="0"/>
              <a:t>: </a:t>
            </a:r>
            <a:r>
              <a:rPr lang="en-US" sz="1000" kern="0"/>
              <a:t>Service-based interface exhibited by AUSF.</a:t>
            </a:r>
          </a:p>
          <a:p>
            <a:pPr lvl="1"/>
            <a:endParaRPr lang="sv-SE" altLang="en-US" sz="1000" kern="0">
              <a:latin typeface="Arial" panose="020B0604020202020204" pitchFamily="34" charset="0"/>
            </a:endParaRPr>
          </a:p>
          <a:p>
            <a:pPr lvl="0"/>
            <a:r>
              <a:rPr lang="sv-SE" altLang="en-US" sz="1000" kern="0">
                <a:latin typeface="Arial" panose="020B0604020202020204" pitchFamily="34" charset="0"/>
              </a:rPr>
              <a:t>N</a:t>
            </a:r>
            <a:r>
              <a:rPr lang="en-US" altLang="en-US" sz="1000" kern="0">
                <a:latin typeface="Arial" panose="020B0604020202020204" pitchFamily="34" charset="0"/>
              </a:rPr>
              <a:t>ote1: several NFs are not included in the picture:</a:t>
            </a:r>
          </a:p>
          <a:p>
            <a:pPr lvl="0"/>
            <a:r>
              <a:rPr lang="en-US" altLang="en-US" sz="1000" kern="0">
                <a:latin typeface="Arial" panose="020B0604020202020204" pitchFamily="34" charset="0"/>
              </a:rPr>
              <a:t>- PWS and CBC for public warnings system</a:t>
            </a:r>
          </a:p>
          <a:p>
            <a:pPr lvl="0"/>
            <a:r>
              <a:rPr lang="en-US" altLang="en-US" sz="1000" kern="0">
                <a:latin typeface="Arial" panose="020B0604020202020204" pitchFamily="34" charset="0"/>
              </a:rPr>
              <a:t>- TNGF for gateway to trusted non-3GPP access network</a:t>
            </a:r>
          </a:p>
          <a:p>
            <a:pPr lvl="0"/>
            <a:r>
              <a:rPr lang="en-US" altLang="en-US" sz="1000" kern="0">
                <a:latin typeface="Arial" panose="020B0604020202020204" pitchFamily="34" charset="0"/>
              </a:rPr>
              <a:t>- UCMF (</a:t>
            </a:r>
            <a:r>
              <a:rPr lang="en-GB" sz="1200" kern="1200">
                <a:solidFill>
                  <a:schemeClr val="tx1"/>
                </a:solidFill>
                <a:effectLst/>
                <a:latin typeface="Ericsson Hilda Light" panose="00000400000000000000" pitchFamily="2" charset="0"/>
                <a:ea typeface="+mn-ea"/>
                <a:cs typeface="+mn-cs"/>
              </a:rPr>
              <a:t>UE radio Capability Management Function)</a:t>
            </a:r>
            <a:endParaRPr lang="en-US" altLang="en-US" sz="1000" kern="0">
              <a:latin typeface="Arial" panose="020B0604020202020204" pitchFamily="34" charset="0"/>
            </a:endParaRPr>
          </a:p>
          <a:p>
            <a:pPr lvl="0"/>
            <a:r>
              <a:rPr lang="en-US" altLang="en-US" sz="1000" kern="0">
                <a:latin typeface="Arial" panose="020B0604020202020204" pitchFamily="34" charset="0"/>
              </a:rPr>
              <a:t>Note2: The black dot indicates a service based interface (SBI). The SCP and SEPP do not have any own exposed NF Services.</a:t>
            </a:r>
          </a:p>
          <a:p>
            <a:pPr lvl="0"/>
            <a:endParaRPr lang="en-US" altLang="en-US" sz="1000" kern="0">
              <a:latin typeface="Arial" panose="020B0604020202020204" pitchFamily="34" charset="0"/>
            </a:endParaRPr>
          </a:p>
          <a:p>
            <a:pPr lvl="0"/>
            <a:endParaRPr lang="en-US" altLang="en-US" sz="1000" kern="0">
              <a:latin typeface="Arial" panose="020B0604020202020204" pitchFamily="34" charset="0"/>
            </a:endParaRPr>
          </a:p>
          <a:p>
            <a:pPr lvl="0"/>
            <a:endParaRPr lang="en-US" altLang="en-US">
              <a:latin typeface="Arial" panose="020B0604020202020204" pitchFamily="34" charset="0"/>
            </a:endParaRPr>
          </a:p>
        </p:txBody>
      </p:sp>
      <p:sp>
        <p:nvSpPr>
          <p:cNvPr id="2662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2019-09-24 </a:t>
            </a:r>
          </a:p>
        </p:txBody>
      </p:sp>
      <p:sp>
        <p:nvSpPr>
          <p:cNvPr id="2662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DC41867-EAC3-4CB3-A108-08EA8744814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t>15</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5G Core - standardization update </a:t>
            </a: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Ericsson AB 2018 </a:t>
            </a:r>
          </a:p>
        </p:txBody>
      </p:sp>
    </p:spTree>
    <p:extLst>
      <p:ext uri="{BB962C8B-B14F-4D97-AF65-F5344CB8AC3E}">
        <p14:creationId xmlns:p14="http://schemas.microsoft.com/office/powerpoint/2010/main" val="3986596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6A73DD34-A52E-4071-ADE4-A32A29EF5A72}" type="slidenum">
              <a:rPr lang="en-US" smtClean="0"/>
              <a:t>16</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3507759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17</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542222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An NF service is a capability exposed by a NF (NF Service Producer) to other NFs (NF Service Consumer) through a service-based interface. Network Function may expose one or more NF services.</a:t>
            </a:r>
          </a:p>
          <a:p>
            <a:r>
              <a:rPr lang="en-GB" sz="1200"/>
              <a:t>There are two </a:t>
            </a:r>
            <a:r>
              <a:rPr lang="en-US" sz="1200"/>
              <a:t>elementary operations </a:t>
            </a:r>
            <a:r>
              <a:rPr lang="en-GB" sz="1200"/>
              <a:t>that NFs provide their services through a service-based interface:</a:t>
            </a:r>
          </a:p>
          <a:p>
            <a:pPr marL="167800" indent="-167800">
              <a:buFont typeface="Arial" panose="020B0604020202020204" pitchFamily="34" charset="0"/>
              <a:buChar char="•"/>
            </a:pPr>
            <a:r>
              <a:rPr lang="en-GB" sz="1200"/>
              <a:t>"Request-response": A Control Plane NF A (NF Service Producer) is requested by another Control Plane NF B (NF Service Consumer) to provide a certain NF service, which can include performing an action and/or providing information. NF A response provides NF service results based on the information provided by NF B in its request. In order to fulfil the request, NF A may in turn consume NF services from other NFs. In Request-response mechanism, communication is one to one between two NFs (consumer and producer) and a one-time response from producer to a request from consumer is expected within a certain timeframe.</a:t>
            </a:r>
          </a:p>
          <a:p>
            <a:pPr marL="167800" indent="-167800">
              <a:buFont typeface="Arial" panose="020B0604020202020204" pitchFamily="34" charset="0"/>
              <a:buChar char="•"/>
            </a:pPr>
            <a:r>
              <a:rPr lang="en-GB" sz="1200"/>
              <a:t>"Subscribe-Notify": A Control Plane NF A (NF Service Consumer) subscribes to NF Service offered by another Control Plane NF B (NF Service Producer). Multiple Control Plane NFs may subscribe to the same Control Plane NF Service. NF B notifies the results of this NF service to the interested NF(s) that subscribed to this NF service. The subscription request from consumer may include notification request for periodic updates or notification triggered through certain events (e.g., the information requested gets changed, reaches certain threshold etc.). This mechanism also covers the case where NFs (NF B) are subscribed to certain notifications implicitly without explicit subscription request (e.g. due to successful registration procedure).</a:t>
            </a:r>
          </a:p>
          <a:p>
            <a:endParaRPr lang="en-GB" sz="1200"/>
          </a:p>
          <a:p>
            <a:r>
              <a:rPr lang="en-GB" sz="1200"/>
              <a:t>NF Service discovery, authorization and registration are framework mechanisms that enable the use of NF services.</a:t>
            </a:r>
          </a:p>
          <a:p>
            <a:endParaRPr lang="en-GB" sz="1200"/>
          </a:p>
          <a:p>
            <a:r>
              <a:rPr lang="en-US" sz="1200"/>
              <a:t>HTTP2/TCP, Swagger2.0 and REST principles may apply to SBI</a:t>
            </a:r>
            <a:br>
              <a:rPr lang="en-US" sz="1200"/>
            </a:br>
            <a:endParaRPr lang="en-US" sz="1200"/>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E7FC7EEE-BB0E-46A5-BFAE-C1A628B2F811}" type="slidenum">
              <a:rPr lang="en-US" smtClean="0"/>
              <a:t>18</a:t>
            </a:fld>
            <a:endParaRPr lang="en-US"/>
          </a:p>
        </p:txBody>
      </p:sp>
    </p:spTree>
    <p:extLst>
      <p:ext uri="{BB962C8B-B14F-4D97-AF65-F5344CB8AC3E}">
        <p14:creationId xmlns:p14="http://schemas.microsoft.com/office/powerpoint/2010/main" val="3047676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600"/>
              </a:spcAft>
              <a:buNone/>
            </a:pPr>
            <a:r>
              <a:rPr lang="en-US" sz="1200" b="1"/>
              <a:t>Recommendation – Discovery and selection</a:t>
            </a:r>
          </a:p>
          <a:p>
            <a:pPr marL="171450" indent="-171450">
              <a:spcBef>
                <a:spcPts val="0"/>
              </a:spcBef>
              <a:spcAft>
                <a:spcPts val="600"/>
              </a:spcAft>
              <a:buFont typeface="Arial" panose="020B0604020202020204" pitchFamily="34" charset="0"/>
              <a:buChar char="•"/>
            </a:pPr>
            <a:r>
              <a:rPr lang="en-US" sz="1200"/>
              <a:t>The discovery, filtering and selection mechanisms as well as procedures as specified in R15 option B are fully sufficient for all studied cases, therefore support of NRF shall be mandated in our solution and promoted to customers</a:t>
            </a:r>
          </a:p>
          <a:p>
            <a:pPr marL="0" indent="0">
              <a:spcBef>
                <a:spcPts val="0"/>
              </a:spcBef>
              <a:spcAft>
                <a:spcPts val="600"/>
              </a:spcAft>
              <a:buNone/>
            </a:pPr>
            <a:endParaRPr lang="en-US" sz="1200" b="1"/>
          </a:p>
          <a:p>
            <a:pPr marL="0" indent="0">
              <a:spcBef>
                <a:spcPts val="0"/>
              </a:spcBef>
              <a:spcAft>
                <a:spcPts val="600"/>
              </a:spcAft>
              <a:buNone/>
            </a:pPr>
            <a:r>
              <a:rPr lang="en-US" sz="1200" b="1"/>
              <a:t>Recommendation - Signaling infrastructure for additional signaling services </a:t>
            </a:r>
          </a:p>
          <a:p>
            <a:pPr marL="171450" indent="-171450">
              <a:spcBef>
                <a:spcPts val="0"/>
              </a:spcBef>
              <a:spcAft>
                <a:spcPts val="300"/>
              </a:spcAft>
              <a:buFont typeface="Arial" panose="020B0604020202020204" pitchFamily="34" charset="0"/>
              <a:buChar char="•"/>
            </a:pPr>
            <a:r>
              <a:rPr lang="en-US" sz="1200"/>
              <a:t>In case customers require a signaling infrastructure with advanced signaling services, a</a:t>
            </a:r>
            <a:r>
              <a:rPr lang="en-US" sz="1200">
                <a:ea typeface="+mn-ea"/>
                <a:cs typeface="+mn-cs"/>
              </a:rPr>
              <a:t> </a:t>
            </a:r>
            <a:r>
              <a:rPr lang="en-US" sz="1200" err="1">
                <a:ea typeface="+mn-ea"/>
                <a:cs typeface="+mn-cs"/>
              </a:rPr>
              <a:t>SigGW</a:t>
            </a:r>
            <a:r>
              <a:rPr lang="en-US" sz="1200">
                <a:ea typeface="+mn-ea"/>
                <a:cs typeface="+mn-cs"/>
              </a:rPr>
              <a:t>/SCP based R16 opt. C is currently the only feasible alternative</a:t>
            </a:r>
          </a:p>
          <a:p>
            <a:pPr marL="171450" indent="-171450">
              <a:spcBef>
                <a:spcPts val="0"/>
              </a:spcBef>
              <a:spcAft>
                <a:spcPts val="600"/>
              </a:spcAft>
              <a:buFont typeface="Arial" panose="020B0604020202020204" pitchFamily="34" charset="0"/>
              <a:buChar char="•"/>
            </a:pPr>
            <a:r>
              <a:rPr lang="en-US" sz="1200"/>
              <a:t>The signaling services in the </a:t>
            </a:r>
            <a:r>
              <a:rPr lang="en-US" sz="1200" err="1"/>
              <a:t>SigGW</a:t>
            </a:r>
            <a:r>
              <a:rPr lang="en-US" sz="1200"/>
              <a:t> shall be positioned as an optional value adding complement to the signaling related features in the NFs and NF domains e.g. UDM</a:t>
            </a:r>
          </a:p>
          <a:p>
            <a:pPr>
              <a:spcBef>
                <a:spcPts val="0"/>
              </a:spcBef>
              <a:spcAft>
                <a:spcPts val="600"/>
              </a:spcAft>
            </a:pPr>
            <a:endParaRPr lang="sv-SE" sz="1200"/>
          </a:p>
          <a:p>
            <a:pPr marL="171450" indent="-171450">
              <a:spcBef>
                <a:spcPts val="0"/>
              </a:spcBef>
              <a:spcAft>
                <a:spcPts val="600"/>
              </a:spcAft>
              <a:buFont typeface="Arial" panose="020B0604020202020204" pitchFamily="34" charset="0"/>
              <a:buChar char="•"/>
            </a:pPr>
            <a:r>
              <a:rPr lang="en-US" sz="1200"/>
              <a:t>The deployment/implementation variants of an SCP, </a:t>
            </a:r>
            <a:r>
              <a:rPr lang="en-US" sz="1200" err="1"/>
              <a:t>SigGW</a:t>
            </a:r>
            <a:r>
              <a:rPr lang="en-US" sz="1200"/>
              <a:t> and SBI service mesh, differ in respect to:</a:t>
            </a:r>
          </a:p>
          <a:p>
            <a:pPr marL="171450" indent="-171450">
              <a:spcBef>
                <a:spcPts val="0"/>
              </a:spcBef>
              <a:spcAft>
                <a:spcPts val="600"/>
              </a:spcAft>
              <a:buFont typeface="Arial" panose="020B0604020202020204" pitchFamily="34" charset="0"/>
              <a:buChar char="•"/>
            </a:pPr>
            <a:r>
              <a:rPr lang="en-US" sz="1200" b="1"/>
              <a:t>ability to provide the identified signaling services </a:t>
            </a:r>
          </a:p>
          <a:p>
            <a:pPr marL="171450" indent="-171450">
              <a:spcBef>
                <a:spcPts val="0"/>
              </a:spcBef>
              <a:spcAft>
                <a:spcPts val="600"/>
              </a:spcAft>
              <a:buFont typeface="Arial" panose="020B0604020202020204" pitchFamily="34" charset="0"/>
              <a:buChar char="•"/>
            </a:pPr>
            <a:r>
              <a:rPr lang="en-US" sz="1200" b="1"/>
              <a:t>integration</a:t>
            </a:r>
            <a:r>
              <a:rPr lang="en-US" sz="1200"/>
              <a:t>, an SBI service mesh is expected to require that the VNF are designed to use it whilst a </a:t>
            </a:r>
            <a:r>
              <a:rPr lang="en-US" sz="1200" err="1"/>
              <a:t>SigGW</a:t>
            </a:r>
            <a:r>
              <a:rPr lang="en-US" sz="1200"/>
              <a:t> is expected to be used over standardized NW interfaces from R15 and R16 VNFs</a:t>
            </a:r>
          </a:p>
          <a:p>
            <a:pPr marL="171450" indent="-171450">
              <a:spcBef>
                <a:spcPts val="0"/>
              </a:spcBef>
              <a:spcAft>
                <a:spcPts val="600"/>
              </a:spcAft>
              <a:buFont typeface="Arial" panose="020B0604020202020204" pitchFamily="34" charset="0"/>
              <a:buChar char="•"/>
            </a:pPr>
            <a:r>
              <a:rPr lang="en-US" sz="1200" b="1"/>
              <a:t>maturity</a:t>
            </a:r>
            <a:r>
              <a:rPr lang="en-US" sz="1200"/>
              <a:t>, the of SBI service mesh concept is not ready for near - mid term implementations</a:t>
            </a:r>
          </a:p>
          <a:p>
            <a:endParaRPr lang="en-GB" sz="1200" kern="1200">
              <a:solidFill>
                <a:schemeClr val="tx1"/>
              </a:solidFill>
              <a:effectLst/>
              <a:latin typeface="Ericsson Hilda Light" panose="00000400000000000000" pitchFamily="2" charset="0"/>
              <a:ea typeface="+mn-ea"/>
              <a:cs typeface="+mn-cs"/>
            </a:endParaRP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nnex E (informative):</a:t>
            </a:r>
            <a:br>
              <a:rPr lang="en-GB" sz="1200" kern="1200">
                <a:solidFill>
                  <a:schemeClr val="tx1"/>
                </a:solidFill>
                <a:effectLst/>
                <a:latin typeface="Ericsson Hilda Light" panose="00000400000000000000" pitchFamily="2" charset="0"/>
                <a:ea typeface="+mn-ea"/>
                <a:cs typeface="+mn-cs"/>
              </a:rPr>
            </a:br>
            <a:r>
              <a:rPr lang="en-GB" sz="1200" kern="1200">
                <a:solidFill>
                  <a:schemeClr val="tx1"/>
                </a:solidFill>
                <a:effectLst/>
                <a:latin typeface="Ericsson Hilda Light" panose="00000400000000000000" pitchFamily="2" charset="0"/>
                <a:ea typeface="+mn-ea"/>
                <a:cs typeface="+mn-cs"/>
              </a:rPr>
              <a:t>Communication models for NF/NF services interaction</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E.1	General</a:t>
            </a:r>
            <a:endParaRPr lang="en-US" sz="1200" b="1"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This annex provides a high level description of the different communication models that NF and NF services can use to interact which each other. Table E.1-1 summarizes the communication models, their usage and how they relate to the usage of an SCP.</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Table E.1-1: Communication models for NF/NF services interaction summary</a:t>
            </a:r>
            <a:endParaRPr lang="en-US" sz="1200" b="1"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Communication between consumer and producer</a:t>
            </a:r>
            <a:endParaRPr lang="en-US" sz="1200" b="1"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Service discovery and request routing</a:t>
            </a:r>
            <a:endParaRPr lang="en-US" sz="1200" b="1"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Communication model</a:t>
            </a:r>
            <a:endParaRPr lang="en-US" sz="1200" b="1"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irect communication</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No NRF or SCP; direct routing</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 </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iscovery using NRF services; no SCP; direct routing</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B</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Indirect communication</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iscovery using NRF services; selection for specific instance from the Set can be delegated to SCP. Routing via SCP</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C</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 </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iscovery and associated selection delegated to an SCP using discovery and selection parameters in service request; routing via SCP</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 </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Model A - Direct communication without NRF interaction:</a:t>
            </a:r>
            <a:r>
              <a:rPr lang="en-GB" sz="1200" kern="1200">
                <a:solidFill>
                  <a:schemeClr val="tx1"/>
                </a:solidFill>
                <a:effectLst/>
                <a:latin typeface="Ericsson Hilda Light" panose="00000400000000000000" pitchFamily="2" charset="0"/>
                <a:ea typeface="+mn-ea"/>
                <a:cs typeface="+mn-cs"/>
              </a:rPr>
              <a:t> Neither NRF nor SCP are used. Consumers are configured with producers' "NF profiles" and directly communicate with a producer of their choice.</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Model B - Direct communication with NRF interaction:</a:t>
            </a:r>
            <a:r>
              <a:rPr lang="en-GB" sz="1200" kern="1200">
                <a:solidFill>
                  <a:schemeClr val="tx1"/>
                </a:solidFill>
                <a:effectLst/>
                <a:latin typeface="Ericsson Hilda Light" panose="00000400000000000000" pitchFamily="2" charset="0"/>
                <a:ea typeface="+mn-ea"/>
                <a:cs typeface="+mn-cs"/>
              </a:rPr>
              <a:t> Consumers do discovery by querying the NRF. Based on the discovery result, the consumer does the selection. The consumer sends the request to the selected producer.</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Model C - Indirect communication without delegated discovery:</a:t>
            </a:r>
            <a:r>
              <a:rPr lang="en-GB" sz="1200" kern="1200">
                <a:solidFill>
                  <a:schemeClr val="tx1"/>
                </a:solidFill>
                <a:effectLst/>
                <a:latin typeface="Ericsson Hilda Light" panose="00000400000000000000" pitchFamily="2" charset="0"/>
                <a:ea typeface="+mn-ea"/>
                <a:cs typeface="+mn-cs"/>
              </a:rPr>
              <a:t> Consumers do discovery by querying the NRF. Based on discovery result, the consumer does the selection of an NF Set or a specific NF instance of NF instance set. The consumer sends the request to the SCP containing the address of the selected service producer pointing to a NF service instance or a set of NF service instances. In the latter case, the SCP selects an NF Service instance. If possible, the SCP interacts with NRF to get selection parameters such as location, capacity, etc. The SCP routes the request to the selected NF service producer instance.</a:t>
            </a:r>
            <a:endParaRPr lang="en-US" sz="1200" kern="1200">
              <a:solidFill>
                <a:schemeClr val="tx1"/>
              </a:solidFill>
              <a:effectLst/>
              <a:latin typeface="Ericsson Hilda Light" panose="00000400000000000000" pitchFamily="2" charset="0"/>
              <a:ea typeface="+mn-ea"/>
              <a:cs typeface="+mn-cs"/>
            </a:endParaRPr>
          </a:p>
          <a:p>
            <a:r>
              <a:rPr lang="en-GB" sz="1200" b="1" kern="1200">
                <a:solidFill>
                  <a:schemeClr val="tx1"/>
                </a:solidFill>
                <a:effectLst/>
                <a:latin typeface="Ericsson Hilda Light" panose="00000400000000000000" pitchFamily="2" charset="0"/>
                <a:ea typeface="+mn-ea"/>
                <a:cs typeface="+mn-cs"/>
              </a:rPr>
              <a:t>Model D - Indirect communication with delegated discovery:</a:t>
            </a:r>
            <a:r>
              <a:rPr lang="en-GB" sz="1200" kern="1200">
                <a:solidFill>
                  <a:schemeClr val="tx1"/>
                </a:solidFill>
                <a:effectLst/>
                <a:latin typeface="Ericsson Hilda Light" panose="00000400000000000000" pitchFamily="2" charset="0"/>
                <a:ea typeface="+mn-ea"/>
                <a:cs typeface="+mn-cs"/>
              </a:rPr>
              <a:t> Consumers do not do any discovery or selection. The consumer adds any necessary discovery and selection parameters required to find a suitable producer to the service request. The SCP uses the request address and the discovery and selection parameters in the request message to route the request to a suitable producer instance. The SCP can perform discovery with an NRF and obtain a discovery result.</a:t>
            </a:r>
            <a:endParaRPr lang="en-US"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Figure E.1-1 depicts the different communication models.</a:t>
            </a:r>
            <a:endParaRPr lang="en-US" sz="1200" kern="1200">
              <a:solidFill>
                <a:schemeClr val="tx1"/>
              </a:solidFill>
              <a:effectLst/>
              <a:latin typeface="Ericsson Hilda Light" panose="00000400000000000000" pitchFamily="2"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66612"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66612"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66612"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66612" rtl="0" eaLnBrk="1" fontAlgn="base" latinLnBrk="0" hangingPunct="1">
              <a:lnSpc>
                <a:spcPct val="100000"/>
              </a:lnSpc>
              <a:spcBef>
                <a:spcPct val="50000"/>
              </a:spcBef>
              <a:spcAft>
                <a:spcPct val="0"/>
              </a:spcAft>
              <a:buClrTx/>
              <a:buSzTx/>
              <a:buFontTx/>
              <a:buNone/>
              <a:tabLst/>
              <a:defRPr/>
            </a:pPr>
            <a:fld id="{EB8E95E0-806D-427E-BDE6-7FF2AF5C1248}"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t>1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31518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BC4F37D6-B95E-41A4-B405-D8679BD34A1A}" type="slidenum">
              <a:rPr lang="en-US" smtClean="0"/>
              <a:t>2</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42400009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BEA87947-E643-4B05-AC77-DDB60D72210A}" type="slidenum">
              <a:rPr lang="en-US" smtClean="0"/>
              <a:t>20</a:t>
            </a:fld>
            <a:endParaRPr lang="en-US"/>
          </a:p>
        </p:txBody>
      </p:sp>
    </p:spTree>
    <p:extLst>
      <p:ext uri="{BB962C8B-B14F-4D97-AF65-F5344CB8AC3E}">
        <p14:creationId xmlns:p14="http://schemas.microsoft.com/office/powerpoint/2010/main" val="9829736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BEA87947-E643-4B05-AC77-DDB60D72210A}" type="slidenum">
              <a:rPr lang="en-US" smtClean="0"/>
              <a:t>21</a:t>
            </a:fld>
            <a:endParaRPr lang="en-US"/>
          </a:p>
        </p:txBody>
      </p:sp>
    </p:spTree>
    <p:extLst>
      <p:ext uri="{BB962C8B-B14F-4D97-AF65-F5344CB8AC3E}">
        <p14:creationId xmlns:p14="http://schemas.microsoft.com/office/powerpoint/2010/main" val="3922986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 </a:t>
            </a:r>
          </a:p>
        </p:txBody>
      </p:sp>
      <p:sp>
        <p:nvSpPr>
          <p:cNvPr id="5" name="Date Placeholder 4"/>
          <p:cNvSpPr>
            <a:spLocks noGrp="1"/>
          </p:cNvSpPr>
          <p:nvPr>
            <p:ph type="dt" idx="1"/>
          </p:nvPr>
        </p:nvSpPr>
        <p:spPr/>
        <p:txBody>
          <a:bodyPr/>
          <a:lstStyle/>
          <a:p>
            <a:r>
              <a:rPr lang="en-US"/>
              <a:t>2019-03-26 </a:t>
            </a:r>
          </a:p>
        </p:txBody>
      </p:sp>
      <p:sp>
        <p:nvSpPr>
          <p:cNvPr id="6" name="Footer Placeholder 5"/>
          <p:cNvSpPr>
            <a:spLocks noGrp="1"/>
          </p:cNvSpPr>
          <p:nvPr>
            <p:ph type="ftr" sz="quarter" idx="4"/>
          </p:nvPr>
        </p:nvSpPr>
        <p:spPr/>
        <p:txBody>
          <a:bodyPr/>
          <a:lstStyle/>
          <a:p>
            <a:r>
              <a:rPr lang="en-US"/>
              <a:t> </a:t>
            </a:r>
          </a:p>
        </p:txBody>
      </p:sp>
      <p:sp>
        <p:nvSpPr>
          <p:cNvPr id="7" name="Slide Number Placeholder 6"/>
          <p:cNvSpPr>
            <a:spLocks noGrp="1"/>
          </p:cNvSpPr>
          <p:nvPr>
            <p:ph type="sldNum" sz="quarter" idx="5"/>
          </p:nvPr>
        </p:nvSpPr>
        <p:spPr/>
        <p:txBody>
          <a:bodyPr/>
          <a:lstStyle/>
          <a:p>
            <a:fld id="{6741C99C-B71A-4731-BC2A-C5E8F3A34BF2}" type="slidenum">
              <a:rPr lang="en-US" smtClean="0"/>
              <a:t>22</a:t>
            </a:fld>
            <a:endParaRPr lang="en-US"/>
          </a:p>
        </p:txBody>
      </p:sp>
    </p:spTree>
    <p:extLst>
      <p:ext uri="{BB962C8B-B14F-4D97-AF65-F5344CB8AC3E}">
        <p14:creationId xmlns:p14="http://schemas.microsoft.com/office/powerpoint/2010/main" val="35649716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2291EE-7E02-4AD2-8ED6-37D9B1A824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B07580-F9E9-4914-AC52-A5665C47AB06}"/>
              </a:ext>
            </a:extLst>
          </p:cNvPr>
          <p:cNvSpPr txBox="1">
            <a:spLocks noGrp="1"/>
          </p:cNvSpPr>
          <p:nvPr>
            <p:ph type="body" sz="quarter" idx="1"/>
          </p:nvPr>
        </p:nvSpPr>
        <p:spPr/>
        <p:txBody>
          <a:bodyPr/>
          <a:lstStyle/>
          <a:p>
            <a:endParaRPr lang="en-US"/>
          </a:p>
        </p:txBody>
      </p:sp>
      <p:sp>
        <p:nvSpPr>
          <p:cNvPr id="4" name="Header Placeholder 3">
            <a:extLst>
              <a:ext uri="{FF2B5EF4-FFF2-40B4-BE49-F238E27FC236}">
                <a16:creationId xmlns:a16="http://schemas.microsoft.com/office/drawing/2014/main" id="{48390E52-8A1D-434B-BC27-24A1C6AA3A49}"/>
              </a:ext>
            </a:extLst>
          </p:cNvPr>
          <p:cNvSpPr txBox="1"/>
          <p:nvPr/>
        </p:nvSpPr>
        <p:spPr>
          <a:xfrm>
            <a:off x="0" y="0"/>
            <a:ext cx="2971800" cy="458791"/>
          </a:xfrm>
          <a:prstGeom prst="rect">
            <a:avLst/>
          </a:prstGeom>
          <a:noFill/>
          <a:ln cap="flat">
            <a:noFill/>
          </a:ln>
        </p:spPr>
        <p:txBody>
          <a:bodyPr vert="horz" wrap="square" lIns="91440" tIns="45720" rIns="91440" bIns="45720" anchor="t" anchorCtr="0" compatLnSpc="1">
            <a:noAutofit/>
          </a:bodyPr>
          <a:lstStyle/>
          <a:p>
            <a:pPr marL="0" marR="0" lvl="0" indent="0" algn="l" defTabSz="966612"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Ericsson Hilda Light" pitchFamily="2"/>
              </a:rPr>
              <a:t> </a:t>
            </a:r>
          </a:p>
        </p:txBody>
      </p:sp>
      <p:sp>
        <p:nvSpPr>
          <p:cNvPr id="5" name="Date Placeholder 4">
            <a:extLst>
              <a:ext uri="{FF2B5EF4-FFF2-40B4-BE49-F238E27FC236}">
                <a16:creationId xmlns:a16="http://schemas.microsoft.com/office/drawing/2014/main" id="{E00EFA71-07F5-45A7-950D-3702F2398358}"/>
              </a:ext>
            </a:extLst>
          </p:cNvPr>
          <p:cNvSpPr txBox="1"/>
          <p:nvPr/>
        </p:nvSpPr>
        <p:spPr>
          <a:xfrm>
            <a:off x="3884608" y="0"/>
            <a:ext cx="2971800" cy="458791"/>
          </a:xfrm>
          <a:prstGeom prst="rect">
            <a:avLst/>
          </a:prstGeom>
          <a:noFill/>
          <a:ln cap="flat">
            <a:noFill/>
          </a:ln>
        </p:spPr>
        <p:txBody>
          <a:bodyPr vert="horz" wrap="square" lIns="91440" tIns="45720" rIns="91440" bIns="45720" anchor="t" anchorCtr="0" compatLnSpc="1">
            <a:noAutofit/>
          </a:bodyPr>
          <a:lstStyle/>
          <a:p>
            <a:pPr marL="0" marR="0" lvl="0" indent="0" algn="r" defTabSz="966612"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Ericsson Hilda Light" pitchFamily="2"/>
              </a:rPr>
              <a:t>2019-03-26 </a:t>
            </a:r>
          </a:p>
        </p:txBody>
      </p:sp>
      <p:sp>
        <p:nvSpPr>
          <p:cNvPr id="6" name="Footer Placeholder 5">
            <a:extLst>
              <a:ext uri="{FF2B5EF4-FFF2-40B4-BE49-F238E27FC236}">
                <a16:creationId xmlns:a16="http://schemas.microsoft.com/office/drawing/2014/main" id="{C0CA61FB-B6CC-41AF-ADDA-02AA21DC7EA0}"/>
              </a:ext>
            </a:extLst>
          </p:cNvPr>
          <p:cNvSpPr txBox="1"/>
          <p:nvPr/>
        </p:nvSpPr>
        <p:spPr>
          <a:xfrm>
            <a:off x="0"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l" defTabSz="966612"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Ericsson Hilda Light" pitchFamily="2"/>
              </a:rPr>
              <a:t> </a:t>
            </a:r>
          </a:p>
        </p:txBody>
      </p:sp>
      <p:sp>
        <p:nvSpPr>
          <p:cNvPr id="7" name="Slide Number Placeholder 6">
            <a:extLst>
              <a:ext uri="{FF2B5EF4-FFF2-40B4-BE49-F238E27FC236}">
                <a16:creationId xmlns:a16="http://schemas.microsoft.com/office/drawing/2014/main" id="{C0255CB1-8F11-4732-B2E0-181AD7F46B4A}"/>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66612"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DFBA109-8772-4CC5-A730-9CEC514EEB4E}" type="slidenum">
              <a:t>23</a:t>
            </a:fld>
            <a:endParaRPr lang="en-US" sz="1200" b="0" i="0" u="none" strike="noStrike" kern="1200" cap="none" spc="0" baseline="0">
              <a:solidFill>
                <a:srgbClr val="000000"/>
              </a:solidFill>
              <a:uFillTx/>
              <a:latin typeface="Ericsson Hilda Light" pitchFamily="2"/>
            </a:endParaRPr>
          </a:p>
        </p:txBody>
      </p:sp>
      <p:sp>
        <p:nvSpPr>
          <p:cNvPr id="8" name="Slide Number Placeholder 7">
            <a:extLst>
              <a:ext uri="{FF2B5EF4-FFF2-40B4-BE49-F238E27FC236}">
                <a16:creationId xmlns:a16="http://schemas.microsoft.com/office/drawing/2014/main" id="{3B43DD50-F68B-47C9-A0E8-B99CA5CB1F03}"/>
              </a:ext>
            </a:extLst>
          </p:cNvPr>
          <p:cNvSpPr>
            <a:spLocks noGrp="1"/>
          </p:cNvSpPr>
          <p:nvPr>
            <p:ph type="sldNum" sz="quarter" idx="5"/>
          </p:nvPr>
        </p:nvSpPr>
        <p:spPr/>
        <p:txBody>
          <a:bodyPr/>
          <a:lstStyle/>
          <a:p>
            <a:fld id="{2B55C6C2-09FD-4D1B-9D99-25A1A8B3943B}" type="slidenum">
              <a:rPr lang="en-US" smtClean="0"/>
              <a:t>23</a:t>
            </a:fld>
            <a:endParaRPr lang="en-US"/>
          </a:p>
        </p:txBody>
      </p:sp>
      <p:sp>
        <p:nvSpPr>
          <p:cNvPr id="9" name="Header Placeholder 8">
            <a:extLst>
              <a:ext uri="{FF2B5EF4-FFF2-40B4-BE49-F238E27FC236}">
                <a16:creationId xmlns:a16="http://schemas.microsoft.com/office/drawing/2014/main" id="{0608BFA4-72AA-402B-AF48-8007CD240644}"/>
              </a:ext>
            </a:extLst>
          </p:cNvPr>
          <p:cNvSpPr>
            <a:spLocks noGrp="1"/>
          </p:cNvSpPr>
          <p:nvPr>
            <p:ph type="hdr" sz="quarter"/>
          </p:nvPr>
        </p:nvSpPr>
        <p:spPr/>
        <p:txBody>
          <a:bodyPr/>
          <a:lstStyle/>
          <a:p>
            <a:r>
              <a:rPr lang="en-US"/>
              <a:t>5G Core - standardization update </a:t>
            </a:r>
          </a:p>
        </p:txBody>
      </p:sp>
      <p:sp>
        <p:nvSpPr>
          <p:cNvPr id="10" name="Footer Placeholder 9">
            <a:extLst>
              <a:ext uri="{FF2B5EF4-FFF2-40B4-BE49-F238E27FC236}">
                <a16:creationId xmlns:a16="http://schemas.microsoft.com/office/drawing/2014/main" id="{0E3464EA-7493-48F5-8EE9-541F21A9D65F}"/>
              </a:ext>
            </a:extLst>
          </p:cNvPr>
          <p:cNvSpPr>
            <a:spLocks noGrp="1"/>
          </p:cNvSpPr>
          <p:nvPr>
            <p:ph type="ftr" sz="quarter" idx="4"/>
          </p:nvPr>
        </p:nvSpPr>
        <p:spPr/>
        <p:txBody>
          <a:bodyPr/>
          <a:lstStyle/>
          <a:p>
            <a:r>
              <a:rPr lang="en-US"/>
              <a:t>© Ericsson AB 2018 </a:t>
            </a:r>
          </a:p>
        </p:txBody>
      </p:sp>
      <p:sp>
        <p:nvSpPr>
          <p:cNvPr id="11" name="Date Placeholder 10">
            <a:extLst>
              <a:ext uri="{FF2B5EF4-FFF2-40B4-BE49-F238E27FC236}">
                <a16:creationId xmlns:a16="http://schemas.microsoft.com/office/drawing/2014/main" id="{7B615EF8-2662-4D42-B416-989023AC4492}"/>
              </a:ext>
            </a:extLst>
          </p:cNvPr>
          <p:cNvSpPr>
            <a:spLocks noGrp="1"/>
          </p:cNvSpPr>
          <p:nvPr>
            <p:ph type="dt" idx="1"/>
          </p:nvPr>
        </p:nvSpPr>
        <p:spPr/>
        <p:txBody>
          <a:bodyPr/>
          <a:lstStyle/>
          <a:p>
            <a:r>
              <a:rPr lang="en-US"/>
              <a:t>2019-09-24 </a:t>
            </a:r>
          </a:p>
        </p:txBody>
      </p:sp>
    </p:spTree>
    <p:extLst>
      <p:ext uri="{BB962C8B-B14F-4D97-AF65-F5344CB8AC3E}">
        <p14:creationId xmlns:p14="http://schemas.microsoft.com/office/powerpoint/2010/main" val="446964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5G CORE COMMERCIALIZATION PLANS </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1-18 </a:t>
            </a:r>
          </a:p>
        </p:txBody>
      </p:sp>
      <p:sp>
        <p:nvSpPr>
          <p:cNvPr id="6" name="Footer Placeholder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49BC75-2359-4F98-918A-7033C92AD487}"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290787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 </a:t>
            </a:r>
          </a:p>
        </p:txBody>
      </p:sp>
      <p:sp>
        <p:nvSpPr>
          <p:cNvPr id="5" name="Date Placeholder 4"/>
          <p:cNvSpPr>
            <a:spLocks noGrp="1"/>
          </p:cNvSpPr>
          <p:nvPr>
            <p:ph type="dt" idx="1"/>
          </p:nvPr>
        </p:nvSpPr>
        <p:spPr/>
        <p:txBody>
          <a:bodyPr/>
          <a:lstStyle/>
          <a:p>
            <a:r>
              <a:rPr lang="en-US"/>
              <a:t>2019-03-26 </a:t>
            </a:r>
          </a:p>
        </p:txBody>
      </p:sp>
      <p:sp>
        <p:nvSpPr>
          <p:cNvPr id="6" name="Footer Placeholder 5"/>
          <p:cNvSpPr>
            <a:spLocks noGrp="1"/>
          </p:cNvSpPr>
          <p:nvPr>
            <p:ph type="ftr" sz="quarter" idx="4"/>
          </p:nvPr>
        </p:nvSpPr>
        <p:spPr/>
        <p:txBody>
          <a:bodyPr/>
          <a:lstStyle/>
          <a:p>
            <a:r>
              <a:rPr lang="en-US"/>
              <a:t> </a:t>
            </a:r>
          </a:p>
        </p:txBody>
      </p:sp>
      <p:sp>
        <p:nvSpPr>
          <p:cNvPr id="7" name="Slide Number Placeholder 6"/>
          <p:cNvSpPr>
            <a:spLocks noGrp="1"/>
          </p:cNvSpPr>
          <p:nvPr>
            <p:ph type="sldNum" sz="quarter" idx="5"/>
          </p:nvPr>
        </p:nvSpPr>
        <p:spPr/>
        <p:txBody>
          <a:bodyPr/>
          <a:lstStyle/>
          <a:p>
            <a:fld id="{17024B9E-AF90-4960-A72F-D45F69742D8E}" type="slidenum">
              <a:rPr lang="en-US" smtClean="0"/>
              <a:t>25</a:t>
            </a:fld>
            <a:endParaRPr lang="en-US"/>
          </a:p>
        </p:txBody>
      </p:sp>
    </p:spTree>
    <p:extLst>
      <p:ext uri="{BB962C8B-B14F-4D97-AF65-F5344CB8AC3E}">
        <p14:creationId xmlns:p14="http://schemas.microsoft.com/office/powerpoint/2010/main" val="2103939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 </a:t>
            </a:r>
          </a:p>
        </p:txBody>
      </p:sp>
      <p:sp>
        <p:nvSpPr>
          <p:cNvPr id="5" name="Date Placeholder 4"/>
          <p:cNvSpPr>
            <a:spLocks noGrp="1"/>
          </p:cNvSpPr>
          <p:nvPr>
            <p:ph type="dt" idx="1"/>
          </p:nvPr>
        </p:nvSpPr>
        <p:spPr/>
        <p:txBody>
          <a:bodyPr/>
          <a:lstStyle/>
          <a:p>
            <a:r>
              <a:rPr lang="en-US"/>
              <a:t>2019-03-26 </a:t>
            </a:r>
          </a:p>
        </p:txBody>
      </p:sp>
      <p:sp>
        <p:nvSpPr>
          <p:cNvPr id="6" name="Footer Placeholder 5"/>
          <p:cNvSpPr>
            <a:spLocks noGrp="1"/>
          </p:cNvSpPr>
          <p:nvPr>
            <p:ph type="ftr" sz="quarter" idx="4"/>
          </p:nvPr>
        </p:nvSpPr>
        <p:spPr/>
        <p:txBody>
          <a:bodyPr/>
          <a:lstStyle/>
          <a:p>
            <a:r>
              <a:rPr lang="en-US"/>
              <a:t> </a:t>
            </a:r>
          </a:p>
        </p:txBody>
      </p:sp>
      <p:sp>
        <p:nvSpPr>
          <p:cNvPr id="7" name="Slide Number Placeholder 6"/>
          <p:cNvSpPr>
            <a:spLocks noGrp="1"/>
          </p:cNvSpPr>
          <p:nvPr>
            <p:ph type="sldNum" sz="quarter" idx="5"/>
          </p:nvPr>
        </p:nvSpPr>
        <p:spPr/>
        <p:txBody>
          <a:bodyPr/>
          <a:lstStyle/>
          <a:p>
            <a:fld id="{0257C56A-3C5D-4331-95BA-F154D053A5F3}" type="slidenum">
              <a:rPr lang="en-US" smtClean="0"/>
              <a:t>26</a:t>
            </a:fld>
            <a:endParaRPr lang="en-US"/>
          </a:p>
        </p:txBody>
      </p:sp>
    </p:spTree>
    <p:extLst>
      <p:ext uri="{BB962C8B-B14F-4D97-AF65-F5344CB8AC3E}">
        <p14:creationId xmlns:p14="http://schemas.microsoft.com/office/powerpoint/2010/main" val="5084637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27</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5983914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network slicing? Short recap.</a:t>
            </a:r>
          </a:p>
          <a:p>
            <a:endParaRPr lang="en-US"/>
          </a:p>
          <a:p>
            <a:r>
              <a:rPr lang="en-US"/>
              <a:t>Network slicing uses virtualization to combine network resources and build separate logical networks for specific purposes which address individual use cases, industries, or enterprises.</a:t>
            </a:r>
          </a:p>
          <a:p>
            <a:endParaRPr lang="en-US"/>
          </a:p>
          <a:p>
            <a:r>
              <a:rPr lang="en-US"/>
              <a:t>Each logical network or network slice shares the same physical network infrastructure and support systems, but is effectively distinct and isolated. This separation can be used to provide guaranteed resources for mission-critical applications, with critical traffic dedicated to a particular network slice, or special properties such as low latency, lower cost or massive scale. Orchestration automates the creation, modification and deletion of the individual services, while also handling the assignment of the underlying resources.</a:t>
            </a:r>
          </a:p>
          <a:p>
            <a:endParaRPr lang="en-US"/>
          </a:p>
          <a:p>
            <a:r>
              <a:rPr lang="en-US"/>
              <a:t>Networks are traditionally built to realize services, and so are network slices. However, a network slice is not a service in itself; it exists to realize one or more services created. In a special case, where network slices are created for industries or enterprises, as a ‘wholesale’ type of service, a network slice can map directly to an individual service. A network slice is a logical network serving a defined business purpose with a particular set of characteristics, and comprises all the required network resources configured and connected together. Resources can be physical or virtual, and either dedicated to a particular slice, or shared between slices. The resources are not necessarily all produced by the same provider. Some may be sourced from other providers, enabling aggregation, or roaming for example. Management functions provide life cycle functions to compose, create, modify and remove network slices. In certain cases, a network slice may itself contain management functions which provide ‘exposure’ or visibility and control of the network slice to custom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D1FB8-2F7A-4EAB-A636-1D39C8E6939C}"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8</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2587504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In this presentation we address the slice selection mechanisms and in particular we focus on the differences between DÉCOR/</a:t>
            </a:r>
            <a:r>
              <a:rPr lang="en-US" noProof="0" err="1"/>
              <a:t>eDECOR</a:t>
            </a:r>
            <a:r>
              <a:rPr lang="en-US" noProof="0"/>
              <a:t> and the 5G Slice Selection mechanisms. </a:t>
            </a:r>
          </a:p>
          <a:p>
            <a:r>
              <a:rPr lang="sv-SE" noProof="0"/>
              <a:t>F</a:t>
            </a:r>
            <a:r>
              <a:rPr lang="en-US" noProof="0"/>
              <a:t>or more information on the management and orchestration of network slices please refer to the engagement material for Management.</a:t>
            </a:r>
          </a:p>
        </p:txBody>
      </p:sp>
      <p:sp>
        <p:nvSpPr>
          <p:cNvPr id="4" name="Date Placeholder 3"/>
          <p:cNvSpPr>
            <a:spLocks noGrp="1"/>
          </p:cNvSpPr>
          <p:nvPr>
            <p:ph type="dt" idx="10"/>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11"/>
          </p:nvPr>
        </p:nvSpPr>
        <p:spPr/>
        <p:txBody>
          <a:bodyPr/>
          <a:lstStyle/>
          <a:p>
            <a:pPr defTabSz="904616">
              <a:defRPr/>
            </a:pPr>
            <a:fld id="{42B01C79-3D28-42CE-884F-BCECBD0A5676}" type="slidenum">
              <a:rPr lang="en-US" smtClean="0">
                <a:solidFill>
                  <a:srgbClr val="000000"/>
                </a:solidFill>
              </a:rPr>
              <a:t>29</a:t>
            </a:fld>
            <a:endParaRPr lang="en-US">
              <a:solidFill>
                <a:srgbClr val="000000"/>
              </a:solidFill>
            </a:endParaRPr>
          </a:p>
        </p:txBody>
      </p:sp>
      <p:sp>
        <p:nvSpPr>
          <p:cNvPr id="6" name="Header Placeholder 5"/>
          <p:cNvSpPr>
            <a:spLocks noGrp="1"/>
          </p:cNvSpPr>
          <p:nvPr>
            <p:ph type="hdr" sz="quarter" idx="12"/>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2376066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3</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909939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Slide Image Placeholder 1">
            <a:extLst>
              <a:ext uri="{FF2B5EF4-FFF2-40B4-BE49-F238E27FC236}">
                <a16:creationId xmlns:a16="http://schemas.microsoft.com/office/drawing/2014/main" id="{BDC8BA27-3D6A-47F8-A0E9-DC6A4C02C0DB}"/>
              </a:ext>
            </a:extLst>
          </p:cNvPr>
          <p:cNvSpPr>
            <a:spLocks noGrp="1" noRot="1" noChangeAspect="1" noChangeArrowheads="1" noTextEdit="1"/>
          </p:cNvSpPr>
          <p:nvPr>
            <p:ph type="sldImg"/>
          </p:nvPr>
        </p:nvSpPr>
        <p:spPr bwMode="auto">
          <a:xfrm>
            <a:off x="5368925" y="415925"/>
            <a:ext cx="3689350" cy="207486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03F1AEF-9AC0-40E1-9DEB-9E0E4F6D06BC}"/>
              </a:ext>
            </a:extLst>
          </p:cNvPr>
          <p:cNvSpPr>
            <a:spLocks noGrp="1"/>
          </p:cNvSpPr>
          <p:nvPr>
            <p:ph type="body" idx="1"/>
          </p:nvPr>
        </p:nvSpPr>
        <p:spPr>
          <a:xfrm>
            <a:off x="1443490" y="2630232"/>
            <a:ext cx="11537919" cy="2491612"/>
          </a:xfrm>
          <a:prstGeom prst="rect">
            <a:avLst/>
          </a:prstGeom>
        </p:spPr>
        <p:txBody>
          <a:bodyPr/>
          <a:lstStyle/>
          <a:p>
            <a:r>
              <a:rPr lang="en-US" sz="2000"/>
              <a:t>Network Slicing is a tool for:</a:t>
            </a:r>
            <a:endParaRPr lang="en-US" sz="2000" b="1"/>
          </a:p>
          <a:p>
            <a:r>
              <a:rPr lang="en-US" sz="2000" b="1"/>
              <a:t>Producing Internal (typically for B2C) Services</a:t>
            </a:r>
          </a:p>
          <a:p>
            <a:pPr lvl="1"/>
            <a:r>
              <a:rPr lang="en-US" sz="1800"/>
              <a:t>Optimize, isolate (</a:t>
            </a:r>
            <a:r>
              <a:rPr lang="en-US" sz="1800" err="1"/>
              <a:t>traffical</a:t>
            </a:r>
            <a:r>
              <a:rPr lang="en-US" sz="1800"/>
              <a:t> or operational aspects)</a:t>
            </a:r>
          </a:p>
          <a:p>
            <a:pPr lvl="1"/>
            <a:r>
              <a:rPr lang="en-US" sz="1800"/>
              <a:t>Launch of new features (dedicated to selected NF and minimizing investments (CAPEX) )</a:t>
            </a:r>
          </a:p>
          <a:p>
            <a:pPr lvl="1"/>
            <a:endParaRPr lang="en-US" sz="1800"/>
          </a:p>
          <a:p>
            <a:r>
              <a:rPr lang="en-US" sz="2000" b="1"/>
              <a:t>Producing External Services to B2B and B2B2C</a:t>
            </a:r>
            <a:endParaRPr lang="en-US" sz="2000"/>
          </a:p>
          <a:p>
            <a:pPr lvl="1"/>
            <a:r>
              <a:rPr lang="en-US" sz="1800"/>
              <a:t>Network Slicing as a tool for produce a connectivity* service to a external service providers, i.e. NSP exposing connectivity services by using slicing</a:t>
            </a:r>
            <a:br>
              <a:rPr lang="en-US" sz="1800"/>
            </a:br>
            <a:r>
              <a:rPr lang="en-US" sz="1400"/>
              <a:t>* Connectivity is just an example. The service offered may go beyond the sole connectivity and include management, charging, etc.</a:t>
            </a:r>
          </a:p>
          <a:p>
            <a:pPr lvl="1"/>
            <a:r>
              <a:rPr lang="en-US" sz="1800"/>
              <a:t>“Partnerships will be established on multiple layers ranging from sharing the infrastructure, to exposing network capabilities as a service end-to-end, and integrating partners’ services into the 5G system through a rich and software oriented capability set”. [5G White Paper Executive Version, V 1.0, NGMN Alliance]</a:t>
            </a:r>
          </a:p>
          <a:p>
            <a:pPr lvl="1"/>
            <a:endParaRPr lang="en-US" sz="1800" b="1"/>
          </a:p>
          <a:p>
            <a:r>
              <a:rPr lang="en-US" sz="2000" b="1"/>
              <a:t>Producing services across multiple NSPs</a:t>
            </a:r>
          </a:p>
          <a:p>
            <a:pPr lvl="1"/>
            <a:r>
              <a:rPr lang="en-US" sz="1800"/>
              <a:t>For example the Federation of NF resources across multiple NSPs (i.e. Infrastructure providers) and by that offer a connectivity service across multiple infrastructure providers</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b="1" i="0" u="none" strike="noStrike" kern="1200" cap="none" spc="0" normalizeH="0" baseline="0">
              <a:ln>
                <a:noFill/>
              </a:ln>
              <a:solidFill>
                <a:schemeClr val="tx1"/>
              </a:solidFill>
              <a:effectLst/>
              <a:uLnTx/>
              <a:uFillTx/>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kumimoji="0" lang="en-US" sz="1200" b="1" i="0" u="none" strike="noStrike" kern="1200" cap="none" spc="0" normalizeH="0" baseline="0">
                <a:ln>
                  <a:noFill/>
                </a:ln>
                <a:solidFill>
                  <a:schemeClr val="tx1"/>
                </a:solidFill>
                <a:effectLst/>
                <a:uLnTx/>
                <a:uFillTx/>
                <a:latin typeface="Arial" charset="0"/>
                <a:ea typeface="+mn-ea"/>
                <a:cs typeface="+mn-cs"/>
              </a:rPr>
              <a:t>Distributed cloud concept</a:t>
            </a:r>
          </a:p>
          <a:p>
            <a:pPr marL="0" marR="0" lvl="0" indent="0" algn="l" defTabSz="914400" rtl="0" eaLnBrk="1" fontAlgn="base" latinLnBrk="0" hangingPunct="1">
              <a:lnSpc>
                <a:spcPct val="100000"/>
              </a:lnSpc>
              <a:spcBef>
                <a:spcPct val="30000"/>
              </a:spcBef>
              <a:spcAft>
                <a:spcPct val="0"/>
              </a:spcAft>
              <a:buClrTx/>
              <a:buSzTx/>
              <a:buFontTx/>
              <a:buNone/>
              <a:tabLst/>
              <a:defRPr/>
            </a:pPr>
            <a:r>
              <a:rPr kumimoji="0" lang="en-US" sz="1200" b="0" i="0" u="none" strike="noStrike" kern="1200" cap="none" spc="0" normalizeH="0" baseline="0">
                <a:ln>
                  <a:noFill/>
                </a:ln>
                <a:solidFill>
                  <a:schemeClr val="tx1"/>
                </a:solidFill>
                <a:effectLst/>
                <a:uLnTx/>
                <a:uFillTx/>
                <a:latin typeface="Arial" charset="0"/>
                <a:ea typeface="+mn-ea"/>
                <a:cs typeface="+mn-cs"/>
              </a:rPr>
              <a:t>We are expanding the Ericsson 5G core system offering with a new cloud concept (distributed cloud) to complement the Ericsson 5G platform and combine the best of telco and cloud technology and be able to run any application across multiple sites. If we look at the cloud capabilities world wide, there are many global clouds which have been deployed over the years. The most well-known are the public cloud services like AWS, Google and Microsoft. They have been very busy deploying their global data centers. Now, they are trying to get into regional deployments because they understand the importance of getting closer to the end-user in terms of providing cloud capabilities. There is an increasing interest from the industry in terms of providing both augmented reality (AR) and virtual reality (VR) type of capability in combination with other applications. </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b="0" i="0" u="none" strike="noStrike" kern="1200" cap="none" spc="0" normalizeH="0" baseline="0">
              <a:ln>
                <a:noFill/>
              </a:ln>
              <a:solidFill>
                <a:schemeClr val="tx1"/>
              </a:solidFill>
              <a:effectLst/>
              <a:uLnTx/>
              <a:uFillTx/>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kumimoji="0" lang="en-US" sz="1200" b="0" i="0" u="none" strike="noStrike" kern="1200" cap="none" spc="0" normalizeH="0" baseline="0">
                <a:ln>
                  <a:noFill/>
                </a:ln>
                <a:solidFill>
                  <a:schemeClr val="tx1"/>
                </a:solidFill>
                <a:effectLst/>
                <a:uLnTx/>
                <a:uFillTx/>
                <a:latin typeface="Arial" charset="0"/>
                <a:ea typeface="+mn-ea"/>
                <a:cs typeface="+mn-cs"/>
              </a:rPr>
              <a:t>In the industry there are different types of solutions: one approach is the network centric solution, another approach is the edge computing. But, in reality most of this use-cases require a solution that spans the end-device, edge sites, distributed sites, central sites and public clouds. For example, an AR solution will comprise of a client on an the device, an edge component supporting video processing, a CDN/caching function at a distribution site and a backend at central sites or global clouds. Hence, a solution is needed that can handle any workload, anywhere in the network, with e2e orchestration. Ericsson Distributed Cloud is able to manage different types of sites (central sites, distributed sites and edge sites) where the location of the compute and storage will depend on the use case.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i="1">
              <a:solidFill>
                <a:schemeClr val="tx1"/>
              </a:solidFil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1">
                <a:solidFill>
                  <a:schemeClr val="tx1"/>
                </a:solidFill>
              </a:rPr>
              <a:t>“Distributed cloud is an execution environment for Cloud application optimization across multiple sites, including required connectivity in between, managed as one solution and perceived as such by the applications.”</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b="0" i="0" u="none" strike="noStrike" kern="1200" cap="none" spc="0" normalizeH="0" baseline="0">
              <a:ln>
                <a:noFill/>
              </a:ln>
              <a:solidFill>
                <a:schemeClr val="tx1"/>
              </a:solidFill>
              <a:effectLst/>
              <a:uLnTx/>
              <a:uFillTx/>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a:solidFill>
                  <a:schemeClr val="tx1"/>
                </a:solidFill>
                <a:ea typeface="MS PGothic" charset="0"/>
                <a:cs typeface="MS PGothic" charset="0"/>
              </a:rPr>
              <a:t>“Ericsson Distributed Cloud is based on SDN, NFV and 3GPP Edge Computing to enable multi-access and multi-cloud capabilities and unlock networks as open platforms for application innovations.”</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b="0" i="0" u="none" strike="noStrike" kern="1200" cap="none" spc="0" normalizeH="0" baseline="0">
              <a:ln>
                <a:noFill/>
              </a:ln>
              <a:solidFill>
                <a:srgbClr val="FFFFFF"/>
              </a:solidFill>
              <a:effectLst/>
              <a:uLnTx/>
              <a:uFillTx/>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US" sz="1200" b="0" i="0" u="none" strike="noStrike" kern="1200" cap="none" spc="0" normalizeH="0" baseline="0">
              <a:ln>
                <a:noFill/>
              </a:ln>
              <a:solidFill>
                <a:srgbClr val="FFFFFF"/>
              </a:solidFill>
              <a:effectLst/>
              <a:uLnTx/>
              <a:uFillTx/>
              <a:latin typeface="Arial" charset="0"/>
              <a:ea typeface="+mn-ea"/>
              <a:cs typeface="+mn-cs"/>
            </a:endParaRPr>
          </a:p>
          <a:p>
            <a:endParaRPr lang="en-US" altLang="en-US">
              <a:latin typeface="Arial" panose="020B0604020202020204" pitchFamily="34" charset="0"/>
            </a:endParaRPr>
          </a:p>
          <a:p>
            <a:endParaRPr lang="en-US" altLang="en-US">
              <a:latin typeface="Arial" panose="020B0604020202020204" pitchFamily="34" charset="0"/>
            </a:endParaRPr>
          </a:p>
        </p:txBody>
      </p:sp>
      <p:sp>
        <p:nvSpPr>
          <p:cNvPr id="4" name="Date Placeholder 3">
            <a:extLst>
              <a:ext uri="{FF2B5EF4-FFF2-40B4-BE49-F238E27FC236}">
                <a16:creationId xmlns:a16="http://schemas.microsoft.com/office/drawing/2014/main" id="{E3BAC77C-BFFB-41CF-87B3-D839FA6FEA71}"/>
              </a:ext>
            </a:extLst>
          </p:cNvPr>
          <p:cNvSpPr>
            <a:spLocks noGrp="1"/>
          </p:cNvSpPr>
          <p:nvPr>
            <p:ph type="dt" sz="quarter" idx="1"/>
          </p:nvPr>
        </p:nvSpPr>
        <p:spPr>
          <a:xfrm>
            <a:off x="8172001" y="0"/>
            <a:ext cx="6249566" cy="27723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charset="0"/>
                <a:ea typeface="+mn-ea"/>
                <a:cs typeface="Arial" charset="0"/>
                <a:sym typeface="Arial"/>
              </a:rPr>
              <a:t>2019-10-07 </a:t>
            </a:r>
          </a:p>
        </p:txBody>
      </p:sp>
      <p:sp>
        <p:nvSpPr>
          <p:cNvPr id="5" name="Slide Number Placeholder 4">
            <a:extLst>
              <a:ext uri="{FF2B5EF4-FFF2-40B4-BE49-F238E27FC236}">
                <a16:creationId xmlns:a16="http://schemas.microsoft.com/office/drawing/2014/main" id="{8ED8455A-743B-48B5-B31A-DED42437063C}"/>
              </a:ext>
            </a:extLst>
          </p:cNvPr>
          <p:cNvSpPr>
            <a:spLocks noGrp="1"/>
          </p:cNvSpPr>
          <p:nvPr>
            <p:ph type="sldNum" sz="quarter" idx="5"/>
          </p:nvPr>
        </p:nvSpPr>
        <p:spPr>
          <a:xfrm>
            <a:off x="8172001" y="5258705"/>
            <a:ext cx="6249566" cy="27723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89772-1F83-467E-AF3A-1D728EFF2EF0}" type="slidenum">
              <a:rPr kumimoji="0" lang="en-US" sz="1800" b="0" i="0" u="none" strike="noStrike" kern="0" cap="none" spc="0" normalizeH="0" baseline="0" noProof="0" smtClean="0">
                <a:ln>
                  <a:noFill/>
                </a:ln>
                <a:solidFill>
                  <a:sysClr val="windowText" lastClr="000000"/>
                </a:solidFill>
                <a:effectLst/>
                <a:uLnTx/>
                <a:uFillTx/>
                <a:latin typeface="Arial" charset="0"/>
                <a:ea typeface=""/>
                <a:cs typeface="Arial"/>
                <a:sym typeface="Arial"/>
              </a:rPr>
              <a:t>30</a:t>
            </a:fld>
            <a:endParaRPr kumimoji="0" lang="en-US" sz="1800" b="0" i="0" u="none" strike="noStrike" kern="0" cap="none" spc="0" normalizeH="0" baseline="0" noProof="0">
              <a:ln>
                <a:noFill/>
              </a:ln>
              <a:solidFill>
                <a:sysClr val="windowText" lastClr="000000"/>
              </a:solidFill>
              <a:effectLst/>
              <a:uLnTx/>
              <a:uFillTx/>
              <a:latin typeface="Arial" charset="0"/>
              <a:ea typeface=""/>
              <a:cs typeface="Arial"/>
              <a:sym typeface="Arial"/>
            </a:endParaRPr>
          </a:p>
        </p:txBody>
      </p:sp>
      <p:sp>
        <p:nvSpPr>
          <p:cNvPr id="6" name="Header Placeholder 5">
            <a:extLst>
              <a:ext uri="{FF2B5EF4-FFF2-40B4-BE49-F238E27FC236}">
                <a16:creationId xmlns:a16="http://schemas.microsoft.com/office/drawing/2014/main" id="{00942952-3035-4A0D-8E8D-3D9395CB6B22}"/>
              </a:ext>
            </a:extLst>
          </p:cNvPr>
          <p:cNvSpPr>
            <a:spLocks noGrp="1"/>
          </p:cNvSpPr>
          <p:nvPr>
            <p:ph type="hdr" sz="quarter"/>
          </p:nvPr>
        </p:nvSpPr>
        <p:spPr>
          <a:xfrm>
            <a:off x="4" y="0"/>
            <a:ext cx="6249567" cy="27723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charset="0"/>
                <a:ea typeface="+mn-ea"/>
                <a:cs typeface="Arial" charset="0"/>
                <a:sym typeface="Arial"/>
              </a:rPr>
              <a:t>The 5G Core Network Deep Dive </a:t>
            </a:r>
          </a:p>
        </p:txBody>
      </p:sp>
      <p:sp>
        <p:nvSpPr>
          <p:cNvPr id="7" name="Footer Placeholder 6">
            <a:extLst>
              <a:ext uri="{FF2B5EF4-FFF2-40B4-BE49-F238E27FC236}">
                <a16:creationId xmlns:a16="http://schemas.microsoft.com/office/drawing/2014/main" id="{30E988DA-CAFA-4EFA-B20E-DAC9200A573D}"/>
              </a:ext>
            </a:extLst>
          </p:cNvPr>
          <p:cNvSpPr>
            <a:spLocks noGrp="1"/>
          </p:cNvSpPr>
          <p:nvPr>
            <p:ph type="ftr" sz="quarter" idx="4"/>
          </p:nvPr>
        </p:nvSpPr>
        <p:spPr>
          <a:xfrm>
            <a:off x="4" y="5258705"/>
            <a:ext cx="6249567" cy="27723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Arial" charset="0"/>
                <a:ea typeface="+mn-ea"/>
                <a:cs typeface="Arial" charset="0"/>
                <a:sym typeface="Arial"/>
              </a:rPr>
              <a:t>BICP-16:000214 Uen, Rev N </a:t>
            </a:r>
          </a:p>
        </p:txBody>
      </p:sp>
    </p:spTree>
    <p:extLst>
      <p:ext uri="{BB962C8B-B14F-4D97-AF65-F5344CB8AC3E}">
        <p14:creationId xmlns:p14="http://schemas.microsoft.com/office/powerpoint/2010/main" val="4087984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 y="742950"/>
            <a:ext cx="6604000" cy="3714750"/>
          </a:xfrm>
        </p:spPr>
      </p:sp>
      <p:sp>
        <p:nvSpPr>
          <p:cNvPr id="3" name="Notes Placeholder 2"/>
          <p:cNvSpPr>
            <a:spLocks noGrp="1"/>
          </p:cNvSpPr>
          <p:nvPr>
            <p:ph type="body" idx="1"/>
          </p:nvPr>
        </p:nvSpPr>
        <p:spPr/>
        <p:txBody>
          <a:bodyPr/>
          <a:lstStyle/>
          <a:p>
            <a:r>
              <a:rPr lang="en-US"/>
              <a:t>These are different mechanism which also gives the selection mechanism between different Network slices</a:t>
            </a:r>
          </a:p>
          <a:p>
            <a:r>
              <a:rPr lang="en-US"/>
              <a:t>E.g. PLMN Id, APN are mechanisms that have been available several 3GPP releases (even from the start of GPRS) and can still be used for some type of “Network Slicing”. DECOR that was added in Rel-13 and </a:t>
            </a:r>
            <a:r>
              <a:rPr lang="en-US" err="1"/>
              <a:t>eDECOR</a:t>
            </a:r>
            <a:r>
              <a:rPr lang="en-US"/>
              <a:t> in rel-14 provides additional mechanism for separating between “Dedicated Core networks”, but with these (as with PLMN Id) a UE can only connect to one “network slice” at a time.</a:t>
            </a:r>
          </a:p>
          <a:p>
            <a:r>
              <a:rPr lang="en-US"/>
              <a:t>Finally 5GS Network slicing and the corresponding selection mechanism (S-NSSAI) supports e2e </a:t>
            </a:r>
            <a:r>
              <a:rPr lang="en-US" err="1"/>
              <a:t>nw</a:t>
            </a:r>
            <a:r>
              <a:rPr lang="en-US"/>
              <a:t> slicing and also allows the UE to connect to multiple </a:t>
            </a:r>
            <a:r>
              <a:rPr lang="en-US" err="1"/>
              <a:t>Nw</a:t>
            </a:r>
            <a:r>
              <a:rPr lang="en-US"/>
              <a:t> slices at the same time</a:t>
            </a:r>
          </a:p>
          <a:p>
            <a:endParaRPr lang="en-US"/>
          </a:p>
          <a:p>
            <a:r>
              <a:rPr lang="en-US"/>
              <a:t>Not shown here is also the possibility to have geographically separated slices which are only available in a certain geographical area</a:t>
            </a:r>
          </a:p>
          <a:p>
            <a:endParaRPr lang="en-US"/>
          </a:p>
          <a:p>
            <a:r>
              <a:rPr lang="en-US" sz="1200" kern="1200">
                <a:solidFill>
                  <a:schemeClr val="tx1"/>
                </a:solidFill>
                <a:effectLst/>
                <a:latin typeface="Ericsson Hilda Light" panose="00000400000000000000" pitchFamily="2" charset="0"/>
                <a:ea typeface="+mn-ea"/>
                <a:cs typeface="+mn-cs"/>
              </a:rPr>
              <a:t>The UE-Usage-Type is a one-octet value, i.e. 256 values.  Values 0 to 127 are used for representing standard values. Values 128 to 255 represent operator-specific values.</a:t>
            </a:r>
          </a:p>
          <a:p>
            <a:r>
              <a:rPr lang="en-US" sz="1200" kern="1200">
                <a:solidFill>
                  <a:schemeClr val="tx1"/>
                </a:solidFill>
                <a:effectLst/>
                <a:latin typeface="Ericsson Hilda Light" panose="00000400000000000000" pitchFamily="2" charset="0"/>
                <a:ea typeface="+mn-ea"/>
                <a:cs typeface="+mn-cs"/>
              </a:rPr>
              <a:t>Only two of these 256 values are standardized. Value 0 is "spare, for future use"; Value 127 is also "spare, for future use".  (The source of this information is 3GPP TS 29.272 clause 7.3.202 )</a:t>
            </a:r>
          </a:p>
          <a:p>
            <a:endParaRPr lang="en-US"/>
          </a:p>
          <a:p>
            <a:r>
              <a:rPr lang="en-US" sz="1100"/>
              <a:t>Evolved</a:t>
            </a:r>
            <a:r>
              <a:rPr lang="en-US"/>
              <a:t> DECOR (</a:t>
            </a:r>
            <a:r>
              <a:rPr lang="en-US" err="1"/>
              <a:t>eDECOR</a:t>
            </a:r>
            <a:r>
              <a:rPr lang="en-US"/>
              <a:t>) was specified in 3GPP Rel-14. In this case, selection of DCN is based on information from UE (DCN-ID) and additional network logic verifying the information from the UE vs the subscription information in e.g. UUT. </a:t>
            </a:r>
            <a:br>
              <a:rPr lang="en-US"/>
            </a:br>
            <a:r>
              <a:rPr lang="en-US" err="1"/>
              <a:t>eDECOR</a:t>
            </a:r>
            <a:r>
              <a:rPr lang="en-US"/>
              <a:t> provides support for improved isolation between network slices as the information in the UE is used in </a:t>
            </a:r>
            <a:r>
              <a:rPr lang="en-US" err="1"/>
              <a:t>eNB</a:t>
            </a:r>
            <a:r>
              <a:rPr lang="en-US"/>
              <a:t> to select the DCN. The DCN-Id supports up 65 k DCNs.</a:t>
            </a:r>
            <a:br>
              <a:rPr lang="en-US"/>
            </a:br>
            <a:r>
              <a:rPr lang="en-US"/>
              <a:t>UE connected to multiple slices is still not supported in </a:t>
            </a:r>
            <a:r>
              <a:rPr lang="en-US" err="1"/>
              <a:t>eDECOR</a:t>
            </a:r>
            <a:r>
              <a:rPr lang="en-US"/>
              <a:t>. The interest seem to be fairly low from operators and there are no current Ericsson RAN or Core plans to support </a:t>
            </a:r>
            <a:r>
              <a:rPr lang="en-US" err="1"/>
              <a:t>eDECOR</a:t>
            </a:r>
            <a:r>
              <a:rPr lang="en-US"/>
              <a:t>.</a:t>
            </a:r>
            <a:br>
              <a:rPr lang="en-US"/>
            </a:br>
            <a:endParaRPr lang="sv-SE" sz="1200" b="1"/>
          </a:p>
          <a:p>
            <a:r>
              <a:rPr lang="sv-SE" sz="1200" b="1"/>
              <a:t>5GS Slicing</a:t>
            </a:r>
          </a:p>
          <a:p>
            <a:r>
              <a:rPr lang="sv-SE" sz="1200" b="1"/>
              <a:t>S-NSSAI:</a:t>
            </a:r>
            <a:r>
              <a:rPr lang="sv-SE" sz="1200"/>
              <a:t> Single Network Slice Selection Assistance Information, identifies a Network Slice. The S-NSSAI consist of:</a:t>
            </a:r>
          </a:p>
          <a:p>
            <a:pPr marL="171450" indent="-171450">
              <a:buFont typeface="Arial" panose="020B0604020202020204" pitchFamily="34" charset="0"/>
              <a:buChar char="•"/>
            </a:pPr>
            <a:r>
              <a:rPr lang="sv-SE" sz="1200"/>
              <a:t>SST: </a:t>
            </a:r>
            <a:r>
              <a:rPr lang="en-GB" sz="1200"/>
              <a:t>Slice/Service type, which refers to the expected Network Slice behaviour in terms of features and services (8bits); three standardized SST exist:</a:t>
            </a:r>
          </a:p>
          <a:p>
            <a:pPr marL="628650" lvl="1" indent="-171450">
              <a:buFont typeface="Arial" panose="020B0604020202020204" pitchFamily="34" charset="0"/>
              <a:buChar char="•"/>
            </a:pPr>
            <a:r>
              <a:rPr lang="en-GB" sz="1200"/>
              <a:t>SST 1 = </a:t>
            </a:r>
            <a:r>
              <a:rPr lang="en-GB" sz="1200" err="1"/>
              <a:t>eMBB</a:t>
            </a:r>
            <a:endParaRPr lang="en-GB" sz="1200"/>
          </a:p>
          <a:p>
            <a:pPr marL="628650" lvl="1" indent="-171450">
              <a:buFont typeface="Arial" panose="020B0604020202020204" pitchFamily="34" charset="0"/>
              <a:buChar char="•"/>
            </a:pPr>
            <a:r>
              <a:rPr lang="en-GB" sz="1200"/>
              <a:t>SST 2 = URLLC (Ultra-reliable low latency communications)</a:t>
            </a:r>
          </a:p>
          <a:p>
            <a:pPr marL="628650" lvl="1" indent="-171450">
              <a:buFont typeface="Arial" panose="020B0604020202020204" pitchFamily="34" charset="0"/>
              <a:buChar char="•"/>
            </a:pPr>
            <a:r>
              <a:rPr lang="en-GB" sz="1200"/>
              <a:t>SST 3 = Massive IoT</a:t>
            </a:r>
          </a:p>
          <a:p>
            <a:pPr marL="171450" indent="-171450">
              <a:buFont typeface="Arial" panose="020B0604020202020204" pitchFamily="34" charset="0"/>
              <a:buChar char="•"/>
            </a:pPr>
            <a:r>
              <a:rPr lang="en-GB" sz="1200"/>
              <a:t>SD: Slice Differentiator, which is optional information that complements the SST(s) to </a:t>
            </a:r>
            <a:r>
              <a:rPr lang="en-US" sz="1200"/>
              <a:t>differentiate amongst multiple Network Slices of the same </a:t>
            </a:r>
            <a:r>
              <a:rPr lang="x-none" sz="1200"/>
              <a:t>S</a:t>
            </a:r>
            <a:r>
              <a:rPr lang="sv-SE" sz="1200"/>
              <a:t>lice/Service Type (24 bits)</a:t>
            </a:r>
            <a:r>
              <a:rPr lang="en-GB" sz="1200"/>
              <a:t>.</a:t>
            </a:r>
          </a:p>
          <a:p>
            <a:pPr marL="171450" indent="-171450">
              <a:buFont typeface="Arial" panose="020B0604020202020204" pitchFamily="34" charset="0"/>
              <a:buChar char="•"/>
            </a:pPr>
            <a:r>
              <a:rPr lang="en-GB" sz="1200"/>
              <a:t>In theory over 16M </a:t>
            </a:r>
            <a:r>
              <a:rPr lang="en-GB" sz="1200" err="1"/>
              <a:t>Nw</a:t>
            </a:r>
            <a:r>
              <a:rPr lang="en-GB" sz="1200"/>
              <a:t> slices can be supported using SD as separator of </a:t>
            </a:r>
            <a:r>
              <a:rPr lang="en-GB" sz="1200" err="1"/>
              <a:t>Nw</a:t>
            </a:r>
            <a:r>
              <a:rPr lang="en-GB" sz="1200"/>
              <a:t> slices</a:t>
            </a:r>
          </a:p>
          <a:p>
            <a:pPr marL="171450" indent="-171450">
              <a:buFont typeface="Arial" panose="020B0604020202020204" pitchFamily="34" charset="0"/>
              <a:buChar char="•"/>
            </a:pPr>
            <a:endParaRPr lang="sv-SE" sz="1200"/>
          </a:p>
          <a:p>
            <a:r>
              <a:rPr lang="sv-SE" sz="1200" b="1"/>
              <a:t>NSSAI:</a:t>
            </a:r>
            <a:r>
              <a:rPr lang="sv-SE" sz="1200"/>
              <a:t> A collection of maximum 8 S-NSSAI:s</a:t>
            </a:r>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1FB6F4E5-20C6-42E6-AC6B-ABE07EA62416}"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3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196555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Network slicing and slice selection for 5G is an evolution of existing mechanisms.</a:t>
            </a:r>
            <a:endParaRPr lang="sv-SE"/>
          </a:p>
          <a:p>
            <a:r>
              <a:rPr lang="en-US"/>
              <a:t>Functionality similar to network slicing has been possible for a long time. One example is shared networks (e.g. based on MOCN) in which network (slicing) selection is based on PLMN-ID. Another example is APN concept, for example different APNs for VoLTE/IMS and MBB.</a:t>
            </a:r>
            <a:endParaRPr lang="sv-SE"/>
          </a:p>
          <a:p>
            <a:r>
              <a:rPr lang="en-US"/>
              <a:t>Dedicated Core Networks (DECOR) was specified in 3GPP Rel-13. Selection of DCN is based on network configuration (New HSS parameter “UE Usage Type” used to select dedicated CN). DECOR is targeting e.g. MTC type of deployment i.e. a dedicated CN would be used for MTC and separated e.g. from MBB core network. One benefit with DECOR is that the UE is not impacted and one drawback is that it is not possible to achieve fully isolated network slices.</a:t>
            </a:r>
            <a:endParaRPr lang="sv-SE"/>
          </a:p>
          <a:p>
            <a:r>
              <a:rPr lang="en-US" sz="1100"/>
              <a:t>Evolved</a:t>
            </a:r>
            <a:r>
              <a:rPr lang="en-US"/>
              <a:t> DECOR (</a:t>
            </a:r>
            <a:r>
              <a:rPr lang="en-US" err="1"/>
              <a:t>eDECOR</a:t>
            </a:r>
            <a:r>
              <a:rPr lang="en-US"/>
              <a:t>) was specified in 3GPP Rel-14. In this case, selection of DCN is based on information from UE and additional network logic. </a:t>
            </a:r>
            <a:r>
              <a:rPr lang="en-US" err="1"/>
              <a:t>eDECOR</a:t>
            </a:r>
            <a:r>
              <a:rPr lang="en-US"/>
              <a:t> provides support for improved isolation between network slices. UE connected to multiple slices is still not supported in </a:t>
            </a:r>
            <a:r>
              <a:rPr lang="en-US" err="1"/>
              <a:t>eDECOR</a:t>
            </a:r>
            <a:r>
              <a:rPr lang="en-US"/>
              <a:t>. The interest seem to be fairly low from operators and there are no current Ericsson RAN or Core plans to support </a:t>
            </a:r>
            <a:r>
              <a:rPr lang="en-US" err="1"/>
              <a:t>eDECOR</a:t>
            </a:r>
            <a:r>
              <a:rPr lang="en-US"/>
              <a:t>.</a:t>
            </a:r>
            <a:br>
              <a:rPr lang="en-US"/>
            </a:br>
            <a:br>
              <a:rPr lang="en-US"/>
            </a:br>
            <a:r>
              <a:rPr lang="en-US"/>
              <a:t>In a way, 5G Network Slicing can be seen as an evolution of DECOR, but there are some differences:</a:t>
            </a:r>
            <a:endParaRPr lang="es-ES_tradnl"/>
          </a:p>
          <a:p>
            <a:pPr marL="167800" indent="-167800">
              <a:buFontTx/>
              <a:buChar char="-"/>
            </a:pPr>
            <a:r>
              <a:rPr lang="en-US"/>
              <a:t>It allows simultaneous connectivity to multiple network slices per UE </a:t>
            </a:r>
          </a:p>
          <a:p>
            <a:pPr marL="167800" indent="-167800">
              <a:buFontTx/>
              <a:buChar char="-"/>
            </a:pPr>
            <a:r>
              <a:rPr lang="en-US"/>
              <a:t>It enhances the possibilities to provide different level of support in the area of isolation between network slices</a:t>
            </a:r>
            <a:endParaRPr lang="es-ES_tradnl"/>
          </a:p>
          <a:p>
            <a:pPr marL="167800" indent="-167800">
              <a:buFontTx/>
              <a:buChar char="-"/>
            </a:pPr>
            <a:r>
              <a:rPr lang="es-ES_tradnl" err="1"/>
              <a:t>It</a:t>
            </a:r>
            <a:r>
              <a:rPr lang="es-ES_tradnl"/>
              <a:t> e</a:t>
            </a:r>
            <a:r>
              <a:rPr lang="en-US" err="1"/>
              <a:t>xtends</a:t>
            </a:r>
            <a:r>
              <a:rPr lang="en-US"/>
              <a:t> network slicing to RAN (slice aware resource allocation and AMF routing). 5G Network Slices are end to end.</a:t>
            </a:r>
            <a:endParaRPr lang="es-ES_tradnl"/>
          </a:p>
          <a:p>
            <a:pPr marL="167800" indent="-167800">
              <a:buFontTx/>
              <a:buChar char="-"/>
            </a:pPr>
            <a:r>
              <a:rPr lang="es-ES_tradnl" err="1"/>
              <a:t>It</a:t>
            </a:r>
            <a:r>
              <a:rPr lang="es-ES_tradnl"/>
              <a:t> i</a:t>
            </a:r>
            <a:r>
              <a:rPr lang="en-US"/>
              <a:t>s also supported over non-3GGP access (such as Wi-Fi and fixed access).</a:t>
            </a:r>
            <a:endParaRPr lang="es-ES_tradnl"/>
          </a:p>
          <a:p>
            <a:pPr marL="167800" indent="-167800">
              <a:buFontTx/>
              <a:buChar char="-"/>
            </a:pPr>
            <a:r>
              <a:rPr lang="es-ES_tradnl" err="1"/>
              <a:t>It</a:t>
            </a:r>
            <a:r>
              <a:rPr lang="es-ES_tradnl"/>
              <a:t> s</a:t>
            </a:r>
            <a:r>
              <a:rPr lang="en-US" err="1"/>
              <a:t>erves</a:t>
            </a:r>
            <a:r>
              <a:rPr lang="en-US"/>
              <a:t> the PDU session over an specific Network Slice instance</a:t>
            </a:r>
            <a:r>
              <a:rPr lang="es-ES_tradnl"/>
              <a:t> and</a:t>
            </a:r>
            <a:r>
              <a:rPr lang="en-US"/>
              <a:t> allows that different slices may have slice-specific PDU sessions using the same DNN. Different Network Slice instances do not share a PDU session.</a:t>
            </a:r>
            <a:endParaRPr lang="es-ES_tradnl"/>
          </a:p>
          <a:p>
            <a:pPr marL="167800" indent="-167800">
              <a:buFontTx/>
              <a:buChar char="-"/>
            </a:pPr>
            <a:r>
              <a:rPr lang="es-ES_tradnl" err="1"/>
              <a:t>It</a:t>
            </a:r>
            <a:r>
              <a:rPr lang="es-ES_tradnl"/>
              <a:t> i</a:t>
            </a:r>
            <a:r>
              <a:rPr lang="en-US" err="1"/>
              <a:t>ntroduces</a:t>
            </a:r>
            <a:r>
              <a:rPr lang="en-US"/>
              <a:t> the Network Slice Selection Assistance Information (NSSAI) to assist slice selection. The NSSAI consists of a list of S-NSSAIs (single NSSAIs). Each S-NSSAI contains an SST (slice service type, as for example, the standardized </a:t>
            </a:r>
            <a:r>
              <a:rPr lang="en-US" err="1"/>
              <a:t>eMBB</a:t>
            </a:r>
            <a:r>
              <a:rPr lang="en-US"/>
              <a:t> or ULRCC SST values) and optionally an SD (slice differentiator) to allow more than one network slice with the same SST.</a:t>
            </a:r>
            <a:endParaRPr lang="es-ES_tradnl"/>
          </a:p>
          <a:p>
            <a:pPr marL="167800" indent="-167800">
              <a:buFontTx/>
              <a:buChar char="-"/>
            </a:pPr>
            <a:r>
              <a:rPr lang="es-ES_tradnl" err="1"/>
              <a:t>It</a:t>
            </a:r>
            <a:r>
              <a:rPr lang="es-ES_tradnl"/>
              <a:t> s</a:t>
            </a:r>
            <a:r>
              <a:rPr lang="en-US" err="1"/>
              <a:t>upports</a:t>
            </a:r>
            <a:r>
              <a:rPr lang="en-US"/>
              <a:t> an N:M cardinality between S-NSSAI (Single Network Slice Selection Assistance information) and Network Slice Instances deployed to serve that S-NSSAI </a:t>
            </a:r>
            <a:endParaRPr lang="es-ES_tradnl"/>
          </a:p>
          <a:p>
            <a:endParaRPr lang="en-US" altLang="en-US" sz="1600">
              <a:sym typeface="Wingdings" pitchFamily="2" charset="2"/>
            </a:endParaRPr>
          </a:p>
        </p:txBody>
      </p:sp>
      <p:sp>
        <p:nvSpPr>
          <p:cNvPr id="4" name="Date Placeholder 3"/>
          <p:cNvSpPr>
            <a:spLocks noGrp="1"/>
          </p:cNvSpPr>
          <p:nvPr>
            <p:ph type="dt" sz="quarter" idx="1"/>
          </p:nvPr>
        </p:nvSpPr>
        <p:spPr/>
        <p:txBody>
          <a:bodyPr/>
          <a:lstStyle/>
          <a:p>
            <a:pPr>
              <a:defRPr/>
            </a:pPr>
            <a:r>
              <a:rPr lang="en-US">
                <a:solidFill>
                  <a:prstClr val="black"/>
                </a:solidFill>
              </a:rPr>
              <a:t>2019-10-07 </a:t>
            </a:r>
          </a:p>
        </p:txBody>
      </p:sp>
      <p:sp>
        <p:nvSpPr>
          <p:cNvPr id="5" name="Slide Number Placeholder 4"/>
          <p:cNvSpPr>
            <a:spLocks noGrp="1"/>
          </p:cNvSpPr>
          <p:nvPr>
            <p:ph type="sldNum" sz="quarter" idx="5"/>
          </p:nvPr>
        </p:nvSpPr>
        <p:spPr/>
        <p:txBody>
          <a:bodyPr/>
          <a:lstStyle/>
          <a:p>
            <a:pPr>
              <a:defRPr/>
            </a:pPr>
            <a:fld id="{29AEE12C-5855-4AD7-B529-5876ADF92C72}" type="slidenum">
              <a:rPr lang="en-US" smtClean="0">
                <a:solidFill>
                  <a:prstClr val="black"/>
                </a:solidFill>
              </a:rPr>
              <a:t>32</a:t>
            </a:fld>
            <a:endParaRPr lang="en-US">
              <a:solidFill>
                <a:prstClr val="black"/>
              </a:solidFill>
            </a:endParaRPr>
          </a:p>
        </p:txBody>
      </p:sp>
      <p:sp>
        <p:nvSpPr>
          <p:cNvPr id="6" name="Header Placeholder 5"/>
          <p:cNvSpPr>
            <a:spLocks noGrp="1"/>
          </p:cNvSpPr>
          <p:nvPr>
            <p:ph type="hdr" sz="quarter"/>
          </p:nvPr>
        </p:nvSpPr>
        <p:spPr/>
        <p:txBody>
          <a:bodyPr/>
          <a:lstStyle/>
          <a:p>
            <a:pPr>
              <a:defRPr/>
            </a:pPr>
            <a:r>
              <a:rPr lang="en-US">
                <a:solidFill>
                  <a:prstClr val="black"/>
                </a:solidFill>
              </a:rPr>
              <a:t>The 5G Core Network Deep Dive </a:t>
            </a:r>
          </a:p>
        </p:txBody>
      </p:sp>
      <p:sp>
        <p:nvSpPr>
          <p:cNvPr id="7" name="Footer Placeholder 6"/>
          <p:cNvSpPr>
            <a:spLocks noGrp="1"/>
          </p:cNvSpPr>
          <p:nvPr>
            <p:ph type="ftr" sz="quarter" idx="4"/>
          </p:nvPr>
        </p:nvSpPr>
        <p:spPr/>
        <p:txBody>
          <a:bodyPr/>
          <a:lstStyle/>
          <a:p>
            <a:pPr>
              <a:defRPr/>
            </a:pPr>
            <a:r>
              <a:rPr lang="en-US">
                <a:solidFill>
                  <a:prstClr val="black"/>
                </a:solidFill>
              </a:rPr>
              <a:t>BICP-16:000214 Uen, Rev N </a:t>
            </a:r>
          </a:p>
        </p:txBody>
      </p:sp>
    </p:spTree>
    <p:extLst>
      <p:ext uri="{BB962C8B-B14F-4D97-AF65-F5344CB8AC3E}">
        <p14:creationId xmlns:p14="http://schemas.microsoft.com/office/powerpoint/2010/main" val="1971649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ct val="0"/>
              </a:spcBef>
              <a:buClrTx/>
              <a:buFontTx/>
              <a:buNone/>
            </a:pPr>
            <a:r>
              <a:rPr lang="en-US" altLang="en-US" i="1" strike="sngStrike">
                <a:ea typeface="MS PGothic" pitchFamily="34" charset="-128"/>
              </a:rPr>
              <a:t>*************************</a:t>
            </a:r>
          </a:p>
          <a:p>
            <a:pPr eaLnBrk="1" hangingPunct="1">
              <a:lnSpc>
                <a:spcPct val="80000"/>
              </a:lnSpc>
              <a:spcBef>
                <a:spcPct val="0"/>
              </a:spcBef>
              <a:buClrTx/>
              <a:buFontTx/>
              <a:buNone/>
            </a:pPr>
            <a:r>
              <a:rPr lang="en-US" altLang="en-US" i="1">
                <a:ea typeface="MS PGothic" pitchFamily="34" charset="-128"/>
              </a:rPr>
              <a:t>From 23.501: </a:t>
            </a:r>
            <a:r>
              <a:rPr lang="en-US" b="1"/>
              <a:t>Network Slice instance:</a:t>
            </a:r>
            <a:r>
              <a:rPr lang="en-US"/>
              <a:t> A set of Network Function instances and the required resources (e.g. compute, storage and networking resources) which form a deployed Network Slice, i.e. a logical network that provides specific network capabilities and network characteristics.</a:t>
            </a:r>
            <a:endParaRPr lang="en-US" altLang="en-US" i="1">
              <a:ea typeface="MS PGothic" pitchFamily="34" charset="-128"/>
            </a:endParaRPr>
          </a:p>
          <a:p>
            <a:pPr eaLnBrk="1" hangingPunct="1">
              <a:lnSpc>
                <a:spcPct val="80000"/>
              </a:lnSpc>
              <a:spcBef>
                <a:spcPct val="0"/>
              </a:spcBef>
              <a:buClrTx/>
              <a:buFontTx/>
              <a:buNone/>
            </a:pPr>
            <a:r>
              <a:rPr lang="en-US" altLang="en-US" i="1">
                <a:ea typeface="MS PGothic" pitchFamily="34" charset="-128"/>
              </a:rPr>
              <a:t>****************************</a:t>
            </a:r>
          </a:p>
          <a:p>
            <a:pPr eaLnBrk="1" hangingPunct="1">
              <a:lnSpc>
                <a:spcPct val="80000"/>
              </a:lnSpc>
              <a:spcBef>
                <a:spcPct val="0"/>
              </a:spcBef>
              <a:buClrTx/>
              <a:buFontTx/>
              <a:buNone/>
            </a:pPr>
            <a:endParaRPr lang="en-US" altLang="en-US" i="1">
              <a:ea typeface="MS PGothic" pitchFamily="34" charset="-128"/>
            </a:endParaRPr>
          </a:p>
          <a:p>
            <a:pPr defTabSz="894937">
              <a:defRPr/>
            </a:pPr>
            <a:r>
              <a:rPr lang="en-US" altLang="en-US">
                <a:ea typeface="MS PGothic" pitchFamily="34" charset="-128"/>
              </a:rPr>
              <a:t>This gives an overview of how network slicing relates to the 5G reference architecture. </a:t>
            </a:r>
          </a:p>
          <a:p>
            <a:pPr defTabSz="894937">
              <a:defRPr/>
            </a:pPr>
            <a:endParaRPr lang="en-US" altLang="en-US">
              <a:ea typeface="MS PGothic" pitchFamily="34" charset="-128"/>
            </a:endParaRPr>
          </a:p>
          <a:p>
            <a:pPr marL="279667" indent="-279667" defTabSz="894937">
              <a:buFont typeface="Arial" panose="020B0604020202020204" pitchFamily="34" charset="0"/>
              <a:buChar char="•"/>
              <a:defRPr/>
            </a:pPr>
            <a:r>
              <a:rPr lang="en-US" altLang="en-US">
                <a:ea typeface="MS PGothic" pitchFamily="34" charset="-128"/>
              </a:rPr>
              <a:t>The Cellular-IoT device is only connecting to the </a:t>
            </a:r>
            <a:r>
              <a:rPr lang="en-US" altLang="en-US" err="1">
                <a:ea typeface="MS PGothic" pitchFamily="34" charset="-128"/>
              </a:rPr>
              <a:t>CIoT</a:t>
            </a:r>
            <a:r>
              <a:rPr lang="en-US" altLang="en-US">
                <a:ea typeface="MS PGothic" pitchFamily="34" charset="-128"/>
              </a:rPr>
              <a:t> network slice</a:t>
            </a:r>
          </a:p>
          <a:p>
            <a:pPr marL="279667" indent="-279667" defTabSz="894937">
              <a:buFont typeface="Arial" panose="020B0604020202020204" pitchFamily="34" charset="0"/>
              <a:buChar char="•"/>
              <a:defRPr/>
            </a:pPr>
            <a:r>
              <a:rPr lang="en-US" altLang="en-US">
                <a:ea typeface="MS PGothic" pitchFamily="34" charset="-128"/>
              </a:rPr>
              <a:t>Device #0 is only connecting to network slice #0</a:t>
            </a:r>
          </a:p>
          <a:p>
            <a:pPr marL="279667" indent="-279667" defTabSz="894937">
              <a:buFont typeface="Arial" panose="020B0604020202020204" pitchFamily="34" charset="0"/>
              <a:buChar char="•"/>
              <a:defRPr/>
            </a:pPr>
            <a:r>
              <a:rPr lang="en-US" altLang="en-US">
                <a:ea typeface="MS PGothic" pitchFamily="34" charset="-128"/>
              </a:rPr>
              <a:t>Device #1 is connecting to more than one slice</a:t>
            </a:r>
          </a:p>
          <a:p>
            <a:endParaRPr lang="en-US" altLang="en-US">
              <a:sym typeface="Wingdings" pitchFamily="2" charset="2"/>
            </a:endParaRPr>
          </a:p>
          <a:p>
            <a:r>
              <a:rPr lang="en-US" altLang="en-US">
                <a:sym typeface="Wingdings" pitchFamily="2" charset="2"/>
              </a:rPr>
              <a:t>The Virtual Device is a model of separate state machines to handle access to different network slices in a single physical device.</a:t>
            </a:r>
          </a:p>
          <a:p>
            <a:endParaRPr lang="en-US" altLang="en-US">
              <a:sym typeface="Wingdings" pitchFamily="2" charset="2"/>
            </a:endParaRPr>
          </a:p>
          <a:p>
            <a:r>
              <a:rPr lang="en-US" altLang="en-US">
                <a:sym typeface="Wingdings" pitchFamily="2" charset="2"/>
              </a:rPr>
              <a:t>It is agreed that the NSSF is a separate function from AMF that can be separate from the network slices. NSSF gives input to the selection/traffic steering based on S-NSSAI for a certain UE in the AMF.</a:t>
            </a:r>
          </a:p>
          <a:p>
            <a:endParaRPr lang="en-US" altLang="en-US">
              <a:sym typeface="Wingdings" pitchFamily="2" charset="2"/>
            </a:endParaRPr>
          </a:p>
          <a:p>
            <a:pPr defTabSz="894937">
              <a:defRPr/>
            </a:pPr>
            <a:r>
              <a:rPr lang="es-ES_tradnl"/>
              <a:t>NSSF		Network </a:t>
            </a:r>
            <a:r>
              <a:rPr lang="es-ES_tradnl" err="1"/>
              <a:t>Slice</a:t>
            </a:r>
            <a:r>
              <a:rPr lang="es-ES_tradnl"/>
              <a:t> </a:t>
            </a:r>
            <a:r>
              <a:rPr lang="es-ES_tradnl" err="1"/>
              <a:t>Selection</a:t>
            </a:r>
            <a:r>
              <a:rPr lang="es-ES_tradnl"/>
              <a:t> </a:t>
            </a:r>
            <a:r>
              <a:rPr lang="es-ES_tradnl" err="1"/>
              <a:t>Function</a:t>
            </a:r>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6F19518E-293E-41E1-976F-84312AA6C5EE}" type="slidenum">
              <a:rPr lang="en-US" smtClean="0"/>
              <a:t>33</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7783891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US" altLang="en-US" sz="1200" i="1">
                <a:ea typeface="MS PGothic" pitchFamily="34" charset="-128"/>
              </a:rPr>
              <a:t>29-07-02 Updated figure, aligned with other engagement material</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8-09-27 Changed “Also some interest for a devices simultaneous …” to “But also possible for a device simultaneous …”</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7-11-30 Added PCF and AUF/UDM in “Across…” box</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NOTE: THIS SLIDE IS AN ALTERNATIVE TO PREVIOUS SLIDE AND CAN BE REMOVED IF THE PREVIOUS SLIDE IS USED</a:t>
            </a:r>
            <a:endParaRPr lang="en-US" sz="1200"/>
          </a:p>
          <a:p>
            <a:endParaRPr lang="en-US" sz="1200"/>
          </a:p>
          <a:p>
            <a:r>
              <a:rPr lang="en-US" sz="1200"/>
              <a:t>This slide introduces network slicing in the context of 5G Ready Core architecture. The slide shows 3 different Network Slices and how these Network Slices are supported in the mobile network (both RAN and CN). In addition, 2 different devices (UEs) are shown on the left hand side.</a:t>
            </a:r>
            <a:endParaRPr lang="sv-SE" sz="1200"/>
          </a:p>
          <a:p>
            <a:r>
              <a:rPr lang="en-US" sz="1200"/>
              <a:t>The Network Slice Instances </a:t>
            </a:r>
            <a:r>
              <a:rPr lang="en-US" sz="1200" u="sng"/>
              <a:t>may</a:t>
            </a:r>
            <a:r>
              <a:rPr lang="en-US" sz="1200"/>
              <a:t> contain different sets of functionality. </a:t>
            </a:r>
          </a:p>
          <a:p>
            <a:r>
              <a:rPr lang="en-US" sz="1200"/>
              <a:t>The CN part of an NSI may be also divided into its Common and Specific parts as is shown in the lower part of the figure for NSI #1 and NSI#2. The AMF is shared by NSI#1 and NSI#2, it belongs to the Common part of the NSI. However, the different functional splits between Common (or shared) and Specific parts of the NSI CN are still to be defined, and the figure shows two examples.</a:t>
            </a:r>
            <a:endParaRPr lang="sv-SE" sz="1200"/>
          </a:p>
          <a:p>
            <a:r>
              <a:rPr lang="en-US" sz="1200"/>
              <a:t>NG RAN may </a:t>
            </a:r>
            <a:r>
              <a:rPr lang="en-US" sz="1200" u="none"/>
              <a:t>support both LTE Evolution and New Radio (NR) and typically RAN is shared function offering access to different Network Slices. This means that one RAN deployment and specific </a:t>
            </a:r>
            <a:r>
              <a:rPr lang="en-US" sz="1200" u="none" err="1"/>
              <a:t>gNBs</a:t>
            </a:r>
            <a:r>
              <a:rPr lang="en-US" sz="1200" u="none"/>
              <a:t> within the RAN deployment may support multiple Network Slices.</a:t>
            </a:r>
            <a:endParaRPr lang="sv-SE" sz="1200" u="none"/>
          </a:p>
          <a:p>
            <a:r>
              <a:rPr lang="en-US" sz="1200" u="none"/>
              <a:t>Network Slice selection is important </a:t>
            </a:r>
            <a:r>
              <a:rPr lang="en-US" sz="1200"/>
              <a:t>functionality and the evolution of related functionalities is shown in the coming slides. Network Slice selection is typically performed seldom, for example at initial Attach. In a first </a:t>
            </a:r>
            <a:r>
              <a:rPr lang="en-US" sz="1200" u="none"/>
              <a:t>step a selection of AMF is performed </a:t>
            </a:r>
            <a:r>
              <a:rPr lang="en-US" sz="1200"/>
              <a:t>in RAN and is based on Network Slice Selection Assistance Information (NSSAI) provided by the UE. It shall however be possible to verify the Network Slice selection based on e.g. network slicing subscription data in the CNIs and reroute the request to another NSI if required. </a:t>
            </a:r>
            <a:endParaRPr lang="sv-SE" sz="1200"/>
          </a:p>
          <a:p>
            <a:r>
              <a:rPr lang="en-US" sz="1200"/>
              <a:t>A device is typically connected to a single Network Slice, that is the case for the red and blue devices in the example. There is some interest in allowing a device to be simultaneously connected to multiple Network Slices, but today there are a limited amount of clear use cases that point to that need. This is illustrated using the lowest grey device that has shared functionality for the yellow and light blue virtual devices that are Network Slice specific. </a:t>
            </a:r>
            <a:endParaRPr lang="sv-SE" sz="1200"/>
          </a:p>
          <a:p>
            <a:endParaRPr lang="en-US" altLang="en-US" sz="1200">
              <a:sym typeface="Wingdings" pitchFamily="2" charset="2"/>
            </a:endParaRPr>
          </a:p>
          <a:p>
            <a:pPr lvl="0"/>
            <a:r>
              <a:rPr lang="en-GB" sz="1050"/>
              <a:t>For the Specific part of the CN in the NSIs:</a:t>
            </a:r>
          </a:p>
          <a:p>
            <a:pPr lvl="0"/>
            <a:r>
              <a:rPr lang="en-GB" sz="1200"/>
              <a:t>SMF connection to central PCF shared with AMF in NSI#1 as one option compared to use of slice specific PCF as shown in NSI#2</a:t>
            </a:r>
            <a:endParaRPr lang="sv-SE" sz="1200"/>
          </a:p>
          <a:p>
            <a:pPr lvl="0"/>
            <a:endParaRPr lang="en-GB" sz="1200"/>
          </a:p>
          <a:p>
            <a:pPr lvl="0"/>
            <a:r>
              <a:rPr lang="en-GB" sz="1200"/>
              <a:t>Regarding authentication function, NSI#2 use AAA as currently our thinking is that the SMF level authentication is based on the current PCO approach with possible evolution. The AAA may either reside in the Specific part of the NSI CN (as shown in the figure) or in the Data Network.</a:t>
            </a:r>
            <a:endParaRPr lang="en-US" altLang="en-US" sz="1200">
              <a:sym typeface="Wingdings" pitchFamily="2" charset="2"/>
            </a:endParaRP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EDBA3CED-F05D-4A80-8D4A-E442F92DED5B}" type="slidenum">
              <a:rPr lang="en-US" smtClean="0"/>
              <a:t>34</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7362056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US" altLang="en-US" sz="1200" i="1">
                <a:ea typeface="MS PGothic" pitchFamily="34" charset="-128"/>
              </a:rPr>
              <a:t>2019-07-02 Updated figure to align with other Engagement material</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8-09-27 Added PCF and AUF/UDM in “Across…” box – to align with slide 27</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7-11-30 </a:t>
            </a:r>
          </a:p>
          <a:p>
            <a:pPr defTabSz="894937">
              <a:defRPr/>
            </a:pPr>
            <a:r>
              <a:rPr lang="en-US" altLang="en-US" sz="1200" i="1">
                <a:ea typeface="MS PGothic" pitchFamily="34" charset="-128"/>
              </a:rPr>
              <a:t>This slide shows “Early binding”. There is also a “Late binding” scenario. The details of late and early binding is subject for another detailed presentation.</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NOTE: THIS SLIDE IS AN ALTERNATIVE TO next SLIDE AND CAN BE REMOVED IF THE PREVIOUS SLIDE IS USED</a:t>
            </a:r>
            <a:endParaRPr lang="en-US" sz="1200"/>
          </a:p>
          <a:p>
            <a:endParaRPr lang="en-US" altLang="en-US" sz="1200">
              <a:sym typeface="Wingdings" pitchFamily="2" charset="2"/>
            </a:endParaRPr>
          </a:p>
          <a:p>
            <a:r>
              <a:rPr lang="en-US" sz="1200"/>
              <a:t>Network slicing and Network Slice selection for 5G is being specified in 3GPP Rel-15. This slide shows current working assumptions on some important areas. </a:t>
            </a:r>
            <a:endParaRPr lang="sv-SE" sz="1200"/>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Information about supported Network Slices is sent to RAN by the CN part of the NSIs when CN-RAN control plane interface is setup (similar to </a:t>
            </a:r>
            <a:r>
              <a:rPr lang="en-US" altLang="en-US" sz="120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 </a:t>
            </a:r>
            <a:r>
              <a:rPr lang="sv-SE" sz="1200">
                <a:solidFill>
                  <a:schemeClr val="bg1"/>
                </a:solidFill>
                <a:latin typeface="Segoe UI" panose="020B0502040204020203" pitchFamily="34" charset="0"/>
                <a:ea typeface="Segoe UI" panose="020B0502040204020203" pitchFamily="34" charset="0"/>
                <a:cs typeface="Segoe UI" panose="020B0502040204020203" pitchFamily="34" charset="0"/>
              </a:rPr>
              <a:t>or is set in RAN by other O&amp;M means</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NSI  selection (i.e. AMF selection) in RAN based on Network Slice Selection Assistance Information (NSSAI) from UE and other information available in RAN (like in </a:t>
            </a:r>
            <a:r>
              <a:rPr lang="en-US" altLang="en-US" sz="120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NSSF performs slice selection on request from AMF. The AMF can reroute to a different AMF if it does not serve the selected NSIs. Selection is based e.g. on NSI selection assistance information, Subscription, and selection logic in NSSF.</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The AMF selects  the SMF taking into account, NSI selection information, DNN, subscription data and/and/or other policies</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The SMF may select a UPF function based on e.g. DNN, UE location, policies</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92CD0922-AB98-41FB-AD2E-C0E50680927B}" type="slidenum">
              <a:rPr lang="en-US" smtClean="0"/>
              <a:t>35</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18888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US" altLang="en-US" sz="1200" i="1">
                <a:ea typeface="MS PGothic" pitchFamily="34" charset="-128"/>
              </a:rPr>
              <a:t>2019-07-02 Updated figure to align with other Engagement material</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8-09-27 Added PCF and AUF/UDM in “Across…” box – to align with slide 27</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2017-11-30 </a:t>
            </a:r>
          </a:p>
          <a:p>
            <a:pPr defTabSz="894937">
              <a:defRPr/>
            </a:pPr>
            <a:r>
              <a:rPr lang="en-US" altLang="en-US" sz="1200" i="1">
                <a:ea typeface="MS PGothic" pitchFamily="34" charset="-128"/>
              </a:rPr>
              <a:t>This slide shows “Early binding”. There is also a “Late binding” scenario. The details of late and early binding is subject for another detailed presentation.</a:t>
            </a:r>
          </a:p>
          <a:p>
            <a:pPr defTabSz="894937">
              <a:defRPr/>
            </a:pPr>
            <a:endParaRPr lang="en-US" altLang="en-US" sz="1200" i="1">
              <a:ea typeface="MS PGothic" pitchFamily="34" charset="-128"/>
            </a:endParaRPr>
          </a:p>
          <a:p>
            <a:pPr defTabSz="894937">
              <a:defRPr/>
            </a:pPr>
            <a:r>
              <a:rPr lang="en-US" altLang="en-US" sz="1200" i="1">
                <a:ea typeface="MS PGothic" pitchFamily="34" charset="-128"/>
              </a:rPr>
              <a:t>NOTE: THIS SLIDE IS AN ALTERNATIVE TO previous SLIDE AND CAN BE REMOVED IF THE PREVIOUS SLIDE IS USED</a:t>
            </a:r>
            <a:endParaRPr lang="en-US" sz="1200"/>
          </a:p>
          <a:p>
            <a:endParaRPr lang="en-US" altLang="en-US" sz="1200">
              <a:sym typeface="Wingdings" pitchFamily="2" charset="2"/>
            </a:endParaRPr>
          </a:p>
          <a:p>
            <a:r>
              <a:rPr lang="en-US" sz="1200"/>
              <a:t>Network slicing and Network Slice selection for 5G is being specified in 3GPP Rel-15. This slide shows current working assumptions on some important areas. </a:t>
            </a:r>
            <a:endParaRPr lang="sv-SE" sz="1200"/>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Information about supported Network Slices is sent to RAN by the CN part of the NSIs when CN-RAN control plane interface is setup (similar to </a:t>
            </a:r>
            <a:r>
              <a:rPr lang="en-US" altLang="en-US" sz="120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 </a:t>
            </a:r>
            <a:r>
              <a:rPr lang="sv-SE" sz="1200">
                <a:solidFill>
                  <a:schemeClr val="bg1"/>
                </a:solidFill>
                <a:latin typeface="Segoe UI" panose="020B0502040204020203" pitchFamily="34" charset="0"/>
                <a:ea typeface="Segoe UI" panose="020B0502040204020203" pitchFamily="34" charset="0"/>
                <a:cs typeface="Segoe UI" panose="020B0502040204020203" pitchFamily="34" charset="0"/>
              </a:rPr>
              <a:t>or is set in RAN by other O&amp;M means</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NSI  selection (i.e. AMF selection) in RAN based on Network Slice Selection Assistance Information (NSSAI) from UE and other information available in RAN (like in </a:t>
            </a:r>
            <a:r>
              <a:rPr lang="en-US" altLang="en-US" sz="120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NSSF performs slice selection on request from AMF. The AMF can reroute to a different AMF if it does not serve the selected NSIs. Selection is based e.g. on NSI selection assistance information, Subscription, and selection logic in NSSF.</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The AMF selects  the SMF taking into account, NSI selection information, DNN, subscription data and/and/or other policies</a:t>
            </a:r>
          </a:p>
          <a:p>
            <a:pPr marL="223734" indent="-223734" defTabSz="894937">
              <a:buFontTx/>
              <a:buAutoNum type="arabicParenR"/>
              <a:defRPr/>
            </a:pPr>
            <a:r>
              <a:rPr lang="en-US" altLang="en-US" sz="1200">
                <a:solidFill>
                  <a:schemeClr val="bg1"/>
                </a:solidFill>
                <a:latin typeface="Segoe UI" panose="020B0502040204020203" pitchFamily="34" charset="0"/>
                <a:ea typeface="Segoe UI" panose="020B0502040204020203" pitchFamily="34" charset="0"/>
                <a:cs typeface="Segoe UI" panose="020B0502040204020203" pitchFamily="34" charset="0"/>
              </a:rPr>
              <a:t>The SMF may select a UPF function based on e.g. DNN, UE location, policies</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6B991AA2-26ED-4E58-814B-B32D2B0EDDE3}" type="slidenum">
              <a:rPr lang="en-US" smtClean="0"/>
              <a:t>36</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1927300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US" altLang="en-US" sz="1200" i="1">
                <a:ea typeface="MS PGothic" pitchFamily="34" charset="-128"/>
              </a:rPr>
              <a:t>2019-07-02 Updated figure to align with other Engagement material</a:t>
            </a:r>
          </a:p>
          <a:p>
            <a:pPr defTabSz="894937">
              <a:defRPr/>
            </a:pPr>
            <a:endParaRPr lang="en-US" altLang="en-US" sz="1200" i="1">
              <a:ea typeface="MS PGothic" pitchFamily="34" charset="-128"/>
            </a:endParaRPr>
          </a:p>
          <a:p>
            <a:pPr defTabSz="904616">
              <a:defRPr/>
            </a:pPr>
            <a:r>
              <a:rPr lang="en-US" altLang="en-US" i="1">
                <a:ea typeface="MS PGothic" pitchFamily="34" charset="-128"/>
              </a:rPr>
              <a:t>2018-09-27 Added PCF and AUF/UDM in “Across…” box – to align with slide 27</a:t>
            </a:r>
          </a:p>
          <a:p>
            <a:endParaRPr lang="en-US"/>
          </a:p>
          <a:p>
            <a:r>
              <a:rPr lang="en-US"/>
              <a:t>Though a device is typically connected to a single Network Slice, there is some interest and the standard supports that a device is simultaneously connected to multiple Network Slices, although today there are only a limited amount of clear use cases.</a:t>
            </a:r>
            <a:endParaRPr lang="sv-SE"/>
          </a:p>
          <a:p>
            <a:endParaRPr lang="en-US"/>
          </a:p>
          <a:p>
            <a:r>
              <a:rPr lang="en-US"/>
              <a:t>The figure illustrates Ericsson’s view of network slicing for 5G also for the case with “multiple slices per UE”. </a:t>
            </a:r>
            <a:endParaRPr lang="sv-SE"/>
          </a:p>
          <a:p>
            <a:endParaRPr lang="en-US"/>
          </a:p>
          <a:p>
            <a:r>
              <a:rPr lang="en-US"/>
              <a:t>The lower most device is used to illustrate a UE simultaneously connected to multiple Network Slices i.e. grey device with shared functionality for the yellow and light blue virtual devices that are Network Slice specific.</a:t>
            </a:r>
            <a:endParaRPr lang="sv-SE"/>
          </a:p>
          <a:p>
            <a:r>
              <a:rPr lang="en-US"/>
              <a:t> </a:t>
            </a:r>
            <a:endParaRPr lang="sv-SE"/>
          </a:p>
          <a:p>
            <a:r>
              <a:rPr lang="en-US"/>
              <a:t>This case is supported by NSIs whose CN is divided into Common and Specific parts.  This is shown in the lower right part of the figure NSI #1 and NSI#2. Both have a common part that they share and a specific part which belongs to the NSI only. The different functional splits between Common and Specific parts is still to be defined, but the AMF is already decided to belong to the common part. The specific part of the NSI CN  provides both isolation on different levels and different functionality in different Network Slices</a:t>
            </a:r>
            <a:endParaRPr lang="sv-SE"/>
          </a:p>
          <a:p>
            <a:endParaRPr lang="en-US"/>
          </a:p>
          <a:p>
            <a:r>
              <a:rPr lang="en-US"/>
              <a:t>A device simultaneously connected to multiple Network Slices is served by a single AMF. As already said, the AMF is in the common part of the NSI CN. The AMF supports for example access authentication and mobility management for the UE and there is a single MM state machine for each UE in the AMF. The device PDU sessions belong to the specific part of the CN part of the NSI, and different PDU sessions for the same DNN or different DNNs can belong to different NSIs.</a:t>
            </a:r>
            <a:endParaRPr lang="sv-SE"/>
          </a:p>
          <a:p>
            <a:endParaRPr lang="en-US"/>
          </a:p>
          <a:p>
            <a:r>
              <a:rPr lang="en-US"/>
              <a:t>The Network Slice specific functionality resides mainly in the Specific part of the NSI CN. This may contain for example slice specific authentication.</a:t>
            </a:r>
            <a:endParaRPr lang="sv-SE"/>
          </a:p>
          <a:p>
            <a:r>
              <a:rPr lang="en-US"/>
              <a:t>When it comes to control plane signaling between the UE and the AMF, RAN only sees a single Non-Access Stratum (NAS) level control plane connection. This applies also for the UE control plane connection over CN-RAN interface. The AMF supports Mobility Management (MM) signaling that is also common for the different Network Slices. Network Slice specific control plane signaling may be supported between the UE and the SMFs as Session Management (SM) signaling.</a:t>
            </a:r>
            <a:endParaRPr lang="sv-SE"/>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0386643D-2541-4BB5-B30F-BF3F7173D105}" type="slidenum">
              <a:rPr lang="en-US" smtClean="0"/>
              <a:t>37</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7738609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19-06-24 </a:t>
            </a:r>
          </a:p>
          <a:p>
            <a:r>
              <a:rPr lang="en-US"/>
              <a:t> </a:t>
            </a:r>
          </a:p>
          <a:p>
            <a:r>
              <a:rPr lang="en-US"/>
              <a:t>UE. User Equipment supports e.g.:  </a:t>
            </a:r>
          </a:p>
          <a:p>
            <a:pPr lvl="1"/>
            <a:r>
              <a:rPr lang="en-US" sz="800"/>
              <a:t>Providing </a:t>
            </a:r>
            <a:r>
              <a:rPr lang="en-US" sz="800">
                <a:highlight>
                  <a:srgbClr val="FFFF00"/>
                </a:highlight>
              </a:rPr>
              <a:t>NSSAI</a:t>
            </a:r>
            <a:r>
              <a:rPr lang="en-US" sz="800"/>
              <a:t> (Network Slice Selection Assistance Information) as input to AMF to select appropriate slice. </a:t>
            </a:r>
          </a:p>
          <a:p>
            <a:r>
              <a:rPr lang="en-US"/>
              <a:t>NG RAN: The Radio Access Network supports e.g.: </a:t>
            </a:r>
          </a:p>
          <a:p>
            <a:pPr lvl="1"/>
            <a:r>
              <a:rPr lang="en-US" sz="800"/>
              <a:t>Using the NSSAI or Temporary User ID to select a suitable AMF for further slice and AMF selection handling. NG RAN may make use of NSSAI for resource allocation. </a:t>
            </a:r>
          </a:p>
          <a:p>
            <a:r>
              <a:rPr lang="en-US"/>
              <a:t>AMF. Access and Mobility Management Function supports e.g.:  </a:t>
            </a:r>
          </a:p>
          <a:p>
            <a:pPr lvl="1"/>
            <a:r>
              <a:rPr lang="en-US" sz="800"/>
              <a:t>Whenever possible select the Network Slice the UE is requesting. </a:t>
            </a:r>
          </a:p>
          <a:p>
            <a:pPr lvl="1"/>
            <a:r>
              <a:rPr lang="en-US" sz="800"/>
              <a:t>Provides information to UE on Allowed S-NSSAIs for succeeding Network Slice Selections, based on subscription information. </a:t>
            </a:r>
          </a:p>
          <a:p>
            <a:pPr lvl="1"/>
            <a:r>
              <a:rPr lang="en-US" sz="800"/>
              <a:t>AMFs are shared across slices that are supported simultaneously or may be dedicated to a slice. </a:t>
            </a:r>
          </a:p>
          <a:p>
            <a:r>
              <a:rPr lang="en-US"/>
              <a:t>NSSF. Network Slice Selection Function supports e.g.:  </a:t>
            </a:r>
          </a:p>
          <a:p>
            <a:pPr lvl="1"/>
            <a:r>
              <a:rPr lang="en-US" sz="800"/>
              <a:t>Selecting the set of Network Slices serving the UE, when AMF is unable by itself. </a:t>
            </a:r>
          </a:p>
          <a:p>
            <a:pPr lvl="1"/>
            <a:r>
              <a:rPr lang="en-US" sz="800"/>
              <a:t>Determining the Allowed S-NSSAIs. </a:t>
            </a:r>
          </a:p>
          <a:p>
            <a:pPr lvl="1"/>
            <a:r>
              <a:rPr lang="en-US" sz="800"/>
              <a:t>Determining the AMF Set to be used to serve the UE, or, based on configuration, a list of candidate AMF(s), possibly by querying the NRF. </a:t>
            </a:r>
          </a:p>
          <a:p>
            <a:pPr lvl="1"/>
            <a:r>
              <a:rPr lang="en-US" sz="800"/>
              <a:t>The NSSF is typically a network function, on PLMN level, external to, but accessible from, multiple slices.  </a:t>
            </a:r>
          </a:p>
          <a:p>
            <a:r>
              <a:rPr lang="en-US"/>
              <a:t>NRF. Network Function Repository Function supports e.g.:  </a:t>
            </a:r>
          </a:p>
          <a:p>
            <a:pPr lvl="1"/>
            <a:r>
              <a:rPr lang="en-US" sz="800"/>
              <a:t>Service discovery function by receiving NF Discovery Request from NF instance, and provides the information of the discovered NF (Network Function) instances (be discovered) to the NF instance. </a:t>
            </a:r>
          </a:p>
          <a:p>
            <a:r>
              <a:rPr lang="en-US"/>
              <a:t>UDM. Unified Data Management supports e.g.:  </a:t>
            </a:r>
          </a:p>
          <a:p>
            <a:pPr lvl="1"/>
            <a:r>
              <a:rPr lang="en-US" sz="800"/>
              <a:t>Administration of slicing information for the subscriber, such as Subscribed S-NSSAI(s), Default S-NSSAI(s) and Default DNN per Subscribed S-NSSAI. (See section 10.3 for more information about UDM and network slicing)  </a:t>
            </a:r>
          </a:p>
          <a:p>
            <a:r>
              <a:rPr lang="en-US"/>
              <a:t>PCF. Policy Control Function supports e.g.: </a:t>
            </a:r>
          </a:p>
          <a:p>
            <a:pPr lvl="1"/>
            <a:r>
              <a:rPr lang="en-US" sz="800"/>
              <a:t>UE Route Selection Policy (URSP), which includes Network Slice Selection Policy (NSSP). Operator specific policies, e.g. time dependent, can be used to associate UE applications with S-NSSAI. See section 11.5 for more information about policies in relation to network slicing. </a:t>
            </a:r>
          </a:p>
          <a:p>
            <a:endParaRPr lang="en-US"/>
          </a:p>
          <a:p>
            <a:r>
              <a:rPr lang="en-US"/>
              <a:t>Comment added 2019-06-25:</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85F"/>
                </a:solidFill>
                <a:effectLst/>
                <a:uLnTx/>
                <a:uFillTx/>
                <a:latin typeface="Ericsson Hilda"/>
                <a:ea typeface="+mn-ea"/>
                <a:cs typeface="+mn-cs"/>
              </a:rPr>
              <a:t>AMF: </a:t>
            </a:r>
            <a:r>
              <a:rPr kumimoji="0" lang="en-US" sz="1200" b="0" i="0" u="none" strike="noStrike" kern="1200" cap="none" spc="0" normalizeH="0" baseline="0" noProof="0">
                <a:ln>
                  <a:noFill/>
                </a:ln>
                <a:solidFill>
                  <a:srgbClr val="00285F"/>
                </a:solidFill>
                <a:effectLst/>
                <a:uLnTx/>
                <a:uFillTx/>
                <a:latin typeface="Ericsson Hilda"/>
                <a:ea typeface="+mn-ea"/>
                <a:cs typeface="+mn-cs"/>
              </a:rPr>
              <a:t>Whenever possible, based on the UE Requested </a:t>
            </a:r>
            <a:r>
              <a:rPr kumimoji="0" lang="en-US" sz="12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200" b="0" i="0" u="none" strike="noStrike" kern="1200" cap="none" spc="0" normalizeH="0" baseline="0" noProof="0">
                <a:ln>
                  <a:noFill/>
                </a:ln>
                <a:solidFill>
                  <a:srgbClr val="00285F"/>
                </a:solidFill>
                <a:effectLst/>
                <a:uLnTx/>
                <a:uFillTx/>
                <a:latin typeface="Ericsson Hilda"/>
                <a:ea typeface="+mn-ea"/>
                <a:cs typeface="+mn-cs"/>
              </a:rPr>
              <a:t>, it provides the UE with the Allowed </a:t>
            </a:r>
            <a:r>
              <a:rPr kumimoji="0" lang="en-US" sz="12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200" b="0" i="0" u="none" strike="noStrike" kern="1200" cap="none" spc="0" normalizeH="0" baseline="0" noProof="0">
                <a:ln>
                  <a:noFill/>
                </a:ln>
                <a:solidFill>
                  <a:srgbClr val="00285F"/>
                </a:solidFill>
                <a:effectLst/>
                <a:uLnTx/>
                <a:uFillTx/>
                <a:latin typeface="Ericsson Hilda"/>
                <a:ea typeface="+mn-ea"/>
                <a:cs typeface="+mn-cs"/>
              </a:rPr>
              <a:t>. If necessary, it requests re-allocation of AMF via R(AN) or directly to target AMF. AMFs are shared across slices that are supported simultaneously, or may be dedicated to a slice. AMF selects SMF based on S-</a:t>
            </a:r>
            <a:r>
              <a:rPr kumimoji="0" lang="en-US" sz="12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200" b="0" i="0" u="none" strike="noStrike" kern="1200" cap="none" spc="0" normalizeH="0" baseline="0" noProof="0">
                <a:ln>
                  <a:noFill/>
                </a:ln>
                <a:solidFill>
                  <a:srgbClr val="00285F"/>
                </a:solidFill>
                <a:effectLst/>
                <a:uLnTx/>
                <a:uFillTx/>
                <a:latin typeface="Ericsson Hilda"/>
                <a:ea typeface="+mn-ea"/>
                <a:cs typeface="+mn-cs"/>
              </a:rPr>
              <a:t>.</a:t>
            </a:r>
          </a:p>
          <a:p>
            <a:endParaRPr lang="en-US"/>
          </a:p>
          <a:p>
            <a:r>
              <a:rPr lang="en-US"/>
              <a:t>NOTE: E/// AMF only supports re-allocation of AMF via RAN.</a:t>
            </a:r>
          </a:p>
        </p:txBody>
      </p:sp>
      <p:sp>
        <p:nvSpPr>
          <p:cNvPr id="4" name="Date Placeholder 3"/>
          <p:cNvSpPr>
            <a:spLocks noGrp="1"/>
          </p:cNvSpPr>
          <p:nvPr>
            <p:ph type="dt" idx="10"/>
          </p:nvPr>
        </p:nvSpPr>
        <p:spPr>
          <a:xfrm>
            <a:off x="3884613" y="0"/>
            <a:ext cx="2971800" cy="4587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2542E2-A3C0-4010-B090-FF1032B491DE}"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38</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
        <p:nvSpPr>
          <p:cNvPr id="6" name="Header Placeholder 5">
            <a:extLst>
              <a:ext uri="{FF2B5EF4-FFF2-40B4-BE49-F238E27FC236}">
                <a16:creationId xmlns:a16="http://schemas.microsoft.com/office/drawing/2014/main" id="{0F90CAB3-6981-44E0-9F9D-08F5B076389E}"/>
              </a:ext>
            </a:extLst>
          </p:cNvPr>
          <p:cNvSpPr>
            <a:spLocks noGrp="1"/>
          </p:cNvSpPr>
          <p:nvPr>
            <p:ph type="hdr" sz="quarter"/>
          </p:nvPr>
        </p:nvSpPr>
        <p:spPr/>
        <p:txBody>
          <a:bodyPr/>
          <a:lstStyle/>
          <a:p>
            <a:r>
              <a:rPr lang="en-US"/>
              <a:t>The 5G Core Network Deep Dive </a:t>
            </a:r>
          </a:p>
        </p:txBody>
      </p:sp>
    </p:spTree>
    <p:extLst>
      <p:ext uri="{BB962C8B-B14F-4D97-AF65-F5344CB8AC3E}">
        <p14:creationId xmlns:p14="http://schemas.microsoft.com/office/powerpoint/2010/main" val="599867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150" sz="1200" kern="1200">
                <a:solidFill>
                  <a:schemeClr val="tx1"/>
                </a:solidFill>
                <a:effectLst/>
                <a:latin typeface="Ericsson Hilda Light" panose="00000400000000000000" pitchFamily="2" charset="0"/>
                <a:ea typeface="+mn-ea"/>
                <a:cs typeface="+mn-cs"/>
              </a:rPr>
              <a:t>[‎15/‎04/‎2019 14:21]  Peter Hedman:  </a:t>
            </a:r>
          </a:p>
          <a:p>
            <a:r>
              <a:rPr lang="sv" sz="1200" b="1" kern="1200">
                <a:solidFill>
                  <a:schemeClr val="tx1"/>
                </a:solidFill>
                <a:effectLst/>
                <a:latin typeface="Ericsson Hilda Light" panose="00000400000000000000" pitchFamily="2" charset="0"/>
                <a:ea typeface="+mn-ea"/>
                <a:cs typeface="+mn-cs"/>
              </a:rPr>
              <a:t>REROUTE NAS REQUEST</a:t>
            </a:r>
            <a:r>
              <a:rPr lang="sv" sz="1200" kern="1200">
                <a:solidFill>
                  <a:schemeClr val="tx1"/>
                </a:solidFill>
                <a:effectLst/>
                <a:latin typeface="Ericsson Hilda Light" panose="00000400000000000000" pitchFamily="2" charset="0"/>
                <a:ea typeface="+mn-ea"/>
                <a:cs typeface="+mn-cs"/>
              </a:rPr>
              <a:t> </a:t>
            </a:r>
            <a:endParaRPr lang="en-150" sz="1200" kern="1200">
              <a:solidFill>
                <a:schemeClr val="tx1"/>
              </a:solidFill>
              <a:effectLst/>
              <a:latin typeface="Ericsson Hilda Light" panose="00000400000000000000" pitchFamily="2" charset="0"/>
              <a:ea typeface="+mn-ea"/>
              <a:cs typeface="+mn-cs"/>
            </a:endParaRPr>
          </a:p>
          <a:p>
            <a:r>
              <a:rPr lang="sv" sz="1200" kern="1200">
                <a:solidFill>
                  <a:schemeClr val="tx1"/>
                </a:solidFill>
                <a:effectLst/>
                <a:latin typeface="Ericsson Hilda Light" panose="00000400000000000000" pitchFamily="2" charset="0"/>
                <a:ea typeface="+mn-ea"/>
                <a:cs typeface="+mn-cs"/>
              </a:rPr>
              <a:t>This message is sent by the AMF in order to request for a rerouting of the INITIAL UE MESSAGE to another AMF.</a:t>
            </a:r>
            <a:endParaRPr lang="en-150" sz="1200" kern="1200">
              <a:solidFill>
                <a:schemeClr val="tx1"/>
              </a:solidFill>
              <a:effectLst/>
              <a:latin typeface="Ericsson Hilda Light" panose="00000400000000000000" pitchFamily="2" charset="0"/>
              <a:ea typeface="+mn-ea"/>
              <a:cs typeface="+mn-cs"/>
            </a:endParaRPr>
          </a:p>
          <a:p>
            <a:r>
              <a:rPr lang="sv" sz="1200" kern="1200">
                <a:solidFill>
                  <a:schemeClr val="tx1"/>
                </a:solidFill>
                <a:effectLst/>
                <a:latin typeface="Ericsson Hilda Light" panose="00000400000000000000" pitchFamily="2" charset="0"/>
                <a:ea typeface="+mn-ea"/>
                <a:cs typeface="+mn-cs"/>
              </a:rPr>
              <a:t>Direction: AMF </a:t>
            </a:r>
            <a:r>
              <a:rPr lang="en-GB" sz="1200" kern="1200">
                <a:solidFill>
                  <a:schemeClr val="tx1"/>
                </a:solidFill>
                <a:effectLst/>
                <a:latin typeface="Ericsson Hilda Light" panose="00000400000000000000" pitchFamily="2" charset="0"/>
                <a:ea typeface="+mn-ea"/>
                <a:cs typeface="+mn-cs"/>
              </a:rPr>
              <a:t>®</a:t>
            </a:r>
            <a:r>
              <a:rPr lang="sv" sz="1200" kern="1200">
                <a:solidFill>
                  <a:schemeClr val="tx1"/>
                </a:solidFill>
                <a:effectLst/>
                <a:latin typeface="Ericsson Hilda Light" panose="00000400000000000000" pitchFamily="2" charset="0"/>
                <a:ea typeface="+mn-ea"/>
                <a:cs typeface="+mn-cs"/>
              </a:rPr>
              <a:t> NG-RAN node </a:t>
            </a:r>
          </a:p>
          <a:p>
            <a:endParaRPr lang="sv"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TS 23.501:</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lt;&lt;&lt;&lt;&lt;&gt;&gt;&gt;&gt;&gt; </a:t>
            </a:r>
            <a:endParaRPr lang="en-150"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5.15.5.2.3            AMF Re-allocation due to Network Slice(s) Support</a:t>
            </a:r>
            <a:endParaRPr lang="en-150"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uring a Registration procedure in a PLMN, if the network decides that the UE should be served by a different AMF based on Network Slice(s) aspects, then the AMF that first received the Registration Request shall redirect the Registration request to another AMF via the RAN or via direct signalling between the initial AMF and the target AMF. If the target AMF(s) are returned from the NSSF and identified by a list of candidate AMF(s), the redirection message shall only be sent via the direct signalling between the initial AMF and the target AMF. If the redirection message is sent by the AMF via the RAN, the message shall include information for selection of a new AMF to serve the UE.</a:t>
            </a:r>
            <a:endParaRPr lang="en-150"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For a UE that is already registered, the system shall support a redirection initiated by the network of a UE from its serving AMF to a target AMF due to Network Slice(s) considerations (e.g. the operator has changed the mapping between the Network Slice instances and their respective serving AMF(s)). Operator policy determines whether redirection between AMFs is allowed.</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lt;&lt;&lt;&lt;&lt;&gt;&gt;&gt;&gt;&gt; </a:t>
            </a:r>
          </a:p>
          <a:p>
            <a:endParaRPr lang="en-US" sz="1200" kern="1200">
              <a:solidFill>
                <a:schemeClr val="tx1"/>
              </a:solidFill>
              <a:effectLst/>
              <a:latin typeface="Ericsson Hilda Light" panose="000004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Ericsson Hilda Light" panose="00000400000000000000" pitchFamily="2" charset="0"/>
                <a:ea typeface="+mn-ea"/>
                <a:cs typeface="+mn-cs"/>
              </a:rPr>
              <a:t>Rel 16: </a:t>
            </a:r>
            <a:r>
              <a:rPr lang="en-US" sz="1200" strike="noStrike">
                <a:solidFill>
                  <a:schemeClr val="accent1"/>
                </a:solidFill>
                <a:latin typeface="Arial" charset="0"/>
              </a:rPr>
              <a:t>The NSSF will not grant access to two mutually exclusive Network Slices simultaneously</a:t>
            </a:r>
            <a:endParaRPr kumimoji="0" lang="en-US" sz="1200" b="0" i="0" u="none" strike="noStrike" kern="1200" cap="none" spc="0" normalizeH="0" baseline="0" noProof="0">
              <a:ln>
                <a:noFill/>
              </a:ln>
              <a:solidFill>
                <a:schemeClr val="accent1"/>
              </a:solidFill>
              <a:effectLst/>
              <a:uLnTx/>
              <a:uFillTx/>
              <a:latin typeface="Arial" charset="0"/>
            </a:endParaRPr>
          </a:p>
          <a:p>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 </a:t>
            </a:r>
            <a:endParaRPr lang="en-150" sz="1200" kern="1200">
              <a:solidFill>
                <a:schemeClr val="tx1"/>
              </a:solidFill>
              <a:effectLst/>
              <a:latin typeface="Ericsson Hilda Light" panose="000004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Ericsson Hilda Light" panose="00000400000000000000" pitchFamily="2" charset="0"/>
                <a:ea typeface="+mn-ea"/>
                <a:cs typeface="+mn-cs"/>
              </a:rPr>
              <a:t>T</a:t>
            </a:r>
            <a:r>
              <a:rPr lang="en-150" sz="1200" kern="1200">
                <a:solidFill>
                  <a:schemeClr val="tx1"/>
                </a:solidFill>
                <a:effectLst/>
                <a:latin typeface="Ericsson Hilda Light" panose="00000400000000000000" pitchFamily="2" charset="0"/>
                <a:ea typeface="+mn-ea"/>
                <a:cs typeface="+mn-cs"/>
              </a:rPr>
              <a:t>he NSSF of the VPLMN maps the Subscribed S-NSSAIs values to the respective S-NSSAI values to be used in the VPLMN</a:t>
            </a:r>
            <a:r>
              <a:rPr lang="en-US" sz="1200" kern="1200">
                <a:solidFill>
                  <a:schemeClr val="tx1"/>
                </a:solidFill>
                <a:effectLst/>
                <a:latin typeface="Ericsson Hilda Light" panose="00000400000000000000" pitchFamily="2" charset="0"/>
                <a:ea typeface="+mn-ea"/>
                <a:cs typeface="+mn-cs"/>
              </a:rPr>
              <a:t>. </a:t>
            </a:r>
            <a:r>
              <a:rPr lang="en-150" sz="1200" kern="1200">
                <a:solidFill>
                  <a:schemeClr val="tx1"/>
                </a:solidFill>
                <a:effectLst/>
                <a:latin typeface="Ericsson Hilda Light" panose="00000400000000000000" pitchFamily="2" charset="0"/>
                <a:ea typeface="+mn-ea"/>
                <a:cs typeface="+mn-cs"/>
              </a:rPr>
              <a:t>The NSSF in the VPLMN determines the Allowed NSSAI without interacting with the HPLMN</a:t>
            </a:r>
            <a:r>
              <a:rPr lang="en-US" sz="1200" kern="1200">
                <a:solidFill>
                  <a:schemeClr val="tx1"/>
                </a:solidFill>
                <a:effectLst/>
                <a:latin typeface="Ericsson Hilda Light" panose="00000400000000000000" pitchFamily="2" charset="0"/>
                <a:ea typeface="+mn-ea"/>
                <a:cs typeface="+mn-cs"/>
              </a:rPr>
              <a:t> (i.e. without interacting with the UDM)</a:t>
            </a:r>
            <a:endParaRPr lang="en-150" sz="1200" kern="1200">
              <a:solidFill>
                <a:schemeClr val="tx1"/>
              </a:solidFill>
              <a:effectLst/>
              <a:latin typeface="Ericsson Hilda Light" panose="00000400000000000000" pitchFamily="2" charset="0"/>
              <a:ea typeface="+mn-ea"/>
              <a:cs typeface="+mn-cs"/>
            </a:endParaRPr>
          </a:p>
          <a:p>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 </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 </a:t>
            </a:r>
            <a:endParaRPr lang="en-150" sz="1200" kern="1200">
              <a:solidFill>
                <a:schemeClr val="tx1"/>
              </a:solidFill>
              <a:effectLst/>
              <a:latin typeface="Ericsson Hilda Light" panose="00000400000000000000" pitchFamily="2" charset="0"/>
              <a:ea typeface="+mn-ea"/>
              <a:cs typeface="+mn-cs"/>
            </a:endParaRPr>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FAA37818-02EA-43AD-A245-CC8F6F35567E}"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3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237031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100">
                <a:latin typeface="Arial" panose="020B0604020202020204" pitchFamily="34" charset="0"/>
              </a:rPr>
              <a:t>At MWC 2017 Ericsson introduces the market’s first end-to-end 5G system. It is the first time all components of the 5G system are in place. </a:t>
            </a:r>
          </a:p>
          <a:p>
            <a:r>
              <a:rPr lang="en-US" altLang="en-US" sz="1100">
                <a:latin typeface="Arial" panose="020B0604020202020204" pitchFamily="34" charset="0"/>
              </a:rPr>
              <a:t>	- Ericsson now has a the first version of an E2E Core network capable of 5G use cases based on network slices. </a:t>
            </a:r>
          </a:p>
          <a:p>
            <a:r>
              <a:rPr lang="en-US" altLang="en-US" sz="1100">
                <a:latin typeface="Arial" panose="020B0604020202020204" pitchFamily="34" charset="0"/>
              </a:rPr>
              <a:t>	- The 5G core network can be connected to 5G NR radio and has been tried with leading tier-one customers like SK Telecom.</a:t>
            </a:r>
          </a:p>
          <a:p>
            <a:r>
              <a:rPr lang="en-US" altLang="en-US" sz="1100">
                <a:latin typeface="Arial" panose="020B0604020202020204" pitchFamily="34" charset="0"/>
              </a:rPr>
              <a:t>	- This enables already today some 5G use cases, for telecom operators to capture growth opportunities for 5G &amp; IoT services for Consumers &amp; Enterprises.</a:t>
            </a:r>
          </a:p>
          <a:p>
            <a:endParaRPr lang="en-US" altLang="en-US" sz="1100">
              <a:latin typeface="Arial" panose="020B0604020202020204" pitchFamily="34" charset="0"/>
            </a:endParaRPr>
          </a:p>
          <a:p>
            <a:r>
              <a:rPr lang="en-US" altLang="en-US" sz="1100">
                <a:latin typeface="Arial" panose="020B0604020202020204" pitchFamily="34" charset="0"/>
              </a:rPr>
              <a:t>The 5G Core is part of the 5G end-to-end system and is built on the key concepts</a:t>
            </a:r>
          </a:p>
          <a:p>
            <a:r>
              <a:rPr lang="en-US" altLang="en-US" sz="1100">
                <a:latin typeface="Arial" panose="020B0604020202020204" pitchFamily="34" charset="0"/>
              </a:rPr>
              <a:t>*Network slicing</a:t>
            </a:r>
          </a:p>
          <a:p>
            <a:r>
              <a:rPr lang="en-US" altLang="en-US" sz="1100">
                <a:latin typeface="Arial" panose="020B0604020202020204" pitchFamily="34" charset="0"/>
              </a:rPr>
              <a:t>*Virtualization</a:t>
            </a:r>
          </a:p>
          <a:p>
            <a:r>
              <a:rPr lang="en-US" altLang="en-US" sz="1100">
                <a:latin typeface="Arial" panose="020B0604020202020204" pitchFamily="34" charset="0"/>
              </a:rPr>
              <a:t>*Software defined networking, and</a:t>
            </a:r>
          </a:p>
          <a:p>
            <a:r>
              <a:rPr lang="en-US" altLang="en-US" sz="1100">
                <a:latin typeface="Arial" panose="020B0604020202020204" pitchFamily="34" charset="0"/>
              </a:rPr>
              <a:t>*Distributed Cloud</a:t>
            </a:r>
          </a:p>
          <a:p>
            <a:endParaRPr lang="en-US" altLang="en-US" sz="1100">
              <a:latin typeface="Arial" panose="020B0604020202020204" pitchFamily="34" charset="0"/>
            </a:endParaRPr>
          </a:p>
          <a:p>
            <a:r>
              <a:rPr lang="en-US" altLang="en-US" sz="1100">
                <a:latin typeface="Arial" panose="020B0604020202020204" pitchFamily="34" charset="0"/>
              </a:rPr>
              <a:t>The 5G end-to-end system is managed together with the Access and the transport through a common Management and Orchestration, and it connects also with Analytics and Exposure.</a:t>
            </a:r>
          </a:p>
        </p:txBody>
      </p:sp>
      <p:sp>
        <p:nvSpPr>
          <p:cNvPr id="1638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35000" indent="-282692">
              <a:defRPr sz="2000">
                <a:solidFill>
                  <a:schemeClr val="tx1"/>
                </a:solidFill>
                <a:latin typeface="Arial" panose="020B0604020202020204" pitchFamily="34" charset="0"/>
                <a:cs typeface="Arial" panose="020B0604020202020204" pitchFamily="34" charset="0"/>
              </a:defRPr>
            </a:lvl2pPr>
            <a:lvl3pPr marL="1130770" indent="-226154">
              <a:defRPr sz="2000">
                <a:solidFill>
                  <a:schemeClr val="tx1"/>
                </a:solidFill>
                <a:latin typeface="Arial" panose="020B0604020202020204" pitchFamily="34" charset="0"/>
                <a:cs typeface="Arial" panose="020B0604020202020204" pitchFamily="34" charset="0"/>
              </a:defRPr>
            </a:lvl3pPr>
            <a:lvl4pPr marL="1583078" indent="-226154">
              <a:defRPr sz="2000">
                <a:solidFill>
                  <a:schemeClr val="tx1"/>
                </a:solidFill>
                <a:latin typeface="Arial" panose="020B0604020202020204" pitchFamily="34" charset="0"/>
                <a:cs typeface="Arial" panose="020B0604020202020204" pitchFamily="34" charset="0"/>
              </a:defRPr>
            </a:lvl4pPr>
            <a:lvl5pPr marL="2035386" indent="-226154">
              <a:defRPr sz="2000">
                <a:solidFill>
                  <a:schemeClr val="tx1"/>
                </a:solidFill>
                <a:latin typeface="Arial" panose="020B0604020202020204" pitchFamily="34" charset="0"/>
                <a:cs typeface="Arial" panose="020B0604020202020204" pitchFamily="34" charset="0"/>
              </a:defRPr>
            </a:lvl5pPr>
            <a:lvl6pPr marL="2487694" indent="-226154"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40002" indent="-226154"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392310" indent="-226154"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44618" indent="-226154"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defTabSz="904616" fontAlgn="auto">
              <a:spcBef>
                <a:spcPts val="0"/>
              </a:spcBef>
              <a:spcAft>
                <a:spcPts val="0"/>
              </a:spcAft>
              <a:defRPr/>
            </a:pPr>
            <a:r>
              <a:rPr lang="sv-SE" altLang="en-US" sz="1700" kern="0">
                <a:solidFill>
                  <a:srgbClr val="000000"/>
                </a:solidFill>
              </a:rPr>
              <a:t>2019-10-07 </a:t>
            </a:r>
            <a:endParaRPr lang="en-US" altLang="en-US" sz="1700" kern="0">
              <a:solidFill>
                <a:srgbClr val="000000"/>
              </a:solidFill>
            </a:endParaRPr>
          </a:p>
        </p:txBody>
      </p:sp>
      <p:sp>
        <p:nvSpPr>
          <p:cNvPr id="1638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cs typeface="Arial" panose="020B0604020202020204" pitchFamily="34" charset="0"/>
              </a:defRPr>
            </a:lvl1pPr>
            <a:lvl2pPr marL="742853" indent="-285834">
              <a:defRPr sz="2000">
                <a:solidFill>
                  <a:schemeClr val="tx1"/>
                </a:solidFill>
                <a:latin typeface="Arial" panose="020B0604020202020204" pitchFamily="34" charset="0"/>
                <a:cs typeface="Arial" panose="020B0604020202020204" pitchFamily="34" charset="0"/>
              </a:defRPr>
            </a:lvl2pPr>
            <a:lvl3pPr marL="1143334" indent="-227725">
              <a:defRPr sz="2000">
                <a:solidFill>
                  <a:schemeClr val="tx1"/>
                </a:solidFill>
                <a:latin typeface="Arial" panose="020B0604020202020204" pitchFamily="34" charset="0"/>
                <a:cs typeface="Arial" panose="020B0604020202020204" pitchFamily="34" charset="0"/>
              </a:defRPr>
            </a:lvl3pPr>
            <a:lvl4pPr marL="1601924" indent="-227725">
              <a:defRPr sz="2000">
                <a:solidFill>
                  <a:schemeClr val="tx1"/>
                </a:solidFill>
                <a:latin typeface="Arial" panose="020B0604020202020204" pitchFamily="34" charset="0"/>
                <a:cs typeface="Arial" panose="020B0604020202020204" pitchFamily="34" charset="0"/>
              </a:defRPr>
            </a:lvl4pPr>
            <a:lvl5pPr marL="2058944" indent="-227725">
              <a:defRPr sz="2000">
                <a:solidFill>
                  <a:schemeClr val="tx1"/>
                </a:solidFill>
                <a:latin typeface="Arial" panose="020B0604020202020204" pitchFamily="34" charset="0"/>
                <a:cs typeface="Arial" panose="020B0604020202020204" pitchFamily="34" charset="0"/>
              </a:defRPr>
            </a:lvl5pPr>
            <a:lvl6pPr marL="2511252" indent="-22772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63560" indent="-22772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15868" indent="-22772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68176" indent="-22772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defTabSz="904616" fontAlgn="auto">
              <a:spcBef>
                <a:spcPts val="0"/>
              </a:spcBef>
              <a:spcAft>
                <a:spcPts val="0"/>
              </a:spcAft>
              <a:defRPr/>
            </a:pPr>
            <a:fld id="{324070CF-C5E1-406B-B2A6-B2E95EF89D7B}" type="slidenum">
              <a:rPr lang="en-US" altLang="en-US" sz="1200" kern="0" smtClean="0">
                <a:solidFill>
                  <a:srgbClr val="000000"/>
                </a:solidFill>
                <a:ea typeface="MS PGothic" panose="020B0600070205080204" pitchFamily="34" charset="-128"/>
              </a:rPr>
              <a:t>4</a:t>
            </a:fld>
            <a:endParaRPr lang="en-US" altLang="en-US" sz="1200" kern="0">
              <a:solidFill>
                <a:srgbClr val="000000"/>
              </a:solidFill>
              <a:ea typeface="MS PGothic" panose="020B0600070205080204" pitchFamily="34" charset="-128"/>
            </a:endParaRPr>
          </a:p>
        </p:txBody>
      </p:sp>
      <p:sp>
        <p:nvSpPr>
          <p:cNvPr id="6" name="Header Placeholder 5"/>
          <p:cNvSpPr>
            <a:spLocks noGrp="1"/>
          </p:cNvSpPr>
          <p:nvPr>
            <p:ph type="hdr" sz="quarter"/>
          </p:nvPr>
        </p:nvSpPr>
        <p:spPr/>
        <p:txBody>
          <a:bodyPr/>
          <a:lstStyle/>
          <a:p>
            <a:pPr defTabSz="904616" fontAlgn="auto">
              <a:spcBef>
                <a:spcPts val="0"/>
              </a:spcBef>
              <a:spcAft>
                <a:spcPts val="0"/>
              </a:spcAft>
              <a:defRPr/>
            </a:pPr>
            <a:r>
              <a:rPr lang="en-US" sz="1800" kern="0">
                <a:solidFill>
                  <a:prstClr val="black"/>
                </a:solidFill>
              </a:rPr>
              <a:t>The 5G Core Network Deep Dive </a:t>
            </a:r>
          </a:p>
        </p:txBody>
      </p:sp>
      <p:sp>
        <p:nvSpPr>
          <p:cNvPr id="7" name="Footer Placeholder 6"/>
          <p:cNvSpPr>
            <a:spLocks noGrp="1"/>
          </p:cNvSpPr>
          <p:nvPr>
            <p:ph type="ftr" sz="quarter" idx="4"/>
          </p:nvPr>
        </p:nvSpPr>
        <p:spPr/>
        <p:txBody>
          <a:bodyPr/>
          <a:lstStyle/>
          <a:p>
            <a:pPr defTabSz="904616" fontAlgn="auto">
              <a:spcBef>
                <a:spcPts val="0"/>
              </a:spcBef>
              <a:spcAft>
                <a:spcPts val="0"/>
              </a:spcAft>
              <a:defRPr/>
            </a:pPr>
            <a:r>
              <a:rPr lang="en-US" sz="1800" kern="0">
                <a:solidFill>
                  <a:prstClr val="black"/>
                </a:solidFill>
              </a:rPr>
              <a:t>BICP-16:000214 Uen, Rev N </a:t>
            </a:r>
          </a:p>
        </p:txBody>
      </p:sp>
    </p:spTree>
    <p:extLst>
      <p:ext uri="{BB962C8B-B14F-4D97-AF65-F5344CB8AC3E}">
        <p14:creationId xmlns:p14="http://schemas.microsoft.com/office/powerpoint/2010/main" val="15218015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Arial" charset="0"/>
                <a:ea typeface="+mn-ea"/>
                <a:cs typeface="+mn-cs"/>
              </a:rPr>
              <a:t>3GPP Rel-15 supports EPS and 5GS interworking with network slicing, but with some limitations e.g.:</a:t>
            </a:r>
            <a:endParaRPr lang="sv-SE" sz="20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When default AMF and default V-SMF were selected at mobility from EPS to 5GS there is no defined procedure to reallocate them during CM-CONNECTED state.</a:t>
            </a:r>
          </a:p>
          <a:p>
            <a:pPr marL="628650" lvl="1" indent="-171450">
              <a:buFont typeface="Arial" panose="020B0604020202020204" pitchFamily="34" charset="0"/>
              <a:buChar char="•"/>
            </a:pPr>
            <a:r>
              <a:rPr lang="en-US" sz="1200" kern="1200">
                <a:solidFill>
                  <a:schemeClr val="tx1"/>
                </a:solidFill>
                <a:effectLst/>
                <a:latin typeface="Arial" charset="0"/>
                <a:ea typeface="+mn-ea"/>
                <a:cs typeface="+mn-cs"/>
              </a:rPr>
              <a:t>Rel-16 allows re-allocation of AMF and V-SMF after mobility to 5GS re-using procedures developed as part of the ETSUN work i.e. called support of deployments topologies with specific SMF Service Areas (see chapter 5.34 in 23.501 and chapter 4.23 in 23.502)</a:t>
            </a:r>
            <a:endParaRPr lang="sv-SE" sz="2000" kern="1200">
              <a:solidFill>
                <a:schemeClr val="tx1"/>
              </a:solidFill>
              <a:effectLst/>
              <a:latin typeface="Arial" charset="0"/>
              <a:ea typeface="+mn-ea"/>
              <a:cs typeface="+mn-cs"/>
            </a:endParaRPr>
          </a:p>
          <a:p>
            <a:pPr marL="628650" lvl="1" indent="-171450">
              <a:buFont typeface="Arial" panose="020B0604020202020204" pitchFamily="34" charset="0"/>
              <a:buChar char="•"/>
            </a:pPr>
            <a:r>
              <a:rPr lang="en-US" sz="1200" kern="1200">
                <a:solidFill>
                  <a:schemeClr val="tx1"/>
                </a:solidFill>
                <a:effectLst/>
                <a:latin typeface="Arial" charset="0"/>
                <a:ea typeface="+mn-ea"/>
                <a:cs typeface="+mn-cs"/>
              </a:rPr>
              <a:t>EPS to 5GS idle mode mobility procedure with initial AMF allocating new AMF based on S-NSSAIs associated with the established PDU Session, received in NAS Registration Request, is specified in new procedure (see  4.11.1.3.4 in 23.502)</a:t>
            </a:r>
            <a:br>
              <a:rPr lang="sv-SE" sz="2000" kern="1200">
                <a:solidFill>
                  <a:schemeClr val="tx1"/>
                </a:solidFill>
                <a:effectLst/>
                <a:latin typeface="Arial" charset="0"/>
                <a:ea typeface="+mn-ea"/>
                <a:cs typeface="+mn-cs"/>
              </a:rPr>
            </a:br>
            <a:r>
              <a:rPr lang="en-US" sz="1200" kern="1200">
                <a:solidFill>
                  <a:schemeClr val="tx1"/>
                </a:solidFill>
                <a:effectLst/>
                <a:latin typeface="Arial" charset="0"/>
                <a:ea typeface="+mn-ea"/>
                <a:cs typeface="+mn-cs"/>
              </a:rPr>
              <a:t>NOTE: There are still some unresolved aspects with AMF re-allocation at Idle mode mobility when Initial AMF requires to execute SMF to get the Requested NSSAI and then Network Slice isolation hinder direct interaction between Initial AMF and Target AMF</a:t>
            </a:r>
            <a:endParaRPr lang="sv-SE" sz="2000" kern="1200">
              <a:solidFill>
                <a:schemeClr val="tx1"/>
              </a:solidFill>
              <a:effectLst/>
              <a:latin typeface="Arial" charset="0"/>
              <a:ea typeface="+mn-ea"/>
              <a:cs typeface="+mn-cs"/>
            </a:endParaRPr>
          </a:p>
          <a:p>
            <a:endParaRPr lang="sv-SE"/>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8783ACD6-EE1F-4ADA-B78A-D10FDF59AF56}" type="slidenum">
              <a:rPr lang="en-US" smtClean="0"/>
              <a:t>40</a:t>
            </a:fld>
            <a:endParaRPr lang="en-US"/>
          </a:p>
        </p:txBody>
      </p:sp>
    </p:spTree>
    <p:extLst>
      <p:ext uri="{BB962C8B-B14F-4D97-AF65-F5344CB8AC3E}">
        <p14:creationId xmlns:p14="http://schemas.microsoft.com/office/powerpoint/2010/main" val="16238280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41</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8955725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P/UP split in 5GC is similar to and an evolution from CUPS, i.e. N4 is using the same PFCP protocol as </a:t>
            </a:r>
            <a:r>
              <a:rPr lang="en-US" err="1"/>
              <a:t>Sx</a:t>
            </a:r>
            <a:r>
              <a:rPr lang="en-US"/>
              <a:t> interface</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5A3F6D2B-BCE0-48B6-A93C-1F42AE8CFD02}" type="slidenum">
              <a:rPr lang="en-US" smtClean="0"/>
              <a:t>42</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0330902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sv-SE" sz="2800" b="1"/>
              <a:t>UP </a:t>
            </a:r>
            <a:r>
              <a:rPr lang="sv-SE" sz="2800" b="1" err="1"/>
              <a:t>tunnelling</a:t>
            </a:r>
            <a:r>
              <a:rPr lang="sv-SE" sz="2800" b="1"/>
              <a:t>: </a:t>
            </a:r>
            <a:r>
              <a:rPr lang="sv-SE" sz="2800" err="1"/>
              <a:t>Some</a:t>
            </a:r>
            <a:r>
              <a:rPr lang="sv-SE" sz="2800"/>
              <a:t> small </a:t>
            </a:r>
            <a:r>
              <a:rPr lang="sv-SE" sz="2800" err="1"/>
              <a:t>modifications</a:t>
            </a:r>
            <a:r>
              <a:rPr lang="sv-SE" sz="2800"/>
              <a:t> to GTP-U </a:t>
            </a:r>
            <a:r>
              <a:rPr lang="sv-SE" sz="2800" err="1"/>
              <a:t>are</a:t>
            </a:r>
            <a:r>
              <a:rPr lang="sv-SE" sz="2800"/>
              <a:t> </a:t>
            </a:r>
            <a:r>
              <a:rPr lang="sv-SE" sz="2800" err="1"/>
              <a:t>needed</a:t>
            </a:r>
            <a:r>
              <a:rPr lang="sv-SE" sz="2800"/>
              <a:t> to support per PDU session tunnels and the new 5G QoS solution</a:t>
            </a:r>
            <a:endParaRPr lang="en-US" sz="2800"/>
          </a:p>
          <a:p>
            <a:endParaRPr lang="en-US" sz="2800"/>
          </a:p>
          <a:p>
            <a:r>
              <a:rPr lang="en-US" sz="2800"/>
              <a:t>“PDU Session” in 5G basically corresponds to a “PDN Connection” in 4G </a:t>
            </a:r>
          </a:p>
          <a:p>
            <a:pPr lvl="1"/>
            <a:r>
              <a:rPr lang="en-US" sz="2400"/>
              <a:t>Data Network Name (DNN) in 5G corresponds to APN in 4G</a:t>
            </a:r>
          </a:p>
          <a:p>
            <a:pPr marL="348031" lvl="1"/>
            <a:endParaRPr lang="en-US" sz="2400"/>
          </a:p>
          <a:p>
            <a:r>
              <a:rPr lang="en-US" sz="2800"/>
              <a:t>Supported PDU types: IPv4, IPv6, Ethernet, “Unstructured”/non-IP</a:t>
            </a:r>
          </a:p>
          <a:p>
            <a:pPr lvl="1"/>
            <a:r>
              <a:rPr lang="en-US" sz="2400"/>
              <a:t>Dual-stack IPv4v6 sessions assumed not to be needed. Support dual stack UEs by separate PDU Sessions for IPv4 and IPv6.</a:t>
            </a:r>
          </a:p>
          <a:p>
            <a:pPr lvl="1"/>
            <a:r>
              <a:rPr lang="en-US" sz="2400"/>
              <a:t>Main SM procedures are common for all PDU types</a:t>
            </a:r>
          </a:p>
          <a:p>
            <a:pPr lvl="1"/>
            <a:r>
              <a:rPr lang="en-US" sz="2400"/>
              <a:t>PDU specific aspects, e.g. for PDU type Ethernet, are still mostly FFS </a:t>
            </a:r>
          </a:p>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9D74771E-CA28-4A96-A12B-44930AF6B47A}" type="slidenum">
              <a:rPr lang="en-US" smtClean="0"/>
              <a:t>43</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6936123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100" b="1" u="sng"/>
              <a:t>EPC Edge breakout enabled by multiple APN and CUPS</a:t>
            </a:r>
          </a:p>
          <a:p>
            <a:r>
              <a:rPr lang="en-US" altLang="en-US" sz="1100"/>
              <a:t>Rely on multiple APN and the possibility to have multiple SGW-U (one per APN) if controlled by the same SGW-C.</a:t>
            </a:r>
          </a:p>
          <a:p>
            <a:r>
              <a:rPr lang="en-US" altLang="en-US" sz="1100"/>
              <a:t>PGW(-C and –U) can be multiple, i.e. one per APN</a:t>
            </a:r>
          </a:p>
          <a:p>
            <a:endParaRPr lang="en-US" altLang="en-US" sz="1100"/>
          </a:p>
          <a:p>
            <a:endParaRPr lang="en-US" altLang="en-US" sz="1100" b="1" u="sng"/>
          </a:p>
          <a:p>
            <a:r>
              <a:rPr lang="en-US" altLang="en-US" sz="1100" b="1" u="sng"/>
              <a:t>5GC_Edge breakout enabled by distributed UPF</a:t>
            </a:r>
            <a:endParaRPr lang="en-US" sz="1100" b="1" u="sng"/>
          </a:p>
          <a:p>
            <a:r>
              <a:rPr lang="en-US" sz="1100"/>
              <a:t>In general, optimize the architecture for IPv6</a:t>
            </a:r>
          </a:p>
          <a:p>
            <a:pPr lvl="1"/>
            <a:r>
              <a:rPr lang="en-US" sz="1100"/>
              <a:t>Not only for Local Breakout</a:t>
            </a:r>
          </a:p>
          <a:p>
            <a:pPr lvl="1"/>
            <a:r>
              <a:rPr lang="en-US" sz="1100"/>
              <a:t>Allow for IPv4 on separate PDU Session</a:t>
            </a:r>
          </a:p>
          <a:p>
            <a:pPr lvl="1"/>
            <a:endParaRPr lang="en-US" sz="1100"/>
          </a:p>
          <a:p>
            <a:r>
              <a:rPr lang="en-US" sz="1100"/>
              <a:t>Edge Breakout must be possible within one PDU session</a:t>
            </a:r>
          </a:p>
          <a:p>
            <a:pPr lvl="1"/>
            <a:r>
              <a:rPr lang="en-US" sz="1100"/>
              <a:t>Three connectivity cases to support</a:t>
            </a:r>
          </a:p>
          <a:p>
            <a:pPr marL="1145083" lvl="2" indent="-447468">
              <a:buFont typeface="+mj-lt"/>
              <a:buAutoNum type="arabicPeriod"/>
            </a:pPr>
            <a:r>
              <a:rPr lang="en-US" sz="1100"/>
              <a:t>Session continuity with central anchor point, e.g. </a:t>
            </a:r>
            <a:r>
              <a:rPr lang="en-US" sz="1100" err="1"/>
              <a:t>VoLTE</a:t>
            </a:r>
            <a:r>
              <a:rPr lang="en-US" sz="1100"/>
              <a:t>, fixed IP address, or other required IP session continuity</a:t>
            </a:r>
          </a:p>
          <a:p>
            <a:pPr marL="1145083" lvl="2" indent="-447468">
              <a:buFont typeface="+mj-lt"/>
              <a:buAutoNum type="arabicPeriod"/>
            </a:pPr>
            <a:r>
              <a:rPr lang="en-US" sz="1100"/>
              <a:t>Always local IP address, no session continuity required (SIPTO/C-SIPTO like)</a:t>
            </a:r>
          </a:p>
          <a:p>
            <a:pPr marL="1145083" lvl="2" indent="-447468">
              <a:buFont typeface="+mj-lt"/>
              <a:buAutoNum type="arabicPeriod"/>
            </a:pPr>
            <a:r>
              <a:rPr lang="en-US" sz="1100"/>
              <a:t>Common IP session – central </a:t>
            </a:r>
            <a:r>
              <a:rPr lang="en-US" sz="1100" u="sng"/>
              <a:t>and</a:t>
            </a:r>
            <a:r>
              <a:rPr lang="en-US" sz="1100"/>
              <a:t> local</a:t>
            </a:r>
          </a:p>
          <a:p>
            <a:pPr marL="1497775" lvl="3" indent="-447468"/>
            <a:r>
              <a:rPr lang="en-US" sz="1100"/>
              <a:t>Central for IP Session continuity (SSC mode 1)</a:t>
            </a:r>
          </a:p>
          <a:p>
            <a:pPr marL="1497775" lvl="3" indent="-447468"/>
            <a:r>
              <a:rPr lang="en-US" sz="1100"/>
              <a:t>Local for access to local content, possibly with no need for external </a:t>
            </a:r>
            <a:r>
              <a:rPr lang="en-US" sz="1100" err="1"/>
              <a:t>connectivty</a:t>
            </a:r>
            <a:r>
              <a:rPr lang="en-US" sz="1100"/>
              <a:t>, e.g. MEC-like</a:t>
            </a:r>
          </a:p>
          <a:p>
            <a:pPr marL="1497775" lvl="3" indent="-447468"/>
            <a:r>
              <a:rPr lang="en-US" sz="1100"/>
              <a:t>Two solutions possible, 1) Classifier in local UP to select between local and central flows and 2) IPv6 multi-homing with separate IPv6 prefixes in local and central UPF. See further details below. </a:t>
            </a:r>
          </a:p>
          <a:p>
            <a:pPr marL="1497775" lvl="3" indent="-447468"/>
            <a:endParaRPr lang="en-US" sz="1100"/>
          </a:p>
          <a:p>
            <a:r>
              <a:rPr lang="en-US" sz="1100" b="1"/>
              <a:t>Edge breakout policy in UP with same IP</a:t>
            </a:r>
          </a:p>
          <a:p>
            <a:pPr lvl="1"/>
            <a:r>
              <a:rPr lang="en-US" sz="1100"/>
              <a:t>Works with local content</a:t>
            </a:r>
          </a:p>
          <a:p>
            <a:pPr lvl="1"/>
            <a:r>
              <a:rPr lang="en-US" sz="1100"/>
              <a:t>External content likely needs </a:t>
            </a:r>
            <a:r>
              <a:rPr lang="en-US" sz="1100" err="1"/>
              <a:t>NATing</a:t>
            </a:r>
            <a:endParaRPr lang="en-US" sz="1100"/>
          </a:p>
          <a:p>
            <a:pPr lvl="1"/>
            <a:r>
              <a:rPr lang="en-US" sz="1100"/>
              <a:t>Per flow policies can be supported</a:t>
            </a:r>
          </a:p>
          <a:p>
            <a:pPr lvl="1"/>
            <a:r>
              <a:rPr lang="en-US" sz="1100"/>
              <a:t>Single PDU session</a:t>
            </a:r>
          </a:p>
          <a:p>
            <a:pPr lvl="1"/>
            <a:endParaRPr lang="en-US" sz="1100"/>
          </a:p>
          <a:p>
            <a:pPr defTabSz="894937">
              <a:defRPr/>
            </a:pPr>
            <a:r>
              <a:rPr lang="en-US" sz="1100" b="1"/>
              <a:t>IPv6 Multi-homing – make before break</a:t>
            </a:r>
          </a:p>
          <a:p>
            <a:pPr lvl="1"/>
            <a:r>
              <a:rPr lang="en-US" sz="1100"/>
              <a:t>Separate IP addresses on the same link for different termination points, controlled by </a:t>
            </a:r>
            <a:r>
              <a:rPr lang="en-US" sz="1100" b="1"/>
              <a:t>routing options</a:t>
            </a:r>
            <a:r>
              <a:rPr lang="en-US" sz="1100"/>
              <a:t> in router advertisements from network</a:t>
            </a:r>
          </a:p>
          <a:p>
            <a:pPr lvl="1"/>
            <a:r>
              <a:rPr lang="en-US" sz="1100"/>
              <a:t>IPv6 only, but Ericsson can support IPv4 as well through GW-internal 464XLAT (similar as in the previous solution)</a:t>
            </a:r>
          </a:p>
          <a:p>
            <a:pPr lvl="1"/>
            <a:r>
              <a:rPr lang="en-US" sz="1100"/>
              <a:t>Single PDU session</a:t>
            </a:r>
          </a:p>
          <a:p>
            <a:pPr marL="1497775" lvl="3" indent="-447468"/>
            <a:endParaRPr lang="en-US" sz="1100"/>
          </a:p>
          <a:p>
            <a:pPr marL="1497775" lvl="3" indent="-447468"/>
            <a:endParaRPr lang="en-US" sz="1100"/>
          </a:p>
          <a:p>
            <a:r>
              <a:rPr lang="en-US" sz="1100"/>
              <a:t>Other solution alternatives being included in 5GC:</a:t>
            </a:r>
          </a:p>
          <a:p>
            <a:r>
              <a:rPr lang="en-US" sz="1100"/>
              <a:t>SSC mode 2 (similar to SIPTO) – break before make</a:t>
            </a:r>
          </a:p>
          <a:p>
            <a:pPr lvl="1"/>
            <a:r>
              <a:rPr lang="en-US" sz="1100"/>
              <a:t>Let network decide when a new anchor is to be used and control a reconnect</a:t>
            </a:r>
          </a:p>
          <a:p>
            <a:pPr lvl="1"/>
            <a:r>
              <a:rPr lang="en-US" sz="1100"/>
              <a:t>Single PDU session at a time</a:t>
            </a:r>
          </a:p>
          <a:p>
            <a:pPr lvl="1"/>
            <a:endParaRPr lang="en-US" sz="1100"/>
          </a:p>
          <a:p>
            <a:r>
              <a:rPr lang="en-US" sz="1100"/>
              <a:t>SSC mode 3 (similar to </a:t>
            </a:r>
            <a:r>
              <a:rPr lang="en-US" sz="1100" err="1"/>
              <a:t>cSIPTO</a:t>
            </a:r>
            <a:r>
              <a:rPr lang="en-US" sz="1100"/>
              <a:t>) – make before break</a:t>
            </a:r>
          </a:p>
          <a:p>
            <a:pPr lvl="1"/>
            <a:r>
              <a:rPr lang="en-US" sz="1100"/>
              <a:t>Create a new PDU session in a new area</a:t>
            </a:r>
          </a:p>
          <a:p>
            <a:pPr lvl="1"/>
            <a:r>
              <a:rPr lang="en-US" sz="1100"/>
              <a:t>Let existing associations use the old one</a:t>
            </a:r>
          </a:p>
          <a:p>
            <a:pPr lvl="1"/>
            <a:r>
              <a:rPr lang="en-US" sz="1100"/>
              <a:t>Terminal needs to have knowledge about what traffic to steer where, not clear how to do this</a:t>
            </a:r>
          </a:p>
          <a:p>
            <a:pPr lvl="1"/>
            <a:r>
              <a:rPr lang="en-US" sz="1100"/>
              <a:t>Dual PDU sessions</a:t>
            </a:r>
          </a:p>
          <a:p>
            <a:pPr lvl="1"/>
            <a:endParaRPr lang="en-US" sz="1100"/>
          </a:p>
          <a:p>
            <a:pPr marL="155371" indent="-447468"/>
            <a:endParaRPr lang="en-US" sz="1100"/>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2194C731-22B9-4578-8E30-3E8891578CF4}" type="slidenum">
              <a:rPr lang="en-US" smtClean="0"/>
              <a:t>44</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041178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Edge computing refers to providing an execution environment at close proximity to the users/devices that will provide and consume data as opposed to centralized, public clou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But the “Close proximity” will depend on the use case, and there are different use cases. Use </a:t>
            </a:r>
            <a:r>
              <a:rPr lang="en-GB" sz="1200" kern="1200">
                <a:solidFill>
                  <a:schemeClr val="tx1"/>
                </a:solidFill>
                <a:effectLst/>
                <a:latin typeface="Ericsson Hilda Light" panose="00000400000000000000" pitchFamily="2" charset="0"/>
                <a:ea typeface="+mn-ea"/>
                <a:cs typeface="+mn-cs"/>
              </a:rPr>
              <a:t>cases that we can see from different industries like IoT, MTC, augmented reality (AR), gaming, etc… They have different requirements and the sweet spot for the deployment will vary. There are some main commonalities for the most demanding use cases. The main drivers of edge computing are low latency, high bandwidth, self-contained private deployments and resilient and data governed (data governed means that is fulfilling requirements in terms of compliance, privacy, etc…) computing and storage</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nalysing the edge deployments that would be needed to cover a given area has shown that when we set as target to have over the full coverage a  latency lower than certain threshold the number of deployments needed to achieve that becomes high and so very costly. Benefit and cost need to be looked at carefully. On-prem deployments for low latency at very specific locations might be the best case to start with.</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One exercise we did was to determine the number of edge deployments needed to cover South of Sweden and provide 8 </a:t>
            </a:r>
            <a:r>
              <a:rPr lang="en-GB" sz="1200" kern="1200" err="1">
                <a:solidFill>
                  <a:schemeClr val="tx1"/>
                </a:solidFill>
                <a:effectLst/>
                <a:latin typeface="Ericsson Hilda Light" panose="00000400000000000000" pitchFamily="2" charset="0"/>
                <a:ea typeface="+mn-ea"/>
                <a:cs typeface="+mn-cs"/>
              </a:rPr>
              <a:t>ms</a:t>
            </a:r>
            <a:r>
              <a:rPr lang="en-GB" sz="1200" kern="1200">
                <a:solidFill>
                  <a:schemeClr val="tx1"/>
                </a:solidFill>
                <a:effectLst/>
                <a:latin typeface="Ericsson Hilda Light" panose="00000400000000000000" pitchFamily="2" charset="0"/>
                <a:ea typeface="+mn-ea"/>
                <a:cs typeface="+mn-cs"/>
              </a:rPr>
              <a:t> latency. Radio was assumed to take 3ms and the transport the rest. The conclusion was that, that was possible by placing DCs in Malmo, Goteborg and Stockholm. The threes biggest cities in the area. Going from 8 </a:t>
            </a:r>
            <a:r>
              <a:rPr lang="en-GB" sz="1200" kern="1200" err="1">
                <a:solidFill>
                  <a:schemeClr val="tx1"/>
                </a:solidFill>
                <a:effectLst/>
                <a:latin typeface="Ericsson Hilda Light" panose="00000400000000000000" pitchFamily="2" charset="0"/>
                <a:ea typeface="+mn-ea"/>
                <a:cs typeface="+mn-cs"/>
              </a:rPr>
              <a:t>ms</a:t>
            </a:r>
            <a:r>
              <a:rPr lang="en-GB" sz="1200" kern="1200">
                <a:solidFill>
                  <a:schemeClr val="tx1"/>
                </a:solidFill>
                <a:effectLst/>
                <a:latin typeface="Ericsson Hilda Light" panose="00000400000000000000" pitchFamily="2" charset="0"/>
                <a:ea typeface="+mn-ea"/>
                <a:cs typeface="+mn-cs"/>
              </a:rPr>
              <a:t> latency down to 5ms, implied  setting edge deployments in very small cities, sometimes in between bigger cities (more obvious candidates  also for the placement of the Service Providers DCs…). Issue is more complex that geographical split…as the characteristics of the placements, so as the placement peering points between operators and service providers and operators should be considered too.</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cronyms: Data Centre (DC),. National DC (NDC), Regional DC (RDS), Local Switching Site (LSC), Central Office (CO), Access Site (AS), Aggregation (Ag)</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 </a:t>
            </a:r>
          </a:p>
        </p:txBody>
      </p:sp>
      <p:sp>
        <p:nvSpPr>
          <p:cNvPr id="4" name="Header Placeholder 3"/>
          <p:cNvSpPr>
            <a:spLocks noGrp="1"/>
          </p:cNvSpPr>
          <p:nvPr>
            <p:ph type="hdr" sz="quarter"/>
          </p:nvPr>
        </p:nvSpPr>
        <p:spPr/>
        <p:txBody>
          <a:bodyPr/>
          <a:lstStyle/>
          <a:p>
            <a:r>
              <a:rPr lang="en-US"/>
              <a:t> </a:t>
            </a:r>
          </a:p>
        </p:txBody>
      </p:sp>
      <p:sp>
        <p:nvSpPr>
          <p:cNvPr id="5" name="Date Placeholder 4"/>
          <p:cNvSpPr>
            <a:spLocks noGrp="1"/>
          </p:cNvSpPr>
          <p:nvPr>
            <p:ph type="dt" idx="1"/>
          </p:nvPr>
        </p:nvSpPr>
        <p:spPr/>
        <p:txBody>
          <a:bodyPr/>
          <a:lstStyle/>
          <a:p>
            <a:r>
              <a:rPr lang="en-US"/>
              <a:t>2018-02-21 </a:t>
            </a:r>
          </a:p>
        </p:txBody>
      </p:sp>
      <p:sp>
        <p:nvSpPr>
          <p:cNvPr id="6" name="Footer Placeholder 5"/>
          <p:cNvSpPr>
            <a:spLocks noGrp="1"/>
          </p:cNvSpPr>
          <p:nvPr>
            <p:ph type="ftr" sz="quarter" idx="4"/>
          </p:nvPr>
        </p:nvSpPr>
        <p:spPr/>
        <p:txBody>
          <a:bodyPr/>
          <a:lstStyle/>
          <a:p>
            <a:r>
              <a:rPr lang="en-US"/>
              <a:t> </a:t>
            </a:r>
          </a:p>
        </p:txBody>
      </p:sp>
      <p:sp>
        <p:nvSpPr>
          <p:cNvPr id="7" name="Slide Number Placeholder 6"/>
          <p:cNvSpPr>
            <a:spLocks noGrp="1"/>
          </p:cNvSpPr>
          <p:nvPr>
            <p:ph type="sldNum" sz="quarter" idx="5"/>
          </p:nvPr>
        </p:nvSpPr>
        <p:spPr/>
        <p:txBody>
          <a:bodyPr/>
          <a:lstStyle/>
          <a:p>
            <a:fld id="{F949BC75-2359-4F98-918A-7033C92AD487}" type="slidenum">
              <a:rPr lang="en-US" smtClean="0"/>
              <a:pPr/>
              <a:t>45</a:t>
            </a:fld>
            <a:endParaRPr lang="en-US"/>
          </a:p>
        </p:txBody>
      </p:sp>
    </p:spTree>
    <p:extLst>
      <p:ext uri="{BB962C8B-B14F-4D97-AF65-F5344CB8AC3E}">
        <p14:creationId xmlns:p14="http://schemas.microsoft.com/office/powerpoint/2010/main" val="34998861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 y="741363"/>
            <a:ext cx="6573838" cy="3698875"/>
          </a:xfrm>
        </p:spPr>
      </p:sp>
      <p:sp>
        <p:nvSpPr>
          <p:cNvPr id="3" name="Notes Placeholder 2"/>
          <p:cNvSpPr>
            <a:spLocks noGrp="1"/>
          </p:cNvSpPr>
          <p:nvPr>
            <p:ph type="body" idx="1"/>
          </p:nvPr>
        </p:nvSpPr>
        <p:spPr/>
        <p:txBody>
          <a:bodyPr/>
          <a:lstStyle/>
          <a:p>
            <a:endParaRPr lang="en-US" baseline="0">
              <a:latin typeface="Ericsson Hilda Light" panose="00000400000000000000" pitchFamily="2" charset="0"/>
            </a:endParaRPr>
          </a:p>
          <a:p>
            <a:pPr marL="0" indent="0">
              <a:buNone/>
            </a:pPr>
            <a:r>
              <a:rPr lang="en-US" altLang="en-US" sz="1200"/>
              <a:t>Industry landscape/ecosystem needs to address the n</a:t>
            </a:r>
            <a:r>
              <a:rPr lang="en-US" sz="1200"/>
              <a:t>eed of business users and the need of operators to introduce new services using the distributed nature of their networks and providing ubiquitous deployment. It needs to work well with ecosystems, in the Multi-vendor technology landscape and be as easy as clouds for app developers</a:t>
            </a:r>
          </a:p>
          <a:p>
            <a:pPr marL="0" indent="0">
              <a:buNone/>
            </a:pPr>
            <a:endParaRPr lang="en-US" altLang="en-US" sz="1200"/>
          </a:p>
          <a:p>
            <a:pPr marL="0" indent="0">
              <a:buNone/>
            </a:pPr>
            <a:r>
              <a:rPr lang="en-US" altLang="en-US" sz="1200"/>
              <a:t>Ericsson wants a solution that works on </a:t>
            </a:r>
            <a:r>
              <a:rPr lang="en-US" altLang="en-US" sz="1200">
                <a:hlinkClick r:id="" action="ppaction://noaction"/>
              </a:rPr>
              <a:t>these 3 AS hosting model scenarios</a:t>
            </a:r>
            <a:r>
              <a:rPr lang="en-US" altLang="en-US" sz="1200"/>
              <a:t>:</a:t>
            </a:r>
          </a:p>
          <a:p>
            <a:pPr marL="342900" indent="-342900">
              <a:buAutoNum type="arabicPeriod"/>
            </a:pPr>
            <a:r>
              <a:rPr lang="en-GB" sz="1200"/>
              <a:t>Operator is in full control of the edge. It provides the edge compute infrastructure, the connectivity and the application platform, and manages itself the applications (as for VNFs).</a:t>
            </a:r>
          </a:p>
          <a:p>
            <a:pPr marL="342900" indent="-342900">
              <a:buAutoNum type="arabicPeriod"/>
            </a:pPr>
            <a:r>
              <a:rPr lang="en-GB" sz="1200"/>
              <a:t>Operator hosts its own or a 3p application platform on its edge infrastructure. MNO provides the routing and IP network stitching between the connectivity and the platform which exposes APIs for Application Management. </a:t>
            </a:r>
          </a:p>
          <a:p>
            <a:pPr marL="342900" indent="-342900">
              <a:buAutoNum type="arabicPeriod"/>
            </a:pPr>
            <a:r>
              <a:rPr lang="en-GB" sz="1200"/>
              <a:t>Operator provides only distributed connectivity to internet, and public cloud providers host the ASs on their application platform “close” to the edge.</a:t>
            </a:r>
          </a:p>
          <a:p>
            <a:endParaRPr lang="en-GB" sz="1200"/>
          </a:p>
          <a:p>
            <a:pPr marL="0" indent="0">
              <a:buNone/>
            </a:pPr>
            <a:r>
              <a:rPr lang="en-GB" sz="1200"/>
              <a:t>The Solution should not limit the operator role. It shall allow operator become </a:t>
            </a:r>
            <a:r>
              <a:rPr lang="en-GB" sz="1200" b="1"/>
              <a:t>Application Platform Provider: </a:t>
            </a:r>
            <a:r>
              <a:rPr lang="en-GB" sz="1200"/>
              <a:t>the services deployed on the MNO application platform can be accessed by users from other MNOs. Those MNOs provide the connectivity to their users, and to them, the mentioned MNO is an external Application Platform provider.</a:t>
            </a:r>
          </a:p>
          <a:p>
            <a:endParaRPr lang="en-US" baseline="0">
              <a:latin typeface="Ericsson Hilda Light" panose="00000400000000000000" pitchFamily="2" charset="0"/>
            </a:endParaRPr>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4EBE06-B897-485C-8AC9-F2CF8F353E0D}"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46</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EC SOD </a:t>
            </a: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Tree>
    <p:extLst>
      <p:ext uri="{BB962C8B-B14F-4D97-AF65-F5344CB8AC3E}">
        <p14:creationId xmlns:p14="http://schemas.microsoft.com/office/powerpoint/2010/main" val="29364284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a:solidFill>
                  <a:schemeClr val="tx1"/>
                </a:solidFill>
                <a:effectLst/>
                <a:latin typeface="Arial" charset="0"/>
                <a:ea typeface="+mn-ea"/>
                <a:cs typeface="+mn-cs"/>
              </a:rPr>
              <a:t>Note: Animated slide</a:t>
            </a:r>
          </a:p>
          <a:p>
            <a:endParaRPr lang="en-US" sz="1200" i="1"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The purpose of this slide is to describe “The Traffic Routing Challenge” i.e. only the problems that need to be solved (the intention is not to describe the needed solutions on this slide but some solution principles  will be described). The illustration used is a simplified view of a mobile network and Internet, mainly in this context of Traffic Routing.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The upper part of the slide, and the first part of the animation, describes the situation today. Mobile networks and Internet are separate domains connected via Internet </a:t>
            </a:r>
            <a:r>
              <a:rPr lang="en-US" sz="1200" i="1" kern="1200" err="1">
                <a:solidFill>
                  <a:schemeClr val="tx1"/>
                </a:solidFill>
                <a:effectLst/>
                <a:latin typeface="Arial" charset="0"/>
                <a:ea typeface="+mn-ea"/>
                <a:cs typeface="+mn-cs"/>
              </a:rPr>
              <a:t>eXchange</a:t>
            </a:r>
            <a:r>
              <a:rPr lang="en-US" sz="1200" i="1" kern="1200">
                <a:solidFill>
                  <a:schemeClr val="tx1"/>
                </a:solidFill>
                <a:effectLst/>
                <a:latin typeface="Arial" charset="0"/>
                <a:ea typeface="+mn-ea"/>
                <a:cs typeface="+mn-cs"/>
              </a:rPr>
              <a:t> Points (IXP) fully based on rules Internet. When it comes to Traffic Routing, the mobile network selects in step 1 an user plane (UP) anchor point for the UE provided by a PDN-GW with </a:t>
            </a:r>
            <a:r>
              <a:rPr lang="en-US" sz="1200" i="1" kern="1200" err="1">
                <a:solidFill>
                  <a:schemeClr val="tx1"/>
                </a:solidFill>
                <a:effectLst/>
                <a:latin typeface="Arial" charset="0"/>
                <a:ea typeface="+mn-ea"/>
                <a:cs typeface="+mn-cs"/>
              </a:rPr>
              <a:t>SGi</a:t>
            </a:r>
            <a:r>
              <a:rPr lang="en-US" sz="1200" i="1" kern="1200">
                <a:solidFill>
                  <a:schemeClr val="tx1"/>
                </a:solidFill>
                <a:effectLst/>
                <a:latin typeface="Arial" charset="0"/>
                <a:ea typeface="+mn-ea"/>
                <a:cs typeface="+mn-cs"/>
              </a:rPr>
              <a:t> interface or an UPF with N6 interface for the UE.  The UP anchor point provides IP connectivity for the UE and in the first example shown the UP anchor point is selected at a national site. The UP anchor point selection is typically performed without any knowledge of the actual applications that the UE will later use. In step 2, the Application layer performs selection of an optimal Application Server (AS) for the UE. The AS selection is based on either analysis of the “location” of UE’s DNS Server IP-address or UE’s IP-address (typically only based on limited location information pointing e.g. to the MNO national site). The application level mechanisms used are e.g. DNS/HTTPS redirects and IP routing.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 </a:t>
            </a:r>
            <a:endParaRPr lang="sv-SE" sz="1200" kern="1200">
              <a:solidFill>
                <a:schemeClr val="tx1"/>
              </a:solidFill>
              <a:effectLst/>
              <a:latin typeface="Arial" charset="0"/>
              <a:ea typeface="+mn-ea"/>
              <a:cs typeface="+mn-cs"/>
            </a:endParaRPr>
          </a:p>
          <a:p>
            <a:r>
              <a:rPr lang="en-US" sz="1200" b="1" i="1" kern="1200">
                <a:solidFill>
                  <a:schemeClr val="tx1"/>
                </a:solidFill>
                <a:effectLst/>
                <a:latin typeface="Arial" charset="0"/>
                <a:ea typeface="+mn-ea"/>
                <a:cs typeface="+mn-cs"/>
              </a:rPr>
              <a:t>To summarize</a:t>
            </a:r>
            <a:r>
              <a:rPr lang="en-US" sz="1200" i="1" kern="1200">
                <a:solidFill>
                  <a:schemeClr val="tx1"/>
                </a:solidFill>
                <a:effectLst/>
                <a:latin typeface="Arial" charset="0"/>
                <a:ea typeface="+mn-ea"/>
                <a:cs typeface="+mn-cs"/>
              </a:rPr>
              <a:t>: Mobile network selects UE anchor point, AS selection follows and there is no coordination between selections. In this case Traffic Routing is trivial and typically the UP anchor point is not reselected very often, and especially not based on any selection of AS on the application level.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The lower part of the slide describes that the new challenge with Traffic Routing is triggered by distribution of applications further out in the network topology, typically closer to the UE than the existing UP anchor point. The distribution of applications can happen in different ways as illustrated on the slide. The first example is further out within the MNO network, e.g. to Local or Regional sites. The second example is further out in the Internet. Optimal Traffic Routing will in these cases need support in the mobile network mainly in the following two areas:</a:t>
            </a:r>
            <a:endParaRPr lang="sv-SE" sz="1200" kern="1200">
              <a:solidFill>
                <a:schemeClr val="tx1"/>
              </a:solidFill>
              <a:effectLst/>
              <a:latin typeface="Arial" charset="0"/>
              <a:ea typeface="+mn-ea"/>
              <a:cs typeface="+mn-cs"/>
            </a:endParaRPr>
          </a:p>
          <a:p>
            <a:pPr lvl="0"/>
            <a:r>
              <a:rPr lang="en-US" sz="1200" i="1" kern="1200">
                <a:solidFill>
                  <a:schemeClr val="tx1"/>
                </a:solidFill>
                <a:effectLst/>
                <a:latin typeface="Arial" charset="0"/>
                <a:ea typeface="+mn-ea"/>
                <a:cs typeface="+mn-cs"/>
              </a:rPr>
              <a:t>1) More granular indication of UE location within the mobile network to the application layer (i.e. more granular than a national site). This can be used by the application layer to select an distributed AS.</a:t>
            </a:r>
            <a:endParaRPr lang="sv-SE" sz="1200" kern="1200">
              <a:solidFill>
                <a:schemeClr val="tx1"/>
              </a:solidFill>
              <a:effectLst/>
              <a:latin typeface="Arial" charset="0"/>
              <a:ea typeface="+mn-ea"/>
              <a:cs typeface="+mn-cs"/>
            </a:endParaRPr>
          </a:p>
          <a:p>
            <a:pPr lvl="0"/>
            <a:r>
              <a:rPr lang="en-US" sz="1200" i="1" kern="1200">
                <a:solidFill>
                  <a:schemeClr val="tx1"/>
                </a:solidFill>
                <a:effectLst/>
                <a:latin typeface="Arial" charset="0"/>
                <a:ea typeface="+mn-ea"/>
                <a:cs typeface="+mn-cs"/>
              </a:rPr>
              <a:t>2) More efficient traffic routing between the UE and the distributed AS. The intended benefits of distributed selection of AS (e.g. in terms of latency) will not be achieved unless the related traffic from the UE is also routed optimally between the UE and the AS. One example of a traffic </a:t>
            </a:r>
            <a:r>
              <a:rPr lang="en-US" sz="1200" i="1" kern="1200" err="1">
                <a:solidFill>
                  <a:schemeClr val="tx1"/>
                </a:solidFill>
                <a:effectLst/>
                <a:latin typeface="Arial" charset="0"/>
                <a:ea typeface="+mn-ea"/>
                <a:cs typeface="+mn-cs"/>
              </a:rPr>
              <a:t>tromboning</a:t>
            </a:r>
            <a:r>
              <a:rPr lang="en-US" sz="1200" i="1" kern="1200">
                <a:solidFill>
                  <a:schemeClr val="tx1"/>
                </a:solidFill>
                <a:effectLst/>
                <a:latin typeface="Arial" charset="0"/>
                <a:ea typeface="+mn-ea"/>
                <a:cs typeface="+mn-cs"/>
              </a:rPr>
              <a:t> problem (not shown in the slide) would be that the UE UP anchor point is maintained at the national site but the AS would be selected e.g. at a regional or local site.</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 </a:t>
            </a:r>
            <a:endParaRPr lang="sv-SE" sz="1200" kern="1200">
              <a:solidFill>
                <a:schemeClr val="tx1"/>
              </a:solidFill>
              <a:effectLst/>
              <a:latin typeface="Arial" charset="0"/>
              <a:ea typeface="+mn-ea"/>
              <a:cs typeface="+mn-cs"/>
            </a:endParaRPr>
          </a:p>
          <a:p>
            <a:r>
              <a:rPr lang="en-US" sz="1200" i="1" kern="1200">
                <a:solidFill>
                  <a:schemeClr val="tx1"/>
                </a:solidFill>
                <a:effectLst/>
                <a:latin typeface="Arial" charset="0"/>
                <a:ea typeface="+mn-ea"/>
                <a:cs typeface="+mn-cs"/>
              </a:rPr>
              <a:t>Two examples of possible solutions are illustrated:</a:t>
            </a:r>
            <a:endParaRPr lang="sv-SE" sz="1200" kern="1200">
              <a:solidFill>
                <a:schemeClr val="tx1"/>
              </a:solidFill>
              <a:effectLst/>
              <a:latin typeface="Arial" charset="0"/>
              <a:ea typeface="+mn-ea"/>
              <a:cs typeface="+mn-cs"/>
            </a:endParaRPr>
          </a:p>
          <a:p>
            <a:pPr lvl="0"/>
            <a:r>
              <a:rPr lang="en-US" sz="1200" i="1" kern="1200">
                <a:solidFill>
                  <a:schemeClr val="tx1"/>
                </a:solidFill>
                <a:effectLst/>
                <a:latin typeface="Arial" charset="0"/>
                <a:ea typeface="+mn-ea"/>
                <a:cs typeface="+mn-cs"/>
              </a:rPr>
              <a:t>1) In the first case the UE UP anchor point is distributed to a regional site. This enables also optimal traffic routing for AS distributed to this level of sites. Traffic Routing can actually be trivial in this case also. The more granular indication of UE location can be based on UE’s DNS Server also distributed to the regional site or plain IP routing between the UE UP anchor point and the AS. It is also worth mentioning that re-anchoring of UE UP anchor point is feasible, especially as there is likely no need to perform it very often.</a:t>
            </a:r>
            <a:endParaRPr lang="sv-SE" sz="1200" kern="1200">
              <a:solidFill>
                <a:schemeClr val="tx1"/>
              </a:solidFill>
              <a:effectLst/>
              <a:latin typeface="Arial" charset="0"/>
              <a:ea typeface="+mn-ea"/>
              <a:cs typeface="+mn-cs"/>
            </a:endParaRPr>
          </a:p>
          <a:p>
            <a:pPr lvl="0"/>
            <a:r>
              <a:rPr lang="en-US" sz="1200" i="1" kern="1200">
                <a:solidFill>
                  <a:schemeClr val="tx1"/>
                </a:solidFill>
                <a:effectLst/>
                <a:latin typeface="Arial" charset="0"/>
                <a:ea typeface="+mn-ea"/>
                <a:cs typeface="+mn-cs"/>
              </a:rPr>
              <a:t>2) In the second case the preferred AS is distributed on the Internet to a site that is on same level as a local site in the MNO network. It is not feasible to distribute UE UP anchor point this far out as then the re-anchoring of the UE UP anchor point would happen too often. Therefore another type of solution called ”session breakout” or ”local breakout” is needed for the optimal traffic routing. In addition, the mobile network needs to indicate the more granular location of the UE to the application layer.</a:t>
            </a:r>
            <a:br>
              <a:rPr lang="en-US" sz="1200" i="1" kern="1200">
                <a:solidFill>
                  <a:schemeClr val="tx1"/>
                </a:solidFill>
                <a:effectLst/>
                <a:latin typeface="Arial" charset="0"/>
                <a:ea typeface="+mn-ea"/>
                <a:cs typeface="+mn-cs"/>
              </a:rPr>
            </a:br>
            <a:r>
              <a:rPr lang="en-US" sz="1200" i="1" kern="1200">
                <a:solidFill>
                  <a:schemeClr val="tx1"/>
                </a:solidFill>
                <a:effectLst/>
                <a:latin typeface="Arial" charset="0"/>
                <a:ea typeface="+mn-ea"/>
                <a:cs typeface="+mn-cs"/>
              </a:rPr>
              <a:t>In case the ULCL method is used for breakout, the IP address will then be the same as in the central anchor point. Using this IP address in a local operator controlled AS network at the distributed site (“walled garden type”) may be ok, but if traffic is also to be routed to external </a:t>
            </a:r>
            <a:r>
              <a:rPr lang="en-US" sz="1200" i="1" kern="1200" err="1">
                <a:solidFill>
                  <a:schemeClr val="tx1"/>
                </a:solidFill>
                <a:effectLst/>
                <a:latin typeface="Arial" charset="0"/>
                <a:ea typeface="+mn-ea"/>
                <a:cs typeface="+mn-cs"/>
              </a:rPr>
              <a:t>ASes</a:t>
            </a:r>
            <a:r>
              <a:rPr lang="en-US" sz="1200" i="1" kern="1200">
                <a:solidFill>
                  <a:schemeClr val="tx1"/>
                </a:solidFill>
                <a:effectLst/>
                <a:latin typeface="Arial" charset="0"/>
                <a:ea typeface="+mn-ea"/>
                <a:cs typeface="+mn-cs"/>
              </a:rPr>
              <a:t> the IP address has to be </a:t>
            </a:r>
            <a:r>
              <a:rPr lang="en-US" sz="1200" i="1" kern="1200" err="1">
                <a:solidFill>
                  <a:schemeClr val="tx1"/>
                </a:solidFill>
                <a:effectLst/>
                <a:latin typeface="Arial" charset="0"/>
                <a:ea typeface="+mn-ea"/>
                <a:cs typeface="+mn-cs"/>
              </a:rPr>
              <a:t>NAT’ed</a:t>
            </a:r>
            <a:r>
              <a:rPr lang="en-US" sz="1200" i="1" kern="1200">
                <a:solidFill>
                  <a:schemeClr val="tx1"/>
                </a:solidFill>
                <a:effectLst/>
                <a:latin typeface="Arial" charset="0"/>
                <a:ea typeface="+mn-ea"/>
                <a:cs typeface="+mn-cs"/>
              </a:rPr>
              <a:t> or taken through a proxy.</a:t>
            </a:r>
            <a:endParaRPr lang="sv-SE" sz="1200" kern="1200">
              <a:solidFill>
                <a:schemeClr val="tx1"/>
              </a:solidFill>
              <a:effectLst/>
              <a:latin typeface="Arial" charset="0"/>
              <a:ea typeface="+mn-ea"/>
              <a:cs typeface="+mn-cs"/>
            </a:endParaRPr>
          </a:p>
          <a:p>
            <a:r>
              <a:rPr lang="en-US" sz="1200" b="1" i="1" kern="1200">
                <a:solidFill>
                  <a:schemeClr val="tx1"/>
                </a:solidFill>
                <a:effectLst/>
                <a:latin typeface="Arial" charset="0"/>
                <a:ea typeface="+mn-ea"/>
                <a:cs typeface="+mn-cs"/>
              </a:rPr>
              <a:t> </a:t>
            </a:r>
            <a:endParaRPr lang="sv-SE" sz="1200" kern="1200">
              <a:solidFill>
                <a:schemeClr val="tx1"/>
              </a:solidFill>
              <a:effectLst/>
              <a:latin typeface="Arial" charset="0"/>
              <a:ea typeface="+mn-ea"/>
              <a:cs typeface="+mn-cs"/>
            </a:endParaRPr>
          </a:p>
          <a:p>
            <a:r>
              <a:rPr lang="en-US" sz="1200" b="1" i="1" kern="1200">
                <a:solidFill>
                  <a:schemeClr val="tx1"/>
                </a:solidFill>
                <a:effectLst/>
                <a:latin typeface="Arial" charset="0"/>
                <a:ea typeface="+mn-ea"/>
                <a:cs typeface="+mn-cs"/>
              </a:rPr>
              <a:t>To summarize:</a:t>
            </a:r>
            <a:r>
              <a:rPr lang="en-US" sz="1200" i="1" kern="1200">
                <a:solidFill>
                  <a:schemeClr val="tx1"/>
                </a:solidFill>
                <a:effectLst/>
                <a:latin typeface="Arial" charset="0"/>
                <a:ea typeface="+mn-ea"/>
                <a:cs typeface="+mn-cs"/>
              </a:rPr>
              <a:t> Optimal Traffic Routing needs support in the mobile network, and actually even some level of coordination between mobile network functionality and application layer. </a:t>
            </a:r>
            <a:endParaRPr lang="sv-SE" sz="1200" kern="1200">
              <a:solidFill>
                <a:schemeClr val="tx1"/>
              </a:solidFill>
              <a:effectLst/>
              <a:latin typeface="Arial" charset="0"/>
              <a:ea typeface="+mn-ea"/>
              <a:cs typeface="+mn-cs"/>
            </a:endParaRPr>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904464E4-4646-4AB7-A740-3C389025E424}" type="slidenum">
              <a:rPr lang="en-US" smtClean="0"/>
              <a:t>47</a:t>
            </a:fld>
            <a:endParaRPr lang="en-US"/>
          </a:p>
        </p:txBody>
      </p:sp>
    </p:spTree>
    <p:extLst>
      <p:ext uri="{BB962C8B-B14F-4D97-AF65-F5344CB8AC3E}">
        <p14:creationId xmlns:p14="http://schemas.microsoft.com/office/powerpoint/2010/main" val="4271078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100"/>
              <a:t>This slides shows different solutions for anchoring sessions that exist in 5GS</a:t>
            </a:r>
          </a:p>
          <a:p>
            <a:pPr marL="228600" indent="-228600">
              <a:buAutoNum type="arabicParenR"/>
            </a:pPr>
            <a:r>
              <a:rPr lang="sv-SE" sz="1100"/>
              <a:t>Central anchor point – the typical deployment in 2G/3G and 4G/EPC systems. The anchor point has to some extent (in some large PLMNs) started to move from centralized locations to regional deployments. Still though centralized relatively speaking.</a:t>
            </a:r>
          </a:p>
          <a:p>
            <a:pPr marL="228600" indent="-228600">
              <a:buAutoNum type="arabicParenR"/>
            </a:pPr>
            <a:r>
              <a:rPr lang="sv-SE" sz="1100"/>
              <a:t>Distributed anchor point – ”distribution” is a relative meassure, can be anything from the regional site to the antenna site. Can be solved with different mechanisms in 5GC like SSC1 (traditional central anchor point) if on regional or even Central Office (CO) site. Or with SSC2 or SSC3 if on CO or further out in the network</a:t>
            </a:r>
          </a:p>
          <a:p>
            <a:pPr marL="228600" indent="-228600">
              <a:buAutoNum type="arabicParenR"/>
            </a:pPr>
            <a:r>
              <a:rPr lang="sv-SE" sz="1100"/>
              <a:t>Session breakout – main mechanism often call ULCL in 5GC. Filters deployed in the local/distributed site to control which traffic that is ”offloaded”. </a:t>
            </a:r>
          </a:p>
          <a:p>
            <a:pPr marL="228600" indent="-228600">
              <a:buAutoNum type="arabicParenR"/>
            </a:pPr>
            <a:r>
              <a:rPr lang="sv-SE" sz="1100"/>
              <a:t>Multiple sessions – typically separate APN (EPC) or DNN (5GC), or using IPv6 Multi-homing in 5GC. IPv6 MH can also be seen as the solution in 3), since it is within the same PDU Session, but with a separate IPv6 prefix</a:t>
            </a:r>
          </a:p>
          <a:p>
            <a:pPr marL="228600" indent="-228600">
              <a:buAutoNum type="arabicParenR"/>
            </a:pPr>
            <a:endParaRPr lang="sv-SE" sz="1100"/>
          </a:p>
          <a:p>
            <a:pPr marL="0" indent="0">
              <a:buNone/>
            </a:pPr>
            <a:r>
              <a:rPr lang="sv-SE" sz="1100" u="sng"/>
              <a:t>Short-Medium term solution: </a:t>
            </a:r>
            <a:r>
              <a:rPr lang="sv-SE" sz="1100" b="1"/>
              <a:t>Distributed Anchor – see further below</a:t>
            </a:r>
            <a:endParaRPr lang="sv-SE" sz="1100"/>
          </a:p>
          <a:p>
            <a:pPr marL="0" indent="0">
              <a:buNone/>
            </a:pPr>
            <a:endParaRPr lang="sv-SE" sz="1100"/>
          </a:p>
          <a:p>
            <a:pPr marL="0" indent="0">
              <a:buNone/>
            </a:pPr>
            <a:r>
              <a:rPr lang="sv-SE" sz="2400" b="0"/>
              <a:t>Some solutions have limitations and need further work:</a:t>
            </a:r>
          </a:p>
          <a:p>
            <a:pPr marL="0" indent="0">
              <a:buNone/>
            </a:pPr>
            <a:r>
              <a:rPr lang="sv-SE" sz="1800" b="0" u="sng"/>
              <a:t>Session Breakout</a:t>
            </a:r>
          </a:p>
          <a:p>
            <a:r>
              <a:rPr lang="sv-SE" sz="1800" b="0"/>
              <a:t>Assumes resource lookup is operator controlled </a:t>
            </a:r>
            <a:r>
              <a:rPr lang="sv-SE" sz="1800" b="0">
                <a:sym typeface="Wingdings" panose="05000000000000000000" pitchFamily="2" charset="2"/>
              </a:rPr>
              <a:t>–  </a:t>
            </a:r>
            <a:r>
              <a:rPr lang="sv-SE" sz="1800" b="0"/>
              <a:t>can’t be guaranteed in generic devices</a:t>
            </a:r>
          </a:p>
          <a:p>
            <a:pPr lvl="1"/>
            <a:r>
              <a:rPr lang="sv-SE" sz="1800"/>
              <a:t>Firefox browser is in the US using DNS-over-HTTPS to bypass the operator DNS</a:t>
            </a:r>
          </a:p>
          <a:p>
            <a:pPr lvl="2"/>
            <a:r>
              <a:rPr lang="sv-SE" sz="1800"/>
              <a:t>Other browsers have the support, but it is not enabled by default</a:t>
            </a:r>
          </a:p>
          <a:p>
            <a:pPr lvl="1"/>
            <a:r>
              <a:rPr lang="sv-SE" sz="1800"/>
              <a:t>Android 9+ encrypts DNS if supported by the server and enables use of Google DNS servers (with encryption) + has user DNS configuration</a:t>
            </a:r>
          </a:p>
          <a:p>
            <a:r>
              <a:rPr lang="sv-SE" sz="1800"/>
              <a:t>This means that name resolution must be operator managed in the device or within the application</a:t>
            </a:r>
          </a:p>
          <a:p>
            <a:pPr lvl="1"/>
            <a:r>
              <a:rPr lang="sv-SE" sz="1800"/>
              <a:t>Enterprise managed devices may work (DNS)</a:t>
            </a:r>
          </a:p>
          <a:p>
            <a:pPr lvl="1"/>
            <a:r>
              <a:rPr lang="sv-SE" sz="1800"/>
              <a:t>E2E integrated applications such as IoT, V2X</a:t>
            </a:r>
          </a:p>
          <a:p>
            <a:pPr lvl="2"/>
            <a:r>
              <a:rPr lang="sv-SE" sz="1800"/>
              <a:t>Managed DNS or app internal resolution</a:t>
            </a:r>
          </a:p>
          <a:p>
            <a:pPr lvl="1"/>
            <a:r>
              <a:rPr lang="sv-SE" sz="1800"/>
              <a:t>eMBB will only work if app has internal name resolution to the operator name servers</a:t>
            </a:r>
          </a:p>
          <a:p>
            <a:pPr lvl="1"/>
            <a:endParaRPr lang="sv-SE" sz="1800"/>
          </a:p>
          <a:p>
            <a:pPr marL="0" indent="0">
              <a:buNone/>
            </a:pPr>
            <a:r>
              <a:rPr lang="sv-SE" sz="1800" b="0" u="sng"/>
              <a:t>Dynamic Multiple PDU Sessions</a:t>
            </a:r>
          </a:p>
          <a:p>
            <a:r>
              <a:rPr lang="sv-SE" sz="1800" b="0"/>
              <a:t>Depending on traffic classification in the device, to be done in the firmware/modem but it needs support in the OS as well controlled by URSP rules</a:t>
            </a:r>
          </a:p>
          <a:p>
            <a:pPr lvl="1"/>
            <a:r>
              <a:rPr lang="sv-SE" sz="1800"/>
              <a:t>IP/FQDN filtering has the same issues as session breakout with insights into the name resolution and resource lookups</a:t>
            </a:r>
          </a:p>
          <a:p>
            <a:pPr lvl="1"/>
            <a:r>
              <a:rPr lang="sv-SE" sz="1800"/>
              <a:t>Application Identifiers (as specified for 5G) are not fully standardized and some UE manufacturer do not plan to support them (at least for now). Even with these, applications likely must share PDU sessions due to limitations in number of bearers (one PDU session</a:t>
            </a:r>
            <a:r>
              <a:rPr lang="sv-SE" sz="1800">
                <a:sym typeface="Wingdings" panose="05000000000000000000" pitchFamily="2" charset="2"/>
              </a:rPr>
              <a:t> one+ bearer) </a:t>
            </a:r>
            <a:endParaRPr lang="sv-SE" sz="1800"/>
          </a:p>
          <a:p>
            <a:pPr lvl="1"/>
            <a:r>
              <a:rPr lang="sv-SE" sz="1800"/>
              <a:t>URSP rules can only be preconfigured statically for LTE access (requires 5G-NAS)</a:t>
            </a:r>
          </a:p>
          <a:p>
            <a:r>
              <a:rPr lang="sv-SE" sz="1800"/>
              <a:t>E2E integrated solutions needed (static is enough)</a:t>
            </a:r>
          </a:p>
          <a:p>
            <a:pPr lvl="0"/>
            <a:endParaRPr lang="sv-SE"/>
          </a:p>
          <a:p>
            <a:pPr marL="0" indent="0">
              <a:buNone/>
            </a:pPr>
            <a:r>
              <a:rPr lang="sv-SE" sz="2400" u="sng"/>
              <a:t>Short-Medium term solution:</a:t>
            </a:r>
          </a:p>
          <a:p>
            <a:r>
              <a:rPr lang="sv-SE" b="1"/>
              <a:t>Distributed Anchor </a:t>
            </a:r>
          </a:p>
          <a:p>
            <a:pPr lvl="1"/>
            <a:r>
              <a:rPr lang="sv-SE" sz="1800"/>
              <a:t>Required now and in the future </a:t>
            </a:r>
          </a:p>
          <a:p>
            <a:pPr lvl="1"/>
            <a:r>
              <a:rPr lang="sv-SE" sz="1800"/>
              <a:t>Available now in PCC/PCG</a:t>
            </a:r>
          </a:p>
          <a:p>
            <a:pPr lvl="1"/>
            <a:r>
              <a:rPr lang="sv-SE" sz="1800"/>
              <a:t>The only solution that works with generic eMBB access</a:t>
            </a:r>
          </a:p>
          <a:p>
            <a:pPr lvl="1"/>
            <a:r>
              <a:rPr lang="sv-SE" sz="1800"/>
              <a:t>What we need to focus on what can be available short-medium time frame (0-2 years)</a:t>
            </a:r>
          </a:p>
          <a:p>
            <a:pPr lvl="0"/>
            <a:endParaRPr lang="sv-SE"/>
          </a:p>
          <a:p>
            <a:pPr marL="0" indent="0">
              <a:buNone/>
            </a:pPr>
            <a:endParaRPr lang="sv-SE" sz="1100"/>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110F38A6-4A66-4D48-B295-45C290183953}" type="slidenum">
              <a:rPr lang="en-US" smtClean="0"/>
              <a:t>48</a:t>
            </a:fld>
            <a:endParaRPr lang="en-US"/>
          </a:p>
        </p:txBody>
      </p:sp>
    </p:spTree>
    <p:extLst>
      <p:ext uri="{BB962C8B-B14F-4D97-AF65-F5344CB8AC3E}">
        <p14:creationId xmlns:p14="http://schemas.microsoft.com/office/powerpoint/2010/main" val="17028427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sv-SE" b="1"/>
              <a:t>UP </a:t>
            </a:r>
            <a:r>
              <a:rPr lang="sv-SE" b="1" err="1"/>
              <a:t>tunnelling</a:t>
            </a:r>
            <a:r>
              <a:rPr lang="sv-SE" b="1"/>
              <a:t>: </a:t>
            </a:r>
            <a:r>
              <a:rPr lang="sv-SE" err="1"/>
              <a:t>Some</a:t>
            </a:r>
            <a:r>
              <a:rPr lang="sv-SE"/>
              <a:t> small </a:t>
            </a:r>
            <a:r>
              <a:rPr lang="sv-SE" err="1"/>
              <a:t>modifications</a:t>
            </a:r>
            <a:r>
              <a:rPr lang="sv-SE"/>
              <a:t> to GTP-U </a:t>
            </a:r>
            <a:r>
              <a:rPr lang="sv-SE" err="1"/>
              <a:t>are</a:t>
            </a:r>
            <a:r>
              <a:rPr lang="sv-SE"/>
              <a:t> </a:t>
            </a:r>
            <a:r>
              <a:rPr lang="sv-SE" err="1"/>
              <a:t>needed</a:t>
            </a:r>
            <a:r>
              <a:rPr lang="sv-SE"/>
              <a:t> to support per PDU session tunnels</a:t>
            </a:r>
            <a:endParaRPr lang="en-US" b="1"/>
          </a:p>
          <a:p>
            <a:pPr fontAlgn="base"/>
            <a:endParaRPr lang="en-US" b="1"/>
          </a:p>
          <a:p>
            <a:pPr fontAlgn="base"/>
            <a:r>
              <a:rPr lang="en-US" b="1"/>
              <a:t>Session and service continuity</a:t>
            </a:r>
            <a:r>
              <a:rPr lang="en-US"/>
              <a:t>: In the EPS, continuity of IP session for all UEs is guaranteed in the whole system area. That is, the P-GW and the IP address of UE’s PDU session are maintained regardless of the location of the UE such that the session continuity is maintained. On the other hand, </a:t>
            </a:r>
            <a:r>
              <a:rPr lang="en-US" err="1"/>
              <a:t>NextGen</a:t>
            </a:r>
            <a:r>
              <a:rPr lang="en-US"/>
              <a:t> aims to provide various levels of session continuity depending on the type of UE and type of service.</a:t>
            </a:r>
          </a:p>
          <a:p>
            <a:pPr fontAlgn="base"/>
            <a:r>
              <a:rPr lang="en-US"/>
              <a:t>Service continuity means uninterrupted user experience of a service, even in the cases of the IP address and/or anchoring point changes  </a:t>
            </a:r>
            <a:r>
              <a:rPr lang="en-US">
                <a:hlinkClick r:id="rId3"/>
              </a:rPr>
              <a:t>[6]</a:t>
            </a:r>
            <a:r>
              <a:rPr lang="en-US"/>
              <a:t>. Some applications may not require such service continuity depending on the characteristics of the service. Furthermore, some other applications may not essentially need the guarantee of IP session level continuity even though the service continuity is required, e.g., due to existence of separate functions for providing service continuity at the upper layer. Accordingly, the </a:t>
            </a:r>
            <a:r>
              <a:rPr lang="en-US" err="1"/>
              <a:t>NextGen</a:t>
            </a:r>
            <a:r>
              <a:rPr lang="en-US"/>
              <a:t> system does not always guarantee session continuity, but provides it flexibly.</a:t>
            </a:r>
          </a:p>
          <a:p>
            <a:pPr fontAlgn="base"/>
            <a:r>
              <a:rPr lang="en-US" err="1"/>
              <a:t>NextGen</a:t>
            </a:r>
            <a:r>
              <a:rPr lang="en-US"/>
              <a:t> tries to use system resources effectively by providing an appropriate level of Session and Service Continuity (SSC) per PDU session. There are three types of SSC modes, namely, SSC mode 1, SSC mode 2, and SSC mode 3. Separate SSC modes are closely related to how the Terminating User Plane Function (TUPF) of PDU session is allocated and managed. The TUPF terminates the user plane in the </a:t>
            </a:r>
            <a:r>
              <a:rPr lang="en-US" err="1"/>
              <a:t>NextGen</a:t>
            </a:r>
            <a:r>
              <a:rPr lang="en-US"/>
              <a:t> core network and interfaces with the data network. It is responsible for IP anchoring as P-GW does in the EPC.</a:t>
            </a:r>
          </a:p>
          <a:p>
            <a:pPr fontAlgn="base"/>
            <a:r>
              <a:rPr lang="en-US"/>
              <a:t>In SSC mode 1, session continuity is guaranteed in all areas by keeping the TUPF identical regardless of access network type and UE location as in the EPS. In SSC mode 2, the same TUPF is maintained across only a subset of the whole network, referred to as the serving area of the TUPF. When a UE leaves the serving area of a TUPF, the UE will be served by a different TUPF suitable for the UE’s new point of attachment to the network. Lastly, SSC mode 3 enables the UE to connect to a new TUPF before the connection with the existing TUPF is released, and hence, the UE can receive services from two TUPFs at the same time. By using this mode, various optimization can be supported, e.g., a newly created session is served by a new TUPF located in a preferred location while maintaining the existing sessions in the previous TUPF to provide session continuity. SSC mode 3 is only supported for the IP based PDU types</a:t>
            </a:r>
          </a:p>
          <a:p>
            <a:endParaRPr lang="en-US"/>
          </a:p>
        </p:txBody>
      </p:sp>
      <p:sp>
        <p:nvSpPr>
          <p:cNvPr id="4" name="Date Placeholder 3"/>
          <p:cNvSpPr>
            <a:spLocks noGrp="1"/>
          </p:cNvSpPr>
          <p:nvPr>
            <p:ph type="dt" idx="10"/>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11"/>
          </p:nvPr>
        </p:nvSpPr>
        <p:spPr/>
        <p:txBody>
          <a:bodyPr/>
          <a:lstStyle/>
          <a:p>
            <a:pPr defTabSz="904616">
              <a:defRPr/>
            </a:pPr>
            <a:fld id="{6C7A4F78-9F77-4E72-8351-1F26F0F801C8}" type="slidenum">
              <a:rPr lang="en-US" smtClean="0">
                <a:solidFill>
                  <a:srgbClr val="000000"/>
                </a:solidFill>
              </a:rPr>
              <a:t>49</a:t>
            </a:fld>
            <a:endParaRPr lang="en-US">
              <a:solidFill>
                <a:srgbClr val="000000"/>
              </a:solidFill>
            </a:endParaRPr>
          </a:p>
        </p:txBody>
      </p:sp>
      <p:sp>
        <p:nvSpPr>
          <p:cNvPr id="6" name="Header Placeholder 5"/>
          <p:cNvSpPr>
            <a:spLocks noGrp="1"/>
          </p:cNvSpPr>
          <p:nvPr>
            <p:ph type="hdr" sz="quarter" idx="12"/>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2998422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100">
                <a:latin typeface="Arial" pitchFamily="34" charset="0"/>
              </a:rPr>
              <a:t>Network slicing allows for different network architectures which are optimized for the specific use case that the slice (Core network instance) is being used. In optimization for different network slices we include both optimizations in the functional domain and in the geographical deployment of different functionality in the network.</a:t>
            </a:r>
          </a:p>
          <a:p>
            <a:r>
              <a:rPr lang="en-US" altLang="en-US" sz="1100">
                <a:latin typeface="Arial" pitchFamily="34" charset="0"/>
              </a:rPr>
              <a:t>Ericsson also believes that the Next Gen Core Network (5GC) architecture shall allow for independent evolution based on requirements for different use cases/business scenarios. E.g. the mobile broadband service will most likely, especially in the beginning, be an evolution of the current 4G MBB service as requirements for interoperability between different (new and legacy) accesses are expected to exist. For new use cases/business scenarios there can potentially be a completely different deployment (based on requirements) where the standardized interface is a minimum set of functions towards the (radio) access network.</a:t>
            </a:r>
          </a:p>
          <a:p>
            <a:r>
              <a:rPr lang="en-US" altLang="en-US" sz="1100">
                <a:latin typeface="Arial" pitchFamily="34" charset="0"/>
              </a:rPr>
              <a:t>The challenges foreseen for the Next Gen Core Network are mainly centered around the flexibility of supporting a multitude of new use cases and at the same time simplify the operations. Growing business into new areas and new industries is a huge opportunity for the operators moving towards 5G and Next Gen Core Network, but it also brings new and more diverse requirements, a need for a more flexible deployment and flexibility in trust models and authentication schemes. All this bring more complexity to the Next Gen Core Network (5GC).</a:t>
            </a:r>
          </a:p>
          <a:p>
            <a:r>
              <a:rPr lang="en-US" altLang="en-US" sz="1100">
                <a:latin typeface="Arial" pitchFamily="34" charset="0"/>
              </a:rPr>
              <a:t>At the same time the needs of the operators are also to reduce the complexity of operations in order to reduce TCO. The main challenge is to add complexity to achieve flexibility (to be able to meet the great variety of requirements and use cases) and at the same time make it simpler to operate and faster to deploy new services. This requires automated management and orchestration functions that can support the flexibility, hiding the complexity of it as provided by the COMPA framework.</a:t>
            </a:r>
          </a:p>
          <a:p>
            <a:endParaRPr lang="en-US" altLang="en-US" sz="1100">
              <a:latin typeface="Arial" pitchFamily="34" charset="0"/>
            </a:endParaRPr>
          </a:p>
          <a:p>
            <a:r>
              <a:rPr lang="en-US" altLang="en-US" sz="1100" b="1"/>
              <a:t>Ericsson’s current 5G direction</a:t>
            </a:r>
          </a:p>
          <a:p>
            <a:pPr lvl="1"/>
            <a:r>
              <a:rPr lang="en-US" altLang="en-US" sz="1100" b="1"/>
              <a:t>Support possibility for Diverging architectures for new services</a:t>
            </a:r>
          </a:p>
          <a:p>
            <a:pPr lvl="2"/>
            <a:r>
              <a:rPr lang="en-US" altLang="sv-SE" sz="1100"/>
              <a:t>Strong Operator/Vendor drive for Business expansion and New Use Cases in 5G</a:t>
            </a:r>
          </a:p>
          <a:p>
            <a:pPr lvl="2"/>
            <a:r>
              <a:rPr lang="en-US" altLang="en-US" sz="1100"/>
              <a:t>Optimizations and architecture changes driven by large variation in requirements   </a:t>
            </a:r>
          </a:p>
          <a:p>
            <a:pPr lvl="1"/>
            <a:r>
              <a:rPr lang="en-US" altLang="en-US" sz="1100" b="1"/>
              <a:t>Build on target architecture for automation and programmability</a:t>
            </a:r>
          </a:p>
          <a:p>
            <a:pPr lvl="2"/>
            <a:r>
              <a:rPr lang="en-US" altLang="en-US" sz="1100"/>
              <a:t>Evolve operations of core network towards automation, programmability and simplicity</a:t>
            </a:r>
          </a:p>
          <a:p>
            <a:pPr lvl="2"/>
            <a:r>
              <a:rPr lang="en-US" altLang="en-US" sz="1100"/>
              <a:t>Supporting cost efficient management of flexibility and reduce TTM</a:t>
            </a:r>
          </a:p>
          <a:p>
            <a:endParaRPr lang="en-US" altLang="en-US" sz="1100">
              <a:latin typeface="Arial" pitchFamily="34" charset="0"/>
            </a:endParaRPr>
          </a:p>
          <a:p>
            <a:pPr lvl="1" fontAlgn="ctr"/>
            <a:r>
              <a:rPr lang="en-US" altLang="en-US" sz="1100" b="1"/>
              <a:t>Network Slicing </a:t>
            </a:r>
            <a:r>
              <a:rPr lang="en-US" altLang="en-US" sz="1100"/>
              <a:t>is a  key enabler supporting:</a:t>
            </a:r>
          </a:p>
          <a:p>
            <a:pPr lvl="2" fontAlgn="ctr"/>
            <a:r>
              <a:rPr lang="en-US" altLang="en-US" sz="1100"/>
              <a:t>Separation of concern within one operators network</a:t>
            </a:r>
            <a:br>
              <a:rPr lang="en-US" altLang="en-US" sz="1100"/>
            </a:br>
            <a:r>
              <a:rPr lang="en-US" altLang="en-US" sz="1100"/>
              <a:t>between different Business opportunities</a:t>
            </a:r>
          </a:p>
          <a:p>
            <a:pPr lvl="2" fontAlgn="ctr"/>
            <a:r>
              <a:rPr lang="en-US" altLang="en-US" sz="1100"/>
              <a:t>Separation of diverging Use Cases and Requirement</a:t>
            </a:r>
            <a:br>
              <a:rPr lang="en-US" altLang="en-US" sz="1100"/>
            </a:br>
            <a:r>
              <a:rPr lang="en-US" altLang="en-US" sz="1100"/>
              <a:t>within one operators network</a:t>
            </a:r>
          </a:p>
          <a:p>
            <a:pPr lvl="2" fontAlgn="ctr"/>
            <a:r>
              <a:rPr lang="en-US" altLang="en-US" sz="1100"/>
              <a:t>Multiple instantiations of same functionality for</a:t>
            </a:r>
            <a:br>
              <a:rPr lang="en-US" altLang="en-US" sz="1100"/>
            </a:br>
            <a:r>
              <a:rPr lang="en-US" altLang="en-US" sz="1100"/>
              <a:t>isolation between customers sharing same use case</a:t>
            </a:r>
          </a:p>
          <a:p>
            <a:pPr lvl="1" fontAlgn="ctr"/>
            <a:r>
              <a:rPr lang="en-US" altLang="en-US" sz="1100" b="1"/>
              <a:t>5G Mobile Broadband likely an Evolution of current 4G MBB service (even though 5GC CP is based on SBA)</a:t>
            </a:r>
          </a:p>
          <a:p>
            <a:pPr lvl="2" fontAlgn="ctr"/>
            <a:r>
              <a:rPr lang="en-US" altLang="sv-SE" sz="1100"/>
              <a:t>Maintain service continuity over multiple accesses and Tight integration between LTE &amp; NX</a:t>
            </a:r>
          </a:p>
          <a:p>
            <a:endParaRPr lang="en-US" altLang="en-US" sz="1100">
              <a:latin typeface="Arial" pitchFamily="34" charset="0"/>
            </a:endParaRPr>
          </a:p>
        </p:txBody>
      </p:sp>
      <p:sp>
        <p:nvSpPr>
          <p:cNvPr id="4" name="Date Placeholder 3"/>
          <p:cNvSpPr>
            <a:spLocks noGrp="1"/>
          </p:cNvSpPr>
          <p:nvPr>
            <p:ph type="dt" sz="quarter" idx="1"/>
          </p:nvPr>
        </p:nvSpPr>
        <p:spPr/>
        <p:txBody>
          <a:bodyPr/>
          <a:lstStyle/>
          <a:p>
            <a:pPr>
              <a:defRPr/>
            </a:pPr>
            <a:r>
              <a:rPr lang="en-US"/>
              <a:t>2019-10-07 </a:t>
            </a:r>
          </a:p>
        </p:txBody>
      </p:sp>
      <p:sp>
        <p:nvSpPr>
          <p:cNvPr id="5" name="Slide Number Placeholder 4"/>
          <p:cNvSpPr>
            <a:spLocks noGrp="1"/>
          </p:cNvSpPr>
          <p:nvPr>
            <p:ph type="sldNum" sz="quarter" idx="5"/>
          </p:nvPr>
        </p:nvSpPr>
        <p:spPr/>
        <p:txBody>
          <a:bodyPr/>
          <a:lstStyle/>
          <a:p>
            <a:pPr>
              <a:defRPr/>
            </a:pPr>
            <a:fld id="{4706CA19-807D-400F-AAE9-F44598488692}" type="slidenum">
              <a:rPr lang="en-US" smtClean="0"/>
              <a:t>5</a:t>
            </a:fld>
            <a:endParaRPr lang="en-US"/>
          </a:p>
        </p:txBody>
      </p:sp>
      <p:sp>
        <p:nvSpPr>
          <p:cNvPr id="6" name="Header Placeholder 5"/>
          <p:cNvSpPr>
            <a:spLocks noGrp="1"/>
          </p:cNvSpPr>
          <p:nvPr>
            <p:ph type="hdr" sz="quarter"/>
          </p:nvPr>
        </p:nvSpPr>
        <p:spPr/>
        <p:txBody>
          <a:bodyPr/>
          <a:lstStyle/>
          <a:p>
            <a:pPr>
              <a:defRPr/>
            </a:pPr>
            <a:r>
              <a:rPr lang="en-US"/>
              <a:t>The 5G Core Network Deep Dive </a:t>
            </a:r>
          </a:p>
        </p:txBody>
      </p:sp>
      <p:sp>
        <p:nvSpPr>
          <p:cNvPr id="7" name="Footer Placeholder 6"/>
          <p:cNvSpPr>
            <a:spLocks noGrp="1"/>
          </p:cNvSpPr>
          <p:nvPr>
            <p:ph type="ftr" sz="quarter" idx="4"/>
          </p:nvPr>
        </p:nvSpPr>
        <p:spPr/>
        <p:txBody>
          <a:bodyPr/>
          <a:lstStyle/>
          <a:p>
            <a:pPr>
              <a:defRPr/>
            </a:pPr>
            <a:r>
              <a:rPr lang="en-US"/>
              <a:t>BICP-16:000214 Uen, Rev N </a:t>
            </a:r>
          </a:p>
        </p:txBody>
      </p:sp>
    </p:spTree>
    <p:extLst>
      <p:ext uri="{BB962C8B-B14F-4D97-AF65-F5344CB8AC3E}">
        <p14:creationId xmlns:p14="http://schemas.microsoft.com/office/powerpoint/2010/main" val="40027885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Agreed to support use cases by introducing Intermediate SMF (I-SMF) between AMF and SMF</a:t>
            </a:r>
          </a:p>
          <a:p>
            <a:r>
              <a:rPr lang="sv-SE"/>
              <a:t>I-SMF selects and controls UPF(s), including UPF with N3 towards (R)AN</a:t>
            </a:r>
          </a:p>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4D45C9AA-5574-4B73-AA90-8424B1560E95}" type="slidenum">
              <a:rPr lang="en-US" smtClean="0"/>
              <a:t>50</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12275504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I-SMF Selection:</a:t>
            </a:r>
          </a:p>
          <a:p>
            <a:pPr marL="171450" indent="-171450">
              <a:buFont typeface="Arial" panose="020B0604020202020204" pitchFamily="34" charset="0"/>
              <a:buChar char="•"/>
            </a:pPr>
            <a:r>
              <a:rPr lang="sv-SE"/>
              <a:t>AMF deciding when to insert, relocate and remove I-SMF for a PDU Session</a:t>
            </a:r>
          </a:p>
          <a:p>
            <a:pPr marL="628650" lvl="1" indent="-171450">
              <a:buFont typeface="Arial" panose="020B0604020202020204" pitchFamily="34" charset="0"/>
              <a:buChar char="•"/>
            </a:pPr>
            <a:endParaRPr lang="sv-SE"/>
          </a:p>
          <a:p>
            <a:pPr marL="171450" indent="-171450">
              <a:buFont typeface="Arial" panose="020B0604020202020204" pitchFamily="34" charset="0"/>
              <a:buChar char="•"/>
            </a:pPr>
            <a:r>
              <a:rPr lang="sv-SE"/>
              <a:t>SMF Service Area (SA) included in SMF NF profile in NRF (set of TAs)</a:t>
            </a:r>
          </a:p>
          <a:p>
            <a:pPr marL="171450" indent="-171450">
              <a:buFont typeface="Arial" panose="020B0604020202020204" pitchFamily="34" charset="0"/>
              <a:buChar char="•"/>
            </a:pPr>
            <a:r>
              <a:rPr lang="sv-SE"/>
              <a:t>AMF receives SMF SA as part of SMF NF profile from NRF</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Triggers:</a:t>
            </a:r>
          </a:p>
          <a:p>
            <a:pPr marL="628650" lvl="1" indent="-171450">
              <a:buFont typeface="Arial" panose="020B0604020202020204" pitchFamily="34" charset="0"/>
              <a:buChar char="•"/>
            </a:pPr>
            <a:r>
              <a:rPr lang="sv-SE"/>
              <a:t>UE moves out of SA of current SMF (I-SMF insertion)</a:t>
            </a:r>
          </a:p>
          <a:p>
            <a:pPr marL="628650" lvl="1" indent="-171450">
              <a:buFont typeface="Arial" panose="020B0604020202020204" pitchFamily="34" charset="0"/>
              <a:buChar char="•"/>
            </a:pPr>
            <a:r>
              <a:rPr lang="sv-SE"/>
              <a:t>UE moves out of SA of current I-SMF and into SA of another I-SMF (I-SMF relocation)</a:t>
            </a:r>
          </a:p>
          <a:p>
            <a:pPr marL="628650" lvl="1" indent="-171450">
              <a:buFont typeface="Arial" panose="020B0604020202020204" pitchFamily="34" charset="0"/>
              <a:buChar char="•"/>
            </a:pPr>
            <a:r>
              <a:rPr lang="sv-SE"/>
              <a:t>UE moves into SA of SMF (I-SMF removal)</a:t>
            </a:r>
          </a:p>
          <a:p>
            <a:pPr marL="628650" lvl="1" indent="-171450">
              <a:buFont typeface="Arial" panose="020B0604020202020204" pitchFamily="34" charset="0"/>
              <a:buChar char="•"/>
            </a:pPr>
            <a:r>
              <a:rPr lang="sv-SE"/>
              <a:t>UE establishes PDU Session and no SMF is serving the DNN at current UE location </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Rel-17 Edge Computing SID includes objective to study additional trigger to insert I-SMF based on need to break out traffic in local UPF not controlled by current SMF (i.e. EC-triggered, not mobility triggered)</a:t>
            </a:r>
          </a:p>
          <a:p>
            <a:pPr marL="0" indent="0">
              <a:buFont typeface="Arial" panose="020B0604020202020204" pitchFamily="34" charset="0"/>
              <a:buNone/>
            </a:pPr>
            <a:endParaRPr lang="sv-SE"/>
          </a:p>
          <a:p>
            <a:pPr marL="0" indent="0">
              <a:buFont typeface="Arial" panose="020B0604020202020204" pitchFamily="34" charset="0"/>
              <a:buNone/>
            </a:pPr>
            <a:r>
              <a:rPr lang="sv-SE"/>
              <a:t>Procedure impacts:</a:t>
            </a:r>
          </a:p>
          <a:p>
            <a:pPr marL="171450" indent="-171450">
              <a:buFont typeface="Arial" panose="020B0604020202020204" pitchFamily="34" charset="0"/>
              <a:buChar char="•"/>
            </a:pPr>
            <a:r>
              <a:rPr lang="sv-SE"/>
              <a:t>Several procedure are enhanced to support also I-SMF insertion, relocation and removal:</a:t>
            </a:r>
          </a:p>
          <a:p>
            <a:pPr marL="628650" lvl="1" indent="-171450">
              <a:buFont typeface="Arial" panose="020B0604020202020204" pitchFamily="34" charset="0"/>
              <a:buChar char="•"/>
            </a:pPr>
            <a:r>
              <a:rPr lang="sv-SE"/>
              <a:t>Registration (in case UP connection is activated as part of Registration)</a:t>
            </a:r>
          </a:p>
          <a:p>
            <a:pPr marL="628650" lvl="1" indent="-171450">
              <a:buFont typeface="Arial" panose="020B0604020202020204" pitchFamily="34" charset="0"/>
              <a:buChar char="•"/>
            </a:pPr>
            <a:r>
              <a:rPr lang="sv-SE"/>
              <a:t>Service Request </a:t>
            </a:r>
          </a:p>
          <a:p>
            <a:pPr marL="628650" lvl="1" indent="-171450">
              <a:buFont typeface="Arial" panose="020B0604020202020204" pitchFamily="34" charset="0"/>
              <a:buChar char="•"/>
            </a:pPr>
            <a:r>
              <a:rPr lang="sv-SE"/>
              <a:t>PDU Session Establishment</a:t>
            </a:r>
          </a:p>
          <a:p>
            <a:pPr marL="628650" lvl="1" indent="-171450">
              <a:buFont typeface="Arial" panose="020B0604020202020204" pitchFamily="34" charset="0"/>
              <a:buChar char="•"/>
            </a:pPr>
            <a:r>
              <a:rPr lang="sv-SE"/>
              <a:t>N2-based handover</a:t>
            </a:r>
          </a:p>
          <a:p>
            <a:pPr marL="628650" lvl="1" indent="-171450">
              <a:buFont typeface="Arial" panose="020B0604020202020204" pitchFamily="34" charset="0"/>
              <a:buChar char="•"/>
            </a:pPr>
            <a:r>
              <a:rPr lang="sv-SE"/>
              <a:t>Xn-based handover </a:t>
            </a:r>
          </a:p>
          <a:p>
            <a:pPr marL="0" indent="0">
              <a:buFont typeface="Arial" panose="020B0604020202020204" pitchFamily="34" charset="0"/>
              <a:buNone/>
            </a:pPr>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4671B004-910F-4DDC-A2A4-49E347F7CF0D}" type="slidenum">
              <a:rPr lang="en-US" smtClean="0"/>
              <a:t>51</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26046696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800"/>
              <a:t>Simplest case is scenario without ULCL/BP controlled by I-SMF (quite similar to home-routed roaming)</a:t>
            </a:r>
          </a:p>
          <a:p>
            <a:pPr marL="285750" indent="-285750">
              <a:buFont typeface="Arial" panose="020B0604020202020204" pitchFamily="34" charset="0"/>
              <a:buChar char="•"/>
            </a:pPr>
            <a:endParaRPr lang="sv-SE" sz="1800"/>
          </a:p>
          <a:p>
            <a:pPr marL="285750" indent="-285750">
              <a:buFont typeface="Arial" panose="020B0604020202020204" pitchFamily="34" charset="0"/>
              <a:buChar char="•"/>
            </a:pPr>
            <a:r>
              <a:rPr lang="sv-SE" sz="1800"/>
              <a:t>N16a re-uses N16 services, i.e. Nsmf services used between V-SMF and H-SMF</a:t>
            </a:r>
          </a:p>
          <a:p>
            <a:pPr marL="742950" lvl="1" indent="-285750">
              <a:buFont typeface="Arial" panose="020B0604020202020204" pitchFamily="34" charset="0"/>
              <a:buChar char="•"/>
            </a:pPr>
            <a:r>
              <a:rPr lang="sv-SE" sz="1800"/>
              <a:t>New service operation (”</a:t>
            </a:r>
            <a:r>
              <a:rPr lang="en-GB" sz="1800"/>
              <a:t> </a:t>
            </a:r>
            <a:r>
              <a:rPr lang="en-GB" sz="1800" err="1"/>
              <a:t>Nsmf_PDUSession</a:t>
            </a:r>
            <a:r>
              <a:rPr lang="en-GB" sz="1800"/>
              <a:t> Context</a:t>
            </a:r>
            <a:r>
              <a:rPr lang="sv-SE" sz="1800"/>
              <a:t>”) added for SM context transfer: SMF</a:t>
            </a:r>
            <a:r>
              <a:rPr lang="sv-SE" sz="1800">
                <a:sym typeface="Wingdings" panose="05000000000000000000" pitchFamily="2" charset="2"/>
              </a:rPr>
              <a:t></a:t>
            </a:r>
            <a:r>
              <a:rPr lang="sv-SE" sz="1800"/>
              <a:t>I-SMF and I-SMF</a:t>
            </a:r>
            <a:r>
              <a:rPr lang="sv-SE" sz="1800">
                <a:sym typeface="Wingdings" panose="05000000000000000000" pitchFamily="2" charset="2"/>
              </a:rPr>
              <a:t></a:t>
            </a:r>
            <a:r>
              <a:rPr lang="sv-SE" sz="1800"/>
              <a:t>I-SMF</a:t>
            </a:r>
          </a:p>
          <a:p>
            <a:pPr marL="285750" indent="-285750">
              <a:buFont typeface="Arial" panose="020B0604020202020204" pitchFamily="34" charset="0"/>
              <a:buChar char="•"/>
            </a:pPr>
            <a:endParaRPr lang="sv-SE" sz="1800"/>
          </a:p>
          <a:p>
            <a:pPr marL="285750" indent="-285750">
              <a:buFont typeface="Arial" panose="020B0604020202020204" pitchFamily="34" charset="0"/>
              <a:buChar char="•"/>
            </a:pPr>
            <a:r>
              <a:rPr lang="sv-SE" sz="1800"/>
              <a:t>For scenarios with ULCL/BP:</a:t>
            </a:r>
          </a:p>
          <a:p>
            <a:pPr marL="742950" lvl="1" indent="-285750">
              <a:buFont typeface="Arial" panose="020B0604020202020204" pitchFamily="34" charset="0"/>
              <a:buChar char="•"/>
            </a:pPr>
            <a:r>
              <a:rPr lang="sv-SE" sz="1800"/>
              <a:t>I-SMF provides information to SMF about what ”breakout locations” (DNAI) it support</a:t>
            </a:r>
          </a:p>
          <a:p>
            <a:pPr marL="742950" lvl="1" indent="-285750">
              <a:buFont typeface="Arial" panose="020B0604020202020204" pitchFamily="34" charset="0"/>
              <a:buChar char="•"/>
            </a:pPr>
            <a:r>
              <a:rPr lang="sv-SE" sz="1800"/>
              <a:t>SMF provides N4-like information to I-SMF for traffic that is to be broken out in UPF controlled by I-SMF</a:t>
            </a:r>
          </a:p>
          <a:p>
            <a:pPr marL="742950" lvl="1" indent="-285750">
              <a:buFont typeface="Arial" panose="020B0604020202020204" pitchFamily="34" charset="0"/>
              <a:buChar char="•"/>
            </a:pPr>
            <a:r>
              <a:rPr lang="sv-SE" sz="1800"/>
              <a:t>I-SMF indicates to SMF when ULCL/BP/PSA has been inserted/removed</a:t>
            </a:r>
          </a:p>
          <a:p>
            <a:pPr marL="742950" lvl="1" indent="-285750">
              <a:buFont typeface="Arial" panose="020B0604020202020204" pitchFamily="34" charset="0"/>
              <a:buChar char="•"/>
            </a:pPr>
            <a:r>
              <a:rPr lang="sv-SE" sz="1800"/>
              <a:t>I-SMF provides N4-like reporting information to SMF for traffic usage reporting</a:t>
            </a:r>
          </a:p>
          <a:p>
            <a:pPr marL="742950" lvl="1" indent="-285750">
              <a:buFont typeface="Arial" panose="020B0604020202020204" pitchFamily="34" charset="0"/>
              <a:buChar char="•"/>
            </a:pPr>
            <a:endParaRPr lang="sv-SE" sz="1800"/>
          </a:p>
          <a:p>
            <a:pPr marL="285750" indent="-285750">
              <a:buFont typeface="Arial" panose="020B0604020202020204" pitchFamily="34" charset="0"/>
              <a:buChar char="•"/>
            </a:pPr>
            <a:r>
              <a:rPr lang="sv-SE" sz="1800"/>
              <a:t>Impacts to other interfaces/services:</a:t>
            </a:r>
          </a:p>
          <a:p>
            <a:pPr marL="742950" lvl="1" indent="-285750">
              <a:buFont typeface="Arial" panose="020B0604020202020204" pitchFamily="34" charset="0"/>
              <a:buChar char="•"/>
            </a:pPr>
            <a:r>
              <a:rPr lang="sv-SE" sz="1800"/>
              <a:t>AMF </a:t>
            </a:r>
            <a:r>
              <a:rPr lang="sv-SE" sz="1800">
                <a:sym typeface="Wingdings" panose="05000000000000000000" pitchFamily="2" charset="2"/>
              </a:rPr>
              <a:t> </a:t>
            </a:r>
            <a:r>
              <a:rPr lang="sv-SE" sz="1800"/>
              <a:t>AMF: 	I-SMF information added to context transfer</a:t>
            </a:r>
          </a:p>
          <a:p>
            <a:pPr marL="742950" lvl="1" indent="-285750">
              <a:buFont typeface="Arial" panose="020B0604020202020204" pitchFamily="34" charset="0"/>
              <a:buChar char="•"/>
            </a:pPr>
            <a:r>
              <a:rPr lang="sv-SE" sz="1800"/>
              <a:t>AMF </a:t>
            </a:r>
            <a:r>
              <a:rPr lang="sv-SE" sz="1800">
                <a:sym typeface="Wingdings" panose="05000000000000000000" pitchFamily="2" charset="2"/>
              </a:rPr>
              <a:t> I-SMF:  	Information about SMF added to SMContext service operation</a:t>
            </a:r>
          </a:p>
          <a:p>
            <a:pPr marL="171450" indent="-171450">
              <a:buFont typeface="Arial" panose="020B0604020202020204" pitchFamily="34" charset="0"/>
              <a:buChar char="•"/>
            </a:pPr>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FA4E06C6-22DD-4656-A252-CE97EF120EDC}" type="slidenum">
              <a:rPr lang="en-US" smtClean="0"/>
              <a:t>52</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34035091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9EBADCAE-BAA1-48F0-A00B-F9E3D35DFED2}" type="slidenum">
              <a:rPr lang="en-US" smtClean="0"/>
              <a:t>53</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3398382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7848CCD9-73FF-47DB-A866-FF034CAF52DB}" type="slidenum">
              <a:rPr lang="en-US" smtClean="0"/>
              <a:t>54</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4047812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 6"/>
          <p:cNvSpPr txBox="1">
            <a:spLocks noGrp="1"/>
          </p:cNvSpPr>
          <p:nvPr>
            <p:ph type="sldNum" sz="quarter" idx="5"/>
          </p:nvPr>
        </p:nvSpPr>
        <p:spPr>
          <a:ln/>
        </p:spPr>
        <p:txBody>
          <a:bodyPr lIns="0" tIns="0" rIns="0" bIns="0" anchor="b" anchorCtr="0">
            <a:noAutofit/>
          </a:bodyPr>
          <a:lstStyle/>
          <a:p>
            <a:pPr lvl="0"/>
            <a:fld id="{93842954-E8CB-4E47-B0EC-078A7FBA2044}" type="slidenum">
              <a:rPr lang="sv-SE" smtClean="0"/>
              <a:t>55</a:t>
            </a:fld>
            <a:endParaRPr lang="sv-SE"/>
          </a:p>
        </p:txBody>
      </p:sp>
      <p:sp>
        <p:nvSpPr>
          <p:cNvPr id="2" name="Slide Image Placeholder 1"/>
          <p:cNvSpPr>
            <a:spLocks noGrp="1" noRot="1" noChangeAspect="1" noResize="1"/>
          </p:cNvSpPr>
          <p:nvPr>
            <p:ph type="sldImg"/>
          </p:nvPr>
        </p:nvSpPr>
        <p:spPr>
          <a:xfrm>
            <a:off x="200025" y="804863"/>
            <a:ext cx="7061200" cy="3971925"/>
          </a:xfrm>
          <a:solidFill>
            <a:schemeClr val="accent1"/>
          </a:solidFill>
          <a:ln w="25400">
            <a:solidFill>
              <a:schemeClr val="accent1">
                <a:shade val="50000"/>
              </a:schemeClr>
            </a:solidFill>
            <a:prstDash val="solid"/>
          </a:ln>
        </p:spPr>
      </p:sp>
      <p:sp>
        <p:nvSpPr>
          <p:cNvPr id="3" name=" 2"/>
          <p:cNvSpPr txBox="1">
            <a:spLocks noGrp="1"/>
          </p:cNvSpPr>
          <p:nvPr>
            <p:ph type="body" sz="quarter" idx="1"/>
          </p:nvPr>
        </p:nvSpPr>
        <p:spPr>
          <a:xfrm>
            <a:off x="680238" y="4715586"/>
            <a:ext cx="5437200" cy="14734328"/>
          </a:xfrm>
        </p:spPr>
        <p:txBody>
          <a:bodyPr>
            <a:spAutoFit/>
          </a:bodyPr>
          <a:lstStyle/>
          <a:p>
            <a:pPr hangingPunct="0">
              <a:spcBef>
                <a:spcPts val="0"/>
              </a:spcBef>
              <a:spcAft>
                <a:spcPts val="944"/>
              </a:spcAft>
              <a:buSzPct val="45000"/>
            </a:pPr>
            <a:r>
              <a:rPr lang="sv-SE" sz="1100" i="1">
                <a:latin typeface="Arial" pitchFamily="18"/>
                <a:ea typeface="Microsoft YaHei" pitchFamily="2"/>
                <a:cs typeface="Arial" pitchFamily="2"/>
              </a:rPr>
              <a:t>2018-10-03: Added speakers note on integration with non-3GPP access</a:t>
            </a:r>
          </a:p>
          <a:p>
            <a:pPr hangingPunct="0">
              <a:spcBef>
                <a:spcPts val="0"/>
              </a:spcBef>
              <a:spcAft>
                <a:spcPts val="944"/>
              </a:spcAft>
              <a:buSzPct val="45000"/>
            </a:pPr>
            <a:endParaRPr lang="sv-SE" sz="1100" b="1" u="sng">
              <a:latin typeface="Arial" pitchFamily="18"/>
              <a:ea typeface="Microsoft YaHei" pitchFamily="2"/>
              <a:cs typeface="Arial" pitchFamily="2"/>
            </a:endParaRPr>
          </a:p>
          <a:p>
            <a:pPr hangingPunct="0">
              <a:spcBef>
                <a:spcPts val="0"/>
              </a:spcBef>
              <a:spcAft>
                <a:spcPts val="944"/>
              </a:spcAft>
              <a:buSzPct val="45000"/>
            </a:pPr>
            <a:r>
              <a:rPr lang="sv-SE" sz="1100" b="1" u="sng">
                <a:latin typeface="Arial" pitchFamily="18"/>
                <a:ea typeface="Microsoft YaHei" pitchFamily="2"/>
                <a:cs typeface="Arial" pitchFamily="2"/>
              </a:rPr>
              <a:t>Mobility on Demand (service area restriction):</a:t>
            </a:r>
          </a:p>
          <a:p>
            <a:r>
              <a:rPr lang="en-GB"/>
              <a:t>-Service area restrictions:</a:t>
            </a:r>
            <a:endParaRPr lang="en-US"/>
          </a:p>
          <a:p>
            <a:r>
              <a:rPr lang="en-GB"/>
              <a:t>Defines areas in which the UE may or may not initiate communication with the network as follows:</a:t>
            </a:r>
            <a:endParaRPr lang="en-US"/>
          </a:p>
          <a:p>
            <a:r>
              <a:rPr lang="en-GB"/>
              <a:t>-Allowed area:</a:t>
            </a:r>
            <a:endParaRPr lang="en-US"/>
          </a:p>
          <a:p>
            <a:r>
              <a:rPr lang="en-GB"/>
              <a:t>	In an Allowed area under a given RAT, the UE is permitted to initiate communication with the network as allowed by the subscription.</a:t>
            </a:r>
            <a:endParaRPr lang="en-US"/>
          </a:p>
          <a:p>
            <a:r>
              <a:rPr lang="en-GB"/>
              <a:t>-Non-allowed area:</a:t>
            </a:r>
            <a:endParaRPr lang="en-US"/>
          </a:p>
          <a:p>
            <a:r>
              <a:rPr lang="en-GB"/>
              <a:t>	In a Non-allowed area under a given RAT a UE is service area restricted based on subscription. The UE and the network are not allowed to initiate Service Request or SM signalling to obtain user services (both in CM-IDLE and in CM-CONNECTED states). </a:t>
            </a:r>
            <a:r>
              <a:rPr lang="x-none"/>
              <a:t>The RRC procedures while the UE is in CM-CONNECTED with RRC </a:t>
            </a:r>
            <a:r>
              <a:rPr lang="en-US"/>
              <a:t>I</a:t>
            </a:r>
            <a:r>
              <a:rPr lang="x-none"/>
              <a:t>nactive state are unchanged compared to when the UE is in an allowed area. </a:t>
            </a:r>
            <a:r>
              <a:rPr lang="en-GB"/>
              <a:t>The RM procedures are unchanged compared to when the UE is in an allowed area. The UE in a Non-allowed area shall respond to core network paging with Service Request </a:t>
            </a:r>
            <a:r>
              <a:rPr lang="x-none"/>
              <a:t>and RAN paging</a:t>
            </a:r>
            <a:r>
              <a:rPr lang="en-GB"/>
              <a:t>.</a:t>
            </a:r>
            <a:endParaRPr lang="en-US"/>
          </a:p>
          <a:p>
            <a:endParaRPr lang="sv-SE" sz="1100"/>
          </a:p>
          <a:p>
            <a:r>
              <a:rPr lang="sv-SE" sz="1100" b="1" u="sng"/>
              <a:t>MM States similar to 4G:</a:t>
            </a:r>
          </a:p>
          <a:p>
            <a:r>
              <a:rPr lang="sv-SE" sz="1100" b="1" u="sng"/>
              <a:t>RRC INACTIVE CONNECTED state</a:t>
            </a:r>
          </a:p>
          <a:p>
            <a:r>
              <a:rPr lang="en-GB" sz="1100"/>
              <a:t>The need for configurability of the RRC inactive connected state is motivated through several factors that require flexibility such as diverse requirements of the 5G use cases, future-</a:t>
            </a:r>
            <a:r>
              <a:rPr lang="en-GB" sz="1100" err="1"/>
              <a:t>proofness</a:t>
            </a:r>
            <a:r>
              <a:rPr lang="en-GB" sz="1100"/>
              <a:t> and quick time to market requirement for new services.</a:t>
            </a:r>
            <a:endParaRPr lang="sv-SE" sz="1100"/>
          </a:p>
          <a:p>
            <a:r>
              <a:rPr lang="en-GB" sz="1100"/>
              <a:t>From the Next Generation core network perspective, UE is considered to be in the CM-CONNECTED state when UE is in RRC inactive connected state at the RRC layer. When the UE transitions between RRC connected state and RRC inactive connected state, it is not visible to the core network as no signalling towards the core network is expected due to this transition. Also, core network does not have to page the UE when the UE is in RRC inactive connected state as both control plane and user plane remains established between the RAN and core.</a:t>
            </a:r>
            <a:endParaRPr lang="sv-SE" sz="1100"/>
          </a:p>
          <a:p>
            <a:r>
              <a:rPr lang="sv-SE" sz="1100"/>
              <a:t>Example on Paging sequence</a:t>
            </a:r>
          </a:p>
          <a:p>
            <a:r>
              <a:rPr lang="en-US" sz="1100"/>
              <a:t>Pre-req: UE in RRC-INACTIVE CONNECTED state, CN in CN CONNECTED and payload is sent from the 5GC UP to NR.</a:t>
            </a:r>
            <a:endParaRPr lang="sv-SE" sz="1100"/>
          </a:p>
          <a:p>
            <a:pPr marL="223734" indent="-223734">
              <a:buFont typeface="+mj-lt"/>
              <a:buAutoNum type="arabicPeriod"/>
            </a:pPr>
            <a:r>
              <a:rPr lang="en-US" sz="1100"/>
              <a:t>NR will buffer payload</a:t>
            </a:r>
          </a:p>
          <a:p>
            <a:pPr marL="223734" indent="-223734">
              <a:buFont typeface="+mj-lt"/>
              <a:buAutoNum type="arabicPeriod"/>
            </a:pPr>
            <a:r>
              <a:rPr lang="en-US" sz="1100"/>
              <a:t>NR will try to page in own gNB</a:t>
            </a:r>
            <a:endParaRPr lang="sv-SE" sz="1100"/>
          </a:p>
          <a:p>
            <a:pPr marL="671202" lvl="1" indent="-223734">
              <a:buFont typeface="+mj-lt"/>
              <a:buAutoNum type="arabicPeriod"/>
            </a:pPr>
            <a:r>
              <a:rPr lang="en-US" sz="1100"/>
              <a:t>OK, then buffered payload is sent, STOP.</a:t>
            </a:r>
            <a:endParaRPr lang="sv-SE" sz="1100"/>
          </a:p>
          <a:p>
            <a:pPr marL="671202" lvl="1" indent="-223734">
              <a:buFont typeface="+mj-lt"/>
              <a:buAutoNum type="arabicPeriod"/>
            </a:pPr>
            <a:r>
              <a:rPr lang="en-US" sz="1100"/>
              <a:t>NOK, continue to step 3 </a:t>
            </a:r>
            <a:endParaRPr lang="sv-SE" sz="1100"/>
          </a:p>
          <a:p>
            <a:pPr marL="223734" indent="-223734">
              <a:buFont typeface="+mj-lt"/>
              <a:buAutoNum type="arabicPeriod"/>
            </a:pPr>
            <a:r>
              <a:rPr lang="en-US" sz="1100"/>
              <a:t>NR will distribute/relay the paging request to neighbor </a:t>
            </a:r>
            <a:r>
              <a:rPr lang="en-US" sz="1100" err="1"/>
              <a:t>gNBs</a:t>
            </a:r>
            <a:endParaRPr lang="sv-SE" sz="1100"/>
          </a:p>
          <a:p>
            <a:pPr marL="223734" indent="-223734">
              <a:buFont typeface="+mj-lt"/>
              <a:buAutoNum type="arabicPeriod"/>
            </a:pPr>
            <a:r>
              <a:rPr lang="en-US" sz="1100"/>
              <a:t>Neighbor </a:t>
            </a:r>
            <a:r>
              <a:rPr lang="en-US" sz="1100" err="1"/>
              <a:t>eNBs</a:t>
            </a:r>
            <a:r>
              <a:rPr lang="en-US" sz="1100"/>
              <a:t> will try to page UE</a:t>
            </a:r>
            <a:endParaRPr lang="sv-SE" sz="1100"/>
          </a:p>
          <a:p>
            <a:pPr marL="671202" lvl="1" indent="-223734">
              <a:buFont typeface="+mj-lt"/>
              <a:buAutoNum type="arabicPeriod"/>
            </a:pPr>
            <a:r>
              <a:rPr lang="en-US" sz="1100"/>
              <a:t>OK, then AS context and payload is fetched (over </a:t>
            </a:r>
            <a:r>
              <a:rPr lang="en-US" sz="1100" err="1"/>
              <a:t>Xn</a:t>
            </a:r>
            <a:r>
              <a:rPr lang="en-US" sz="1100"/>
              <a:t>) from original gNB and payload is sent to UE, STOP. </a:t>
            </a:r>
            <a:endParaRPr lang="sv-SE" sz="1100"/>
          </a:p>
          <a:p>
            <a:pPr marL="671202" lvl="1" indent="-223734">
              <a:buFont typeface="+mj-lt"/>
              <a:buAutoNum type="arabicPeriod"/>
            </a:pPr>
            <a:r>
              <a:rPr lang="en-US" sz="1100"/>
              <a:t>NOK, continue with step 5</a:t>
            </a:r>
            <a:endParaRPr lang="sv-SE" sz="1100"/>
          </a:p>
          <a:p>
            <a:pPr marL="223734" indent="-223734">
              <a:buFont typeface="+mj-lt"/>
              <a:buAutoNum type="arabicPeriod"/>
            </a:pPr>
            <a:r>
              <a:rPr lang="en-US" sz="1100"/>
              <a:t>Original eNB will relay paging to TAI List (if that exist in 5G) </a:t>
            </a:r>
            <a:r>
              <a:rPr lang="en-US" sz="1100" err="1"/>
              <a:t>gNBs</a:t>
            </a:r>
            <a:r>
              <a:rPr lang="en-US" sz="1100"/>
              <a:t> through CN transparently (and CN remain in Connected)</a:t>
            </a:r>
            <a:endParaRPr lang="sv-SE" sz="1100"/>
          </a:p>
          <a:p>
            <a:pPr marL="223734" indent="-223734">
              <a:buFont typeface="+mj-lt"/>
              <a:buAutoNum type="arabicPeriod"/>
            </a:pPr>
            <a:r>
              <a:rPr lang="en-US" sz="1100"/>
              <a:t>CN will forward the paging request to “all” </a:t>
            </a:r>
            <a:r>
              <a:rPr lang="en-US" sz="1100" err="1"/>
              <a:t>gNBs</a:t>
            </a:r>
            <a:r>
              <a:rPr lang="en-US" sz="1100"/>
              <a:t> in the TAI List </a:t>
            </a:r>
            <a:endParaRPr lang="sv-SE" sz="1100"/>
          </a:p>
          <a:p>
            <a:pPr marL="223734" indent="-223734">
              <a:buFont typeface="+mj-lt"/>
              <a:buAutoNum type="arabicPeriod"/>
            </a:pPr>
            <a:r>
              <a:rPr lang="en-US" sz="1100"/>
              <a:t>“TAI list” </a:t>
            </a:r>
            <a:r>
              <a:rPr lang="en-US" sz="1100" err="1"/>
              <a:t>gNBs</a:t>
            </a:r>
            <a:r>
              <a:rPr lang="en-US" sz="1100"/>
              <a:t> will  try to page UE</a:t>
            </a:r>
            <a:endParaRPr lang="sv-SE" sz="1100"/>
          </a:p>
          <a:p>
            <a:pPr marL="671202" lvl="1" indent="-223734">
              <a:buFont typeface="+mj-lt"/>
              <a:buAutoNum type="arabicPeriod"/>
            </a:pPr>
            <a:r>
              <a:rPr lang="en-US" sz="1100"/>
              <a:t>OK, then AS context and payload is fetched (over N2 or </a:t>
            </a:r>
            <a:r>
              <a:rPr lang="en-US" sz="1100" err="1"/>
              <a:t>Xn</a:t>
            </a:r>
            <a:r>
              <a:rPr lang="en-US" sz="1100"/>
              <a:t>) from original gNB and payload is sent to UE, STOP. </a:t>
            </a:r>
            <a:endParaRPr lang="sv-SE" sz="1100"/>
          </a:p>
          <a:p>
            <a:pPr marL="671202" lvl="1" indent="-223734">
              <a:buFont typeface="+mj-lt"/>
              <a:buAutoNum type="arabicPeriod"/>
            </a:pPr>
            <a:r>
              <a:rPr lang="en-US" sz="1100"/>
              <a:t>NOK, continue with step 8</a:t>
            </a:r>
            <a:endParaRPr lang="sv-SE" sz="1100"/>
          </a:p>
          <a:p>
            <a:pPr lvl="0">
              <a:buSzPct val="45000"/>
            </a:pPr>
            <a:r>
              <a:rPr lang="en-US" sz="1100" b="1">
                <a:solidFill>
                  <a:schemeClr val="bg1"/>
                </a:solidFill>
              </a:rPr>
              <a:t>Mobility registration in AMF for Non-3GPP</a:t>
            </a:r>
          </a:p>
          <a:p>
            <a:pPr marL="447468" lvl="1">
              <a:buSzPct val="45000"/>
            </a:pPr>
            <a:r>
              <a:rPr lang="en-US" sz="1100">
                <a:solidFill>
                  <a:schemeClr val="bg1"/>
                </a:solidFill>
              </a:rPr>
              <a:t>- Non-3GPP MM state similar to 3GPP access, but without paging</a:t>
            </a:r>
          </a:p>
          <a:p>
            <a:pPr lvl="1">
              <a:spcBef>
                <a:spcPts val="1174"/>
              </a:spcBef>
              <a:spcAft>
                <a:spcPts val="1257"/>
              </a:spcAft>
              <a:buSzPct val="75000"/>
              <a:buFont typeface="StarSymbol"/>
              <a:buChar char="–"/>
            </a:pPr>
            <a:r>
              <a:rPr lang="en-US" sz="1100">
                <a:solidFill>
                  <a:schemeClr val="bg1"/>
                </a:solidFill>
                <a:latin typeface="Arial" pitchFamily="18"/>
                <a:ea typeface="Microsoft YaHei" pitchFamily="2"/>
                <a:cs typeface="Arial" pitchFamily="2"/>
              </a:rPr>
              <a:t>UE need to be registered in AMF, through N3IWF (similar to </a:t>
            </a:r>
            <a:r>
              <a:rPr lang="en-US" sz="1100" err="1">
                <a:solidFill>
                  <a:schemeClr val="bg1"/>
                </a:solidFill>
                <a:latin typeface="Arial" pitchFamily="18"/>
                <a:ea typeface="Microsoft YaHei" pitchFamily="2"/>
                <a:cs typeface="Arial" pitchFamily="2"/>
              </a:rPr>
              <a:t>ePDG</a:t>
            </a:r>
            <a:r>
              <a:rPr lang="en-US" sz="1100">
                <a:solidFill>
                  <a:schemeClr val="bg1"/>
                </a:solidFill>
                <a:latin typeface="Arial" pitchFamily="18"/>
                <a:ea typeface="Microsoft YaHei" pitchFamily="2"/>
                <a:cs typeface="Arial" pitchFamily="2"/>
              </a:rPr>
              <a:t>), before PDU session can be established.</a:t>
            </a:r>
          </a:p>
          <a:p>
            <a:pPr lvl="1">
              <a:spcBef>
                <a:spcPts val="0"/>
              </a:spcBef>
              <a:spcAft>
                <a:spcPts val="1257"/>
              </a:spcAft>
              <a:buSzPct val="75000"/>
              <a:buFont typeface="StarSymbol"/>
              <a:buChar char="–"/>
            </a:pPr>
            <a:r>
              <a:rPr lang="en-US" altLang="en-US" sz="1100">
                <a:solidFill>
                  <a:schemeClr val="bg1"/>
                </a:solidFill>
                <a:latin typeface="Arial" pitchFamily="18"/>
                <a:ea typeface="Microsoft YaHei" pitchFamily="2"/>
                <a:cs typeface="Arial" pitchFamily="2"/>
              </a:rPr>
              <a:t>Same AMF handles UE if 3GPP and non-3GPP is in the same PLMN.</a:t>
            </a:r>
            <a:endParaRPr lang="en-US" sz="1100">
              <a:solidFill>
                <a:schemeClr val="bg1"/>
              </a:solidFill>
              <a:latin typeface="Arial" pitchFamily="18"/>
              <a:ea typeface="Microsoft YaHei" pitchFamily="2"/>
              <a:cs typeface="Arial" pitchFamily="2"/>
            </a:endParaRPr>
          </a:p>
          <a:p>
            <a:pPr lvl="1">
              <a:spcBef>
                <a:spcPts val="0"/>
              </a:spcBef>
              <a:spcAft>
                <a:spcPts val="1257"/>
              </a:spcAft>
              <a:buSzPct val="75000"/>
              <a:buFont typeface="StarSymbol"/>
              <a:buChar char="–"/>
            </a:pPr>
            <a:r>
              <a:rPr lang="en-US" altLang="en-US" sz="1100">
                <a:solidFill>
                  <a:schemeClr val="bg1"/>
                </a:solidFill>
                <a:latin typeface="Arial" pitchFamily="18"/>
                <a:ea typeface="Microsoft YaHei" pitchFamily="2"/>
                <a:cs typeface="Arial" pitchFamily="2"/>
              </a:rPr>
              <a:t>Separate but similar MM states shall be applied to Non-3GPP access, but with common Temp-ID</a:t>
            </a:r>
          </a:p>
          <a:p>
            <a:pPr lvl="1">
              <a:spcBef>
                <a:spcPts val="0"/>
              </a:spcBef>
              <a:spcAft>
                <a:spcPts val="1257"/>
              </a:spcAft>
              <a:buSzPct val="75000"/>
              <a:buFont typeface="StarSymbol"/>
              <a:buChar char="–"/>
            </a:pPr>
            <a:r>
              <a:rPr lang="en-US" altLang="en-US" sz="1100">
                <a:solidFill>
                  <a:schemeClr val="bg1"/>
                </a:solidFill>
                <a:latin typeface="Arial" pitchFamily="18"/>
                <a:ea typeface="Microsoft YaHei" pitchFamily="2"/>
                <a:cs typeface="Arial" pitchFamily="2"/>
              </a:rPr>
              <a:t>No paging and no mobility update functionality in non-3GPP access</a:t>
            </a:r>
          </a:p>
          <a:p>
            <a:endParaRPr lang="sv-SE" sz="1100"/>
          </a:p>
          <a:p>
            <a:endParaRPr lang="sv-SE" sz="1100"/>
          </a:p>
          <a:p>
            <a:r>
              <a:rPr lang="en-US" sz="1000" b="1" u="sng"/>
              <a:t>Mobility/Interworking with non-3GPP access</a:t>
            </a:r>
          </a:p>
          <a:p>
            <a:pPr defTabSz="904616">
              <a:defRPr/>
            </a:pPr>
            <a:r>
              <a:rPr lang="en-US" sz="1100"/>
              <a:t>Non-3GPP integration as defined in rel-15 is rather Interworking (IWK) </a:t>
            </a:r>
            <a:r>
              <a:rPr lang="sv-SE"/>
              <a:t>on Core Network level than integrated</a:t>
            </a:r>
            <a:r>
              <a:rPr lang="en-US" sz="1100"/>
              <a:t> “mobility” support. The IWK with 3GPP part in the same PLMN is mainly about Session continuity with RAT change through either PDU session HO (i.e. When there is UP for the PDU session) or Service Request with UP setup (i.e. when there is no UP for PDU session). </a:t>
            </a:r>
            <a:endParaRPr lang="sv-SE" sz="1000"/>
          </a:p>
          <a:p>
            <a:endParaRPr lang="sv-SE" sz="1100"/>
          </a:p>
        </p:txBody>
      </p:sp>
      <p:sp>
        <p:nvSpPr>
          <p:cNvPr id="4" name="Header Placeholder 3"/>
          <p:cNvSpPr>
            <a:spLocks noGrp="1"/>
          </p:cNvSpPr>
          <p:nvPr>
            <p:ph type="hdr" sz="quarter"/>
          </p:nvPr>
        </p:nvSpPr>
        <p:spPr/>
        <p:txBody>
          <a:bodyPr/>
          <a:lstStyle/>
          <a:p>
            <a:r>
              <a:rPr lang="en-US"/>
              <a:t>The 5G Core Network Deep Dive </a:t>
            </a:r>
          </a:p>
        </p:txBody>
      </p:sp>
      <p:sp>
        <p:nvSpPr>
          <p:cNvPr id="5" name="Footer Placeholder 4"/>
          <p:cNvSpPr>
            <a:spLocks noGrp="1"/>
          </p:cNvSpPr>
          <p:nvPr>
            <p:ph type="ftr" sz="quarter" idx="4"/>
          </p:nvPr>
        </p:nvSpPr>
        <p:spPr/>
        <p:txBody>
          <a:bodyPr/>
          <a:lstStyle/>
          <a:p>
            <a:r>
              <a:rPr lang="en-US"/>
              <a:t>BICP-16:000214 Uen, Rev N </a:t>
            </a:r>
          </a:p>
        </p:txBody>
      </p:sp>
      <p:sp>
        <p:nvSpPr>
          <p:cNvPr id="6" name="Date Placeholder 5"/>
          <p:cNvSpPr>
            <a:spLocks noGrp="1"/>
          </p:cNvSpPr>
          <p:nvPr>
            <p:ph type="dt" idx="1"/>
          </p:nvPr>
        </p:nvSpPr>
        <p:spPr/>
        <p:txBody>
          <a:bodyPr/>
          <a:lstStyle/>
          <a:p>
            <a:r>
              <a:rPr lang="en-US"/>
              <a:t>2019-10-07 </a:t>
            </a:r>
          </a:p>
        </p:txBody>
      </p:sp>
    </p:spTree>
    <p:extLst>
      <p:ext uri="{BB962C8B-B14F-4D97-AF65-F5344CB8AC3E}">
        <p14:creationId xmlns:p14="http://schemas.microsoft.com/office/powerpoint/2010/main" val="17292053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t>5G QoS model: figure from </a:t>
            </a:r>
            <a:r>
              <a:rPr lang="en-GB" sz="1100"/>
              <a:t>3GPP TS 38.800 V0.4.1</a:t>
            </a:r>
          </a:p>
          <a:p>
            <a:endParaRPr lang="en-GB" sz="1100"/>
          </a:p>
          <a:p>
            <a:r>
              <a:rPr lang="en-GB" sz="1100"/>
              <a:t>Please note that 3GPP RAN working groups use the term “NG-U” instead of N3 as in the CN specifications and consequently “NG-U Tunnel” means the N3 Tunnel between 5G RAN and 5GC</a:t>
            </a:r>
            <a:endParaRPr lang="sv-SE"/>
          </a:p>
          <a:p>
            <a:endParaRPr lang="en-GB" sz="1100"/>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C682E63E-F41E-445F-A706-F91E21E3BA4F}" type="slidenum">
              <a:rPr lang="en-US" smtClean="0"/>
              <a:t>58</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5340563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sz="1100"/>
              <a:t>A flow in this context is a QoS Flow: all Packet Data Units (PDUs) that shall receive the same QoS treatment in the network. Filters are used to classify PDUs into QoS flows. Filters can be provided from the 5G Policy Control or pre-configured in 5G Core. </a:t>
            </a:r>
          </a:p>
          <a:p>
            <a:endParaRPr lang="en-US" sz="1100"/>
          </a:p>
          <a:p>
            <a:r>
              <a:rPr lang="en-US" sz="1100"/>
              <a:t>For DL traffic AN can detect which flow a received packet belongs to by looking in the encapsulation tunnel header, where UPF have marked the packet with a QoS Flow Indicator (QFI). Information about which treatment each flow shall have is sent from 5GC to AN over N2.</a:t>
            </a:r>
          </a:p>
          <a:p>
            <a:endParaRPr lang="en-US" sz="1100"/>
          </a:p>
          <a:p>
            <a:r>
              <a:rPr lang="en-US" sz="1100"/>
              <a:t>For UL traffic UE marks the traffic with the correct QFI based on information received from SMF over N1. The solution shall also be available for Reflective QoS where the UE marks the UL traffic based on which QFI the DL traffic belonging to the same flow have. The AN informs the UE about how to send the PDUs over the air (which Radio Bearer to use). </a:t>
            </a:r>
          </a:p>
          <a:p>
            <a:endParaRPr lang="en-US" sz="1100"/>
          </a:p>
          <a:p>
            <a:r>
              <a:rPr lang="en-US" sz="1100"/>
              <a:t>At session establishment each PDU session is associated with a </a:t>
            </a:r>
            <a:r>
              <a:rPr lang="en-US" sz="1100">
                <a:solidFill>
                  <a:srgbClr val="00A9D4"/>
                </a:solidFill>
              </a:rPr>
              <a:t>default QoS profile</a:t>
            </a:r>
            <a:r>
              <a:rPr lang="en-US" sz="1100"/>
              <a:t> (a set of QoS parameters). </a:t>
            </a:r>
          </a:p>
          <a:p>
            <a:pPr marL="167800" indent="-167800">
              <a:buFont typeface="Arial" panose="020B0604020202020204" pitchFamily="34" charset="0"/>
              <a:buChar char="•"/>
            </a:pPr>
            <a:r>
              <a:rPr lang="en-US" sz="1100"/>
              <a:t>The default QoS profile is typically configured in UDM and can be authorized by the PCF</a:t>
            </a:r>
          </a:p>
          <a:p>
            <a:pPr marL="167800" indent="-167800">
              <a:buFont typeface="Arial" panose="020B0604020202020204" pitchFamily="34" charset="0"/>
              <a:buChar char="•"/>
            </a:pPr>
            <a:r>
              <a:rPr lang="en-US" sz="1100"/>
              <a:t>The QoS profile indicates the treatment of all PDUs that are transferred within the PDU session and for which the network have not indicated any PDU specific treatment</a:t>
            </a:r>
          </a:p>
          <a:p>
            <a:pPr marL="167800" indent="-167800">
              <a:buFont typeface="Arial" panose="020B0604020202020204" pitchFamily="34" charset="0"/>
              <a:buChar char="•"/>
            </a:pPr>
            <a:r>
              <a:rPr lang="en-US" sz="1100"/>
              <a:t>The PCF can modify the default QoS profile for the PDU session at any time during the session</a:t>
            </a:r>
          </a:p>
          <a:p>
            <a:r>
              <a:rPr lang="en-US" sz="1100">
                <a:solidFill>
                  <a:srgbClr val="00A9D4"/>
                </a:solidFill>
              </a:rPr>
              <a:t>QoS for service-specific PDU </a:t>
            </a:r>
            <a:r>
              <a:rPr lang="en-US" sz="1100"/>
              <a:t>can be authorized or modified at session establishment or at any time during the lifetime of the session </a:t>
            </a:r>
          </a:p>
          <a:p>
            <a:endParaRPr lang="en-US" sz="1100"/>
          </a:p>
          <a:p>
            <a:pPr defTabSz="894937">
              <a:defRPr/>
            </a:pPr>
            <a:r>
              <a:rPr lang="en-US" sz="1100"/>
              <a:t>With Reflective QoS the UE marks the UL PDUs with the same QoS flow ID as the corresponding received DL PDUs. A consequence of using reflective mode is that when UE sends a PDU where no corresponding DL PDU have been previously received, this first UL PDU is always treated with default QoS in the network. If UE classification is based on explicit SDF filters or through Reflective QoS shall be an operator choice. It shall also be a operator choice if Reflective QoS shall apply to all flows within a PDU session, or if only some of the flows within the PDU session shall be reflective. </a:t>
            </a:r>
            <a:br>
              <a:rPr lang="en-US" sz="1100"/>
            </a:br>
            <a:r>
              <a:rPr lang="sv-SE" sz="1100" err="1"/>
              <a:t>Reflective</a:t>
            </a:r>
            <a:r>
              <a:rPr lang="sv-SE" sz="1100"/>
              <a:t> QoS </a:t>
            </a:r>
            <a:r>
              <a:rPr lang="sv-SE" sz="1100" err="1"/>
              <a:t>can</a:t>
            </a:r>
            <a:r>
              <a:rPr lang="sv-SE" sz="1100"/>
              <a:t> </a:t>
            </a:r>
            <a:r>
              <a:rPr lang="sv-SE" sz="1100" err="1"/>
              <a:t>both</a:t>
            </a:r>
            <a:r>
              <a:rPr lang="sv-SE" sz="1100"/>
              <a:t> be </a:t>
            </a:r>
            <a:r>
              <a:rPr lang="sv-SE" sz="1100" err="1"/>
              <a:t>used</a:t>
            </a:r>
            <a:r>
              <a:rPr lang="sv-SE" sz="1100"/>
              <a:t> to </a:t>
            </a:r>
            <a:r>
              <a:rPr lang="sv-SE" sz="1100" err="1"/>
              <a:t>minimize</a:t>
            </a:r>
            <a:r>
              <a:rPr lang="sv-SE" sz="1100"/>
              <a:t> the </a:t>
            </a:r>
            <a:r>
              <a:rPr lang="sv-SE" sz="1100" err="1"/>
              <a:t>need</a:t>
            </a:r>
            <a:r>
              <a:rPr lang="sv-SE" sz="1100"/>
              <a:t> </a:t>
            </a:r>
            <a:r>
              <a:rPr lang="sv-SE" sz="1100" err="1"/>
              <a:t>of</a:t>
            </a:r>
            <a:r>
              <a:rPr lang="sv-SE" sz="1100"/>
              <a:t> </a:t>
            </a:r>
            <a:r>
              <a:rPr lang="sv-SE" sz="1100" err="1"/>
              <a:t>control</a:t>
            </a:r>
            <a:r>
              <a:rPr lang="sv-SE" sz="1100"/>
              <a:t> </a:t>
            </a:r>
            <a:r>
              <a:rPr lang="sv-SE" sz="1100" err="1"/>
              <a:t>signalling</a:t>
            </a:r>
            <a:r>
              <a:rPr lang="sv-SE" sz="1100"/>
              <a:t> to the UE, and to make it </a:t>
            </a:r>
            <a:r>
              <a:rPr lang="sv-SE" sz="1100" err="1"/>
              <a:t>easier</a:t>
            </a:r>
            <a:r>
              <a:rPr lang="sv-SE" sz="1100"/>
              <a:t> to </a:t>
            </a:r>
            <a:r>
              <a:rPr lang="sv-SE" sz="1100" err="1"/>
              <a:t>classify</a:t>
            </a:r>
            <a:r>
              <a:rPr lang="sv-SE" sz="1100"/>
              <a:t> UL </a:t>
            </a:r>
            <a:r>
              <a:rPr lang="sv-SE" sz="1100" err="1"/>
              <a:t>traffic</a:t>
            </a:r>
            <a:r>
              <a:rPr lang="sv-SE" sz="1100"/>
              <a:t>, for </a:t>
            </a:r>
            <a:r>
              <a:rPr lang="sv-SE" sz="1100" err="1"/>
              <a:t>example</a:t>
            </a:r>
            <a:r>
              <a:rPr lang="sv-SE" sz="1100"/>
              <a:t> for service </a:t>
            </a:r>
            <a:r>
              <a:rPr lang="sv-SE" sz="1100" err="1"/>
              <a:t>with</a:t>
            </a:r>
            <a:r>
              <a:rPr lang="sv-SE" sz="1100"/>
              <a:t> </a:t>
            </a:r>
            <a:r>
              <a:rPr lang="sv-SE" sz="1100" err="1"/>
              <a:t>changing</a:t>
            </a:r>
            <a:r>
              <a:rPr lang="sv-SE" sz="1100"/>
              <a:t> IP </a:t>
            </a:r>
            <a:r>
              <a:rPr lang="sv-SE" sz="1100" err="1"/>
              <a:t>addresses</a:t>
            </a:r>
            <a:r>
              <a:rPr lang="sv-SE" sz="1100"/>
              <a:t>, or service </a:t>
            </a:r>
            <a:r>
              <a:rPr lang="sv-SE" sz="1100" err="1"/>
              <a:t>that</a:t>
            </a:r>
            <a:r>
              <a:rPr lang="sv-SE" sz="1100"/>
              <a:t> </a:t>
            </a:r>
            <a:r>
              <a:rPr lang="sv-SE" sz="1100" err="1"/>
              <a:t>requires</a:t>
            </a:r>
            <a:r>
              <a:rPr lang="sv-SE" sz="1100"/>
              <a:t> </a:t>
            </a:r>
            <a:r>
              <a:rPr lang="sv-SE" sz="1100" err="1"/>
              <a:t>heuristic</a:t>
            </a:r>
            <a:r>
              <a:rPr lang="sv-SE" sz="1100"/>
              <a:t> </a:t>
            </a:r>
            <a:r>
              <a:rPr lang="sv-SE" sz="1100" err="1"/>
              <a:t>detection</a:t>
            </a:r>
            <a:r>
              <a:rPr lang="sv-SE" sz="1100"/>
              <a:t> in the UPF for </a:t>
            </a:r>
            <a:r>
              <a:rPr lang="sv-SE" sz="1100" err="1"/>
              <a:t>classification</a:t>
            </a:r>
            <a:r>
              <a:rPr lang="sv-SE" sz="1100"/>
              <a:t>.</a:t>
            </a:r>
            <a:endParaRPr lang="en-US" sz="1100"/>
          </a:p>
          <a:p>
            <a:endParaRPr lang="en-US" sz="1100"/>
          </a:p>
          <a:p>
            <a:r>
              <a:rPr lang="en-US" sz="1100"/>
              <a:t>QoS parameters per QoS flow:</a:t>
            </a:r>
          </a:p>
          <a:p>
            <a:pPr marL="167800" indent="-167800">
              <a:buFont typeface="Arial" panose="020B0604020202020204" pitchFamily="34" charset="0"/>
              <a:buChar char="•"/>
            </a:pPr>
            <a:r>
              <a:rPr lang="en-US" sz="1100"/>
              <a:t>5G QoS indicator (5QI)</a:t>
            </a:r>
          </a:p>
          <a:p>
            <a:pPr marL="167800" indent="-167800">
              <a:buFont typeface="Arial" panose="020B0604020202020204" pitchFamily="34" charset="0"/>
              <a:buChar char="•"/>
            </a:pPr>
            <a:r>
              <a:rPr lang="en-US" sz="1100"/>
              <a:t>Allocation and Retention Priority (ARP)</a:t>
            </a:r>
          </a:p>
          <a:p>
            <a:pPr marL="167800" indent="-167800">
              <a:buFont typeface="Arial" panose="020B0604020202020204" pitchFamily="34" charset="0"/>
              <a:buChar char="•"/>
            </a:pPr>
            <a:r>
              <a:rPr lang="sv-SE" sz="1100"/>
              <a:t>Maximum </a:t>
            </a:r>
            <a:r>
              <a:rPr lang="sv-SE" sz="1100" err="1"/>
              <a:t>Flow</a:t>
            </a:r>
            <a:r>
              <a:rPr lang="sv-SE" sz="1100"/>
              <a:t> Bit Rate</a:t>
            </a:r>
          </a:p>
          <a:p>
            <a:pPr marL="167800" indent="-167800">
              <a:buFont typeface="Arial" panose="020B0604020202020204" pitchFamily="34" charset="0"/>
              <a:buChar char="•"/>
            </a:pPr>
            <a:r>
              <a:rPr lang="sv-SE" sz="1100" err="1"/>
              <a:t>Guaranteed</a:t>
            </a:r>
            <a:r>
              <a:rPr lang="sv-SE" sz="1100"/>
              <a:t> </a:t>
            </a:r>
            <a:r>
              <a:rPr lang="sv-SE" sz="1100" err="1"/>
              <a:t>Flow</a:t>
            </a:r>
            <a:r>
              <a:rPr lang="sv-SE" sz="1100"/>
              <a:t> Bit Rate</a:t>
            </a:r>
          </a:p>
          <a:p>
            <a:pPr marL="167800" indent="-167800">
              <a:buFont typeface="Arial" panose="020B0604020202020204" pitchFamily="34" charset="0"/>
              <a:buChar char="•"/>
            </a:pPr>
            <a:r>
              <a:rPr lang="sv-SE" sz="1100" err="1"/>
              <a:t>Notification</a:t>
            </a:r>
            <a:r>
              <a:rPr lang="sv-SE" sz="1100"/>
              <a:t> </a:t>
            </a:r>
            <a:r>
              <a:rPr lang="sv-SE" sz="1100" err="1"/>
              <a:t>control</a:t>
            </a:r>
            <a:r>
              <a:rPr lang="sv-SE" sz="1100"/>
              <a:t>. Controls </a:t>
            </a:r>
            <a:r>
              <a:rPr lang="sv-SE" sz="1100" err="1"/>
              <a:t>whether</a:t>
            </a:r>
            <a:r>
              <a:rPr lang="sv-SE" sz="1100"/>
              <a:t> </a:t>
            </a:r>
            <a:r>
              <a:rPr lang="sv-SE" sz="1100" err="1"/>
              <a:t>notification</a:t>
            </a:r>
            <a:r>
              <a:rPr lang="sv-SE" sz="1100"/>
              <a:t> </a:t>
            </a:r>
            <a:r>
              <a:rPr lang="sv-SE" sz="1100" err="1"/>
              <a:t>should</a:t>
            </a:r>
            <a:r>
              <a:rPr lang="sv-SE" sz="1100"/>
              <a:t> be </a:t>
            </a:r>
            <a:r>
              <a:rPr lang="sv-SE" sz="1100" err="1"/>
              <a:t>made</a:t>
            </a:r>
            <a:r>
              <a:rPr lang="sv-SE" sz="1100"/>
              <a:t> </a:t>
            </a:r>
            <a:r>
              <a:rPr lang="sv-SE" sz="1100" err="1"/>
              <a:t>if</a:t>
            </a:r>
            <a:r>
              <a:rPr lang="sv-SE" sz="1100"/>
              <a:t> the QoS </a:t>
            </a:r>
            <a:r>
              <a:rPr lang="sv-SE" sz="1100" err="1"/>
              <a:t>targets</a:t>
            </a:r>
            <a:r>
              <a:rPr lang="sv-SE" sz="1100"/>
              <a:t> </a:t>
            </a:r>
            <a:r>
              <a:rPr lang="sv-SE" sz="1100" err="1"/>
              <a:t>are</a:t>
            </a:r>
            <a:r>
              <a:rPr lang="sv-SE" sz="1100"/>
              <a:t> no </a:t>
            </a:r>
            <a:r>
              <a:rPr lang="sv-SE" sz="1100" err="1"/>
              <a:t>longer</a:t>
            </a:r>
            <a:r>
              <a:rPr lang="sv-SE" sz="1100"/>
              <a:t> fulfilled for a QoS </a:t>
            </a:r>
            <a:r>
              <a:rPr lang="sv-SE" sz="1100" err="1"/>
              <a:t>flow</a:t>
            </a:r>
            <a:endParaRPr lang="sv-SE" sz="1100"/>
          </a:p>
          <a:p>
            <a:endParaRPr lang="sv-SE" sz="1100"/>
          </a:p>
          <a:p>
            <a:r>
              <a:rPr lang="en-GB" sz="1100"/>
              <a:t>5QI is a scalar that is used as a reference to 5G QoS characteristics (resource type, priority level, packet delay budget, packet error rate). The scalar value for 5QI has two value ranges, one standardized value range and one non-standardized value range. The 5QI in the standardized value range have a one-to-one mapping to standardized combinations of 5G QoS characteristics. This mapping is specified in TS 23.501. For non-standardized 5QI values, the 5G QoS characteristics are signalled at the time of the QoS flow establishment. In 5GS, it is also possible to override the QoS characteristics of a QoS flow by signalling explicitly different QoS parameters (such as priority and/or service requirements). The explicitly signalled parameters override the parameters in the standardized (or non-standardized) combinations for the 5QI and allows for more flexible QoS target setting and a possibility to decouple flow priority and service requirements.</a:t>
            </a:r>
            <a:endParaRPr lang="sv-SE" sz="1100"/>
          </a:p>
          <a:p>
            <a:pPr marL="167800" indent="-167800">
              <a:buFont typeface="Arial" panose="020B0604020202020204" pitchFamily="34" charset="0"/>
              <a:buChar char="•"/>
            </a:pPr>
            <a:endParaRPr lang="sv-SE" sz="1100"/>
          </a:p>
          <a:p>
            <a:r>
              <a:rPr lang="sv-SE" sz="1100"/>
              <a:t>QoS parameters per PDU session</a:t>
            </a:r>
          </a:p>
          <a:p>
            <a:pPr marL="167800" indent="-167800">
              <a:buFont typeface="Arial" panose="020B0604020202020204" pitchFamily="34" charset="0"/>
              <a:buChar char="•"/>
            </a:pPr>
            <a:r>
              <a:rPr lang="en-US" sz="1100" i="1"/>
              <a:t>Aggregated session maximum bitrate</a:t>
            </a:r>
            <a:r>
              <a:rPr lang="en-US" sz="1100"/>
              <a:t> (UL and DL) for all PDU flows of a PDU session that do not require guaranteed flow bit rate.</a:t>
            </a:r>
            <a:endParaRPr lang="sv-SE" sz="1100"/>
          </a:p>
          <a:p>
            <a:pPr marL="167800" indent="-167800">
              <a:buFont typeface="Arial" panose="020B0604020202020204" pitchFamily="34" charset="0"/>
              <a:buChar char="•"/>
            </a:pPr>
            <a:r>
              <a:rPr lang="en-US" sz="1100" i="1"/>
              <a:t>Aggregated UE maximum bitrate </a:t>
            </a:r>
            <a:r>
              <a:rPr lang="en-US" sz="1100"/>
              <a:t>(UL and DL) for all PDU flows and sessions of a UE that do not require guaranteed flow bit rate.</a:t>
            </a:r>
            <a:endParaRPr lang="sv-SE" sz="1100"/>
          </a:p>
          <a:p>
            <a:pPr marL="167800" indent="-167800">
              <a:buFont typeface="Arial" panose="020B0604020202020204" pitchFamily="34" charset="0"/>
              <a:buChar char="•"/>
            </a:pPr>
            <a:endParaRPr lang="en-GB" sz="1100"/>
          </a:p>
          <a:p>
            <a:endParaRPr lang="en-US" sz="1100"/>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280F749C-9E71-4D12-A3B7-5BE76B5A907D}" type="slidenum">
              <a:rPr lang="en-US" smtClean="0"/>
              <a:t>59</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5838014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isting 3GPP subscriber credentials (i.e. IMSI based identifiers and USIM based long term shared secrets) will continue being the base for subscription authentication in the 5GC. IMSIs globally and uniquely identify the subscription within the 3GPP system and thus enables global availability and roaming. R99 USIMs (and onwards) currently used for 4G access should be also valid in 5G. </a:t>
            </a:r>
            <a:endParaRPr lang="en-GB"/>
          </a:p>
          <a:p>
            <a:endParaRPr lang="en-US"/>
          </a:p>
          <a:p>
            <a:r>
              <a:rPr lang="en-US"/>
              <a:t>Additionally, the 5GC shall allow the use of alternative credentials including additional subscription identifiers and/or related keys for example in order to support an industrial factory deployment where network access security is provided and managed by the factory owner with its identity management and authentication infrastructure. These alternative subscription credentials includes subscription identifiers not based on IMSI which shall be used in combination with alternative keys e.g. shared, private, or public keys.  </a:t>
            </a:r>
            <a:endParaRPr lang="en-GB"/>
          </a:p>
          <a:p>
            <a:r>
              <a:rPr lang="en-US"/>
              <a:t>NOTE: Subscriber certificates are good candidates to be allowed as alternative keys in the 5GC.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200" kern="1200">
                <a:solidFill>
                  <a:schemeClr val="tx1"/>
                </a:solidFill>
                <a:effectLst/>
                <a:latin typeface="Arial" charset="0"/>
                <a:ea typeface="+mn-ea"/>
                <a:cs typeface="+mn-cs"/>
              </a:rPr>
              <a:t>In Rel16 there are already some deployment cases which may require the use of these alternative credentials/auth methods.</a:t>
            </a:r>
            <a:endParaRPr lang="en-GB"/>
          </a:p>
          <a:p>
            <a:r>
              <a:rPr lang="en-GB"/>
              <a:t> </a:t>
            </a:r>
          </a:p>
          <a:p>
            <a:r>
              <a:rPr lang="en-GB"/>
              <a:t>It has been agreed in 3GPP that subscription identifiers not based on IMSI use the IETF NAI format and it shall be possible for a representation of an IMSI to be also encoded in NAI format, e.g. as currently in EPC integrated non-3GPP accesses. 3GPP has then defined a common term to address IMSI and non-IMSI based subscription identifiers, Subscription Permanent Identifier (SUPI).  </a:t>
            </a:r>
          </a:p>
          <a:p>
            <a:r>
              <a:rPr lang="en-GB"/>
              <a:t> </a:t>
            </a:r>
          </a:p>
          <a:p>
            <a:r>
              <a:rPr lang="en-US"/>
              <a:t>Technically it should be possible for a non-IMSI based SUPI to become globally routable across 5GCs based on the realm part of a NAI using alternative encodings for the home domain not based on MNC/MCC. It is however not clear if the industry will be ready to agree and deploy these alternative globally routable methods in the initial phase and thus, the use of SUPIs not based on IMSI is limited to non-roaming cases only until these are available (i.e. after Rel-15 timeframe).</a:t>
            </a:r>
            <a:endParaRPr lang="en-GB"/>
          </a:p>
          <a:p>
            <a:r>
              <a:rPr lang="en-US"/>
              <a:t>It shall be possible to use IMSI based SUPIs in combination with alternative keys. </a:t>
            </a:r>
            <a:endParaRPr lang="en-GB"/>
          </a:p>
          <a:p>
            <a:endParaRPr lang="en-US"/>
          </a:p>
          <a:p>
            <a:r>
              <a:rPr lang="en-US"/>
              <a:t>Finally, SUPIs will be subject to enhanced privacy protection in the 5G system. It is expected that the SUPI will never be used in clear text by the UE. During registration, the UE will conceal the SUPI (if a valid temporal subscription identifier is not available at the UE) using a HN public key  creating a Subscription Concealed Identifier, SUCI. The encryption function to form the SUCI shall apply certain level of randomness every time it is used. Routing information (like the MCC/MNC) is not hidden over the air-interface, and can be sent in clear text. Provisioning of the HN public key to the UE is still open but will likely be stored in UICC or ME.</a:t>
            </a:r>
            <a:endParaRPr lang="en-GB"/>
          </a:p>
          <a:p>
            <a:endParaRPr lang="en-US"/>
          </a:p>
          <a:p>
            <a:r>
              <a:rPr lang="en-US"/>
              <a:t>The HPLMN decrypts the SUCI using the HN private key and enables the use of plain text SUPI within the 5GC from that moment on. A Subscription Identifier De-concealing Function (SIDF) has been defined for this purpose which will be most probably co-located with UDM.  </a:t>
            </a:r>
            <a:endParaRPr lang="en-GB"/>
          </a:p>
          <a:p>
            <a:endParaRPr lang="en-US"/>
          </a:p>
          <a:p>
            <a:r>
              <a:rPr lang="en-US"/>
              <a:t>In subsequent communications between UE and 5GC, temporary subscription identifiers will be used similarly as currently used in EPC (e.g. GUTI). Enhance functions and guidelines for the generation and refresh of such temporal subscription identifiers will be also defined in 3GPP during Rel-15.  </a:t>
            </a:r>
            <a:endParaRPr lang="en-GB"/>
          </a:p>
          <a:p>
            <a:pPr hangingPunct="0"/>
            <a:endParaRPr lang="en-GB" sz="1100">
              <a:solidFill>
                <a:schemeClr val="accent2"/>
              </a:solidFill>
            </a:endParaRP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021DAE9B-2F4E-4073-B6EE-4521756CF13D}" type="slidenum">
              <a:rPr lang="en-US" smtClean="0"/>
              <a:t>60</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575189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use of alternative subscriber credentials requires that the 5GC supports the corresponding alternative authentication methods (other than AKA based authentication). </a:t>
            </a:r>
          </a:p>
          <a:p>
            <a:r>
              <a:rPr lang="en-GB" sz="1200" kern="1200">
                <a:solidFill>
                  <a:schemeClr val="tx1"/>
                </a:solidFill>
                <a:effectLst/>
                <a:latin typeface="Arial" charset="0"/>
                <a:ea typeface="+mn-ea"/>
                <a:cs typeface="+mn-cs"/>
              </a:rPr>
              <a:t>In Rel16 there are already some deployment cases which may require the use of these alternative credentials/auth methods.</a:t>
            </a:r>
            <a:endParaRPr lang="en-US"/>
          </a:p>
          <a:p>
            <a:r>
              <a:rPr lang="en-US"/>
              <a:t>In order to integrate the support for AKA based authentication with the support of alternative authentication methods in a unified and access agnostic manner, Ericsson has promoted in 3GPP a unified authentication architecture in the 5GC based on the Extensible Authentication Protocol (EAP) Framework.</a:t>
            </a:r>
            <a:endParaRPr lang="en-GB"/>
          </a:p>
          <a:p>
            <a:endParaRPr lang="en-US"/>
          </a:p>
          <a:p>
            <a:r>
              <a:rPr lang="en-US"/>
              <a:t>In addition to the support of EAP framework in 3GPP and non-3GPP accesses for AKA and alternative authentication methods, 3GPP has agreed to also allow the execution of 5G-AKA, an evolution of the EPS-AKA  mechanism which allows an increased HN control of authentication in par with EAP principles (i.e. the authentication result in 5G-AKA is only partially verified at AMF, full validation of the challenge response from the UE is done at the AUSF in the HN). </a:t>
            </a:r>
            <a:r>
              <a:rPr lang="en-GB"/>
              <a:t>5G-AKA is also possible in non-3GPP access as per recent agreement in 3GPP</a:t>
            </a:r>
            <a:r>
              <a:rPr lang="en-US"/>
              <a:t> (</a:t>
            </a:r>
            <a:r>
              <a:rPr lang="en-US" err="1"/>
              <a:t>dec</a:t>
            </a:r>
            <a:r>
              <a:rPr lang="en-US"/>
              <a:t> 2017).   </a:t>
            </a:r>
            <a:endParaRPr lang="en-GB"/>
          </a:p>
          <a:p>
            <a:endParaRPr lang="en-US"/>
          </a:p>
          <a:p>
            <a:r>
              <a:rPr lang="en-US"/>
              <a:t>Authentication signaling is triggered from AMF within the 5G Core Control plane. Authentication Requests will be sent from the AMF (more precisely from the Security Anchor Function, SEAF, within the AMF) to the Authentication Server Function AUSF which always resides in the HPLMN. AUSF requests authentication information to UDM/ARPF which decides the corresponding authentication method for the user based on the type of access network indicated by AMF via AUSF and the subscription information available at the UDM/ARPF function.</a:t>
            </a:r>
            <a:endParaRPr lang="en-GB"/>
          </a:p>
          <a:p>
            <a:endParaRPr lang="en-US"/>
          </a:p>
          <a:p>
            <a:r>
              <a:rPr lang="en-US"/>
              <a:t>When EAP is used, the AMF/SEAF will act as EAP authenticator and the AUSF will act as EAP server.  </a:t>
            </a:r>
            <a:endParaRPr lang="en-GB"/>
          </a:p>
          <a:p>
            <a:r>
              <a:rPr lang="en-US"/>
              <a:t>When existing 3GPP subscriber credentials are available, user authentication will use AKA authentication vectors generated by the UDM function (acting as Authentication credential Repository and Processing Function, ARPF). Based on local (slice) configuration AUSF can choose to use the authentication vectors executing EAP-AKA’ or 5G-AKA.</a:t>
            </a:r>
            <a:endParaRPr lang="en-GB"/>
          </a:p>
          <a:p>
            <a:endParaRPr lang="en-US"/>
          </a:p>
          <a:p>
            <a:r>
              <a:rPr lang="en-US"/>
              <a:t>When alternative subscriber credentials are available, user authentication will be according to the corresponding EAP method. Alternative authentication methods will not be defined by 3GPP but  EAP-TLS will be presented in an informative annex as an example. AUSF/ARPF interactions in relation to alternative credentials will not be defined by 3GPP either. Ericsson Certificate Authority Server (ECAS) could be considered an ARPF for alternative credentials based on user certificates. </a:t>
            </a:r>
            <a:endParaRPr lang="en-GB"/>
          </a:p>
          <a:p>
            <a:endParaRPr lang="en-US"/>
          </a:p>
          <a:p>
            <a:r>
              <a:rPr lang="en-US"/>
              <a:t>For Authentication Requests corresponding to subscribers for which (alternative) subscriber credentials are managed by an external Identity provider, AUSF may also terminate EAP and fetch user credentials from the external ID provider or the request may  be sent towards the external Identity provider (acting as EAP server) via the AUSF (acting as a proxy server). </a:t>
            </a:r>
            <a:endParaRPr lang="en-GB"/>
          </a:p>
          <a:p>
            <a:endParaRPr lang="en-GB" sz="1100"/>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F75A4AFB-6827-4B54-990D-9BB4CC86F702}" type="slidenum">
              <a:rPr lang="en-US" smtClean="0"/>
              <a:t>61</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4100154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6</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1587949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u="sng" kern="1200">
                <a:solidFill>
                  <a:schemeClr val="tx1"/>
                </a:solidFill>
                <a:effectLst/>
                <a:latin typeface="Arial" charset="0"/>
                <a:ea typeface="+mn-ea"/>
                <a:cs typeface="+mn-cs"/>
              </a:rPr>
              <a:t>The previous </a:t>
            </a:r>
            <a:r>
              <a:rPr lang="en-GB" sz="1200" kern="1200">
                <a:solidFill>
                  <a:schemeClr val="tx1"/>
                </a:solidFill>
                <a:effectLst/>
                <a:latin typeface="Arial" charset="0"/>
                <a:ea typeface="+mn-ea"/>
                <a:cs typeface="+mn-cs"/>
              </a:rPr>
              <a:t>slide depicts the possibility to IWK with an external authentication infra (e.g. AAA based) for primary authentication. 3GPP is currently discussing these scenarios as part of the </a:t>
            </a:r>
            <a:r>
              <a:rPr lang="en-GB" sz="1200" kern="1200" err="1">
                <a:solidFill>
                  <a:schemeClr val="tx1"/>
                </a:solidFill>
                <a:effectLst/>
                <a:latin typeface="Arial" charset="0"/>
                <a:ea typeface="+mn-ea"/>
                <a:cs typeface="+mn-cs"/>
              </a:rPr>
              <a:t>eNPN</a:t>
            </a:r>
            <a:r>
              <a:rPr lang="en-GB" sz="1200" kern="1200">
                <a:solidFill>
                  <a:schemeClr val="tx1"/>
                </a:solidFill>
                <a:effectLst/>
                <a:latin typeface="Arial" charset="0"/>
                <a:ea typeface="+mn-ea"/>
                <a:cs typeface="+mn-cs"/>
              </a:rPr>
              <a:t> WID in Rel17 but Ericsson had this possibility on the radar as a key property of the primary authentication architecture defined back in Rel-15. Typically the AAA used in the </a:t>
            </a:r>
            <a:r>
              <a:rPr lang="en-GB" sz="1200" u="sng" kern="1200">
                <a:solidFill>
                  <a:schemeClr val="tx1"/>
                </a:solidFill>
                <a:effectLst/>
                <a:latin typeface="Arial" charset="0"/>
                <a:ea typeface="+mn-ea"/>
                <a:cs typeface="+mn-cs"/>
              </a:rPr>
              <a:t>previous slide</a:t>
            </a:r>
            <a:r>
              <a:rPr lang="en-GB" sz="1200" kern="1200">
                <a:solidFill>
                  <a:schemeClr val="tx1"/>
                </a:solidFill>
                <a:effectLst/>
                <a:latin typeface="Arial" charset="0"/>
                <a:ea typeface="+mn-ea"/>
                <a:cs typeface="+mn-cs"/>
              </a:rPr>
              <a:t> would be an existing AAA-S already deployed and available at the vertical i.e. likely provided by a third party. </a:t>
            </a:r>
            <a:endParaRPr lang="sv-SE" sz="1200" kern="1200">
              <a:solidFill>
                <a:schemeClr val="tx1"/>
              </a:solidFill>
              <a:effectLst/>
              <a:latin typeface="Arial" charset="0"/>
              <a:ea typeface="+mn-ea"/>
              <a:cs typeface="+mn-cs"/>
            </a:endParaRPr>
          </a:p>
          <a:p>
            <a:endParaRPr lang="sv-SE" sz="1200" kern="120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200" kern="1200">
                <a:solidFill>
                  <a:schemeClr val="tx1"/>
                </a:solidFill>
                <a:effectLst/>
                <a:latin typeface="Arial" charset="0"/>
                <a:ea typeface="+mn-ea"/>
                <a:cs typeface="+mn-cs"/>
              </a:rPr>
              <a:t>It is likely to be a similar situation for the AAA-S used for secondary authentication and NSSAA in this slide. These are in principle off the self IETF AAA servers external to the 3GPP domain (i.e. no 3GPP specifics) and can be provided by any AAA-vendor. For the secondary authentication, Ericsson indeed supported the required the AAA functionality for equivalent functionality in EPC but it is still uncertain if such AAA-S functionality will be part of our 5GS portfolio.</a:t>
            </a:r>
            <a:br>
              <a:rPr lang="en-GB" sz="1200" kern="1200">
                <a:solidFill>
                  <a:schemeClr val="tx1"/>
                </a:solidFill>
                <a:effectLst/>
                <a:latin typeface="Arial" charset="0"/>
                <a:ea typeface="+mn-ea"/>
                <a:cs typeface="+mn-cs"/>
              </a:rPr>
            </a:br>
            <a:r>
              <a:rPr lang="en-US" sz="1200" kern="1200">
                <a:solidFill>
                  <a:schemeClr val="tx1"/>
                </a:solidFill>
                <a:effectLst/>
                <a:latin typeface="Arial" charset="0"/>
                <a:ea typeface="+mn-ea"/>
                <a:cs typeface="+mn-cs"/>
              </a:rPr>
              <a:t>Regarding NSSAAF, it is also unclear yet if/how it will be part of 5GS portfolio. </a:t>
            </a:r>
            <a:endParaRPr lang="sv-SE" sz="1200" kern="1200">
              <a:solidFill>
                <a:schemeClr val="tx1"/>
              </a:solidFill>
              <a:effectLst/>
              <a:latin typeface="Arial" charset="0"/>
              <a:ea typeface="+mn-ea"/>
              <a:cs typeface="+mn-cs"/>
            </a:endParaRPr>
          </a:p>
          <a:p>
            <a:endParaRPr lang="sv-SE" sz="1200" kern="1200">
              <a:solidFill>
                <a:schemeClr val="tx1"/>
              </a:solidFill>
              <a:effectLst/>
              <a:latin typeface="Arial" charset="0"/>
              <a:ea typeface="+mn-ea"/>
              <a:cs typeface="+mn-cs"/>
            </a:endParaRPr>
          </a:p>
          <a:p>
            <a:endParaRPr lang="en-US"/>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5852353D-F306-481A-B3D0-C36CE0BF9563}" type="slidenum">
              <a:rPr lang="en-US" smtClean="0"/>
              <a:pPr/>
              <a:t>62</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18015021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he UDM function of the 5GC system is considered to be an evolution of the HSS/</a:t>
            </a:r>
            <a:r>
              <a:rPr lang="en-US" err="1"/>
              <a:t>AuC</a:t>
            </a:r>
            <a:r>
              <a:rPr lang="en-US"/>
              <a:t> providing support for the following functionalities: </a:t>
            </a:r>
            <a:endParaRPr lang="en-GB"/>
          </a:p>
          <a:p>
            <a:pPr marL="167800" indent="-167800">
              <a:buFont typeface="Arial" panose="020B0604020202020204" pitchFamily="34" charset="0"/>
              <a:buChar char="•"/>
            </a:pPr>
            <a:r>
              <a:rPr lang="en-US"/>
              <a:t>ARPF for the storage of the security credentials used to authenticate users in the 5GC using AKA based authentication credentials.</a:t>
            </a:r>
            <a:endParaRPr lang="en-GB"/>
          </a:p>
          <a:p>
            <a:pPr marL="167800" indent="-167800">
              <a:buFont typeface="Arial" panose="020B0604020202020204" pitchFamily="34" charset="0"/>
              <a:buChar char="•"/>
            </a:pPr>
            <a:r>
              <a:rPr lang="en-US"/>
              <a:t>Subscriber profile management. </a:t>
            </a:r>
            <a:endParaRPr lang="en-GB"/>
          </a:p>
          <a:p>
            <a:pPr marL="167800" indent="-167800">
              <a:buFont typeface="Arial" panose="020B0604020202020204" pitchFamily="34" charset="0"/>
              <a:buChar char="•"/>
            </a:pPr>
            <a:r>
              <a:rPr lang="en-US"/>
              <a:t>User access authorization based on stored subscription profiles.</a:t>
            </a:r>
            <a:endParaRPr lang="en-GB"/>
          </a:p>
          <a:p>
            <a:pPr marL="167800" indent="-167800">
              <a:buFont typeface="Arial" panose="020B0604020202020204" pitchFamily="34" charset="0"/>
              <a:buChar char="•"/>
            </a:pPr>
            <a:r>
              <a:rPr lang="en-US"/>
              <a:t>Location/Mobility Management support.</a:t>
            </a:r>
            <a:endParaRPr lang="en-GB"/>
          </a:p>
          <a:p>
            <a:endParaRPr lang="en-US"/>
          </a:p>
          <a:p>
            <a:r>
              <a:rPr lang="en-US"/>
              <a:t>Compared to the interactions between HSS and EPC where only diameter based reference point to MME was defined (i.e. S6a), the interactions between UDM and the 5GC will be defined as services offered to AUSF (for authentication) and AMF, SMF and SMSF (for NF registration and subscription data management). </a:t>
            </a:r>
            <a:endParaRPr lang="en-GB"/>
          </a:p>
          <a:p>
            <a:endParaRPr lang="en-US"/>
          </a:p>
          <a:p>
            <a:r>
              <a:rPr lang="en-US"/>
              <a:t>Authentication procedures are executed between the UE and the AUSF via the AMF using the </a:t>
            </a:r>
            <a:r>
              <a:rPr lang="en-US" err="1"/>
              <a:t>Nausf</a:t>
            </a:r>
            <a:r>
              <a:rPr lang="en-US"/>
              <a:t> service. . For AKA based </a:t>
            </a:r>
            <a:r>
              <a:rPr lang="en-US" err="1"/>
              <a:t>authentication,the</a:t>
            </a:r>
            <a:r>
              <a:rPr lang="en-US"/>
              <a:t> AUSF interacts with UDM/ARPF for </a:t>
            </a:r>
            <a:r>
              <a:rPr lang="en-US" err="1"/>
              <a:t>retrival</a:t>
            </a:r>
            <a:r>
              <a:rPr lang="en-US"/>
              <a:t> of an AKA Authentication Vector using an </a:t>
            </a:r>
            <a:r>
              <a:rPr lang="en-US" err="1"/>
              <a:t>Nudm</a:t>
            </a:r>
            <a:r>
              <a:rPr lang="en-US"/>
              <a:t> service.  </a:t>
            </a:r>
            <a:endParaRPr lang="en-GB"/>
          </a:p>
          <a:p>
            <a:r>
              <a:rPr lang="en-US"/>
              <a:t>The AMF interacts with UDM in relation to access profile management and location management procedures using an </a:t>
            </a:r>
            <a:r>
              <a:rPr lang="en-US" err="1"/>
              <a:t>Nudm</a:t>
            </a:r>
            <a:r>
              <a:rPr lang="en-US"/>
              <a:t> service. </a:t>
            </a:r>
            <a:endParaRPr lang="en-GB"/>
          </a:p>
          <a:p>
            <a:endParaRPr lang="en-US"/>
          </a:p>
          <a:p>
            <a:r>
              <a:rPr lang="en-US"/>
              <a:t>In addition, 3GPP has defined the retrieval of subscription profile relevant for the SMF (i.e. service profile) directly from the SMF using an </a:t>
            </a:r>
            <a:r>
              <a:rPr lang="en-US" err="1"/>
              <a:t>Nudm</a:t>
            </a:r>
            <a:r>
              <a:rPr lang="en-US"/>
              <a:t> service. </a:t>
            </a:r>
            <a:endParaRPr lang="en-GB"/>
          </a:p>
          <a:p>
            <a:endParaRPr lang="en-US"/>
          </a:p>
          <a:p>
            <a:r>
              <a:rPr lang="en-US"/>
              <a:t>3GPP has also defined that the SMS support provided in EPC in MME will be provided in 5GC by a new SMS Function, SMSF. It has been also defined that the SMSF interacts with UDM for registration and subscription data retrieval using an </a:t>
            </a:r>
            <a:r>
              <a:rPr lang="en-US" err="1"/>
              <a:t>Nudm</a:t>
            </a:r>
            <a:r>
              <a:rPr lang="en-US"/>
              <a:t> service (see 13.3). </a:t>
            </a:r>
            <a:endParaRPr lang="en-GB"/>
          </a:p>
          <a:p>
            <a:r>
              <a:rPr lang="en-US"/>
              <a:t>NOTE: 	Definition of </a:t>
            </a:r>
            <a:r>
              <a:rPr lang="en-US" err="1"/>
              <a:t>Nudm</a:t>
            </a:r>
            <a:r>
              <a:rPr lang="en-US"/>
              <a:t> services is ongoing. At this moment AMF, SMF and SMSF use the same set of </a:t>
            </a:r>
            <a:r>
              <a:rPr lang="en-US" err="1"/>
              <a:t>Nudm</a:t>
            </a:r>
            <a:r>
              <a:rPr lang="en-US"/>
              <a:t> services for NF registration/de-registration in UDM and subscription data management. AUSF uses a dedicated </a:t>
            </a:r>
            <a:r>
              <a:rPr lang="en-US" err="1"/>
              <a:t>Nudm</a:t>
            </a:r>
            <a:r>
              <a:rPr lang="en-US"/>
              <a:t> service to retrieve authentication information from UDM and exposes an </a:t>
            </a:r>
            <a:r>
              <a:rPr lang="en-US" err="1"/>
              <a:t>Nausf</a:t>
            </a:r>
            <a:r>
              <a:rPr lang="en-US"/>
              <a:t> service to AMF to execute authentication.  </a:t>
            </a:r>
            <a:endParaRPr lang="en-GB"/>
          </a:p>
          <a:p>
            <a:endParaRPr lang="en-US"/>
          </a:p>
          <a:p>
            <a:r>
              <a:rPr lang="en-US"/>
              <a:t>Additionally, UDM interactions in relation to exposure i.e. NEF/SCEF will be also defined using the new Service Based Interaction paradigm. Exposure interactions are being defined as an independent service in each NF and UDM offers a </a:t>
            </a:r>
            <a:r>
              <a:rPr lang="en-US" err="1"/>
              <a:t>Nudm</a:t>
            </a:r>
            <a:r>
              <a:rPr lang="en-US"/>
              <a:t> service for exposure accordingly. </a:t>
            </a:r>
            <a:endParaRPr lang="en-GB"/>
          </a:p>
          <a:p>
            <a:pPr lvl="1"/>
            <a:endParaRPr lang="en-US" sz="1100" i="1"/>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531724D0-681F-46FA-B0A8-E40D2AB4414C}" type="slidenum">
              <a:rPr lang="en-US" smtClean="0"/>
              <a:t>63</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15306336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bscription Management in the 5GC allows a realization according to the 3GPP User Data Consolidation (UDC) architecture defined in [3GPP TS 23.335]. This implies that the subscriber profiles required by the 5GC are managed (i.e. provisioned, stored and maintained/updated as required) in a User Data Repository (UDR). Centralization of subscriber profiles simplifies the provisioning of subscriber data in the 5GC. Ericsson implements 3GPP UDR in the Centralized User Data Base (CUDB).</a:t>
            </a:r>
            <a:endParaRPr lang="en-GB"/>
          </a:p>
          <a:p>
            <a:endParaRPr lang="en-US"/>
          </a:p>
          <a:p>
            <a:r>
              <a:rPr lang="en-US"/>
              <a:t>NOTE: 	There are reactions in 3GPP to refer to UDC concepts and therefore UDR rather refers to a Unified Data Repository and an SBA based </a:t>
            </a:r>
            <a:r>
              <a:rPr lang="en-US" err="1"/>
              <a:t>Nudr</a:t>
            </a:r>
            <a:r>
              <a:rPr lang="en-US"/>
              <a:t> services may be defined instead of LDAP/SOAP as in </a:t>
            </a:r>
            <a:r>
              <a:rPr lang="en-US" err="1"/>
              <a:t>Ud</a:t>
            </a:r>
            <a:r>
              <a:rPr lang="en-US"/>
              <a:t>. </a:t>
            </a:r>
            <a:endParaRPr lang="en-GB"/>
          </a:p>
          <a:p>
            <a:endParaRPr lang="en-US"/>
          </a:p>
          <a:p>
            <a:r>
              <a:rPr lang="en-US"/>
              <a:t>The subscription profiles required by the 5GC and stored in UDR include: </a:t>
            </a:r>
            <a:endParaRPr lang="en-GB"/>
          </a:p>
          <a:p>
            <a:pPr marL="167800" indent="-167800">
              <a:buFont typeface="Arial" panose="020B0604020202020204" pitchFamily="34" charset="0"/>
              <a:buChar char="•"/>
            </a:pPr>
            <a:r>
              <a:rPr lang="en-US"/>
              <a:t>Security Profile (e.g. authentication vectors, alternative credentials),</a:t>
            </a:r>
          </a:p>
          <a:p>
            <a:pPr marL="167800" indent="-167800">
              <a:buFont typeface="Arial" panose="020B0604020202020204" pitchFamily="34" charset="0"/>
              <a:buChar char="•"/>
            </a:pPr>
            <a:r>
              <a:rPr lang="en-US"/>
              <a:t>Access/Mobility profile (e.g. Roaming Restrictions, Allowed RAT types, default MoD settings, …),</a:t>
            </a:r>
            <a:endParaRPr lang="en-GB"/>
          </a:p>
          <a:p>
            <a:pPr marL="167800" indent="-167800">
              <a:buFont typeface="Arial" panose="020B0604020202020204" pitchFamily="34" charset="0"/>
              <a:buChar char="•"/>
            </a:pPr>
            <a:r>
              <a:rPr lang="en-US"/>
              <a:t>Service profile (e.g. allowed APN/DNNs, default QoS settings, …).</a:t>
            </a:r>
            <a:endParaRPr lang="en-GB"/>
          </a:p>
          <a:p>
            <a:pPr marL="167800" indent="-167800">
              <a:buFont typeface="Arial" panose="020B0604020202020204" pitchFamily="34" charset="0"/>
              <a:buChar char="•"/>
            </a:pPr>
            <a:r>
              <a:rPr lang="en-US"/>
              <a:t>Policy profile (e.g. subscriber's usage monitoring related information, subscriber’s allowed services, …). </a:t>
            </a:r>
          </a:p>
          <a:p>
            <a:pPr marL="167800" indent="-167800">
              <a:buFont typeface="Arial" panose="020B0604020202020204" pitchFamily="34" charset="0"/>
              <a:buChar char="•"/>
            </a:pPr>
            <a:endParaRPr lang="en-US"/>
          </a:p>
          <a:p>
            <a:r>
              <a:rPr lang="en-US"/>
              <a:t>The UDM and PCF functions interact with the UDR over  </a:t>
            </a:r>
            <a:r>
              <a:rPr lang="en-US" err="1"/>
              <a:t>Nudr</a:t>
            </a:r>
            <a:r>
              <a:rPr lang="en-US"/>
              <a:t> services  to manage the required subscription data as shown in the following figure. </a:t>
            </a:r>
          </a:p>
          <a:p>
            <a:endParaRPr lang="en-US"/>
          </a:p>
          <a:p>
            <a:r>
              <a:rPr lang="en-US"/>
              <a:t>Additionally, 3GPP has decided to extend the use of UDR to also store structured data for exposure and application data (including e.g. PFDF) used by the NEF. It will be possible however that the UDR instance used by NEF is different from the one used by UDM and PCF. </a:t>
            </a:r>
            <a:endParaRPr lang="en-GB"/>
          </a:p>
          <a:p>
            <a:endParaRPr lang="en-GB"/>
          </a:p>
          <a:p>
            <a:pPr lvl="1"/>
            <a:endParaRPr lang="en-US" sz="1100" i="1"/>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EA01840D-81BA-4E72-99DB-D377FDC9F1B4}" type="slidenum">
              <a:rPr lang="en-US" smtClean="0"/>
              <a:t>64</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6456686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a:p>
            <a:r>
              <a:rPr lang="en-US"/>
              <a:t>In order to enable smooth migration and co-existence scenarios with 4G/LTE, these profiles are considered to be an evolution of the corresponding security, access, service and policy subscription profiles used in EPC including 5G specific parameters and information elements (e.g. credentials for alternative authentication methods, default settings for Mobility on demand and for the equivalent to QoS parameters in 5GC, …). This will allow that an existing 4G subscription can be easily enabled for use over the 5GC reference points without the need to provision a complete new 5G subscription. </a:t>
            </a:r>
            <a:endParaRPr lang="en-GB"/>
          </a:p>
          <a:p>
            <a:endParaRPr lang="en-US"/>
          </a:p>
          <a:p>
            <a:r>
              <a:rPr lang="en-US"/>
              <a:t>Legacy EPC will keep on using existing reference points towards HSS-EPC (i.e. S6a/</a:t>
            </a:r>
            <a:r>
              <a:rPr lang="en-US" err="1"/>
              <a:t>SWx</a:t>
            </a:r>
            <a:r>
              <a:rPr lang="en-US"/>
              <a:t>). The interactions between the HSS-EPC and the UDM shall be kept internal and not specified in 3GPP </a:t>
            </a:r>
            <a:r>
              <a:rPr lang="en-US" u="none">
                <a:solidFill>
                  <a:srgbClr val="FF0000"/>
                </a:solidFill>
              </a:rPr>
              <a:t>… at least in R15 (a study has been requested for R16 where a likely result maybe that an interface between UDM and HSS is defined). </a:t>
            </a:r>
          </a:p>
          <a:p>
            <a:endParaRPr lang="en-US"/>
          </a:p>
          <a:p>
            <a:r>
              <a:rPr lang="en-US"/>
              <a:t>LCS/GMLC has evolved to SBA too and interacts using SBA service operations with UDM (to get serving AMF) and AMF using SBA service operations. Diameter </a:t>
            </a:r>
            <a:r>
              <a:rPr lang="en-US" err="1"/>
              <a:t>SLh</a:t>
            </a:r>
            <a:r>
              <a:rPr lang="en-US"/>
              <a:t> is still available for the GMLC to fetch serving MME.  </a:t>
            </a:r>
          </a:p>
          <a:p>
            <a:endParaRPr lang="en-US"/>
          </a:p>
          <a:p>
            <a:r>
              <a:rPr lang="en-US"/>
              <a:t>However, the interactions with IMS and SMS service platforms keep on using the same reference points as currently defined towards HSS (i.e. </a:t>
            </a:r>
            <a:r>
              <a:rPr lang="en-US" err="1"/>
              <a:t>Cx</a:t>
            </a:r>
            <a:r>
              <a:rPr lang="en-US"/>
              <a:t>/</a:t>
            </a:r>
            <a:r>
              <a:rPr lang="en-US" err="1"/>
              <a:t>Sh</a:t>
            </a:r>
            <a:r>
              <a:rPr lang="en-US"/>
              <a:t> for IMS and MAP/S6c for SMS/GMSC). In practice our SMS solution can only use MAP nowadays so an alternative based on SBI interactions is being promoted to avoid impacts on our legacy HLR. This alternative has not been accepted within R15 but will be </a:t>
            </a:r>
            <a:r>
              <a:rPr lang="en-US" err="1"/>
              <a:t>persued</a:t>
            </a:r>
            <a:r>
              <a:rPr lang="en-US"/>
              <a:t> for R16. </a:t>
            </a:r>
            <a:endParaRPr lang="en-GB"/>
          </a:p>
          <a:p>
            <a:endParaRPr lang="en-US"/>
          </a:p>
          <a:p>
            <a:endParaRPr lang="en-US" sz="1000"/>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12167E45-244F-4A01-A691-4922E7900EA6}" type="slidenum">
              <a:rPr lang="en-US" smtClean="0"/>
              <a:t>65</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4830800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C666EA9A-B3D1-4207-91B8-27D8A2D737BB}"/>
              </a:ext>
            </a:extLst>
          </p:cNvPr>
          <p:cNvSpPr>
            <a:spLocks noGrp="1" noRot="1" noChangeAspect="1" noChangeArrowheads="1" noTextEdit="1"/>
          </p:cNvSpPr>
          <p:nvPr>
            <p:ph type="sldImg"/>
          </p:nvPr>
        </p:nvSpPr>
        <p:spPr>
          <a:ln/>
        </p:spPr>
      </p:sp>
      <p:sp>
        <p:nvSpPr>
          <p:cNvPr id="10243" name="Notes Placeholder 2">
            <a:extLst>
              <a:ext uri="{FF2B5EF4-FFF2-40B4-BE49-F238E27FC236}">
                <a16:creationId xmlns:a16="http://schemas.microsoft.com/office/drawing/2014/main" id="{C7A84E48-0358-4641-B51D-9CA6C76D318F}"/>
              </a:ext>
            </a:extLst>
          </p:cNvPr>
          <p:cNvSpPr>
            <a:spLocks noGrp="1" noChangeArrowheads="1"/>
          </p:cNvSpPr>
          <p:nvPr>
            <p:ph type="body" idx="1"/>
          </p:nvPr>
        </p:nvSpPr>
        <p:spPr>
          <a:noFill/>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a:solidFill>
                  <a:schemeClr val="tx1"/>
                </a:solidFill>
                <a:effectLst/>
                <a:latin typeface="Arial" charset="0"/>
                <a:ea typeface="+mn-ea"/>
                <a:cs typeface="+mn-cs"/>
              </a:rPr>
              <a:t>In Ericsson Rel-15 products a pre-std version of UDICOM is included</a:t>
            </a:r>
            <a:endParaRPr lang="es-ES" altLang="en-US"/>
          </a:p>
          <a:p>
            <a:endParaRPr lang="es-ES" altLang="en-US"/>
          </a:p>
          <a:p>
            <a:r>
              <a:rPr lang="es-ES" altLang="en-US" err="1"/>
              <a:t>The</a:t>
            </a:r>
            <a:r>
              <a:rPr lang="es-ES" altLang="en-US"/>
              <a:t> figure </a:t>
            </a:r>
            <a:r>
              <a:rPr lang="es-ES" altLang="en-US" err="1"/>
              <a:t>is</a:t>
            </a:r>
            <a:r>
              <a:rPr lang="es-ES" altLang="en-US"/>
              <a:t> </a:t>
            </a:r>
            <a:r>
              <a:rPr lang="es-ES" altLang="en-US" err="1"/>
              <a:t>from</a:t>
            </a:r>
            <a:r>
              <a:rPr lang="es-ES" altLang="en-US"/>
              <a:t> TS 23.632</a:t>
            </a:r>
          </a:p>
          <a:p>
            <a:endParaRPr lang="es-ES" altLang="en-US"/>
          </a:p>
        </p:txBody>
      </p:sp>
      <p:sp>
        <p:nvSpPr>
          <p:cNvPr id="10244" name="Header Placeholder 3">
            <a:extLst>
              <a:ext uri="{FF2B5EF4-FFF2-40B4-BE49-F238E27FC236}">
                <a16:creationId xmlns:a16="http://schemas.microsoft.com/office/drawing/2014/main" id="{D79EFA22-1AF0-4D9A-958F-4D0AD8425F75}"/>
              </a:ext>
            </a:extLst>
          </p:cNvPr>
          <p:cNvSpPr>
            <a:spLocks noGrp="1"/>
          </p:cNvSpPr>
          <p:nvPr>
            <p:ph type="hdr" sz="quarter"/>
          </p:nvPr>
        </p:nvSpPr>
        <p:spPr>
          <a:noFill/>
        </p:spPr>
        <p:txBody>
          <a:bodyPr/>
          <a:lstStyle>
            <a:lvl1pPr defTabSz="930275">
              <a:defRPr sz="2000">
                <a:solidFill>
                  <a:schemeClr val="tx1"/>
                </a:solidFill>
                <a:latin typeface="Arial" panose="020B0604020202020204" pitchFamily="34" charset="0"/>
              </a:defRPr>
            </a:lvl1pPr>
            <a:lvl2pPr marL="742950" indent="-285750" defTabSz="930275">
              <a:defRPr sz="2000">
                <a:solidFill>
                  <a:schemeClr val="tx1"/>
                </a:solidFill>
                <a:latin typeface="Arial" panose="020B0604020202020204" pitchFamily="34" charset="0"/>
              </a:defRPr>
            </a:lvl2pPr>
            <a:lvl3pPr marL="1143000" indent="-228600" defTabSz="930275">
              <a:defRPr sz="2000">
                <a:solidFill>
                  <a:schemeClr val="tx1"/>
                </a:solidFill>
                <a:latin typeface="Arial" panose="020B0604020202020204" pitchFamily="34" charset="0"/>
              </a:defRPr>
            </a:lvl3pPr>
            <a:lvl4pPr marL="1600200" indent="-228600" defTabSz="930275">
              <a:defRPr sz="2000">
                <a:solidFill>
                  <a:schemeClr val="tx1"/>
                </a:solidFill>
                <a:latin typeface="Arial" panose="020B0604020202020204" pitchFamily="34" charset="0"/>
              </a:defRPr>
            </a:lvl4pPr>
            <a:lvl5pPr marL="2057400" indent="-228600" defTabSz="930275">
              <a:defRPr sz="2000">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930275"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e 5G Core Network Deep Dive </a:t>
            </a:r>
          </a:p>
        </p:txBody>
      </p:sp>
      <p:sp>
        <p:nvSpPr>
          <p:cNvPr id="10245" name="Date Placeholder 4">
            <a:extLst>
              <a:ext uri="{FF2B5EF4-FFF2-40B4-BE49-F238E27FC236}">
                <a16:creationId xmlns:a16="http://schemas.microsoft.com/office/drawing/2014/main" id="{9EA1C6C9-03F3-47C9-B255-F11FD6F52300}"/>
              </a:ext>
            </a:extLst>
          </p:cNvPr>
          <p:cNvSpPr>
            <a:spLocks noGrp="1"/>
          </p:cNvSpPr>
          <p:nvPr>
            <p:ph type="dt" sz="quarter" idx="1"/>
          </p:nvPr>
        </p:nvSpPr>
        <p:spPr>
          <a:noFill/>
        </p:spPr>
        <p:txBody>
          <a:bodyPr/>
          <a:lstStyle>
            <a:lvl1pPr defTabSz="930275">
              <a:defRPr sz="2000">
                <a:solidFill>
                  <a:schemeClr val="tx1"/>
                </a:solidFill>
                <a:latin typeface="Arial" panose="020B0604020202020204" pitchFamily="34" charset="0"/>
              </a:defRPr>
            </a:lvl1pPr>
            <a:lvl2pPr marL="742950" indent="-285750" defTabSz="930275">
              <a:defRPr sz="2000">
                <a:solidFill>
                  <a:schemeClr val="tx1"/>
                </a:solidFill>
                <a:latin typeface="Arial" panose="020B0604020202020204" pitchFamily="34" charset="0"/>
              </a:defRPr>
            </a:lvl2pPr>
            <a:lvl3pPr marL="1143000" indent="-228600" defTabSz="930275">
              <a:defRPr sz="2000">
                <a:solidFill>
                  <a:schemeClr val="tx1"/>
                </a:solidFill>
                <a:latin typeface="Arial" panose="020B0604020202020204" pitchFamily="34" charset="0"/>
              </a:defRPr>
            </a:lvl3pPr>
            <a:lvl4pPr marL="1600200" indent="-228600" defTabSz="930275">
              <a:defRPr sz="2000">
                <a:solidFill>
                  <a:schemeClr val="tx1"/>
                </a:solidFill>
                <a:latin typeface="Arial" panose="020B0604020202020204" pitchFamily="34" charset="0"/>
              </a:defRPr>
            </a:lvl4pPr>
            <a:lvl5pPr marL="2057400" indent="-228600" defTabSz="930275">
              <a:defRPr sz="2000">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19-10-07 </a:t>
            </a:r>
          </a:p>
        </p:txBody>
      </p:sp>
      <p:sp>
        <p:nvSpPr>
          <p:cNvPr id="10246" name="Footer Placeholder 5">
            <a:extLst>
              <a:ext uri="{FF2B5EF4-FFF2-40B4-BE49-F238E27FC236}">
                <a16:creationId xmlns:a16="http://schemas.microsoft.com/office/drawing/2014/main" id="{2EB8A8B7-902C-4AA6-8A2C-4576F958B991}"/>
              </a:ext>
            </a:extLst>
          </p:cNvPr>
          <p:cNvSpPr>
            <a:spLocks noGrp="1"/>
          </p:cNvSpPr>
          <p:nvPr>
            <p:ph type="ftr" sz="quarter" idx="4"/>
          </p:nvPr>
        </p:nvSpPr>
        <p:spPr>
          <a:noFill/>
        </p:spPr>
        <p:txBody>
          <a:bodyPr/>
          <a:lstStyle>
            <a:lvl1pPr defTabSz="930275">
              <a:defRPr sz="2000">
                <a:solidFill>
                  <a:schemeClr val="tx1"/>
                </a:solidFill>
                <a:latin typeface="Arial" panose="020B0604020202020204" pitchFamily="34" charset="0"/>
              </a:defRPr>
            </a:lvl1pPr>
            <a:lvl2pPr marL="742950" indent="-285750" defTabSz="930275">
              <a:defRPr sz="2000">
                <a:solidFill>
                  <a:schemeClr val="tx1"/>
                </a:solidFill>
                <a:latin typeface="Arial" panose="020B0604020202020204" pitchFamily="34" charset="0"/>
              </a:defRPr>
            </a:lvl2pPr>
            <a:lvl3pPr marL="1143000" indent="-228600" defTabSz="930275">
              <a:defRPr sz="2000">
                <a:solidFill>
                  <a:schemeClr val="tx1"/>
                </a:solidFill>
                <a:latin typeface="Arial" panose="020B0604020202020204" pitchFamily="34" charset="0"/>
              </a:defRPr>
            </a:lvl3pPr>
            <a:lvl4pPr marL="1600200" indent="-228600" defTabSz="930275">
              <a:defRPr sz="2000">
                <a:solidFill>
                  <a:schemeClr val="tx1"/>
                </a:solidFill>
                <a:latin typeface="Arial" panose="020B0604020202020204" pitchFamily="34" charset="0"/>
              </a:defRPr>
            </a:lvl4pPr>
            <a:lvl5pPr marL="2057400" indent="-228600" defTabSz="930275">
              <a:defRPr sz="2000">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l" defTabSz="930275" rtl="0" eaLnBrk="1" fontAlgn="base" latinLnBrk="0" hangingPunct="1">
              <a:lnSpc>
                <a:spcPct val="100000"/>
              </a:lnSpc>
              <a:spcBef>
                <a:spcPct val="0"/>
              </a:spcBef>
              <a:spcAft>
                <a:spcPct val="0"/>
              </a:spcAft>
              <a:buClrTx/>
              <a:buSzTx/>
              <a:buFontTx/>
              <a:buNone/>
              <a:tabLst/>
              <a:defRPr/>
            </a:pPr>
            <a:r>
              <a:rPr kumimoji="0" lang="es-E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ICP-16:000214 Uen, Rev N </a:t>
            </a:r>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247" name="Slide Number Placeholder 6">
            <a:extLst>
              <a:ext uri="{FF2B5EF4-FFF2-40B4-BE49-F238E27FC236}">
                <a16:creationId xmlns:a16="http://schemas.microsoft.com/office/drawing/2014/main" id="{A1F4F526-794D-46E5-8103-B381608F203C}"/>
              </a:ext>
            </a:extLst>
          </p:cNvPr>
          <p:cNvSpPr>
            <a:spLocks noGrp="1"/>
          </p:cNvSpPr>
          <p:nvPr>
            <p:ph type="sldNum" sz="quarter" idx="5"/>
          </p:nvPr>
        </p:nvSpPr>
        <p:spPr>
          <a:noFill/>
        </p:spPr>
        <p:txBody>
          <a:bodyPr/>
          <a:lstStyle>
            <a:lvl1pPr defTabSz="930275">
              <a:defRPr sz="2000">
                <a:solidFill>
                  <a:schemeClr val="tx1"/>
                </a:solidFill>
                <a:latin typeface="Arial" panose="020B0604020202020204" pitchFamily="34" charset="0"/>
              </a:defRPr>
            </a:lvl1pPr>
            <a:lvl2pPr marL="742950" indent="-285750" defTabSz="930275">
              <a:defRPr sz="2000">
                <a:solidFill>
                  <a:schemeClr val="tx1"/>
                </a:solidFill>
                <a:latin typeface="Arial" panose="020B0604020202020204" pitchFamily="34" charset="0"/>
              </a:defRPr>
            </a:lvl2pPr>
            <a:lvl3pPr marL="1143000" indent="-228600" defTabSz="930275">
              <a:defRPr sz="2000">
                <a:solidFill>
                  <a:schemeClr val="tx1"/>
                </a:solidFill>
                <a:latin typeface="Arial" panose="020B0604020202020204" pitchFamily="34" charset="0"/>
              </a:defRPr>
            </a:lvl3pPr>
            <a:lvl4pPr marL="1600200" indent="-228600" defTabSz="930275">
              <a:defRPr sz="2000">
                <a:solidFill>
                  <a:schemeClr val="tx1"/>
                </a:solidFill>
                <a:latin typeface="Arial" panose="020B0604020202020204" pitchFamily="34" charset="0"/>
              </a:defRPr>
            </a:lvl4pPr>
            <a:lvl5pPr marL="2057400" indent="-228600" defTabSz="930275">
              <a:defRPr sz="2000">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76FB887D-9805-4B52-B557-2F25FDD9FC0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6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698157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8" y="736600"/>
            <a:ext cx="6538912" cy="3679825"/>
          </a:xfrm>
        </p:spPr>
      </p:sp>
      <p:sp>
        <p:nvSpPr>
          <p:cNvPr id="3" name="Notes Placeholder 2"/>
          <p:cNvSpPr>
            <a:spLocks noGrp="1"/>
          </p:cNvSpPr>
          <p:nvPr>
            <p:ph type="body" idx="1"/>
          </p:nvPr>
        </p:nvSpPr>
        <p:spPr/>
        <p:txBody>
          <a:bodyPr/>
          <a:lstStyle/>
          <a:p>
            <a:r>
              <a:rPr lang="en-GB" sz="1100"/>
              <a:t>Requirements in PCC framework defined in 3GPP TS 23.203 are applicable to 5GC as well. This means the Policy Control Function (PCF)  interacts with:</a:t>
            </a:r>
            <a:endParaRPr lang="es-ES" sz="1100"/>
          </a:p>
          <a:p>
            <a:pPr lvl="0"/>
            <a:r>
              <a:rPr lang="en-GB" sz="1100"/>
              <a:t>Application Function to </a:t>
            </a:r>
            <a:r>
              <a:rPr lang="en-US" sz="1100"/>
              <a:t>transport of application level session information from AF to PCF. </a:t>
            </a:r>
            <a:endParaRPr lang="es-ES" sz="1100"/>
          </a:p>
          <a:p>
            <a:pPr lvl="0"/>
            <a:r>
              <a:rPr lang="en-GB" sz="1100"/>
              <a:t>   - SMF to provide </a:t>
            </a:r>
            <a:r>
              <a:rPr lang="en-US" sz="1100"/>
              <a:t>dynamic policy and charging control at a SMF.</a:t>
            </a:r>
            <a:endParaRPr lang="es-ES" sz="1100"/>
          </a:p>
          <a:p>
            <a:pPr lvl="0"/>
            <a:r>
              <a:rPr lang="en-GB" sz="1100"/>
              <a:t>   - UDR to retrieve the policy subscription profile.</a:t>
            </a:r>
            <a:endParaRPr lang="es-ES" sz="1100"/>
          </a:p>
          <a:p>
            <a:pPr lvl="0"/>
            <a:r>
              <a:rPr lang="en-GB" sz="1100"/>
              <a:t>   - Charging Function (CHF) to retrieve</a:t>
            </a:r>
            <a:r>
              <a:rPr lang="en-US" sz="1100"/>
              <a:t> policy counter status information relating to subscriber spending from CHF</a:t>
            </a:r>
            <a:endParaRPr lang="es-ES" sz="1100"/>
          </a:p>
          <a:p>
            <a:r>
              <a:rPr lang="en-US" sz="1100"/>
              <a:t>The PCF handles new parameters defined in 5GC, e.g. new parameters in 5G QoS framework.</a:t>
            </a:r>
            <a:endParaRPr lang="es-ES" sz="1100"/>
          </a:p>
          <a:p>
            <a:r>
              <a:rPr lang="en-GB" sz="1100"/>
              <a:t> </a:t>
            </a:r>
            <a:endParaRPr lang="es-ES" sz="1100"/>
          </a:p>
          <a:p>
            <a:r>
              <a:rPr lang="en-GB" sz="1100"/>
              <a:t>Additionally, in 5G there is a new interface between the Policy Control Function (PCF)  and the AMF.</a:t>
            </a:r>
            <a:endParaRPr lang="es-ES" sz="1100"/>
          </a:p>
          <a:p>
            <a:r>
              <a:rPr lang="en-GB" sz="1100"/>
              <a:t>This interface allows to provide mobility management policies from PCF to the AMF without involving the SMF. This is </a:t>
            </a:r>
            <a:endParaRPr lang="es-ES" sz="1100"/>
          </a:p>
          <a:p>
            <a:r>
              <a:rPr lang="en-GB" sz="1100"/>
              <a:t>pretty similar to the </a:t>
            </a:r>
            <a:r>
              <a:rPr lang="en-GB" sz="1100" err="1"/>
              <a:t>Sx</a:t>
            </a:r>
            <a:r>
              <a:rPr lang="en-GB" sz="1100"/>
              <a:t> proprietary interface that we have in the SAPC product with the Ericsson MME/SGSN.</a:t>
            </a:r>
            <a:endParaRPr lang="es-ES" sz="1100"/>
          </a:p>
          <a:p>
            <a:r>
              <a:rPr lang="en-GB" sz="1100"/>
              <a:t>Policies conveyed in this interface are related to access and mobility management policies (service area restrictions) and RFSP index.</a:t>
            </a:r>
            <a:endParaRPr lang="es-ES" sz="1100"/>
          </a:p>
          <a:p>
            <a:r>
              <a:rPr lang="en-US" sz="1100"/>
              <a:t> </a:t>
            </a:r>
            <a:endParaRPr lang="es-ES" sz="1100"/>
          </a:p>
          <a:p>
            <a:r>
              <a:rPr lang="en-US" sz="1100"/>
              <a:t>Policies to the UE are delivered by PCF via the AMF. The following policies are provided from the PCF to the UE:</a:t>
            </a:r>
            <a:endParaRPr lang="es-ES" sz="1100"/>
          </a:p>
          <a:p>
            <a:r>
              <a:rPr lang="x-none" sz="1100"/>
              <a:t>-    Access network discovery &amp; selection policy: It is used by the UE for selecting non-3GPP accesses and for deciding how to route </a:t>
            </a:r>
            <a:r>
              <a:rPr lang="es-ES_tradnl" sz="1100"/>
              <a:t>    </a:t>
            </a:r>
          </a:p>
          <a:p>
            <a:r>
              <a:rPr lang="es-ES_tradnl" sz="1100"/>
              <a:t>      </a:t>
            </a:r>
            <a:r>
              <a:rPr lang="x-none" sz="1100"/>
              <a:t>traffic between the selected 3GPP and non-3GPP accesses.</a:t>
            </a:r>
            <a:endParaRPr lang="es-ES" sz="1100"/>
          </a:p>
          <a:p>
            <a:r>
              <a:rPr lang="x-none" sz="1100"/>
              <a:t>-    UE Route Selection Policy (URSP): This policy is used by the UE to determine how to route outgoing traffic. Traffic can be routed to </a:t>
            </a:r>
            <a:endParaRPr lang="es-ES_tradnl" sz="1100"/>
          </a:p>
          <a:p>
            <a:r>
              <a:rPr lang="es-ES" sz="1100"/>
              <a:t>      </a:t>
            </a:r>
            <a:r>
              <a:rPr lang="x-none" sz="1100"/>
              <a:t>an established PDU Session, can be offloaded to non-3GPP access outside a PDU Session, or can trigger the establishment of a new </a:t>
            </a:r>
            <a:endParaRPr lang="es-ES_tradnl" sz="1100"/>
          </a:p>
          <a:p>
            <a:r>
              <a:rPr lang="es-ES" sz="1100"/>
              <a:t>      </a:t>
            </a:r>
            <a:r>
              <a:rPr lang="x-none" sz="1100"/>
              <a:t>PDU Session</a:t>
            </a:r>
            <a:r>
              <a:rPr lang="en-US" sz="1100"/>
              <a:t>.</a:t>
            </a:r>
            <a:endParaRPr lang="es-ES" sz="1100"/>
          </a:p>
          <a:p>
            <a:r>
              <a:rPr lang="en-US" sz="1100"/>
              <a:t> </a:t>
            </a:r>
            <a:endParaRPr lang="es-ES" sz="1100"/>
          </a:p>
          <a:p>
            <a:r>
              <a:rPr lang="en-US" sz="1100"/>
              <a:t>When it comes to the policy subscription profile, the PCF accesses the subscriber profile from a UDR. </a:t>
            </a:r>
            <a:endParaRPr lang="es-ES" sz="1100"/>
          </a:p>
          <a:p>
            <a:r>
              <a:rPr lang="en-US" sz="1100"/>
              <a:t>In 5G, the policy subscription profile is standardized allowing multivendor scenario between UDR and PCFs.</a:t>
            </a:r>
            <a:endParaRPr lang="es-ES" sz="1100"/>
          </a:p>
          <a:p>
            <a:r>
              <a:rPr lang="en-US" sz="1100"/>
              <a:t>This is relevant change as compared to EPC in which PCF and UDR shall be single vendor.</a:t>
            </a:r>
            <a:endParaRPr lang="es-ES" sz="1100"/>
          </a:p>
          <a:p>
            <a:r>
              <a:rPr lang="en-US" sz="1100"/>
              <a:t> </a:t>
            </a:r>
            <a:endParaRPr lang="es-ES" sz="1100"/>
          </a:p>
          <a:p>
            <a:r>
              <a:rPr lang="en-US" sz="1100"/>
              <a:t>There is a new interface between a </a:t>
            </a:r>
            <a:r>
              <a:rPr lang="en-GB" sz="1100"/>
              <a:t>Network Data Analytics Function (NWDAF) and the PCF. The NWDAF provides  network status analytics information (</a:t>
            </a:r>
            <a:r>
              <a:rPr lang="en-US" sz="1100"/>
              <a:t>Load level information of network slice instance</a:t>
            </a:r>
            <a:r>
              <a:rPr lang="en-GB" sz="1100"/>
              <a:t>) </a:t>
            </a:r>
            <a:endParaRPr lang="es-ES" sz="1100"/>
          </a:p>
          <a:p>
            <a:r>
              <a:rPr lang="en-GB" sz="1100"/>
              <a:t>that the PCF may consider in policy evaluation.</a:t>
            </a:r>
            <a:endParaRPr lang="es-ES" sz="1100"/>
          </a:p>
          <a:p>
            <a:r>
              <a:rPr lang="en-GB" sz="1100"/>
              <a:t> </a:t>
            </a:r>
            <a:endParaRPr lang="es-ES" sz="1100"/>
          </a:p>
          <a:p>
            <a:r>
              <a:rPr lang="en-GB" sz="1100"/>
              <a:t>The PCF also interacts with the NEF to provide support for exposure use cases existing in EPC like s</a:t>
            </a:r>
            <a:r>
              <a:rPr lang="x-none" sz="1100"/>
              <a:t>ervice specific policy and charging control</a:t>
            </a:r>
            <a:r>
              <a:rPr lang="en-US" sz="1100"/>
              <a:t>, s</a:t>
            </a:r>
            <a:r>
              <a:rPr lang="x-none" sz="1100"/>
              <a:t>ponsor data connectivity including usage monitoring</a:t>
            </a:r>
            <a:r>
              <a:rPr lang="en-US" sz="1100"/>
              <a:t>, s</a:t>
            </a:r>
            <a:r>
              <a:rPr lang="x-none" sz="1100"/>
              <a:t>ubscription and reporting of events for the event exposure</a:t>
            </a:r>
            <a:r>
              <a:rPr lang="en-US" sz="1100"/>
              <a:t>, n</a:t>
            </a:r>
            <a:r>
              <a:rPr lang="x-none" sz="1100"/>
              <a:t>egotiations for future background data transfer.</a:t>
            </a:r>
            <a:endParaRPr lang="es-ES" sz="1100"/>
          </a:p>
          <a:p>
            <a:r>
              <a:rPr lang="en-US" sz="1100"/>
              <a:t>Additionally, a new use case is introduced in 5G that allows an AF to send request to the PCF to influence on the traffic routing for application traffic. This permits an AF to request that certain traffic (for specific UEs or for any UE) should be routed using certain UPFs, e.g. a UPF that is closer to the radio to perform local breakout for the specific traffic.</a:t>
            </a:r>
            <a:endParaRPr lang="es-ES" sz="1100"/>
          </a:p>
          <a:p>
            <a:pPr hangingPunct="0"/>
            <a:endParaRPr lang="es-ES" sz="1000"/>
          </a:p>
          <a:p>
            <a:endParaRPr lang="en-US" sz="1100"/>
          </a:p>
        </p:txBody>
      </p:sp>
      <p:sp>
        <p:nvSpPr>
          <p:cNvPr id="4" name="Date Placeholder 3"/>
          <p:cNvSpPr>
            <a:spLocks noGrp="1"/>
          </p:cNvSpPr>
          <p:nvPr>
            <p:ph type="dt" idx="10"/>
          </p:nvPr>
        </p:nvSpPr>
        <p:spPr/>
        <p:txBody>
          <a:bodyPr/>
          <a:lstStyle/>
          <a:p>
            <a:pPr defTabSz="904616">
              <a:defRPr/>
            </a:pPr>
            <a:r>
              <a:rPr lang="en-US">
                <a:solidFill>
                  <a:prstClr val="black"/>
                </a:solidFill>
              </a:rPr>
              <a:t>2019-10-07 </a:t>
            </a:r>
          </a:p>
        </p:txBody>
      </p:sp>
      <p:sp>
        <p:nvSpPr>
          <p:cNvPr id="5" name="Slide Number Placeholder 4"/>
          <p:cNvSpPr>
            <a:spLocks noGrp="1"/>
          </p:cNvSpPr>
          <p:nvPr>
            <p:ph type="sldNum" sz="quarter" idx="11"/>
          </p:nvPr>
        </p:nvSpPr>
        <p:spPr/>
        <p:txBody>
          <a:bodyPr/>
          <a:lstStyle/>
          <a:p>
            <a:pPr defTabSz="904616">
              <a:defRPr/>
            </a:pPr>
            <a:fld id="{79AC9601-440C-4757-90BF-FC180BFB0129}" type="slidenum">
              <a:rPr lang="en-US" smtClean="0">
                <a:solidFill>
                  <a:prstClr val="black"/>
                </a:solidFill>
              </a:rPr>
              <a:t>67</a:t>
            </a:fld>
            <a:endParaRPr lang="en-US">
              <a:solidFill>
                <a:prstClr val="black"/>
              </a:solidFill>
            </a:endParaRPr>
          </a:p>
        </p:txBody>
      </p:sp>
      <p:sp>
        <p:nvSpPr>
          <p:cNvPr id="6" name="Header Placeholder 5"/>
          <p:cNvSpPr>
            <a:spLocks noGrp="1"/>
          </p:cNvSpPr>
          <p:nvPr>
            <p:ph type="hdr" sz="quarter" idx="12"/>
          </p:nvPr>
        </p:nvSpPr>
        <p:spPr/>
        <p:txBody>
          <a:bodyPr/>
          <a:lstStyle/>
          <a:p>
            <a:pPr defTabSz="904616">
              <a:defRPr/>
            </a:pPr>
            <a:r>
              <a:rPr lang="en-US">
                <a:solidFill>
                  <a:prstClr val="black"/>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prstClr val="black"/>
                </a:solidFill>
              </a:rPr>
              <a:t>BICP-16:000214 Uen, Rev N </a:t>
            </a:r>
          </a:p>
        </p:txBody>
      </p:sp>
    </p:spTree>
    <p:extLst>
      <p:ext uri="{BB962C8B-B14F-4D97-AF65-F5344CB8AC3E}">
        <p14:creationId xmlns:p14="http://schemas.microsoft.com/office/powerpoint/2010/main" val="10692895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hangingPunct="0"/>
            <a:endParaRPr lang="en-GB" sz="1100"/>
          </a:p>
          <a:p>
            <a:r>
              <a:rPr lang="en-GB"/>
              <a:t>Requirements in PCC framework defined in 3GPP TS 23.203 are applicable to 5GC as well. This means the Policy Control Function (PCF)  interacts with:</a:t>
            </a:r>
            <a:endParaRPr lang="es-ES"/>
          </a:p>
          <a:p>
            <a:pPr lvl="0"/>
            <a:r>
              <a:rPr lang="en-GB"/>
              <a:t>Application Function to </a:t>
            </a:r>
            <a:r>
              <a:rPr lang="en-US"/>
              <a:t>transport of application level session information from AF to PCF. </a:t>
            </a:r>
            <a:endParaRPr lang="es-ES"/>
          </a:p>
          <a:p>
            <a:pPr lvl="0"/>
            <a:r>
              <a:rPr lang="en-GB"/>
              <a:t>   - SMF to provide </a:t>
            </a:r>
            <a:r>
              <a:rPr lang="en-US"/>
              <a:t>dynamic policy and charging control at a SMF.</a:t>
            </a:r>
            <a:endParaRPr lang="es-ES"/>
          </a:p>
          <a:p>
            <a:pPr lvl="0"/>
            <a:r>
              <a:rPr lang="en-GB"/>
              <a:t>   - UDR to retrieve the policy subscription profile.</a:t>
            </a:r>
            <a:endParaRPr lang="es-ES"/>
          </a:p>
          <a:p>
            <a:pPr lvl="0"/>
            <a:r>
              <a:rPr lang="en-GB"/>
              <a:t>   - Charging Function (CHF) to retrieve</a:t>
            </a:r>
            <a:r>
              <a:rPr lang="en-US"/>
              <a:t> policy counter status information relating to subscriber spending from CHF</a:t>
            </a:r>
            <a:endParaRPr lang="es-ES"/>
          </a:p>
          <a:p>
            <a:r>
              <a:rPr lang="en-US"/>
              <a:t>The PCF handles new parameters defined in 5GC, e.g. new parameters in 5G QoS framework.</a:t>
            </a:r>
            <a:endParaRPr lang="es-ES"/>
          </a:p>
          <a:p>
            <a:r>
              <a:rPr lang="en-GB"/>
              <a:t> </a:t>
            </a:r>
            <a:endParaRPr lang="es-ES"/>
          </a:p>
          <a:p>
            <a:r>
              <a:rPr lang="en-GB"/>
              <a:t>Additionally, in 5G there is a new interface between the Policy Control Function (PCF)  and the AMF (named N15 in picture).</a:t>
            </a:r>
            <a:endParaRPr lang="es-ES"/>
          </a:p>
          <a:p>
            <a:r>
              <a:rPr lang="en-GB"/>
              <a:t>This interface allows to provide mobility management policies from PCF to the AMF without involving the SMF. This is </a:t>
            </a:r>
            <a:endParaRPr lang="es-ES"/>
          </a:p>
          <a:p>
            <a:r>
              <a:rPr lang="en-GB"/>
              <a:t>pretty similar to the </a:t>
            </a:r>
            <a:r>
              <a:rPr lang="en-GB" err="1"/>
              <a:t>Sx</a:t>
            </a:r>
            <a:r>
              <a:rPr lang="en-GB"/>
              <a:t> proprietary interface that we have in the SAPC product with the Ericsson MME/SGSN.</a:t>
            </a:r>
            <a:endParaRPr lang="es-ES"/>
          </a:p>
          <a:p>
            <a:r>
              <a:rPr lang="en-GB"/>
              <a:t>Policies conveyed in this interface are related to access and mobility management policies (service area restrictions) and RFSP index.</a:t>
            </a:r>
            <a:endParaRPr lang="es-ES"/>
          </a:p>
          <a:p>
            <a:r>
              <a:rPr lang="en-US"/>
              <a:t> </a:t>
            </a:r>
            <a:endParaRPr lang="es-ES"/>
          </a:p>
          <a:p>
            <a:r>
              <a:rPr lang="en-US"/>
              <a:t>Policies to the UE are delivered by PCF via the AMF and N15 as well. The AMF sends the policies to the UE via N1. The following policies are provided</a:t>
            </a:r>
            <a:endParaRPr lang="es-ES"/>
          </a:p>
          <a:p>
            <a:r>
              <a:rPr lang="en-US"/>
              <a:t>from the PCF to the UE:</a:t>
            </a:r>
            <a:endParaRPr lang="es-ES"/>
          </a:p>
          <a:p>
            <a:r>
              <a:rPr lang="x-none"/>
              <a:t>-    Access network discovery &amp; selection policy: It is used by the UE for selecting non-3GPP accesses and for deciding how to route </a:t>
            </a:r>
            <a:r>
              <a:rPr lang="es-ES_tradnl"/>
              <a:t>    </a:t>
            </a:r>
          </a:p>
          <a:p>
            <a:r>
              <a:rPr lang="es-ES_tradnl"/>
              <a:t>      </a:t>
            </a:r>
            <a:r>
              <a:rPr lang="x-none"/>
              <a:t>traffic between the selected 3GPP and non-3GPP accesses.</a:t>
            </a:r>
            <a:endParaRPr lang="es-ES"/>
          </a:p>
          <a:p>
            <a:r>
              <a:rPr lang="x-none"/>
              <a:t>-    UE Route Selection Policy (URSP): This policy is used by the UE to determine how to route outgoing traffic. Traffic can be routed to </a:t>
            </a:r>
            <a:endParaRPr lang="es-ES_tradnl"/>
          </a:p>
          <a:p>
            <a:r>
              <a:rPr lang="es-ES"/>
              <a:t>      </a:t>
            </a:r>
            <a:r>
              <a:rPr lang="x-none"/>
              <a:t>an established PDU Session, can be offloaded to non-3GPP access outside a PDU Session, or can trigger the establishment of a new </a:t>
            </a:r>
            <a:endParaRPr lang="es-ES_tradnl"/>
          </a:p>
          <a:p>
            <a:r>
              <a:rPr lang="es-ES"/>
              <a:t>      </a:t>
            </a:r>
            <a:r>
              <a:rPr lang="x-none"/>
              <a:t>PDU Session</a:t>
            </a:r>
            <a:r>
              <a:rPr lang="en-US"/>
              <a:t>.</a:t>
            </a:r>
            <a:endParaRPr lang="es-ES"/>
          </a:p>
          <a:p>
            <a:r>
              <a:rPr lang="en-US"/>
              <a:t> </a:t>
            </a:r>
            <a:endParaRPr lang="es-ES"/>
          </a:p>
          <a:p>
            <a:r>
              <a:rPr lang="en-US"/>
              <a:t>When it comes to the policy subscription profile, the PCF accesses the subscriber profile from a UDR. </a:t>
            </a:r>
            <a:endParaRPr lang="es-ES"/>
          </a:p>
          <a:p>
            <a:r>
              <a:rPr lang="en-US"/>
              <a:t>In 5G, the policy subscription profile is standardized allowing multivendor scenario between UDR and PCFs.</a:t>
            </a:r>
            <a:endParaRPr lang="es-ES"/>
          </a:p>
          <a:p>
            <a:r>
              <a:rPr lang="en-US"/>
              <a:t>This is relevant change as compared to EPC in which PCF and UDR shall be single vendor.</a:t>
            </a:r>
            <a:endParaRPr lang="es-ES"/>
          </a:p>
          <a:p>
            <a:r>
              <a:rPr lang="en-US"/>
              <a:t> </a:t>
            </a:r>
            <a:endParaRPr lang="es-ES"/>
          </a:p>
          <a:p>
            <a:r>
              <a:rPr lang="en-US"/>
              <a:t>There is a new interface between a </a:t>
            </a:r>
            <a:r>
              <a:rPr lang="en-GB"/>
              <a:t>Network Data Analytics Function (NWDAF) and the PCF. The NWDAF provides  network status analytics information (</a:t>
            </a:r>
            <a:r>
              <a:rPr lang="en-US"/>
              <a:t>Load level information of network slice instance</a:t>
            </a:r>
            <a:r>
              <a:rPr lang="en-GB"/>
              <a:t>) </a:t>
            </a:r>
            <a:endParaRPr lang="es-ES"/>
          </a:p>
          <a:p>
            <a:r>
              <a:rPr lang="en-GB"/>
              <a:t>that the PCF may consider in policy evaluation.</a:t>
            </a:r>
            <a:endParaRPr lang="es-ES"/>
          </a:p>
          <a:p>
            <a:r>
              <a:rPr lang="en-GB"/>
              <a:t> </a:t>
            </a:r>
            <a:endParaRPr lang="es-ES"/>
          </a:p>
          <a:p>
            <a:r>
              <a:rPr lang="en-GB"/>
              <a:t>The PCF also interacts with the NEF to provide support for exposure use cases existing in EPC like s</a:t>
            </a:r>
            <a:r>
              <a:rPr lang="x-none"/>
              <a:t>ervice specific policy and charging control</a:t>
            </a:r>
            <a:r>
              <a:rPr lang="en-US"/>
              <a:t>, s</a:t>
            </a:r>
            <a:r>
              <a:rPr lang="x-none"/>
              <a:t>ponsor data connectivity including usage monitoring</a:t>
            </a:r>
            <a:r>
              <a:rPr lang="en-US"/>
              <a:t>, s</a:t>
            </a:r>
            <a:r>
              <a:rPr lang="x-none"/>
              <a:t>ubscription and reporting of events for the event exposure</a:t>
            </a:r>
            <a:r>
              <a:rPr lang="en-US"/>
              <a:t>, n</a:t>
            </a:r>
            <a:r>
              <a:rPr lang="x-none"/>
              <a:t>egotiations for future background data transfer.</a:t>
            </a:r>
            <a:endParaRPr lang="es-ES"/>
          </a:p>
          <a:p>
            <a:r>
              <a:rPr lang="en-US"/>
              <a:t>Additionally, a new use case is introduced in 5G that allows an AF to send request to the PCF to influence on the traffic routing for application traffic. This permits an AF to request that certain traffic (for specific UEs or for any UE) should be routed using certain UPFs, e.g. a UPF that is closer to the radio to perform local breakout for the specific traffic.</a:t>
            </a:r>
            <a:endParaRPr lang="es-ES"/>
          </a:p>
          <a:p>
            <a:pPr hangingPunct="0"/>
            <a:endParaRPr lang="es-ES" sz="1100"/>
          </a:p>
        </p:txBody>
      </p:sp>
      <p:sp>
        <p:nvSpPr>
          <p:cNvPr id="4" name="Date Placeholder 3"/>
          <p:cNvSpPr>
            <a:spLocks noGrp="1"/>
          </p:cNvSpPr>
          <p:nvPr>
            <p:ph type="dt" idx="10"/>
          </p:nvPr>
        </p:nvSpPr>
        <p:spPr/>
        <p:txBody>
          <a:bodyPr/>
          <a:lstStyle/>
          <a:p>
            <a:pPr defTabSz="904616">
              <a:defRPr/>
            </a:pPr>
            <a:r>
              <a:rPr lang="en-US">
                <a:solidFill>
                  <a:srgbClr val="000000"/>
                </a:solidFill>
              </a:rPr>
              <a:t>2019-10-07 </a:t>
            </a:r>
          </a:p>
        </p:txBody>
      </p:sp>
      <p:sp>
        <p:nvSpPr>
          <p:cNvPr id="5" name="Slide Number Placeholder 4"/>
          <p:cNvSpPr>
            <a:spLocks noGrp="1"/>
          </p:cNvSpPr>
          <p:nvPr>
            <p:ph type="sldNum" sz="quarter" idx="11"/>
          </p:nvPr>
        </p:nvSpPr>
        <p:spPr/>
        <p:txBody>
          <a:bodyPr/>
          <a:lstStyle/>
          <a:p>
            <a:pPr defTabSz="904616">
              <a:defRPr/>
            </a:pPr>
            <a:fld id="{5E4EC039-CE62-4A4C-AAA2-B65DD04ADC2B}" type="slidenum">
              <a:rPr lang="en-US" smtClean="0">
                <a:solidFill>
                  <a:srgbClr val="000000"/>
                </a:solidFill>
              </a:rPr>
              <a:t>68</a:t>
            </a:fld>
            <a:endParaRPr lang="en-US">
              <a:solidFill>
                <a:srgbClr val="000000"/>
              </a:solidFill>
            </a:endParaRPr>
          </a:p>
        </p:txBody>
      </p:sp>
      <p:sp>
        <p:nvSpPr>
          <p:cNvPr id="6" name="Header Placeholder 5"/>
          <p:cNvSpPr>
            <a:spLocks noGrp="1"/>
          </p:cNvSpPr>
          <p:nvPr>
            <p:ph type="hdr" sz="quarter" idx="12"/>
          </p:nvPr>
        </p:nvSpPr>
        <p:spPr/>
        <p:txBody>
          <a:bodyPr/>
          <a:lstStyle/>
          <a:p>
            <a:pPr defTabSz="904616">
              <a:defRPr/>
            </a:pPr>
            <a:r>
              <a:rPr lang="en-US">
                <a:solidFill>
                  <a:srgbClr val="000000"/>
                </a:solidFill>
              </a:rPr>
              <a:t>The 5G Core Network Deep Dive </a:t>
            </a:r>
          </a:p>
        </p:txBody>
      </p:sp>
      <p:sp>
        <p:nvSpPr>
          <p:cNvPr id="7" name="Footer Placeholder 6"/>
          <p:cNvSpPr>
            <a:spLocks noGrp="1"/>
          </p:cNvSpPr>
          <p:nvPr>
            <p:ph type="ftr" sz="quarter" idx="13"/>
          </p:nvPr>
        </p:nvSpPr>
        <p:spPr/>
        <p:txBody>
          <a:bodyPr/>
          <a:lstStyle/>
          <a:p>
            <a:pPr defTabSz="904616">
              <a:defRPr/>
            </a:pPr>
            <a:r>
              <a:rPr lang="en-US">
                <a:solidFill>
                  <a:srgbClr val="000000"/>
                </a:solidFill>
              </a:rPr>
              <a:t>BICP-16:000214 Uen, Rev N </a:t>
            </a:r>
          </a:p>
        </p:txBody>
      </p:sp>
    </p:spTree>
    <p:extLst>
      <p:ext uri="{BB962C8B-B14F-4D97-AF65-F5344CB8AC3E}">
        <p14:creationId xmlns:p14="http://schemas.microsoft.com/office/powerpoint/2010/main" val="19398666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a:t>Original speaker’s notes:</a:t>
            </a:r>
          </a:p>
          <a:p>
            <a:r>
              <a:rPr lang="en-US" sz="1100"/>
              <a:t>Ericsson 5G aims for a robust, high performing and unified packet core platform to support charging, designed to meet new business demands without compromising legacy support. The features presented in this slide are example of important areas to be significant in the Ericsson 5G CN charging proposition:  </a:t>
            </a:r>
          </a:p>
          <a:p>
            <a:r>
              <a:rPr lang="en-US" sz="1100"/>
              <a:t> </a:t>
            </a:r>
          </a:p>
          <a:p>
            <a:r>
              <a:rPr lang="en-US" sz="1100" b="1"/>
              <a:t>Simplified interface:</a:t>
            </a:r>
          </a:p>
          <a:p>
            <a:r>
              <a:rPr lang="en-US" sz="1100"/>
              <a:t>The network generates charging related data for purposes like a) online charging, b) offline charging, c) CDR generation, d) spending limit reporting. With the service-based interface the </a:t>
            </a:r>
            <a:r>
              <a:rPr lang="en-GB"/>
              <a:t>chargeable events, and charging information are specified commonly for online and offline charging and CDR generation becomes a charging domain responsibility. This means t</a:t>
            </a:r>
            <a:r>
              <a:rPr lang="en-US" sz="1100"/>
              <a:t>he service based interface data, though used and processed by different systems and targets, evolves towards a more generic, simplified and condensed purpose where the fundamental data is based on charging events. </a:t>
            </a:r>
          </a:p>
          <a:p>
            <a:r>
              <a:rPr lang="en-US" sz="1100"/>
              <a:t> </a:t>
            </a:r>
          </a:p>
          <a:p>
            <a:r>
              <a:rPr lang="en-US" sz="1100" b="1"/>
              <a:t>Chargeable account identification:</a:t>
            </a:r>
            <a:br>
              <a:rPr lang="en-US" sz="1100"/>
            </a:br>
            <a:r>
              <a:rPr lang="en-US" sz="1100"/>
              <a:t>Other identification types for accounts than MSISDN will be supported, to manage charging of services like </a:t>
            </a:r>
            <a:r>
              <a:rPr lang="en-US" sz="1100" err="1"/>
              <a:t>VoLTE</a:t>
            </a:r>
            <a:r>
              <a:rPr lang="en-US" sz="1100"/>
              <a:t>, IP messaging, </a:t>
            </a:r>
            <a:r>
              <a:rPr lang="en-US" sz="1100" err="1"/>
              <a:t>MIoT</a:t>
            </a:r>
            <a:r>
              <a:rPr lang="en-US" sz="1100"/>
              <a:t> and V2X. Ericsson 5G packet core domain will handle both legacy and new business use cases and support both MSISDN and MSISDN-less devices as well as new types of identification, including identification of 3rd party accounts (sponsoring). </a:t>
            </a:r>
          </a:p>
          <a:p>
            <a:br>
              <a:rPr lang="en-US" sz="1100"/>
            </a:br>
            <a:r>
              <a:rPr lang="en-US" sz="1100" b="1"/>
              <a:t>Slice-specific charging:</a:t>
            </a:r>
          </a:p>
          <a:p>
            <a:r>
              <a:rPr lang="en-US" sz="1100"/>
              <a:t>Cross-industry collaborative environments drives the need for cross-domain multi slice network deployments. The Ericsson 5G packet core domain will support the BSS differentiating the network slices in 5G deployments by informing about the slice identity (centralized BSS) as well as slice-specific routing for the charging interfaces (slice-specific BSS). </a:t>
            </a:r>
            <a:br>
              <a:rPr lang="en-US" sz="1100"/>
            </a:br>
            <a:br>
              <a:rPr lang="en-US" sz="1100"/>
            </a:br>
            <a:r>
              <a:rPr lang="en-US" sz="1100" b="1"/>
              <a:t>Multi path measurements:</a:t>
            </a:r>
          </a:p>
          <a:p>
            <a:r>
              <a:rPr lang="en-US" sz="1100"/>
              <a:t>In multi UPF deployments with data usage measurement and reporting from UPFs in parallel, the packet core domain will report distributed usage across different UPFs in a single usage report when common rating applies. Charging system should not have to act on or consider the distribution of usage, in this scenario of user traffic across multiple user plane.</a:t>
            </a:r>
          </a:p>
          <a:p>
            <a:endParaRPr lang="en-US" sz="1100"/>
          </a:p>
          <a:p>
            <a:r>
              <a:rPr lang="en-US" sz="1100" b="1"/>
              <a:t>Aligned business support:</a:t>
            </a:r>
          </a:p>
          <a:p>
            <a:r>
              <a:rPr lang="en-US" sz="1100"/>
              <a:t>To further reduce time-to-market with fast deployments of new services, offers and campaigns as well as their continuous maintenance and refining, a common cross-domain information model is utilized. The target is a high degree of automation in preparations of network resources and to smoothly support wanted packaging, pricing, charging and billing. </a:t>
            </a:r>
          </a:p>
          <a:p>
            <a:r>
              <a:rPr lang="en-US" sz="1100"/>
              <a:t> </a:t>
            </a:r>
          </a:p>
          <a:p>
            <a:r>
              <a:rPr lang="en-US" sz="1100" b="1"/>
              <a:t>Connection and service centric charging:</a:t>
            </a:r>
          </a:p>
          <a:p>
            <a:r>
              <a:rPr lang="en-US" sz="1100"/>
              <a:t>With 5G the trend towards more service and application centric traffic handling continues. Ericsson charging solutions will henceforth support charging on a per session and a per service basis. Charging principles include.</a:t>
            </a:r>
          </a:p>
          <a:p>
            <a:r>
              <a:rPr lang="en-US" sz="1100"/>
              <a:t>- End-user charges of actual usage, excluding discarded traffic based on policy decisions.</a:t>
            </a:r>
          </a:p>
          <a:p>
            <a:r>
              <a:rPr lang="en-US" sz="1100"/>
              <a:t>- Inter-operator settlement account for charges of actual amount of traffic traversing the operator boarder.</a:t>
            </a:r>
          </a:p>
          <a:p>
            <a:r>
              <a:rPr lang="en-US" sz="1100"/>
              <a:t>- B2B business models and charging of specific user groups as for sponsored traffic and IoT.</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4256364F-AE74-4F46-B829-E0D733395ACF}" type="slidenum">
              <a:rPr lang="en-US" smtClean="0"/>
              <a:t>69</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4287255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charset="0"/>
                <a:ea typeface="+mn-ea"/>
                <a:cs typeface="+mn-cs"/>
              </a:rPr>
              <a:t>3GPP specifications includes one 5G Evolved Packet Core (EPC) and four 5G Core (5GC) based options for radio network and packet core, as depicted in the figure below. </a:t>
            </a:r>
          </a:p>
          <a:p>
            <a:endParaRPr lang="en-US"/>
          </a:p>
          <a:p>
            <a:r>
              <a:rPr lang="en-US" sz="1200" kern="1200">
                <a:solidFill>
                  <a:schemeClr val="tx1"/>
                </a:solidFill>
                <a:effectLst/>
                <a:latin typeface="Arial" charset="0"/>
                <a:ea typeface="+mn-ea"/>
                <a:cs typeface="+mn-cs"/>
              </a:rPr>
              <a:t>Option 1 is legacy 4G EPC and 4G LTE.</a:t>
            </a:r>
          </a:p>
          <a:p>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first NR adopters have selected option 3 and first adopters of the 5G system have selected option 2. </a:t>
            </a:r>
          </a:p>
          <a:p>
            <a:r>
              <a:rPr lang="en-US" sz="1200" kern="1200">
                <a:solidFill>
                  <a:schemeClr val="tx1"/>
                </a:solidFill>
                <a:effectLst/>
                <a:latin typeface="Arial" charset="0"/>
                <a:ea typeface="+mn-ea"/>
                <a:cs typeface="+mn-cs"/>
              </a:rPr>
              <a:t>5GS with NR (option 2) is the long-term vision of the industry. This because:</a:t>
            </a:r>
          </a:p>
          <a:p>
            <a:pPr lvl="0"/>
            <a:r>
              <a:rPr lang="en-US" sz="1200" kern="1200">
                <a:solidFill>
                  <a:schemeClr val="tx1"/>
                </a:solidFill>
                <a:effectLst/>
                <a:latin typeface="Arial" charset="0"/>
                <a:ea typeface="+mn-ea"/>
                <a:cs typeface="+mn-cs"/>
              </a:rPr>
              <a:t>NR is the most spectrum efficient high-throughput 3GPP radio access technology, also supporting ultra-low latency and ultra-reliable connections.</a:t>
            </a:r>
          </a:p>
          <a:p>
            <a:pPr lvl="0"/>
            <a:r>
              <a:rPr lang="en-US" sz="1200" kern="1200">
                <a:solidFill>
                  <a:schemeClr val="tx1"/>
                </a:solidFill>
                <a:effectLst/>
                <a:latin typeface="Arial" charset="0"/>
                <a:ea typeface="+mn-ea"/>
                <a:cs typeface="+mn-cs"/>
              </a:rPr>
              <a:t>5G core supports new industry use cases including network slicing and edge computing, and it has superior operational characteristics.</a:t>
            </a:r>
          </a:p>
          <a:p>
            <a:endParaRPr lang="en-US"/>
          </a:p>
          <a:p>
            <a:r>
              <a:rPr lang="en-US" sz="1200" kern="1200">
                <a:solidFill>
                  <a:schemeClr val="tx1"/>
                </a:solidFill>
                <a:effectLst/>
                <a:latin typeface="Arial" charset="0"/>
                <a:ea typeface="+mn-ea"/>
                <a:cs typeface="+mn-cs"/>
              </a:rPr>
              <a:t>Smartphones also require a voice service in 5G. They will not select a 5G access unless they can detect a voice service. This means that voice must be supported in all 5G evolution steps involving smartphones or similar voice centric devices. However, there will of course be other devices which either do not use voice at all or for which voice is not essential for their operation; these devices are not subject of this paper.</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industry has agreed that the IMS telephony service will continue to be used in 5G. Therefore, the voice evolution starts with 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includes LTE RAN and Packet Core capabilities to support telephony characteristics and emergency service. These capabilities for voice and emergency calls must be provided by the system, regardless of which 5G deployment option is being used.</a:t>
            </a:r>
          </a:p>
          <a:p>
            <a:endParaRPr lang="en-US" sz="1200" kern="120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a:solidFill>
                  <a:schemeClr val="tx1"/>
                </a:solidFill>
                <a:effectLst/>
                <a:latin typeface="Arial" charset="0"/>
                <a:ea typeface="+mn-ea"/>
                <a:cs typeface="+mn-cs"/>
              </a:rPr>
              <a:t>At least initially, a 5G System (5GS) consisting of 5G Core with NG-RAN will not be deployed with full network coverage. Therefore, the 5GS needs to be tightly coupled to an existing 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deployment, providing a 5G-4G Voice deployment.</a:t>
            </a:r>
            <a:endParaRPr lang="en-150" sz="1200" kern="1200">
              <a:solidFill>
                <a:schemeClr val="tx1"/>
              </a:solidFill>
              <a:effectLst/>
              <a:latin typeface="Arial" charset="0"/>
              <a:ea typeface="+mn-ea"/>
              <a:cs typeface="+mn-cs"/>
            </a:endParaRPr>
          </a:p>
          <a:p>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CS fallback has not been and will not be standardized for 5GS. Therefore, 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must be introduced before a 5G System is used by smartphones. However, the 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network can, in turn, interwork with an underlying 2G/3G network for providing voice support outside 4G coverage.</a:t>
            </a:r>
            <a:endParaRPr lang="en-150" sz="1200" kern="1200">
              <a:solidFill>
                <a:schemeClr val="tx1"/>
              </a:solidFill>
              <a:effectLst/>
              <a:latin typeface="Arial" charset="0"/>
              <a:ea typeface="+mn-ea"/>
              <a:cs typeface="+mn-cs"/>
            </a:endParaRPr>
          </a:p>
          <a:p>
            <a:pPr hangingPunct="0"/>
            <a:endParaRPr lang="en-US" sz="1200" kern="1200">
              <a:latin typeface="Arial" charset="0"/>
            </a:endParaRPr>
          </a:p>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E0232241-DED4-41E6-979C-F5DBF09EDD06}"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7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15729801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 summary on what has been introduced so far]</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666D4E-9A21-457A-B9A9-31AE44E3DF8B}"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71</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3724260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t>UP: User Plane</a:t>
            </a:r>
          </a:p>
          <a:p>
            <a:r>
              <a:rPr lang="en-US" sz="1100"/>
              <a:t>CP: Control Plane</a:t>
            </a:r>
          </a:p>
          <a:p>
            <a:endParaRPr lang="en-US" sz="1100"/>
          </a:p>
          <a:p>
            <a:r>
              <a:rPr lang="en-US" sz="1100"/>
              <a:t>These key principles are originally from 3GPP TR 23.799, version 1.2.0 which was the outcome after the Nextgen Study item. Some of them have also been transferred to the 3GPP TS 23.501, while some remain as Ericsson preferred principles.</a:t>
            </a:r>
          </a:p>
          <a:p>
            <a:endParaRPr lang="en-US" sz="1100"/>
          </a:p>
          <a:p>
            <a:r>
              <a:rPr lang="en-US" sz="1100"/>
              <a:t>Main differences are that we don’t especially point out modularity as important as we believe less open interfaces in CN is beneficial for the operators in terms of less integration cost. Ericsson want to prioritize those interfaces where multi-vendor integration is really important and beneficial</a:t>
            </a:r>
          </a:p>
          <a:p>
            <a:r>
              <a:rPr lang="en-US" sz="1100"/>
              <a:t>We have also not pointed at support of stateless NFs here as we believe this is more of an implementation issue and needs to be selected for functions or services where is can be done without performance loss.</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F029E705-DE28-463C-9D78-C7D71B8DED4E}" type="slidenum">
              <a:rPr lang="en-US" smtClean="0"/>
              <a:t>7</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7089914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ual connectivity Commercial Launch by Q1-2019</a:t>
            </a:r>
          </a:p>
          <a:p>
            <a:r>
              <a:rPr lang="en-US"/>
              <a:t>EPS Fallback Commercial Launch by Q3 2019</a:t>
            </a:r>
          </a:p>
          <a:p>
            <a:r>
              <a:rPr lang="en-US"/>
              <a:t>Voice over NR Commercial Launch by mid-2020</a:t>
            </a:r>
          </a:p>
          <a:p>
            <a:endParaRPr lang="en-US"/>
          </a:p>
          <a:p>
            <a:endParaRPr lang="en-US" b="1"/>
          </a:p>
          <a:p>
            <a:r>
              <a:rPr lang="en-US" b="1"/>
              <a:t>5G voice introduction steps</a:t>
            </a: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The industry will implement support for 5G voice in a stepwise approach starting from 3GPP Release 15 and then we will see enhancements in the next coming relea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endParaRPr lang="en-US" b="0"/>
          </a:p>
          <a:p>
            <a:r>
              <a:rPr lang="en-US" b="1"/>
              <a:t>1. Dual Connectivity (E-UTRA/NR-D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first voice option is a configuration where a 5G cell (NR) is added on top of an existing 4G cell in order to give a “5G data boost” to mobile broadband and smartphones users. The UEs will be connected to both the 4G and 5G radio at the same time. The actual calls and related control signaling (SIP) is handled by 4G as for normal VoLTE calls.</a:t>
            </a:r>
          </a:p>
          <a:p>
            <a:endParaRPr lang="en-US"/>
          </a:p>
          <a:p>
            <a:r>
              <a:rPr lang="en-US"/>
              <a:t>The Dual Connectivity is also known as option 3 in 3GPP and it has been standardized from Release 15. </a:t>
            </a:r>
          </a:p>
          <a:p>
            <a:endParaRPr lang="en-US"/>
          </a:p>
          <a:p>
            <a:pPr marL="0" marR="0" lvl="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a:t>The Dual Connectivity option has the drawback that the energy of the radio signals between the UE and RAN is shared between the 4G and 5G frequencies which basically means lower throughput, coverage and battery capacity compared to a pure 5G radio implementation.</a:t>
            </a:r>
          </a:p>
          <a:p>
            <a:endParaRPr lang="en-US"/>
          </a:p>
          <a:p>
            <a:endParaRPr lang="en-US"/>
          </a:p>
          <a:p>
            <a:r>
              <a:rPr lang="en-US" b="1"/>
              <a:t>2. EPS Fallback</a:t>
            </a:r>
          </a:p>
          <a:p>
            <a:r>
              <a:rPr lang="en-US"/>
              <a:t>In the next voice option the UE resides in 5G (NR) </a:t>
            </a:r>
          </a:p>
          <a:p>
            <a:endParaRPr lang="en-US"/>
          </a:p>
          <a:p>
            <a:r>
              <a:rPr lang="en-US"/>
              <a:t>Improved performance by removing the need for dual connect (improved meaning throughput, coverage and battery capacity)</a:t>
            </a:r>
          </a:p>
          <a:p>
            <a:endParaRPr lang="en-US"/>
          </a:p>
          <a:p>
            <a:r>
              <a:rPr lang="en-US"/>
              <a:t>Good for initial deployments with spotty 5G coverage that anyhow would lead to IRAT handover to 4G. Especially important when using 5G on mid to high frequencies (hot spot coverage only).</a:t>
            </a:r>
          </a:p>
          <a:p>
            <a:endParaRPr lang="en-US"/>
          </a:p>
          <a:p>
            <a:r>
              <a:rPr lang="en-US"/>
              <a:t>Common GW = SMF/PGW-C and UPF/PGW-U. Common GW enables UE to use a single packet core registration, needed to meet voice KPIs.</a:t>
            </a:r>
          </a:p>
          <a:p>
            <a:endParaRPr lang="en-US"/>
          </a:p>
          <a:p>
            <a:r>
              <a:rPr lang="en-US"/>
              <a:t>IMS impacts: T-ADS adaption for 5GS as additional access, NG-RAN location query, P-CSCF restoration procedures (new?)</a:t>
            </a:r>
          </a:p>
          <a:p>
            <a:endParaRPr lang="en-US"/>
          </a:p>
          <a:p>
            <a:endParaRPr lang="en-US"/>
          </a:p>
          <a:p>
            <a:r>
              <a:rPr lang="en-US" b="1"/>
              <a:t>3.  Native voice in 5G system - Also known as Voice over NR</a:t>
            </a:r>
          </a:p>
          <a:p>
            <a:endParaRPr lang="en-US"/>
          </a:p>
          <a:p>
            <a:r>
              <a:rPr lang="en-US"/>
              <a:t>Also requires e.g. emergency call handling</a:t>
            </a:r>
          </a:p>
          <a:p>
            <a:endParaRPr lang="en-US"/>
          </a:p>
        </p:txBody>
      </p:sp>
      <p:sp>
        <p:nvSpPr>
          <p:cNvPr id="4" name="Header Placeholder 3"/>
          <p:cNvSpPr>
            <a:spLocks noGrp="1"/>
          </p:cNvSpPr>
          <p:nvPr>
            <p:ph type="hdr" sz="quarter" idx="10"/>
          </p:nvPr>
        </p:nvSpPr>
        <p:spPr/>
        <p:txBody>
          <a:bodyPr/>
          <a:lstStyle/>
          <a:p>
            <a:r>
              <a:rPr lang="en-US"/>
              <a:t>The 5G Core Network Deep Dive </a:t>
            </a:r>
          </a:p>
        </p:txBody>
      </p:sp>
      <p:sp>
        <p:nvSpPr>
          <p:cNvPr id="5" name="Date Placeholder 4"/>
          <p:cNvSpPr>
            <a:spLocks noGrp="1"/>
          </p:cNvSpPr>
          <p:nvPr>
            <p:ph type="dt" idx="11"/>
          </p:nvPr>
        </p:nvSpPr>
        <p:spPr/>
        <p:txBody>
          <a:bodyPr/>
          <a:lstStyle/>
          <a:p>
            <a:r>
              <a:rPr lang="en-US"/>
              <a:t>2019-10-07 </a:t>
            </a:r>
          </a:p>
        </p:txBody>
      </p:sp>
      <p:sp>
        <p:nvSpPr>
          <p:cNvPr id="6" name="Footer Placeholder 5"/>
          <p:cNvSpPr>
            <a:spLocks noGrp="1"/>
          </p:cNvSpPr>
          <p:nvPr>
            <p:ph type="ftr" sz="quarter" idx="12"/>
          </p:nvPr>
        </p:nvSpPr>
        <p:spPr/>
        <p:txBody>
          <a:bodyPr/>
          <a:lstStyle/>
          <a:p>
            <a:r>
              <a:rPr lang="en-US"/>
              <a:t>BICP-16:000214 Uen, Rev N </a:t>
            </a:r>
          </a:p>
        </p:txBody>
      </p:sp>
      <p:sp>
        <p:nvSpPr>
          <p:cNvPr id="7" name="Slide Number Placeholder 6"/>
          <p:cNvSpPr>
            <a:spLocks noGrp="1"/>
          </p:cNvSpPr>
          <p:nvPr>
            <p:ph type="sldNum" sz="quarter" idx="13"/>
          </p:nvPr>
        </p:nvSpPr>
        <p:spPr/>
        <p:txBody>
          <a:bodyPr/>
          <a:lstStyle/>
          <a:p>
            <a:fld id="{B65F01E2-F830-4238-98BB-09D9FA761B48}" type="slidenum">
              <a:rPr lang="en-US" smtClean="0"/>
              <a:t>72</a:t>
            </a:fld>
            <a:endParaRPr lang="en-US"/>
          </a:p>
        </p:txBody>
      </p:sp>
    </p:spTree>
    <p:extLst>
      <p:ext uri="{BB962C8B-B14F-4D97-AF65-F5344CB8AC3E}">
        <p14:creationId xmlns:p14="http://schemas.microsoft.com/office/powerpoint/2010/main" val="9127065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charset="0"/>
                <a:ea typeface="+mn-ea"/>
                <a:cs typeface="+mn-cs"/>
              </a:rPr>
              <a:t>EPS fallback is an additional mobility trigger for improving voice KPIs. EPS Fallback enables phones to use the 5GC with NR, but RAN may trigger moving the phone LTE connected to EPC during call establishment. The reason for moving the UE to LTE can be </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temporary lack of radio resources in NR for voice</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the UE is in area where NR in 5GS is not dimensioned and tuned for voice</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prior to all needed voice features are in place in the phone.</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coverage and deployment scenario for voice over NR incl. EPS Fallback is as follows:</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NR coverage connected to a 5G Core, </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Wide-area LTE coverage controlled by EPC supporting </a:t>
            </a:r>
            <a:r>
              <a:rPr lang="en-US" sz="1200" kern="1200" err="1">
                <a:solidFill>
                  <a:schemeClr val="tx1"/>
                </a:solidFill>
                <a:effectLst/>
                <a:latin typeface="Arial" charset="0"/>
                <a:ea typeface="+mn-ea"/>
                <a:cs typeface="+mn-cs"/>
              </a:rPr>
              <a:t>VoLTE</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For Emergency services, see section 7. </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endParaRPr lang="en-US" sz="1200" kern="120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200" kern="1200">
                <a:solidFill>
                  <a:schemeClr val="tx1"/>
                </a:solidFill>
                <a:effectLst/>
                <a:latin typeface="Arial" charset="0"/>
                <a:ea typeface="+mn-ea"/>
                <a:cs typeface="+mn-cs"/>
              </a:rPr>
              <a:t>A smartphone (UE), connected to NR, that tries to establish a voice connection, will perform an EPS fallback at call setup, triggered by the attempt to establish the QoS bearer for the voice flow for voice in NR.</a:t>
            </a:r>
          </a:p>
          <a:p>
            <a:pPr marL="0" lvl="0" indent="0">
              <a:buFont typeface="Arial" panose="020B0604020202020204" pitchFamily="34" charset="0"/>
              <a:buNone/>
            </a:pPr>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At the attempt to establish the QoS bearer for the voice flow over NR during call set-up, the NG-RAN rejects the QoS flow setup towards the SMF with an indication that mobility is in progress. The NG-RAN initiates transfer of all PDU sessions from 5GS to EPS, using one of the two standardized procedures:</a:t>
            </a:r>
          </a:p>
          <a:p>
            <a:pPr marL="171450" lvl="0" indent="-171450">
              <a:buFont typeface="Arial" panose="020B0604020202020204" pitchFamily="34" charset="0"/>
              <a:buChar char="•"/>
            </a:pPr>
            <a:r>
              <a:rPr lang="en-US" sz="1200" i="1" kern="1200">
                <a:solidFill>
                  <a:schemeClr val="tx1"/>
                </a:solidFill>
                <a:effectLst/>
                <a:latin typeface="Arial" charset="0"/>
                <a:ea typeface="+mn-ea"/>
                <a:cs typeface="+mn-cs"/>
              </a:rPr>
              <a:t>Release with redirect (</a:t>
            </a:r>
            <a:r>
              <a:rPr lang="en-US"/>
              <a:t>(~0.8-1.9 sec additional call setup delay</a:t>
            </a:r>
            <a:r>
              <a:rPr lang="en-US" sz="1200" i="1" kern="1200">
                <a:solidFill>
                  <a:schemeClr val="tx1"/>
                </a:solidFill>
                <a:effectLst/>
                <a:latin typeface="Arial" charset="0"/>
                <a:ea typeface="+mn-ea"/>
                <a:cs typeface="+mn-cs"/>
              </a:rPr>
              <a:t>)</a:t>
            </a:r>
            <a:endParaRPr lang="en-US"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i="1" kern="1200">
                <a:solidFill>
                  <a:schemeClr val="tx1"/>
                </a:solidFill>
                <a:effectLst/>
                <a:latin typeface="Arial" charset="0"/>
                <a:ea typeface="+mn-ea"/>
                <a:cs typeface="+mn-cs"/>
              </a:rPr>
              <a:t>Inter-system handover (~</a:t>
            </a:r>
            <a:r>
              <a:rPr lang="en-US"/>
              <a:t>0.2-0.9 sec additional call setup delay</a:t>
            </a:r>
            <a:r>
              <a:rPr lang="en-US" sz="1200" i="1" kern="1200">
                <a:solidFill>
                  <a:schemeClr val="tx1"/>
                </a:solidFill>
                <a:effectLst/>
                <a:latin typeface="Arial" charset="0"/>
                <a:ea typeface="+mn-ea"/>
                <a:cs typeface="+mn-cs"/>
              </a:rPr>
              <a:t>)</a:t>
            </a:r>
          </a:p>
          <a:p>
            <a:pPr marL="171450" lvl="0" indent="-171450">
              <a:buFont typeface="Arial" panose="020B0604020202020204" pitchFamily="34" charset="0"/>
              <a:buChar char="•"/>
            </a:pPr>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EPS fallback procedure adds time to the call setup time which should be kept as short as possible. The </a:t>
            </a:r>
            <a:r>
              <a:rPr lang="en-US" sz="1200" i="1" kern="1200">
                <a:solidFill>
                  <a:schemeClr val="tx1"/>
                </a:solidFill>
                <a:effectLst/>
                <a:latin typeface="Arial" charset="0"/>
                <a:ea typeface="+mn-ea"/>
                <a:cs typeface="+mn-cs"/>
              </a:rPr>
              <a:t>release with redirect </a:t>
            </a:r>
            <a:r>
              <a:rPr lang="en-US" sz="1200" kern="1200">
                <a:solidFill>
                  <a:schemeClr val="tx1"/>
                </a:solidFill>
                <a:effectLst/>
                <a:latin typeface="Arial" charset="0"/>
                <a:ea typeface="+mn-ea"/>
                <a:cs typeface="+mn-cs"/>
              </a:rPr>
              <a:t>variant of EPS fallback only uses the UE context transfer part of N26.</a:t>
            </a:r>
          </a:p>
          <a:p>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EPS fallback with inter-system handover</a:t>
            </a:r>
            <a:r>
              <a:rPr lang="en-US" sz="1200" i="1" kern="1200">
                <a:solidFill>
                  <a:schemeClr val="tx1"/>
                </a:solidFill>
                <a:effectLst/>
                <a:latin typeface="Arial" charset="0"/>
                <a:ea typeface="+mn-ea"/>
                <a:cs typeface="+mn-cs"/>
              </a:rPr>
              <a:t> </a:t>
            </a:r>
            <a:r>
              <a:rPr lang="en-US" sz="1200" kern="1200">
                <a:solidFill>
                  <a:schemeClr val="tx1"/>
                </a:solidFill>
                <a:effectLst/>
                <a:latin typeface="Arial" charset="0"/>
                <a:ea typeface="+mn-ea"/>
                <a:cs typeface="+mn-cs"/>
              </a:rPr>
              <a:t>is recommended as soon as the required features are available in RAN, 5GC and in phones, since it has superior performance.</a:t>
            </a:r>
            <a:endParaRPr lang="en-150" sz="1200" kern="1200">
              <a:solidFill>
                <a:schemeClr val="tx1"/>
              </a:solidFill>
              <a:effectLst/>
              <a:latin typeface="Arial" charset="0"/>
              <a:ea typeface="+mn-ea"/>
              <a:cs typeface="+mn-cs"/>
            </a:endParaRPr>
          </a:p>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FD43E11D-CA1B-4A4A-BE5C-16D597FBDEB3}" type="slidenum">
              <a:rPr lang="en-US" smtClean="0"/>
              <a:t>73</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42000939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charset="0"/>
                <a:ea typeface="+mn-ea"/>
                <a:cs typeface="+mn-cs"/>
              </a:rPr>
              <a:t>5G capabilities are introduced by adding NR non-standalone to the LTE radio network. The coverage and deployment scenario for voice (VoLTE) in option 3 is as follows:</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Initially spotty) NR coverage with overlapping LTE coverage, NR is non-standalone (i.e., cannot be used without LTE)</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Wide-area LTE coverage supporting VoLTE</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LTE and/or CS handles emergency services</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The VoLTE network may interwork with an underlying 2G/3G network, including single radio voice call continuity (SRVCC)</a:t>
            </a:r>
          </a:p>
          <a:p>
            <a:pPr marL="171450" lvl="0" indent="-171450">
              <a:buFont typeface="Arial" panose="020B0604020202020204" pitchFamily="34" charset="0"/>
              <a:buChar char="•"/>
            </a:pPr>
            <a:endParaRPr lang="en-US" sz="1200" kern="1200">
              <a:solidFill>
                <a:schemeClr val="tx1"/>
              </a:solidFill>
              <a:effectLst/>
              <a:latin typeface="Arial" charset="0"/>
              <a:ea typeface="+mn-ea"/>
              <a:cs typeface="+mn-cs"/>
            </a:endParaRPr>
          </a:p>
          <a:p>
            <a:pPr marL="0" lvl="0" indent="0">
              <a:buFont typeface="Arial" panose="020B0604020202020204" pitchFamily="34" charset="0"/>
              <a:buNone/>
            </a:pPr>
            <a:r>
              <a:rPr lang="en-US" sz="1200" kern="1200">
                <a:solidFill>
                  <a:schemeClr val="tx1"/>
                </a:solidFill>
                <a:effectLst/>
                <a:latin typeface="Arial" charset="0"/>
                <a:ea typeface="+mn-ea"/>
                <a:cs typeface="+mn-cs"/>
              </a:rPr>
              <a:t>The LTE RAN is enhanced to include NR and to become an E-UTRA-NR Dual Connectivity (EN-DC) RAN</a:t>
            </a:r>
          </a:p>
          <a:p>
            <a:pPr marL="0" lvl="0" indent="0">
              <a:buFont typeface="Arial" panose="020B0604020202020204" pitchFamily="34" charset="0"/>
              <a:buNone/>
            </a:pPr>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Operators who have deployed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for 4G can continue to use IMS services over E-UTRAN (partially or fully upgraded to EN-DC). There is no impact on the IMS. In fact, the IMS system is not even aware of the E-UTRAN upgrade to EN-DC. All location information exposed to IMS is based on LTE, as before.</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All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principles remain. A PDN connection to the IMS APN is used for SIP signaling (on the default bearer with QCI=5) and for voice media (on a dedicated bearer with QCI=1).</a:t>
            </a:r>
            <a:endParaRPr lang="en-150" sz="1200" kern="1200">
              <a:solidFill>
                <a:schemeClr val="tx1"/>
              </a:solidFill>
              <a:effectLst/>
              <a:latin typeface="Arial" charset="0"/>
              <a:ea typeface="+mn-ea"/>
              <a:cs typeface="+mn-cs"/>
            </a:endParaRPr>
          </a:p>
          <a:p>
            <a:pPr marL="0" lvl="0" indent="0">
              <a:buFont typeface="Arial" panose="020B0604020202020204" pitchFamily="34" charset="0"/>
              <a:buNone/>
            </a:pPr>
            <a:endParaRPr lang="en-US" sz="1200" kern="1200">
              <a:solidFill>
                <a:schemeClr val="tx1"/>
              </a:solidFill>
              <a:effectLst/>
              <a:latin typeface="Arial" charset="0"/>
              <a:ea typeface="+mn-ea"/>
              <a:cs typeface="+mn-cs"/>
            </a:endParaRPr>
          </a:p>
          <a:p>
            <a:pPr marL="0" lvl="0" indent="0">
              <a:buFont typeface="Arial" panose="020B0604020202020204" pitchFamily="34" charset="0"/>
              <a:buNone/>
            </a:pPr>
            <a:endParaRPr lang="en-US" sz="1200" kern="1200">
              <a:solidFill>
                <a:schemeClr val="tx1"/>
              </a:solidFill>
              <a:effectLst/>
              <a:latin typeface="Arial" charset="0"/>
              <a:ea typeface="+mn-ea"/>
              <a:cs typeface="+mn-cs"/>
            </a:endParaRPr>
          </a:p>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1D33BB0A-3590-45D0-A7EA-15F3834CBFB8}"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7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40299075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charset="0"/>
                <a:ea typeface="+mn-ea"/>
                <a:cs typeface="+mn-cs"/>
              </a:rPr>
              <a:t>Voice over NR implies that voice calls can be made on NR SA in case of option 2. This requires UE, NR in NG-RAN, 5GC and IMS to support all voice related capabilities. It also requires that NG-RAN is dimensioned and tuned for voice.</a:t>
            </a:r>
          </a:p>
          <a:p>
            <a:endParaRPr lang="en-US"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Handover of voice calls between 5GS and 5G EPS can be performed, e.g. based on measurement reports provided by the UE. </a:t>
            </a:r>
          </a:p>
          <a:p>
            <a:r>
              <a:rPr lang="en-US" sz="1200" kern="1200">
                <a:solidFill>
                  <a:schemeClr val="tx1"/>
                </a:solidFill>
                <a:effectLst/>
                <a:latin typeface="Arial" charset="0"/>
                <a:ea typeface="+mn-ea"/>
                <a:cs typeface="+mn-cs"/>
              </a:rPr>
              <a:t>The initial coverage and deployment scenario for voice in 5GS is as follows:</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NR coverage controlled by a 5G Core that supports voice. The NR coverage can be embedded in or outside LTE coverage served by EPC.</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LTE coverage controlled by EPC supporting VoLTE</a:t>
            </a: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IMS emergency calls supported on NR (and LTE), if required by national regulation.</a:t>
            </a:r>
          </a:p>
          <a:p>
            <a:endParaRPr lang="en-US"/>
          </a:p>
          <a:p>
            <a:r>
              <a:rPr lang="en-US" sz="1200" kern="1200">
                <a:solidFill>
                  <a:schemeClr val="tx1"/>
                </a:solidFill>
                <a:effectLst/>
                <a:latin typeface="Arial" charset="0"/>
                <a:ea typeface="+mn-ea"/>
                <a:cs typeface="+mn-cs"/>
              </a:rPr>
              <a:t>In a deployment with support of voice in 5GS, both a SMF/UPF supporting S5 and tight interworking between AMF and MME (using the N26 reference point) are key to provide seamless mobility with good voice characteristics. </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intersystem handover is triggered in NG-RAN, e.g. when loosing NR coverage during a call. NG-RAN initiates transfer of all PDU sessions from 5GS to EPS. All flows in the IMS PDU session / IMS PDN are transferred between AMF and MME, using intersystem handover signaling over N26. The SMF and UPF ensures IP address preservation and QoS mapping between 5QI and QCI for the flows in the IMS PDU session. Handover of EPS to 5GS follows the same procedures. The intersystem handover procedure is required to fulfill the voice gap KPI.</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Phased introduction of handover capabilities is possible, starting with one-way handover (NR in 5GS to LTE in EPS), followed by two-way handover. In the case of one-way handover, the phone stays on the underlying LTE network during rest of the call, even if it moves back into NR coverage.</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During a voice call, after an inter system handover to LTE/EPC, 4G SRVCC can be performed if the 4G </a:t>
            </a:r>
            <a:r>
              <a:rPr lang="en-US" sz="1200" kern="1200" err="1">
                <a:solidFill>
                  <a:schemeClr val="tx1"/>
                </a:solidFill>
                <a:effectLst/>
                <a:latin typeface="Arial" charset="0"/>
                <a:ea typeface="+mn-ea"/>
                <a:cs typeface="+mn-cs"/>
              </a:rPr>
              <a:t>VoLTE</a:t>
            </a:r>
            <a:r>
              <a:rPr lang="en-US" sz="1200" kern="1200">
                <a:solidFill>
                  <a:schemeClr val="tx1"/>
                </a:solidFill>
                <a:effectLst/>
                <a:latin typeface="Arial" charset="0"/>
                <a:ea typeface="+mn-ea"/>
                <a:cs typeface="+mn-cs"/>
              </a:rPr>
              <a:t> deployment is supported by CS coverage.</a:t>
            </a:r>
            <a:endParaRPr lang="en-150" sz="1200" kern="1200">
              <a:solidFill>
                <a:schemeClr val="tx1"/>
              </a:solidFill>
              <a:effectLst/>
              <a:latin typeface="Arial" charset="0"/>
              <a:ea typeface="+mn-ea"/>
              <a:cs typeface="+mn-cs"/>
            </a:endParaRPr>
          </a:p>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07CAA693-7B87-4DF0-830C-FEC5228CC7B5}" type="slidenum">
              <a:rPr lang="en-US" smtClean="0"/>
              <a:t>75</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9899628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latin typeface="Arial" charset="0"/>
              </a:rPr>
              <a:t>In 5GS, the 3GPP has specified four different behaviors for emergency call (denoted as solutions a) to d) below), two of which are addressing new mobility cases compared to 4G. </a:t>
            </a:r>
            <a:r>
              <a:rPr lang="en-US" sz="1200" kern="1200">
                <a:solidFill>
                  <a:schemeClr val="tx1"/>
                </a:solidFill>
                <a:effectLst/>
                <a:latin typeface="Ericsson Hilda Light" panose="00000400000000000000" pitchFamily="2" charset="0"/>
                <a:ea typeface="+mn-ea"/>
                <a:cs typeface="+mn-cs"/>
              </a:rPr>
              <a:t>All emergency behaviors must be supported by a UE while the support by the network depends on operator and regulatory requirements. The UE is made aware of emergency support by the AMF indicating to the UE that emergency service (see solution d) below) or that service request for emergency (see solution b) below) is supported. </a:t>
            </a:r>
            <a:endParaRPr lang="en-150" sz="1200" kern="1200">
              <a:solidFill>
                <a:schemeClr val="tx1"/>
              </a:solidFill>
              <a:effectLst/>
              <a:latin typeface="Ericsson Hilda Light" panose="00000400000000000000" pitchFamily="2" charset="0"/>
              <a:ea typeface="+mn-ea"/>
              <a:cs typeface="+mn-cs"/>
            </a:endParaRPr>
          </a:p>
          <a:p>
            <a:pPr lvl="0"/>
            <a:r>
              <a:rPr lang="en-US" sz="1200" b="1" kern="1200">
                <a:solidFill>
                  <a:schemeClr val="tx1"/>
                </a:solidFill>
                <a:effectLst/>
                <a:latin typeface="Ericsson Hilda Light" panose="00000400000000000000" pitchFamily="2" charset="0"/>
                <a:ea typeface="+mn-ea"/>
                <a:cs typeface="+mn-cs"/>
              </a:rPr>
              <a:t>UE Reselection</a:t>
            </a:r>
            <a:r>
              <a:rPr lang="en-US" sz="1200" kern="1200">
                <a:solidFill>
                  <a:schemeClr val="tx1"/>
                </a:solidFill>
                <a:effectLst/>
                <a:latin typeface="Ericsson Hilda Light" panose="00000400000000000000" pitchFamily="2" charset="0"/>
                <a:ea typeface="+mn-ea"/>
                <a:cs typeface="+mn-cs"/>
              </a:rPr>
              <a:t>: at emergency attempt the UE re-selects to E-UTRAN or other access providing emergency support if there is no local regulatory requirement to indicate emergency support on NG-RAN. This solution is depending on the UE access selection.</a:t>
            </a:r>
            <a:endParaRPr lang="en-150" sz="1200" kern="1200">
              <a:solidFill>
                <a:schemeClr val="tx1"/>
              </a:solidFill>
              <a:effectLst/>
              <a:latin typeface="Ericsson Hilda Light" panose="00000400000000000000" pitchFamily="2" charset="0"/>
              <a:ea typeface="+mn-ea"/>
              <a:cs typeface="+mn-cs"/>
            </a:endParaRPr>
          </a:p>
          <a:p>
            <a:pPr lvl="0"/>
            <a:r>
              <a:rPr lang="en-US" sz="1200" b="1" kern="1200">
                <a:solidFill>
                  <a:schemeClr val="tx1"/>
                </a:solidFill>
                <a:effectLst/>
                <a:latin typeface="Ericsson Hilda Light" panose="00000400000000000000" pitchFamily="2" charset="0"/>
                <a:ea typeface="+mn-ea"/>
                <a:cs typeface="+mn-cs"/>
              </a:rPr>
              <a:t>EPS Fallback – Service Request for emergency</a:t>
            </a:r>
            <a:r>
              <a:rPr lang="en-US" sz="1200" kern="1200">
                <a:solidFill>
                  <a:schemeClr val="tx1"/>
                </a:solidFill>
                <a:effectLst/>
                <a:latin typeface="Ericsson Hilda Light" panose="00000400000000000000" pitchFamily="2" charset="0"/>
                <a:ea typeface="+mn-ea"/>
                <a:cs typeface="+mn-cs"/>
              </a:rPr>
              <a:t>: This solution is new in 5GS, i.e., there is no equivalent in EPS. The UE uses service-request for emergency towards AMF if support for this feature has been indicated by the AMF. If receiving the service request for emergency, the AMF interacts with the gNB to perform EPS Fallback. In this solution, there is no need for NR and 5GC to support emergency features other than needed for service-request for emergency handling. However, voice over NR (possibly including EPS Fallback) has to be supported on NR and 5GC (otherwise the UE would not even camp on NR).</a:t>
            </a:r>
            <a:endParaRPr lang="en-150" sz="1200" kern="1200">
              <a:solidFill>
                <a:schemeClr val="tx1"/>
              </a:solidFill>
              <a:effectLst/>
              <a:latin typeface="Ericsson Hilda Light" panose="00000400000000000000" pitchFamily="2" charset="0"/>
              <a:ea typeface="+mn-ea"/>
              <a:cs typeface="+mn-cs"/>
            </a:endParaRPr>
          </a:p>
          <a:p>
            <a:pPr lvl="0"/>
            <a:r>
              <a:rPr lang="en-US" sz="1200" b="1" kern="1200">
                <a:solidFill>
                  <a:schemeClr val="tx1"/>
                </a:solidFill>
                <a:effectLst/>
                <a:latin typeface="Ericsson Hilda Light" panose="00000400000000000000" pitchFamily="2" charset="0"/>
                <a:ea typeface="+mn-ea"/>
                <a:cs typeface="+mn-cs"/>
              </a:rPr>
              <a:t>EPS Fallback – QoS triggered for emergency</a:t>
            </a:r>
            <a:r>
              <a:rPr lang="en-US" sz="1200" kern="1200">
                <a:solidFill>
                  <a:schemeClr val="tx1"/>
                </a:solidFill>
                <a:effectLst/>
                <a:latin typeface="Ericsson Hilda Light" panose="00000400000000000000" pitchFamily="2" charset="0"/>
                <a:ea typeface="+mn-ea"/>
                <a:cs typeface="+mn-cs"/>
              </a:rPr>
              <a:t> </a:t>
            </a:r>
            <a:r>
              <a:rPr lang="en-US" sz="1200" b="1" kern="1200">
                <a:solidFill>
                  <a:schemeClr val="tx1"/>
                </a:solidFill>
                <a:effectLst/>
                <a:latin typeface="Ericsson Hilda Light" panose="00000400000000000000" pitchFamily="2" charset="0"/>
                <a:ea typeface="+mn-ea"/>
                <a:cs typeface="+mn-cs"/>
              </a:rPr>
              <a:t>:</a:t>
            </a:r>
            <a:r>
              <a:rPr lang="en-US" sz="1200" kern="1200">
                <a:solidFill>
                  <a:schemeClr val="tx1"/>
                </a:solidFill>
                <a:effectLst/>
                <a:latin typeface="Ericsson Hilda Light" panose="00000400000000000000" pitchFamily="2" charset="0"/>
                <a:ea typeface="+mn-ea"/>
                <a:cs typeface="+mn-cs"/>
              </a:rPr>
              <a:t> This solution is new in 5GS, i.e., there is no equivalent in 4G. In this solution (and like EPS Fallback for voice) the UE is falling back to Emergency call over LTE during emergency call establishment on 5GS, when the network attempts to establish the QoS flow for voice. NR and 5GC must support emergency features incl. impacts on GMLC/LRF.</a:t>
            </a:r>
            <a:endParaRPr lang="en-150" sz="1200" kern="1200">
              <a:solidFill>
                <a:schemeClr val="tx1"/>
              </a:solidFill>
              <a:effectLst/>
              <a:latin typeface="Ericsson Hilda Light" panose="00000400000000000000" pitchFamily="2" charset="0"/>
              <a:ea typeface="+mn-ea"/>
              <a:cs typeface="+mn-cs"/>
            </a:endParaRPr>
          </a:p>
          <a:p>
            <a:pPr lvl="0"/>
            <a:r>
              <a:rPr lang="en-US" sz="1200" b="1" kern="1200">
                <a:solidFill>
                  <a:schemeClr val="tx1"/>
                </a:solidFill>
                <a:effectLst/>
                <a:latin typeface="Ericsson Hilda Light" panose="00000400000000000000" pitchFamily="2" charset="0"/>
                <a:ea typeface="+mn-ea"/>
                <a:cs typeface="+mn-cs"/>
              </a:rPr>
              <a:t>Emergency call over NR</a:t>
            </a:r>
            <a:r>
              <a:rPr lang="en-US" sz="1200" kern="1200">
                <a:solidFill>
                  <a:schemeClr val="tx1"/>
                </a:solidFill>
                <a:effectLst/>
                <a:latin typeface="Ericsson Hilda Light" panose="00000400000000000000" pitchFamily="2" charset="0"/>
                <a:ea typeface="+mn-ea"/>
                <a:cs typeface="+mn-cs"/>
              </a:rPr>
              <a:t>: In this solution, NR is used for emergency communication with seamless mobility between 5GS and EPS using intersystem handover. It requires that NR and 5GC support emergency features incl. impacts on GMLC/LRF.</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 </a:t>
            </a:r>
            <a:endParaRPr lang="en-US" b="1"/>
          </a:p>
        </p:txBody>
      </p:sp>
      <p:sp>
        <p:nvSpPr>
          <p:cNvPr id="4" name="Header Placeholder 3"/>
          <p:cNvSpPr>
            <a:spLocks noGrp="1"/>
          </p:cNvSpPr>
          <p:nvPr>
            <p:ph type="hdr" sz="quarter" idx="10"/>
          </p:nvPr>
        </p:nvSpPr>
        <p:spPr/>
        <p:txBody>
          <a:bodyPr/>
          <a:lstStyle/>
          <a:p>
            <a:pPr marL="0" indent="0" defTabSz="966612" fontAlgn="auto">
              <a:spcBef>
                <a:spcPts val="0"/>
              </a:spcBef>
              <a:spcAft>
                <a:spcPts val="0"/>
              </a:spcAft>
              <a:buNone/>
              <a:defRPr/>
            </a:pPr>
            <a:r>
              <a:rPr lang="en-US" kern="1200" spc="0">
                <a:solidFill>
                  <a:prstClr val="black"/>
                </a:solidFill>
              </a:rPr>
              <a:t>5G Voice: Voice aspects of 5G evolution steps </a:t>
            </a:r>
          </a:p>
        </p:txBody>
      </p:sp>
      <p:sp>
        <p:nvSpPr>
          <p:cNvPr id="5" name="Date Placeholder 4"/>
          <p:cNvSpPr>
            <a:spLocks noGrp="1"/>
          </p:cNvSpPr>
          <p:nvPr>
            <p:ph type="dt" idx="11"/>
          </p:nvPr>
        </p:nvSpPr>
        <p:spPr/>
        <p:txBody>
          <a:bodyPr/>
          <a:lstStyle/>
          <a:p>
            <a:pPr marL="0" indent="0" defTabSz="966612" fontAlgn="auto">
              <a:spcBef>
                <a:spcPts val="0"/>
              </a:spcBef>
              <a:spcAft>
                <a:spcPts val="0"/>
              </a:spcAft>
              <a:buNone/>
              <a:defRPr/>
            </a:pPr>
            <a:r>
              <a:rPr lang="en-US" kern="1200" spc="0">
                <a:solidFill>
                  <a:prstClr val="black"/>
                </a:solidFill>
              </a:rPr>
              <a:t>2019-06-24 </a:t>
            </a:r>
          </a:p>
        </p:txBody>
      </p:sp>
      <p:sp>
        <p:nvSpPr>
          <p:cNvPr id="6" name="Footer Placeholder 5"/>
          <p:cNvSpPr>
            <a:spLocks noGrp="1"/>
          </p:cNvSpPr>
          <p:nvPr>
            <p:ph type="ftr" sz="quarter" idx="12"/>
          </p:nvPr>
        </p:nvSpPr>
        <p:spPr/>
        <p:txBody>
          <a:bodyPr/>
          <a:lstStyle/>
          <a:p>
            <a:pPr marL="0" indent="0" defTabSz="966612" fontAlgn="auto">
              <a:spcBef>
                <a:spcPts val="0"/>
              </a:spcBef>
              <a:spcAft>
                <a:spcPts val="0"/>
              </a:spcAft>
              <a:buNone/>
              <a:defRPr/>
            </a:pPr>
            <a:r>
              <a:rPr lang="en-US" kern="1200" spc="0">
                <a:solidFill>
                  <a:prstClr val="black"/>
                </a:solidFill>
              </a:rPr>
              <a:t> </a:t>
            </a:r>
          </a:p>
        </p:txBody>
      </p:sp>
      <p:sp>
        <p:nvSpPr>
          <p:cNvPr id="7" name="Slide Number Placeholder 6"/>
          <p:cNvSpPr>
            <a:spLocks noGrp="1"/>
          </p:cNvSpPr>
          <p:nvPr>
            <p:ph type="sldNum" sz="quarter" idx="13"/>
          </p:nvPr>
        </p:nvSpPr>
        <p:spPr/>
        <p:txBody>
          <a:bodyPr/>
          <a:lstStyle/>
          <a:p>
            <a:pPr marL="0" indent="0" defTabSz="966612" fontAlgn="auto">
              <a:spcBef>
                <a:spcPts val="0"/>
              </a:spcBef>
              <a:spcAft>
                <a:spcPts val="0"/>
              </a:spcAft>
              <a:buNone/>
              <a:defRPr/>
            </a:pPr>
            <a:fld id="{27BA7189-98E2-4F15-AC55-92D199E4305D}" type="slidenum">
              <a:rPr lang="en-US" kern="1200" spc="0">
                <a:solidFill>
                  <a:prstClr val="black"/>
                </a:solidFill>
              </a:rPr>
              <a:pPr marL="0" indent="0" defTabSz="966612" fontAlgn="auto">
                <a:spcBef>
                  <a:spcPts val="0"/>
                </a:spcBef>
                <a:spcAft>
                  <a:spcPts val="0"/>
                </a:spcAft>
                <a:buNone/>
                <a:defRPr/>
              </a:pPr>
              <a:t>76</a:t>
            </a:fld>
            <a:endParaRPr lang="en-US" kern="1200" spc="0">
              <a:solidFill>
                <a:prstClr val="black"/>
              </a:solidFill>
            </a:endParaRPr>
          </a:p>
        </p:txBody>
      </p:sp>
    </p:spTree>
    <p:extLst>
      <p:ext uri="{BB962C8B-B14F-4D97-AF65-F5344CB8AC3E}">
        <p14:creationId xmlns:p14="http://schemas.microsoft.com/office/powerpoint/2010/main" val="54866285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Ericsson Hilda Light" panose="00000400000000000000" pitchFamily="2" charset="0"/>
                <a:ea typeface="+mn-ea"/>
                <a:cs typeface="+mn-cs"/>
              </a:rPr>
              <a:t>SMS stays an important use case also in 5GS. There are two methods to transport the SMS over the 5G access, namely SMS over IP (</a:t>
            </a:r>
            <a:r>
              <a:rPr lang="en-US" sz="1200" kern="1200" err="1">
                <a:solidFill>
                  <a:schemeClr val="tx1"/>
                </a:solidFill>
                <a:effectLst/>
                <a:latin typeface="Ericsson Hilda Light" panose="00000400000000000000" pitchFamily="2" charset="0"/>
                <a:ea typeface="+mn-ea"/>
                <a:cs typeface="+mn-cs"/>
              </a:rPr>
              <a:t>SMSoIP</a:t>
            </a:r>
            <a:r>
              <a:rPr lang="en-US" sz="1200" kern="1200">
                <a:solidFill>
                  <a:schemeClr val="tx1"/>
                </a:solidFill>
                <a:effectLst/>
                <a:latin typeface="Ericsson Hilda Light" panose="00000400000000000000" pitchFamily="2" charset="0"/>
                <a:ea typeface="+mn-ea"/>
                <a:cs typeface="+mn-cs"/>
              </a:rPr>
              <a:t>) using IMS and SMS over 5G NAS (</a:t>
            </a:r>
            <a:r>
              <a:rPr lang="en-US" sz="1200" kern="1200" err="1">
                <a:solidFill>
                  <a:schemeClr val="tx1"/>
                </a:solidFill>
                <a:effectLst/>
                <a:latin typeface="Ericsson Hilda Light" panose="00000400000000000000" pitchFamily="2" charset="0"/>
                <a:ea typeface="+mn-ea"/>
                <a:cs typeface="+mn-cs"/>
              </a:rPr>
              <a:t>SMSoNAS</a:t>
            </a:r>
            <a:r>
              <a:rPr lang="en-US" sz="1200" kern="1200">
                <a:solidFill>
                  <a:schemeClr val="tx1"/>
                </a:solidFill>
                <a:effectLst/>
                <a:latin typeface="Ericsson Hilda Light" panose="00000400000000000000" pitchFamily="2" charset="0"/>
                <a:ea typeface="+mn-ea"/>
                <a:cs typeface="+mn-cs"/>
              </a:rPr>
              <a:t>). </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For </a:t>
            </a:r>
            <a:r>
              <a:rPr lang="en-US" sz="1200" kern="1200" err="1">
                <a:solidFill>
                  <a:schemeClr val="tx1"/>
                </a:solidFill>
                <a:effectLst/>
                <a:latin typeface="Ericsson Hilda Light" panose="00000400000000000000" pitchFamily="2" charset="0"/>
                <a:ea typeface="+mn-ea"/>
                <a:cs typeface="+mn-cs"/>
              </a:rPr>
              <a:t>SMSoNAS</a:t>
            </a:r>
            <a:r>
              <a:rPr lang="en-US" sz="1200" kern="1200">
                <a:solidFill>
                  <a:schemeClr val="tx1"/>
                </a:solidFill>
                <a:effectLst/>
                <a:latin typeface="Ericsson Hilda Light" panose="00000400000000000000" pitchFamily="2" charset="0"/>
                <a:ea typeface="+mn-ea"/>
                <a:cs typeface="+mn-cs"/>
              </a:rPr>
              <a:t>, originated and terminated SMS are transport between UE and AMF via NAS. An SMSF has been defined in 5GS for handling these originating and terminating SMS, using MAP for SMS transport with SMS-C. </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For </a:t>
            </a:r>
            <a:r>
              <a:rPr lang="en-US" sz="1200" kern="1200" err="1">
                <a:solidFill>
                  <a:schemeClr val="tx1"/>
                </a:solidFill>
                <a:effectLst/>
                <a:latin typeface="Ericsson Hilda Light" panose="00000400000000000000" pitchFamily="2" charset="0"/>
                <a:ea typeface="+mn-ea"/>
                <a:cs typeface="+mn-cs"/>
              </a:rPr>
              <a:t>SMSoIP</a:t>
            </a:r>
            <a:r>
              <a:rPr lang="en-US" sz="1200" kern="1200">
                <a:solidFill>
                  <a:schemeClr val="tx1"/>
                </a:solidFill>
                <a:effectLst/>
                <a:latin typeface="Ericsson Hilda Light" panose="00000400000000000000" pitchFamily="2" charset="0"/>
                <a:ea typeface="+mn-ea"/>
                <a:cs typeface="+mn-cs"/>
              </a:rPr>
              <a:t>, an IP-SM-GW must be present for originating and terminating SMS. This IP-SM-GW may also perform MT domain selection to other accesses (4G, 3G, 2G), and the SMS transport between UE and IP-SM-GW is via IP, and MAP for SMS transport between SMS-C and IP-SM-GW.</a:t>
            </a:r>
            <a:endParaRPr lang="en-150" sz="1200"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Both SMS over NAS and SMS over IP must be supported by a 5GS UE supporting voice, whereas each operator has the freedom to decide whether to support SMS over NAS, SMS over IP or both. These SMS solutions can be combined and can be used also in case EPS Fallback is used for voice. </a:t>
            </a:r>
            <a:endParaRPr lang="en-150" sz="1200" kern="1200">
              <a:solidFill>
                <a:schemeClr val="tx1"/>
              </a:solidFill>
              <a:effectLst/>
              <a:latin typeface="Ericsson Hilda Light" panose="00000400000000000000" pitchFamily="2" charset="0"/>
              <a:ea typeface="+mn-ea"/>
              <a:cs typeface="+mn-cs"/>
            </a:endParaRPr>
          </a:p>
          <a:p>
            <a:endParaRPr lang="en-US">
              <a:solidFill>
                <a:schemeClr val="bg1"/>
              </a:solidFill>
            </a:endParaRPr>
          </a:p>
          <a:p>
            <a:r>
              <a:rPr lang="en-US">
                <a:solidFill>
                  <a:schemeClr val="bg1"/>
                </a:solidFill>
              </a:rPr>
              <a:t>Terminology:</a:t>
            </a:r>
          </a:p>
          <a:p>
            <a:endParaRPr lang="en-US">
              <a:solidFill>
                <a:schemeClr val="bg1"/>
              </a:solidFill>
            </a:endParaRPr>
          </a:p>
          <a:p>
            <a:r>
              <a:rPr lang="en-US">
                <a:solidFill>
                  <a:schemeClr val="bg1"/>
                </a:solidFill>
              </a:rPr>
              <a:t>SMSF: SMS Function</a:t>
            </a:r>
          </a:p>
          <a:p>
            <a:endParaRPr lang="en-US">
              <a:solidFill>
                <a:schemeClr val="bg1"/>
              </a:solidFill>
            </a:endParaRPr>
          </a:p>
          <a:p>
            <a:pPr defTabSz="966612" fontAlgn="base">
              <a:spcBef>
                <a:spcPct val="30000"/>
              </a:spcBef>
              <a:spcAft>
                <a:spcPct val="0"/>
              </a:spcAft>
              <a:defRPr/>
            </a:pPr>
            <a:r>
              <a:rPr lang="en-US">
                <a:solidFill>
                  <a:schemeClr val="bg1"/>
                </a:solidFill>
              </a:rPr>
              <a:t>Solution similar to</a:t>
            </a:r>
            <a:r>
              <a:rPr lang="en-US" baseline="0">
                <a:solidFill>
                  <a:schemeClr val="bg1"/>
                </a:solidFill>
              </a:rPr>
              <a:t> </a:t>
            </a:r>
            <a:r>
              <a:rPr lang="en-US" baseline="0" err="1">
                <a:solidFill>
                  <a:schemeClr val="bg1"/>
                </a:solidFill>
              </a:rPr>
              <a:t>SGd</a:t>
            </a:r>
            <a:r>
              <a:rPr lang="en-US" baseline="0">
                <a:solidFill>
                  <a:schemeClr val="bg1"/>
                </a:solidFill>
              </a:rPr>
              <a:t> support in MME and </a:t>
            </a:r>
            <a:r>
              <a:rPr lang="en-US" baseline="0" err="1">
                <a:solidFill>
                  <a:schemeClr val="bg1"/>
                </a:solidFill>
              </a:rPr>
              <a:t>Gdd</a:t>
            </a:r>
            <a:r>
              <a:rPr lang="en-US" baseline="0">
                <a:solidFill>
                  <a:schemeClr val="bg1"/>
                </a:solidFill>
              </a:rPr>
              <a:t> support in SGSN in case DIAMETER is used. Interface between SMSF and SMS-C: Can be MAP or DIAMETER (see TS 23.040)</a:t>
            </a:r>
            <a:endParaRPr lang="en-US">
              <a:solidFill>
                <a:schemeClr val="bg1"/>
              </a:solidFill>
            </a:endParaRPr>
          </a:p>
          <a:p>
            <a:endParaRPr lang="en-US" baseline="0">
              <a:solidFill>
                <a:schemeClr val="bg1"/>
              </a:solidFill>
            </a:endParaRPr>
          </a:p>
          <a:p>
            <a:pPr defTabSz="966612" fontAlgn="base">
              <a:spcBef>
                <a:spcPct val="30000"/>
              </a:spcBef>
              <a:spcAft>
                <a:spcPct val="0"/>
              </a:spcAft>
              <a:defRPr/>
            </a:pPr>
            <a:r>
              <a:rPr lang="en-US">
                <a:solidFill>
                  <a:schemeClr val="bg1"/>
                </a:solidFill>
              </a:rPr>
              <a:t>SMS-C:</a:t>
            </a:r>
            <a:r>
              <a:rPr lang="en-US" baseline="0">
                <a:solidFill>
                  <a:schemeClr val="bg1"/>
                </a:solidFill>
              </a:rPr>
              <a:t> SMS-IWMSC, SMS-GMSC, SMS-Router</a:t>
            </a:r>
            <a:endParaRPr lang="en-US">
              <a:solidFill>
                <a:schemeClr val="bg1"/>
              </a:solidFill>
            </a:endParaRPr>
          </a:p>
          <a:p>
            <a:endParaRPr lang="en-US" baseline="0">
              <a:solidFill>
                <a:schemeClr val="bg1"/>
              </a:solidFill>
            </a:endParaRPr>
          </a:p>
          <a:p>
            <a:r>
              <a:rPr lang="en-US" baseline="0">
                <a:solidFill>
                  <a:schemeClr val="bg1"/>
                </a:solidFill>
              </a:rPr>
              <a:t>Interface:</a:t>
            </a:r>
          </a:p>
          <a:p>
            <a:pPr marL="181240" indent="-181240">
              <a:buFontTx/>
              <a:buChar char="-"/>
            </a:pPr>
            <a:r>
              <a:rPr lang="en-US" baseline="0">
                <a:solidFill>
                  <a:schemeClr val="bg1"/>
                </a:solidFill>
              </a:rPr>
              <a:t>N20: AMF – SMSF</a:t>
            </a:r>
          </a:p>
          <a:p>
            <a:pPr marL="181240" indent="-181240">
              <a:buFontTx/>
              <a:buChar char="-"/>
            </a:pPr>
            <a:r>
              <a:rPr lang="en-US" baseline="0">
                <a:solidFill>
                  <a:schemeClr val="bg1"/>
                </a:solidFill>
              </a:rPr>
              <a:t>N21: SMSF - UDM</a:t>
            </a:r>
          </a:p>
          <a:p>
            <a:endParaRPr lang="en-US"/>
          </a:p>
        </p:txBody>
      </p:sp>
      <p:sp>
        <p:nvSpPr>
          <p:cNvPr id="4" name="Date Placeholder 3"/>
          <p:cNvSpPr>
            <a:spLocks noGrp="1"/>
          </p:cNvSpPr>
          <p:nvPr>
            <p:ph type="dt" idx="10"/>
          </p:nvPr>
        </p:nvSpPr>
        <p:spPr/>
        <p:txBody>
          <a:bodyPr/>
          <a:lstStyle/>
          <a:p>
            <a:pPr marL="0" indent="0" defTabSz="966612" fontAlgn="auto">
              <a:spcBef>
                <a:spcPts val="0"/>
              </a:spcBef>
              <a:spcAft>
                <a:spcPts val="0"/>
              </a:spcAft>
              <a:buNone/>
              <a:defRPr/>
            </a:pPr>
            <a:r>
              <a:rPr lang="en-US" kern="1200" spc="0">
                <a:solidFill>
                  <a:prstClr val="black"/>
                </a:solidFill>
              </a:rPr>
              <a:t>2019-06-24 </a:t>
            </a:r>
          </a:p>
        </p:txBody>
      </p:sp>
      <p:sp>
        <p:nvSpPr>
          <p:cNvPr id="5" name="Slide Number Placeholder 4"/>
          <p:cNvSpPr>
            <a:spLocks noGrp="1"/>
          </p:cNvSpPr>
          <p:nvPr>
            <p:ph type="sldNum" sz="quarter" idx="11"/>
          </p:nvPr>
        </p:nvSpPr>
        <p:spPr/>
        <p:txBody>
          <a:bodyPr/>
          <a:lstStyle/>
          <a:p>
            <a:pPr marL="0" indent="0" defTabSz="966612" fontAlgn="auto">
              <a:spcBef>
                <a:spcPts val="0"/>
              </a:spcBef>
              <a:spcAft>
                <a:spcPts val="0"/>
              </a:spcAft>
              <a:buNone/>
              <a:defRPr/>
            </a:pPr>
            <a:fld id="{E9119ADB-F935-4A07-AD9F-492A7D5A4DA3}" type="slidenum">
              <a:rPr lang="en-US" kern="1200" spc="0">
                <a:solidFill>
                  <a:prstClr val="black"/>
                </a:solidFill>
              </a:rPr>
              <a:pPr marL="0" indent="0" defTabSz="966612" fontAlgn="auto">
                <a:spcBef>
                  <a:spcPts val="0"/>
                </a:spcBef>
                <a:spcAft>
                  <a:spcPts val="0"/>
                </a:spcAft>
                <a:buNone/>
                <a:defRPr/>
              </a:pPr>
              <a:t>77</a:t>
            </a:fld>
            <a:endParaRPr lang="en-US" kern="1200" spc="0">
              <a:solidFill>
                <a:prstClr val="black"/>
              </a:solidFill>
            </a:endParaRPr>
          </a:p>
        </p:txBody>
      </p:sp>
      <p:sp>
        <p:nvSpPr>
          <p:cNvPr id="6" name="Header Placeholder 5"/>
          <p:cNvSpPr>
            <a:spLocks noGrp="1"/>
          </p:cNvSpPr>
          <p:nvPr>
            <p:ph type="hdr" sz="quarter" idx="12"/>
          </p:nvPr>
        </p:nvSpPr>
        <p:spPr/>
        <p:txBody>
          <a:bodyPr/>
          <a:lstStyle/>
          <a:p>
            <a:pPr marL="0" indent="0" defTabSz="966612" fontAlgn="auto">
              <a:spcBef>
                <a:spcPts val="0"/>
              </a:spcBef>
              <a:spcAft>
                <a:spcPts val="0"/>
              </a:spcAft>
              <a:buNone/>
              <a:defRPr/>
            </a:pPr>
            <a:r>
              <a:rPr lang="en-US" kern="1200" spc="0">
                <a:solidFill>
                  <a:prstClr val="black"/>
                </a:solidFill>
              </a:rPr>
              <a:t>5G Voice: Voice aspects of 5G evolution steps </a:t>
            </a:r>
          </a:p>
        </p:txBody>
      </p:sp>
      <p:sp>
        <p:nvSpPr>
          <p:cNvPr id="7" name="Footer Placeholder 6"/>
          <p:cNvSpPr>
            <a:spLocks noGrp="1"/>
          </p:cNvSpPr>
          <p:nvPr>
            <p:ph type="ftr" sz="quarter" idx="13"/>
          </p:nvPr>
        </p:nvSpPr>
        <p:spPr/>
        <p:txBody>
          <a:bodyPr/>
          <a:lstStyle/>
          <a:p>
            <a:pPr marL="0" indent="0" defTabSz="966612" fontAlgn="auto">
              <a:spcBef>
                <a:spcPts val="0"/>
              </a:spcBef>
              <a:spcAft>
                <a:spcPts val="0"/>
              </a:spcAft>
              <a:buNone/>
              <a:defRPr/>
            </a:pPr>
            <a:r>
              <a:rPr lang="en-US" kern="1200" spc="0">
                <a:solidFill>
                  <a:prstClr val="black"/>
                </a:solidFill>
              </a:rPr>
              <a:t> </a:t>
            </a:r>
          </a:p>
        </p:txBody>
      </p:sp>
    </p:spTree>
    <p:extLst>
      <p:ext uri="{BB962C8B-B14F-4D97-AF65-F5344CB8AC3E}">
        <p14:creationId xmlns:p14="http://schemas.microsoft.com/office/powerpoint/2010/main" val="23680959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t>Note: the statement to the right “</a:t>
            </a:r>
            <a:r>
              <a:rPr lang="en-US" sz="1200" kern="1200">
                <a:solidFill>
                  <a:schemeClr val="tx1"/>
                </a:solidFill>
                <a:latin typeface="Arial" charset="0"/>
                <a:ea typeface="+mn-ea"/>
                <a:cs typeface="+mn-cs"/>
              </a:rPr>
              <a:t>NWDAF instance(s) can be collocated with a 5GS NF</a:t>
            </a:r>
            <a:r>
              <a:rPr lang="en-US"/>
              <a:t>” refers to that especially the green marked use cases on next slide is planned being implemented within the Packet Core NFs (AMF/SMF); use cases marked blue target for OAM, and yellow marked use cases target a more centralized deployment (not in the NFs) </a:t>
            </a:r>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667CE0F0-7707-4F82-9F38-C579C032D734}" type="slidenum">
              <a:rPr lang="en-US" smtClean="0"/>
              <a:t>78</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185995588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3CB20BC3-8C54-4E8F-A024-0356CB9408D5}" type="slidenum">
              <a:rPr lang="en-US" smtClean="0"/>
              <a:t>79</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266379821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B1772C8F-875E-4C66-A9B8-27BC30860958}" type="slidenum">
              <a:rPr lang="en-US" smtClean="0"/>
              <a:t>80</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4876758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Ericsson is aiming at reducing the table to the right by removing NEF and AF at the 3GPP SA2 October meeting</a:t>
            </a:r>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6C89270A-7BDE-405F-AC15-96EDE77E216A}" type="slidenum">
              <a:rPr lang="en-US" smtClean="0"/>
              <a:t>81</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3076664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937">
              <a:defRPr/>
            </a:pPr>
            <a:r>
              <a:rPr lang="en-GB"/>
              <a:t>Note: NEF, NRF applies also to </a:t>
            </a:r>
            <a:r>
              <a:rPr lang="en-GB" err="1"/>
              <a:t>ptp</a:t>
            </a:r>
            <a:r>
              <a:rPr lang="en-GB"/>
              <a:t> representation but not shown for clarity. A</a:t>
            </a:r>
            <a:r>
              <a:rPr lang="en-US" err="1"/>
              <a:t>ll</a:t>
            </a:r>
            <a:r>
              <a:rPr lang="en-US"/>
              <a:t> depicted Network Functions can interact with the NEF and NRF as necessary</a:t>
            </a:r>
          </a:p>
          <a:p>
            <a:pPr defTabSz="894937">
              <a:defRPr/>
            </a:pPr>
            <a:endParaRPr lang="en-US"/>
          </a:p>
          <a:p>
            <a:pPr defTabSz="894937">
              <a:defRPr/>
            </a:pPr>
            <a:r>
              <a:rPr lang="en-US"/>
              <a:t>Note: All NFs are not represented in the two figures, these are high level with the “basic” NFs, but e.g. SMSF, UDR and NWADF are missing as well as the new SBI to OCS (</a:t>
            </a:r>
            <a:r>
              <a:rPr lang="en-US" err="1"/>
              <a:t>PSy</a:t>
            </a:r>
            <a:r>
              <a:rPr lang="en-US"/>
              <a:t>/N28)</a:t>
            </a:r>
          </a:p>
          <a:p>
            <a:pPr defTabSz="894937">
              <a:defRPr/>
            </a:pPr>
            <a:endParaRPr lang="en-US"/>
          </a:p>
          <a:p>
            <a:pPr defTabSz="894937">
              <a:defRPr/>
            </a:pPr>
            <a:r>
              <a:rPr lang="en-US"/>
              <a:t>Note: SCP not shown (included in 23.501 15.6.0-version) since it originally comes from a rel-16 study item, </a:t>
            </a:r>
            <a:r>
              <a:rPr lang="en-US" err="1"/>
              <a:t>eSBA</a:t>
            </a:r>
            <a:r>
              <a:rPr lang="en-US"/>
              <a:t>, and E/// views it as rel-16</a:t>
            </a:r>
          </a:p>
          <a:p>
            <a:endParaRPr lang="en-US"/>
          </a:p>
        </p:txBody>
      </p:sp>
      <p:sp>
        <p:nvSpPr>
          <p:cNvPr id="4" name="Date Placeholder 3"/>
          <p:cNvSpPr>
            <a:spLocks noGrp="1"/>
          </p:cNvSpPr>
          <p:nvPr>
            <p:ph type="dt" idx="10"/>
          </p:nvPr>
        </p:nvSpPr>
        <p:spPr/>
        <p:txBody>
          <a:bodyPr/>
          <a:lstStyle/>
          <a:p>
            <a:pPr defTabSz="904616" fontAlgn="auto">
              <a:spcBef>
                <a:spcPts val="0"/>
              </a:spcBef>
              <a:spcAft>
                <a:spcPts val="0"/>
              </a:spcAft>
              <a:defRPr/>
            </a:pPr>
            <a:r>
              <a:rPr lang="sv-SE" sz="1800" kern="0">
                <a:solidFill>
                  <a:sysClr val="windowText" lastClr="000000"/>
                </a:solidFill>
              </a:rPr>
              <a:t>2019-10-07 </a:t>
            </a:r>
            <a:endParaRPr lang="en-US" sz="1800" kern="0">
              <a:solidFill>
                <a:sysClr val="windowText" lastClr="000000"/>
              </a:solidFill>
            </a:endParaRPr>
          </a:p>
        </p:txBody>
      </p:sp>
      <p:sp>
        <p:nvSpPr>
          <p:cNvPr id="5" name="Slide Number Placeholder 4"/>
          <p:cNvSpPr>
            <a:spLocks noGrp="1"/>
          </p:cNvSpPr>
          <p:nvPr>
            <p:ph type="sldNum" sz="quarter" idx="11"/>
          </p:nvPr>
        </p:nvSpPr>
        <p:spPr/>
        <p:txBody>
          <a:bodyPr/>
          <a:lstStyle/>
          <a:p>
            <a:pPr defTabSz="904616" fontAlgn="auto">
              <a:spcBef>
                <a:spcPts val="0"/>
              </a:spcBef>
              <a:spcAft>
                <a:spcPts val="0"/>
              </a:spcAft>
              <a:defRPr/>
            </a:pPr>
            <a:fld id="{04E6C27A-592C-46AD-96B3-136974AFAD3E}" type="slidenum">
              <a:rPr lang="en-US" sz="1800" kern="0" smtClean="0">
                <a:solidFill>
                  <a:sysClr val="windowText" lastClr="000000"/>
                </a:solidFill>
              </a:rPr>
              <a:t>8</a:t>
            </a:fld>
            <a:endParaRPr lang="en-US" sz="1800" kern="0">
              <a:solidFill>
                <a:sysClr val="windowText" lastClr="000000"/>
              </a:solidFill>
            </a:endParaRPr>
          </a:p>
        </p:txBody>
      </p:sp>
      <p:sp>
        <p:nvSpPr>
          <p:cNvPr id="6" name="Header Placeholder 5"/>
          <p:cNvSpPr>
            <a:spLocks noGrp="1"/>
          </p:cNvSpPr>
          <p:nvPr>
            <p:ph type="hdr" sz="quarter" idx="12"/>
          </p:nvPr>
        </p:nvSpPr>
        <p:spPr/>
        <p:txBody>
          <a:bodyPr/>
          <a:lstStyle/>
          <a:p>
            <a:pPr defTabSz="904616" fontAlgn="auto">
              <a:spcBef>
                <a:spcPts val="0"/>
              </a:spcBef>
              <a:spcAft>
                <a:spcPts val="0"/>
              </a:spcAft>
              <a:defRPr/>
            </a:pPr>
            <a:r>
              <a:rPr lang="en-US" sz="1800" kern="0">
                <a:solidFill>
                  <a:sysClr val="windowText" lastClr="000000"/>
                </a:solidFill>
              </a:rPr>
              <a:t>The 5G Core Network Deep Dive </a:t>
            </a:r>
          </a:p>
        </p:txBody>
      </p:sp>
      <p:sp>
        <p:nvSpPr>
          <p:cNvPr id="7" name="Footer Placeholder 6"/>
          <p:cNvSpPr>
            <a:spLocks noGrp="1"/>
          </p:cNvSpPr>
          <p:nvPr>
            <p:ph type="ftr" sz="quarter" idx="13"/>
          </p:nvPr>
        </p:nvSpPr>
        <p:spPr/>
        <p:txBody>
          <a:bodyPr/>
          <a:lstStyle/>
          <a:p>
            <a:pPr defTabSz="904616" fontAlgn="auto">
              <a:spcBef>
                <a:spcPts val="0"/>
              </a:spcBef>
              <a:spcAft>
                <a:spcPts val="0"/>
              </a:spcAft>
              <a:defRPr/>
            </a:pPr>
            <a:r>
              <a:rPr lang="en-US" sz="1800" kern="0">
                <a:solidFill>
                  <a:sysClr val="windowText" lastClr="000000"/>
                </a:solidFill>
              </a:rPr>
              <a:t>BICP-16:000214 Uen, Rev N </a:t>
            </a:r>
          </a:p>
        </p:txBody>
      </p:sp>
    </p:spTree>
    <p:extLst>
      <p:ext uri="{BB962C8B-B14F-4D97-AF65-F5344CB8AC3E}">
        <p14:creationId xmlns:p14="http://schemas.microsoft.com/office/powerpoint/2010/main" val="36831304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r>
              <a:rPr lang="en-US"/>
              <a:t>2019-10-07 </a:t>
            </a:r>
          </a:p>
        </p:txBody>
      </p:sp>
      <p:sp>
        <p:nvSpPr>
          <p:cNvPr id="5" name="Slide Number Placeholder 4"/>
          <p:cNvSpPr>
            <a:spLocks noGrp="1"/>
          </p:cNvSpPr>
          <p:nvPr>
            <p:ph type="sldNum" sz="quarter" idx="5"/>
          </p:nvPr>
        </p:nvSpPr>
        <p:spPr/>
        <p:txBody>
          <a:bodyPr/>
          <a:lstStyle/>
          <a:p>
            <a:fld id="{325A92E4-A218-4C8A-82CC-D5F979980633}" type="slidenum">
              <a:rPr lang="en-US" smtClean="0"/>
              <a:t>82</a:t>
            </a:fld>
            <a:endParaRPr lang="en-US"/>
          </a:p>
        </p:txBody>
      </p:sp>
      <p:sp>
        <p:nvSpPr>
          <p:cNvPr id="6" name="Header Placeholder 5"/>
          <p:cNvSpPr>
            <a:spLocks noGrp="1"/>
          </p:cNvSpPr>
          <p:nvPr>
            <p:ph type="hdr" sz="quarter"/>
          </p:nvPr>
        </p:nvSpPr>
        <p:spPr/>
        <p:txBody>
          <a:bodyPr/>
          <a:lstStyle/>
          <a:p>
            <a:r>
              <a:rPr lang="en-US"/>
              <a:t>The 5G Core Network Deep Dive </a:t>
            </a:r>
          </a:p>
        </p:txBody>
      </p:sp>
      <p:sp>
        <p:nvSpPr>
          <p:cNvPr id="7" name="Footer Placeholder 6"/>
          <p:cNvSpPr>
            <a:spLocks noGrp="1"/>
          </p:cNvSpPr>
          <p:nvPr>
            <p:ph type="ftr" sz="quarter" idx="4"/>
          </p:nvPr>
        </p:nvSpPr>
        <p:spPr/>
        <p:txBody>
          <a:bodyPr/>
          <a:lstStyle/>
          <a:p>
            <a:r>
              <a:rPr lang="en-US"/>
              <a:t>BICP-16:000214 Uen, Rev N </a:t>
            </a:r>
          </a:p>
        </p:txBody>
      </p:sp>
    </p:spTree>
    <p:extLst>
      <p:ext uri="{BB962C8B-B14F-4D97-AF65-F5344CB8AC3E}">
        <p14:creationId xmlns:p14="http://schemas.microsoft.com/office/powerpoint/2010/main" val="18702265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5G Core - standardization update </a:t>
            </a:r>
          </a:p>
        </p:txBody>
      </p:sp>
      <p:sp>
        <p:nvSpPr>
          <p:cNvPr id="5" name="Date Placeholder 4"/>
          <p:cNvSpPr>
            <a:spLocks noGrp="1"/>
          </p:cNvSpPr>
          <p:nvPr>
            <p:ph type="dt" idx="1"/>
          </p:nvPr>
        </p:nvSpPr>
        <p:spPr/>
        <p:txBody>
          <a:bodyPr/>
          <a:lstStyle/>
          <a:p>
            <a:r>
              <a:rPr lang="en-US"/>
              <a:t>2019-09-24 </a:t>
            </a:r>
          </a:p>
        </p:txBody>
      </p:sp>
      <p:sp>
        <p:nvSpPr>
          <p:cNvPr id="6" name="Footer Placeholder 5"/>
          <p:cNvSpPr>
            <a:spLocks noGrp="1"/>
          </p:cNvSpPr>
          <p:nvPr>
            <p:ph type="ftr" sz="quarter" idx="4"/>
          </p:nvPr>
        </p:nvSpPr>
        <p:spPr/>
        <p:txBody>
          <a:bodyPr/>
          <a:lstStyle/>
          <a:p>
            <a:r>
              <a:rPr lang="en-US"/>
              <a:t>© Ericsson AB 2018 </a:t>
            </a:r>
          </a:p>
        </p:txBody>
      </p:sp>
      <p:sp>
        <p:nvSpPr>
          <p:cNvPr id="7" name="Slide Number Placeholder 6"/>
          <p:cNvSpPr>
            <a:spLocks noGrp="1"/>
          </p:cNvSpPr>
          <p:nvPr>
            <p:ph type="sldNum" sz="quarter" idx="5"/>
          </p:nvPr>
        </p:nvSpPr>
        <p:spPr/>
        <p:txBody>
          <a:bodyPr/>
          <a:lstStyle/>
          <a:p>
            <a:fld id="{8A016988-3D22-4695-BC67-DF2CDA048907}" type="slidenum">
              <a:rPr lang="en-US" smtClean="0"/>
              <a:t>83</a:t>
            </a:fld>
            <a:endParaRPr lang="en-US"/>
          </a:p>
        </p:txBody>
      </p:sp>
    </p:spTree>
    <p:extLst>
      <p:ext uri="{BB962C8B-B14F-4D97-AF65-F5344CB8AC3E}">
        <p14:creationId xmlns:p14="http://schemas.microsoft.com/office/powerpoint/2010/main" val="327779631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5G Alliance for Connected Industries and Automation (5G-ACIA) </a:t>
            </a:r>
          </a:p>
          <a:p>
            <a:r>
              <a:rPr lang="sv-SE"/>
              <a:t>https://www.5g-acia.org/</a:t>
            </a:r>
          </a:p>
          <a:p>
            <a:endParaRPr lang="sv-SE"/>
          </a:p>
          <a:p>
            <a:r>
              <a:rPr lang="sv-SE"/>
              <a:t>These are the two alternative features that were defined in the standardization WI in 3GPP. CAG is in general optional but need to be included in the second alternative if it shall be a feasible solution. </a:t>
            </a:r>
          </a:p>
          <a:p>
            <a:r>
              <a:rPr lang="sv-SE"/>
              <a:t>But CAG is about access control, and other access control mechanisms may of course also exist, see also 23.501 Annex D.2</a:t>
            </a:r>
          </a:p>
          <a:p>
            <a:endParaRPr lang="sv-SE"/>
          </a:p>
          <a:p>
            <a:endParaRPr lang="sv-SE"/>
          </a:p>
        </p:txBody>
      </p:sp>
      <p:sp>
        <p:nvSpPr>
          <p:cNvPr id="4" name="Header Placeholder 3"/>
          <p:cNvSpPr>
            <a:spLocks noGrp="1"/>
          </p:cNvSpPr>
          <p:nvPr>
            <p:ph type="hdr" sz="quarter"/>
          </p:nvPr>
        </p:nvSpPr>
        <p:spPr/>
        <p:txBody>
          <a:bodyPr/>
          <a:lstStyle/>
          <a:p>
            <a:r>
              <a:rPr lang="en-US"/>
              <a:t>5G Core - standardization update </a:t>
            </a:r>
          </a:p>
        </p:txBody>
      </p:sp>
      <p:sp>
        <p:nvSpPr>
          <p:cNvPr id="5" name="Date Placeholder 4"/>
          <p:cNvSpPr>
            <a:spLocks noGrp="1"/>
          </p:cNvSpPr>
          <p:nvPr>
            <p:ph type="dt" idx="1"/>
          </p:nvPr>
        </p:nvSpPr>
        <p:spPr/>
        <p:txBody>
          <a:bodyPr/>
          <a:lstStyle/>
          <a:p>
            <a:r>
              <a:rPr lang="en-US"/>
              <a:t>2019-09-24 </a:t>
            </a:r>
          </a:p>
        </p:txBody>
      </p:sp>
      <p:sp>
        <p:nvSpPr>
          <p:cNvPr id="6" name="Footer Placeholder 5"/>
          <p:cNvSpPr>
            <a:spLocks noGrp="1"/>
          </p:cNvSpPr>
          <p:nvPr>
            <p:ph type="ftr" sz="quarter" idx="4"/>
          </p:nvPr>
        </p:nvSpPr>
        <p:spPr/>
        <p:txBody>
          <a:bodyPr/>
          <a:lstStyle/>
          <a:p>
            <a:r>
              <a:rPr lang="en-US"/>
              <a:t>© Ericsson AB 2018 </a:t>
            </a:r>
          </a:p>
        </p:txBody>
      </p:sp>
      <p:sp>
        <p:nvSpPr>
          <p:cNvPr id="7" name="Slide Number Placeholder 6"/>
          <p:cNvSpPr>
            <a:spLocks noGrp="1"/>
          </p:cNvSpPr>
          <p:nvPr>
            <p:ph type="sldNum" sz="quarter" idx="5"/>
          </p:nvPr>
        </p:nvSpPr>
        <p:spPr/>
        <p:txBody>
          <a:bodyPr/>
          <a:lstStyle/>
          <a:p>
            <a:fld id="{CA9FFD0C-59D5-4D25-B742-E15CD68775DE}" type="slidenum">
              <a:rPr lang="en-US" smtClean="0"/>
              <a:t>84</a:t>
            </a:fld>
            <a:endParaRPr lang="en-US"/>
          </a:p>
        </p:txBody>
      </p:sp>
    </p:spTree>
    <p:extLst>
      <p:ext uri="{BB962C8B-B14F-4D97-AF65-F5344CB8AC3E}">
        <p14:creationId xmlns:p14="http://schemas.microsoft.com/office/powerpoint/2010/main" val="12114425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r>
              <a:rPr lang="en-US"/>
              <a:t>5G Core Sales Bootcamp </a:t>
            </a:r>
          </a:p>
        </p:txBody>
      </p:sp>
      <p:sp>
        <p:nvSpPr>
          <p:cNvPr id="5" name="Date Placeholder 4"/>
          <p:cNvSpPr>
            <a:spLocks noGrp="1"/>
          </p:cNvSpPr>
          <p:nvPr>
            <p:ph type="dt" idx="1"/>
          </p:nvPr>
        </p:nvSpPr>
        <p:spPr/>
        <p:txBody>
          <a:bodyPr/>
          <a:lstStyle/>
          <a:p>
            <a:r>
              <a:rPr lang="en-US"/>
              <a:t>2019-04-01 </a:t>
            </a:r>
          </a:p>
        </p:txBody>
      </p:sp>
      <p:sp>
        <p:nvSpPr>
          <p:cNvPr id="6" name="Footer Placeholder 5"/>
          <p:cNvSpPr>
            <a:spLocks noGrp="1"/>
          </p:cNvSpPr>
          <p:nvPr>
            <p:ph type="ftr" sz="quarter" idx="4"/>
          </p:nvPr>
        </p:nvSpPr>
        <p:spPr/>
        <p:txBody>
          <a:bodyPr/>
          <a:lstStyle/>
          <a:p>
            <a:r>
              <a:rPr lang="en-US"/>
              <a:t> </a:t>
            </a:r>
          </a:p>
        </p:txBody>
      </p:sp>
      <p:sp>
        <p:nvSpPr>
          <p:cNvPr id="7" name="Slide Number Placeholder 6"/>
          <p:cNvSpPr>
            <a:spLocks noGrp="1"/>
          </p:cNvSpPr>
          <p:nvPr>
            <p:ph type="sldNum" sz="quarter" idx="5"/>
          </p:nvPr>
        </p:nvSpPr>
        <p:spPr/>
        <p:txBody>
          <a:bodyPr/>
          <a:lstStyle/>
          <a:p>
            <a:fld id="{F949BC75-2359-4F98-918A-7033C92AD487}" type="slidenum">
              <a:rPr lang="en-US" smtClean="0"/>
              <a:pPr/>
              <a:t>85</a:t>
            </a:fld>
            <a:endParaRPr lang="en-US"/>
          </a:p>
        </p:txBody>
      </p:sp>
    </p:spTree>
    <p:extLst>
      <p:ext uri="{BB962C8B-B14F-4D97-AF65-F5344CB8AC3E}">
        <p14:creationId xmlns:p14="http://schemas.microsoft.com/office/powerpoint/2010/main" val="39617304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sv-SE"/>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6" name="Footer Placeholder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a:t>
            </a: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97336C-C23A-4ADA-8223-547FF50D5B44}"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37653899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Ericsson Hilda Light" panose="00000400000000000000" pitchFamily="2" charset="0"/>
                <a:ea typeface="+mn-ea"/>
                <a:cs typeface="+mn-cs"/>
              </a:rPr>
              <a:t>In the below model for URLLC, the UE has two active PDU Sessions, hence two IP (and Ethernet) addresses. This model is thus dependent on that there is an application in the end-stations that control packet ordering, duplication etc. It is entirely designed for TSN (Time Sensitive Networks) and applicable to manufacturing use cases where PROFINET is used over this network model. TSN requires that FRER (Frame Replication and Elimination for Reliability) at end-station runs on dual user plane paths (802.1CB). Or if IP is used, DETNET is used for PREOF (Packet Replication, Elimination and Ordering Functions).</a:t>
            </a:r>
          </a:p>
          <a:p>
            <a:r>
              <a:rPr lang="en-US" sz="1200" kern="1200">
                <a:solidFill>
                  <a:schemeClr val="tx1"/>
                </a:solidFill>
                <a:effectLst/>
                <a:latin typeface="Ericsson Hilda Light" panose="00000400000000000000" pitchFamily="2" charset="0"/>
                <a:ea typeface="+mn-ea"/>
                <a:cs typeface="+mn-cs"/>
              </a:rPr>
              <a:t> </a:t>
            </a:r>
          </a:p>
          <a:p>
            <a:r>
              <a:rPr lang="en-US" sz="1200" kern="1200">
                <a:solidFill>
                  <a:schemeClr val="tx1"/>
                </a:solidFill>
                <a:effectLst/>
                <a:latin typeface="Ericsson Hilda Light" panose="00000400000000000000" pitchFamily="2" charset="0"/>
                <a:ea typeface="+mn-ea"/>
                <a:cs typeface="+mn-cs"/>
              </a:rPr>
              <a:t>So it is not intended for wide area network use cases. For further details, see the 3GPP spec below.</a:t>
            </a:r>
          </a:p>
          <a:p>
            <a:r>
              <a:rPr lang="en-US" sz="1200" kern="1200">
                <a:solidFill>
                  <a:schemeClr val="tx1"/>
                </a:solidFill>
                <a:effectLst/>
                <a:latin typeface="Ericsson Hilda Light" panose="00000400000000000000" pitchFamily="2" charset="0"/>
                <a:ea typeface="+mn-ea"/>
                <a:cs typeface="+mn-cs"/>
              </a:rPr>
              <a:t> </a:t>
            </a:r>
          </a:p>
          <a:p>
            <a:r>
              <a:rPr lang="en-US" sz="1200" kern="1200">
                <a:solidFill>
                  <a:schemeClr val="tx1"/>
                </a:solidFill>
                <a:effectLst/>
                <a:latin typeface="Ericsson Hilda Light" panose="00000400000000000000" pitchFamily="2" charset="0"/>
                <a:ea typeface="+mn-ea"/>
                <a:cs typeface="+mn-cs"/>
              </a:rPr>
              <a:t>From 3GPP TS 23.501 v16.4.0</a:t>
            </a:r>
          </a:p>
          <a:p>
            <a:r>
              <a:rPr lang="en-GB" sz="1200" b="1" kern="1200">
                <a:solidFill>
                  <a:schemeClr val="tx1"/>
                </a:solidFill>
                <a:effectLst/>
                <a:latin typeface="Ericsson Hilda Light" panose="00000400000000000000" pitchFamily="2" charset="0"/>
                <a:ea typeface="+mn-ea"/>
                <a:cs typeface="+mn-cs"/>
              </a:rPr>
              <a:t>5.33.2.1        Dual Connectivity based end to end Redundant User Plane Paths</a:t>
            </a:r>
            <a:endParaRPr lang="en-US" sz="1200" b="1" kern="1200">
              <a:solidFill>
                <a:schemeClr val="tx1"/>
              </a:solidFill>
              <a:effectLst/>
              <a:latin typeface="Ericsson Hilda Light" panose="00000400000000000000" pitchFamily="2" charset="0"/>
              <a:ea typeface="+mn-ea"/>
              <a:cs typeface="+mn-cs"/>
            </a:endParaRPr>
          </a:p>
          <a:p>
            <a:r>
              <a:rPr lang="en-US" sz="1200" kern="1200">
                <a:solidFill>
                  <a:schemeClr val="tx1"/>
                </a:solidFill>
                <a:effectLst/>
                <a:latin typeface="Ericsson Hilda Light" panose="00000400000000000000" pitchFamily="2" charset="0"/>
                <a:ea typeface="+mn-ea"/>
                <a:cs typeface="+mn-cs"/>
              </a:rPr>
              <a:t>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Vz-Ericsson 3GPP Updates </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06-03 </a:t>
            </a:r>
          </a:p>
        </p:txBody>
      </p:sp>
      <p:sp>
        <p:nvSpPr>
          <p:cNvPr id="6" name="Footer Placeholder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 Ericsson AB 2018 </a:t>
            </a: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64637-09AB-44D8-9668-66F353535632}"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88</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8266739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nvergence architecture envisions continued support for the existing FN-RGs and introduces a new class of CPE known as a 5G-RG.</a:t>
            </a:r>
          </a:p>
          <a:p>
            <a:endParaRPr lang="en-US"/>
          </a:p>
          <a:p>
            <a:r>
              <a:rPr lang="en-US"/>
              <a:t>Adapting traffic backhauled over an Ethernet circuit onto the 5GC is performed by an access gateway function” (AGF), or (W-AGF) in 3GPP parlance.</a:t>
            </a:r>
          </a:p>
          <a:p>
            <a:endParaRPr lang="en-US"/>
          </a:p>
          <a:p>
            <a:r>
              <a:rPr lang="en-US"/>
              <a:t>The role of RADIUS as the control plane for fixed access is replaced by the 5GC which has been suitably extended to provide support for home LANs, and to permit the inclusion of the ACS into the architecture. This decision permitted a body of work on home network support to be directly fork-lifted into the converged network.</a:t>
            </a:r>
          </a:p>
          <a:p>
            <a:endParaRPr lang="en-US"/>
          </a:p>
          <a:p>
            <a:r>
              <a:rPr lang="en-US"/>
              <a:t>Operators were concerned about the use of GTP tunnels in the core network, therefore the option of a collocate AGF-UPF was explicitly included to permit a minimum overhead path to the DN to be established.</a:t>
            </a:r>
          </a:p>
        </p:txBody>
      </p:sp>
      <p:sp>
        <p:nvSpPr>
          <p:cNvPr id="4" name="Header Placeholder 3"/>
          <p:cNvSpPr>
            <a:spLocks noGrp="1"/>
          </p:cNvSpPr>
          <p:nvPr>
            <p:ph type="hdr" sz="quarter"/>
          </p:nvPr>
        </p:nvSpPr>
        <p:spPr/>
        <p:txBody>
          <a:bodyPr/>
          <a:lstStyle/>
          <a:p>
            <a:r>
              <a:rPr lang="en-US"/>
              <a:t>5G Fixed Mobile Convergence </a:t>
            </a:r>
          </a:p>
        </p:txBody>
      </p:sp>
      <p:sp>
        <p:nvSpPr>
          <p:cNvPr id="6" name="Footer Placeholder 5"/>
          <p:cNvSpPr>
            <a:spLocks noGrp="1"/>
          </p:cNvSpPr>
          <p:nvPr>
            <p:ph type="ftr" sz="quarter" idx="4"/>
          </p:nvPr>
        </p:nvSpPr>
        <p:spPr/>
        <p:txBody>
          <a:bodyPr/>
          <a:lstStyle/>
          <a:p>
            <a:r>
              <a:rPr lang="en-US"/>
              <a:t>, Rev  </a:t>
            </a:r>
          </a:p>
        </p:txBody>
      </p:sp>
      <p:sp>
        <p:nvSpPr>
          <p:cNvPr id="7" name="Slide Number Placeholder 6"/>
          <p:cNvSpPr>
            <a:spLocks noGrp="1"/>
          </p:cNvSpPr>
          <p:nvPr>
            <p:ph type="sldNum" sz="quarter" idx="5"/>
          </p:nvPr>
        </p:nvSpPr>
        <p:spPr/>
        <p:txBody>
          <a:bodyPr/>
          <a:lstStyle/>
          <a:p>
            <a:fld id="{389B03AD-4EA9-4C75-844F-1C8EF5367F69}" type="slidenum">
              <a:rPr lang="en-US" smtClean="0"/>
              <a:t>89</a:t>
            </a:fld>
            <a:endParaRPr lang="en-US"/>
          </a:p>
        </p:txBody>
      </p:sp>
      <p:sp>
        <p:nvSpPr>
          <p:cNvPr id="5" name="Date Placeholder 4">
            <a:extLst>
              <a:ext uri="{FF2B5EF4-FFF2-40B4-BE49-F238E27FC236}">
                <a16:creationId xmlns:a16="http://schemas.microsoft.com/office/drawing/2014/main" id="{20611FD0-D576-4DB1-A04F-69F2350D62E6}"/>
              </a:ext>
            </a:extLst>
          </p:cNvPr>
          <p:cNvSpPr>
            <a:spLocks noGrp="1"/>
          </p:cNvSpPr>
          <p:nvPr>
            <p:ph type="dt" idx="1"/>
          </p:nvPr>
        </p:nvSpPr>
        <p:spPr/>
        <p:txBody>
          <a:bodyPr/>
          <a:lstStyle/>
          <a:p>
            <a:r>
              <a:rPr lang="sv-SE"/>
              <a:t>2019-10-01 </a:t>
            </a:r>
          </a:p>
        </p:txBody>
      </p:sp>
    </p:spTree>
    <p:extLst>
      <p:ext uri="{BB962C8B-B14F-4D97-AF65-F5344CB8AC3E}">
        <p14:creationId xmlns:p14="http://schemas.microsoft.com/office/powerpoint/2010/main" val="322978765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24E9FDB-B265-4A24-90EE-AD9E767AB83D}" type="slidenum">
              <a:rPr lang="en-US" smtClean="0"/>
              <a:t>90</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0971984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7921BDF5-86E8-4418-8FE7-413F654C7B1A}"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9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243222191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en introducing a 5G CN it is assumed that EPC/LTE networks need to be kept to support existing EPC/LTE handsets and inbound roamers.</a:t>
            </a:r>
          </a:p>
          <a:p>
            <a:endParaRPr lang="en-GB"/>
          </a:p>
          <a:p>
            <a:r>
              <a:rPr lang="en-US"/>
              <a:t>Different alternatives exist to enable support for mobility between 5G CN and 5G EPC (only MME and SGW in EPC) :</a:t>
            </a:r>
            <a:endParaRPr lang="sv-SE"/>
          </a:p>
          <a:p>
            <a:pPr marL="171450" lvl="0" indent="-171450">
              <a:buFont typeface="Arial" panose="020B0604020202020204" pitchFamily="34" charset="0"/>
              <a:buChar char="•"/>
            </a:pPr>
            <a:r>
              <a:rPr lang="en-US"/>
              <a:t>Re-attach without keeping IP address</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sv-SE"/>
              <a:t>VoLTE calls do not survive, New registration in IMS required. UE controlled call continuity solution required (IMS based session transfer)</a:t>
            </a:r>
          </a:p>
          <a:p>
            <a:pPr marL="171450" lvl="0" indent="-171450">
              <a:buFont typeface="Arial" panose="020B0604020202020204" pitchFamily="34" charset="0"/>
              <a:buChar char="•"/>
            </a:pPr>
            <a:r>
              <a:rPr lang="en-US"/>
              <a:t>Handover attach with loose interworking (keeping IP address) – in 3GPP “mobility without</a:t>
            </a:r>
            <a:r>
              <a:rPr lang="en-US" baseline="0"/>
              <a:t> N26”</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sv-SE" err="1"/>
              <a:t>connecting</a:t>
            </a:r>
            <a:r>
              <a:rPr lang="sv-SE"/>
              <a:t> </a:t>
            </a:r>
            <a:r>
              <a:rPr lang="en-US" sz="1200"/>
              <a:t>SGW to </a:t>
            </a:r>
            <a:r>
              <a:rPr lang="en-US" sz="1200" kern="1200">
                <a:solidFill>
                  <a:schemeClr val="tx1"/>
                </a:solidFill>
                <a:effectLst/>
                <a:latin typeface="Arial" charset="0"/>
                <a:ea typeface="+mn-ea"/>
                <a:cs typeface="+mn-cs"/>
              </a:rPr>
              <a:t>SMF/PGW-C</a:t>
            </a:r>
            <a:r>
              <a:rPr lang="en-US" sz="1200"/>
              <a:t> and </a:t>
            </a:r>
            <a:r>
              <a:rPr lang="en-US" baseline="0"/>
              <a:t>H-UPF/PGW-U </a:t>
            </a:r>
            <a:r>
              <a:rPr lang="en-US" sz="1200"/>
              <a:t>over S5</a:t>
            </a:r>
            <a:r>
              <a:rPr lang="sv-SE"/>
              <a:t>, </a:t>
            </a:r>
            <a:r>
              <a:rPr lang="sv-SE" err="1"/>
              <a:t>mimicking</a:t>
            </a:r>
            <a:r>
              <a:rPr lang="sv-SE"/>
              <a:t> WiFi </a:t>
            </a:r>
            <a:r>
              <a:rPr lang="sv-SE" err="1"/>
              <a:t>interworking</a:t>
            </a:r>
            <a:r>
              <a:rPr lang="sv-SE"/>
              <a:t>. </a:t>
            </a:r>
            <a:r>
              <a:rPr lang="sv-SE" err="1"/>
              <a:t>Avoids</a:t>
            </a:r>
            <a:r>
              <a:rPr lang="sv-SE"/>
              <a:t> new </a:t>
            </a:r>
            <a:r>
              <a:rPr lang="sv-SE" err="1"/>
              <a:t>registration</a:t>
            </a:r>
            <a:r>
              <a:rPr lang="sv-SE"/>
              <a:t> in IMS, </a:t>
            </a:r>
            <a:r>
              <a:rPr lang="sv-SE" err="1"/>
              <a:t>but</a:t>
            </a:r>
            <a:r>
              <a:rPr lang="sv-SE"/>
              <a:t> no </a:t>
            </a:r>
            <a:r>
              <a:rPr lang="sv-SE" err="1"/>
              <a:t>seamless</a:t>
            </a:r>
            <a:r>
              <a:rPr lang="sv-SE" baseline="0"/>
              <a:t> voice call </a:t>
            </a:r>
            <a:r>
              <a:rPr lang="sv-SE" baseline="0" err="1"/>
              <a:t>continuity</a:t>
            </a:r>
            <a:endParaRPr lang="sv-SE"/>
          </a:p>
          <a:p>
            <a:pPr marL="628650" lvl="1" indent="-171450">
              <a:buFont typeface="Arial" panose="020B0604020202020204" pitchFamily="34" charset="0"/>
              <a:buChar char="•"/>
            </a:pPr>
            <a:endParaRPr lang="sv-SE"/>
          </a:p>
          <a:p>
            <a:pPr marL="171450" lvl="0" indent="-171450">
              <a:buFont typeface="Arial" panose="020B0604020202020204" pitchFamily="34" charset="0"/>
              <a:buChar char="•"/>
            </a:pPr>
            <a:r>
              <a:rPr lang="en-US"/>
              <a:t>”IRAT mobility” with tight CN-level interworking between EPC and 5G CN (idle or active mode variants)</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a:t>Required for VoLTE</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100"/>
              <a:t>Connecting</a:t>
            </a:r>
            <a:r>
              <a:rPr lang="en-US" sz="1100" baseline="0"/>
              <a:t> </a:t>
            </a:r>
            <a:r>
              <a:rPr lang="en-US" sz="1100"/>
              <a:t>SGW to </a:t>
            </a:r>
            <a:r>
              <a:rPr lang="en-US" sz="1100" kern="1200">
                <a:solidFill>
                  <a:schemeClr val="tx1"/>
                </a:solidFill>
                <a:effectLst/>
                <a:latin typeface="Arial" charset="0"/>
                <a:ea typeface="+mn-ea"/>
                <a:cs typeface="+mn-cs"/>
              </a:rPr>
              <a:t>SMF/PGW-C</a:t>
            </a:r>
            <a:r>
              <a:rPr lang="en-US" sz="1100"/>
              <a:t> and </a:t>
            </a:r>
            <a:r>
              <a:rPr lang="en-US" sz="1100" baseline="0" err="1"/>
              <a:t>and</a:t>
            </a:r>
            <a:r>
              <a:rPr lang="en-US" sz="1100" baseline="0"/>
              <a:t> H-UPF/PGW-U </a:t>
            </a:r>
            <a:r>
              <a:rPr lang="en-US" sz="1100"/>
              <a:t>over S5, and MME to AMF over N26: potential for short voice interruption. Requires </a:t>
            </a:r>
            <a:r>
              <a:rPr lang="en-US" sz="1100" err="1"/>
              <a:t>QoS</a:t>
            </a:r>
            <a:r>
              <a:rPr lang="en-US" sz="1100"/>
              <a:t> translation</a:t>
            </a:r>
            <a:r>
              <a:rPr lang="en-US" sz="1100" baseline="0"/>
              <a:t> between 5GC and EPC.</a:t>
            </a:r>
            <a:endParaRPr lang="en-US" sz="1100"/>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100"/>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t is expected that service requirements regarding seamless mobility for services such as VoLTE need to be fulfilled when the user moves between 5G and 4G systems.</a:t>
            </a:r>
            <a:r>
              <a:rPr lang="en-US"/>
              <a:t> For seamless mobility between LTE/NR and LTE a solution is required where the UP anchor is not relocated to avoid change of IP address.</a:t>
            </a:r>
            <a:endParaRPr lang="en-GB"/>
          </a:p>
          <a:p>
            <a:r>
              <a:rPr lang="en-US" sz="1200" kern="1200">
                <a:solidFill>
                  <a:schemeClr val="tx1"/>
                </a:solidFill>
                <a:effectLst/>
                <a:latin typeface="Arial" charset="0"/>
                <a:ea typeface="+mn-ea"/>
                <a:cs typeface="+mn-cs"/>
              </a:rPr>
              <a:t>A solution with common SMF/PGW-C, UPF/PGW-U, PCF/PCRF, and UDM/HSS is assumed to enable mobility support while addressing seamless service continuity requirement (break below 300 </a:t>
            </a:r>
            <a:r>
              <a:rPr lang="en-US" sz="1200" kern="1200" err="1">
                <a:solidFill>
                  <a:schemeClr val="tx1"/>
                </a:solidFill>
                <a:effectLst/>
                <a:latin typeface="Arial" charset="0"/>
                <a:ea typeface="+mn-ea"/>
                <a:cs typeface="+mn-cs"/>
              </a:rPr>
              <a:t>ms</a:t>
            </a:r>
            <a:r>
              <a:rPr lang="en-US" sz="1200" kern="1200">
                <a:solidFill>
                  <a:schemeClr val="tx1"/>
                </a:solidFill>
                <a:effectLst/>
                <a:latin typeface="Arial" charset="0"/>
                <a:ea typeface="+mn-ea"/>
                <a:cs typeface="+mn-cs"/>
              </a:rPr>
              <a:t>). </a:t>
            </a:r>
            <a:endParaRPr lang="en-GB"/>
          </a:p>
          <a:p>
            <a:endParaRPr lang="en-GB"/>
          </a:p>
          <a:p>
            <a:endParaRPr lang="en-GB"/>
          </a:p>
          <a:p>
            <a:pPr lvl="2"/>
            <a:endParaRPr lang="sv-SE"/>
          </a:p>
          <a:p>
            <a:pPr lvl="2"/>
            <a:endParaRPr lang="sv-SE"/>
          </a:p>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5F0EC54C-C679-4F49-AED7-F8064F9953B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9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1113602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The 5G Core Network Deep Dive </a:t>
            </a:r>
          </a:p>
        </p:txBody>
      </p:sp>
      <p:sp>
        <p:nvSpPr>
          <p:cNvPr id="5" name="Date Placeholder 4"/>
          <p:cNvSpPr>
            <a:spLocks noGrp="1"/>
          </p:cNvSpPr>
          <p:nvPr>
            <p:ph type="dt" idx="11"/>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2019-10-07 </a:t>
            </a:r>
          </a:p>
        </p:txBody>
      </p:sp>
      <p:sp>
        <p:nvSpPr>
          <p:cNvPr id="6" name="Footer Placeholder 5"/>
          <p:cNvSpPr>
            <a:spLocks noGrp="1"/>
          </p:cNvSpPr>
          <p:nvPr>
            <p:ph type="ftr" sz="quarter" idx="12"/>
          </p:nvPr>
        </p:nvSpPr>
        <p:spPr/>
        <p:txBody>
          <a:bodyPr/>
          <a:lstStyle/>
          <a:p>
            <a:pPr defTabSz="904616" fontAlgn="auto">
              <a:spcBef>
                <a:spcPts val="0"/>
              </a:spcBef>
              <a:spcAft>
                <a:spcPts val="0"/>
              </a:spcAft>
              <a:defRPr/>
            </a:pPr>
            <a:r>
              <a:rPr lang="en-US">
                <a:solidFill>
                  <a:prstClr val="black"/>
                </a:solidFill>
                <a:latin typeface="Ericsson Hilda Light" panose="00000400000000000000" pitchFamily="2" charset="0"/>
              </a:rPr>
              <a:t>BICP-16:000214 Uen, Rev N </a:t>
            </a:r>
          </a:p>
        </p:txBody>
      </p:sp>
      <p:sp>
        <p:nvSpPr>
          <p:cNvPr id="7" name="Slide Number Placeholder 6"/>
          <p:cNvSpPr>
            <a:spLocks noGrp="1"/>
          </p:cNvSpPr>
          <p:nvPr>
            <p:ph type="sldNum" sz="quarter" idx="13"/>
          </p:nvPr>
        </p:nvSpPr>
        <p:spPr/>
        <p:txBody>
          <a:bodyPr/>
          <a:lstStyle/>
          <a:p>
            <a:pPr defTabSz="904616" fontAlgn="auto">
              <a:spcBef>
                <a:spcPts val="0"/>
              </a:spcBef>
              <a:spcAft>
                <a:spcPts val="0"/>
              </a:spcAft>
              <a:defRPr/>
            </a:pPr>
            <a:fld id="{A04D6955-7D94-4ED8-A546-7151E28102D2}" type="slidenum">
              <a:rPr lang="en-US" smtClean="0">
                <a:solidFill>
                  <a:prstClr val="black"/>
                </a:solidFill>
                <a:latin typeface="Ericsson Hilda Light" panose="00000400000000000000" pitchFamily="2" charset="0"/>
              </a:rPr>
              <a:t>9</a:t>
            </a:fld>
            <a:endParaRPr lang="en-US">
              <a:solidFill>
                <a:prstClr val="black"/>
              </a:solidFill>
              <a:latin typeface="Ericsson Hilda Light" panose="00000400000000000000" pitchFamily="2" charset="0"/>
            </a:endParaRPr>
          </a:p>
        </p:txBody>
      </p:sp>
    </p:spTree>
    <p:extLst>
      <p:ext uri="{BB962C8B-B14F-4D97-AF65-F5344CB8AC3E}">
        <p14:creationId xmlns:p14="http://schemas.microsoft.com/office/powerpoint/2010/main" val="180952989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charset="0"/>
                <a:ea typeface="+mn-ea"/>
                <a:cs typeface="+mn-cs"/>
              </a:rPr>
              <a:t>At least initially, but in some deployments also longer-term, a 5G system (5GS) will not be deployed with full network coverage. Therefore, the 5GS needs to be tightly coupled to an existing 4G VoLTE deployment to provide a seamless voice service across the whole network with good characteristics.</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architecture serving voice users with 5GS enabled in subscription is a tightly-coupled system based on:</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SMF and UPF supporting S5 which replaces the 4G PGW for voice services in the combined EPS and 5GS.</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Interworking with N26 between MME and AMF in 5GC. This enables context transfer and network-controlled handover between EPC and 5GC. </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Combined HSS/UDM network functions and </a:t>
            </a:r>
            <a:endParaRPr lang="en-150" sz="1200" kern="1200">
              <a:solidFill>
                <a:schemeClr val="tx1"/>
              </a:solidFill>
              <a:effectLst/>
              <a:latin typeface="Arial"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Arial" charset="0"/>
                <a:ea typeface="+mn-ea"/>
                <a:cs typeface="+mn-cs"/>
              </a:rPr>
              <a:t>PCF with Rx. </a:t>
            </a:r>
            <a:endParaRPr lang="en-150" sz="1200" kern="120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a:solidFill>
                <a:schemeClr val="tx1"/>
              </a:solidFill>
            </a:endParaRPr>
          </a:p>
          <a:p>
            <a:r>
              <a:rPr lang="en-US" sz="1200" kern="1200">
                <a:solidFill>
                  <a:schemeClr val="tx1"/>
                </a:solidFill>
                <a:effectLst/>
                <a:latin typeface="Arial" charset="0"/>
                <a:ea typeface="+mn-ea"/>
                <a:cs typeface="+mn-cs"/>
              </a:rPr>
              <a:t>As shown above, a pre-requisite for the 5GS architecture is that smartphones can register to 5G Core (5GC) and IMS over NR in NG-RAN. The selection of NR is enabled by a “IMS Voice over PS indicator” in the NAS signaling from the 5GC. The smartphone’s Radio Access Technology (RAT) preference setting must also be set to “NR preferred” so the smartphone stays in NR also when in overlapping LTE/NR coverage.</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The combination of interworking with S5 between SMF, UPF and SGW and of interworking with N26 between AMF and MME limits the time, added by EPS fallback, during call setup. The architecture is required to ensure that inter-system handover can be performed, without exceeding the voice gap KPI.</a:t>
            </a:r>
            <a:endParaRPr lang="en-150" sz="1200" kern="1200">
              <a:solidFill>
                <a:schemeClr val="tx1"/>
              </a:solidFill>
              <a:effectLst/>
              <a:latin typeface="Arial" charset="0"/>
              <a:ea typeface="+mn-ea"/>
              <a:cs typeface="+mn-cs"/>
            </a:endParaRPr>
          </a:p>
          <a:p>
            <a:r>
              <a:rPr lang="en-US" sz="1200" kern="1200">
                <a:solidFill>
                  <a:schemeClr val="tx1"/>
                </a:solidFill>
                <a:effectLst/>
                <a:latin typeface="Arial" charset="0"/>
                <a:ea typeface="+mn-ea"/>
                <a:cs typeface="+mn-cs"/>
              </a:rPr>
              <a:t>Ericsson does not recommend deploying 5G voice that rely on 4G coverage without tight interworking between MME and AMF (also called interworking without N26). In such deployment, network-controlled inter-system handover would not work at all and the call setup time at EPS Fallback would be much longer.</a:t>
            </a:r>
            <a:endParaRPr lang="en-150" sz="1200" kern="1200">
              <a:solidFill>
                <a:schemeClr val="tx1"/>
              </a:solidFill>
              <a:effectLst/>
              <a:latin typeface="Arial" charset="0"/>
              <a:ea typeface="+mn-ea"/>
              <a:cs typeface="+mn-cs"/>
            </a:endParaRPr>
          </a:p>
          <a:p>
            <a:endParaRPr lang="en-US" sz="1200" kern="120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a:solidFill>
                <a:schemeClr val="tx1"/>
              </a:solidFill>
            </a:endParaRPr>
          </a:p>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7678C6-988D-42A5-8507-C5CAA0EE0BA3}"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93</a:t>
            </a:fld>
            <a:endPar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Ericsson Hilda Light" panose="00000400000000000000" pitchFamily="2" charset="0"/>
                <a:ea typeface="+mn-ea"/>
                <a:cs typeface="+mn-cs"/>
              </a:rPr>
              <a:t>BICP-16:000214 Uen, Rev N </a:t>
            </a:r>
          </a:p>
        </p:txBody>
      </p:sp>
    </p:spTree>
    <p:extLst>
      <p:ext uri="{BB962C8B-B14F-4D97-AF65-F5344CB8AC3E}">
        <p14:creationId xmlns:p14="http://schemas.microsoft.com/office/powerpoint/2010/main" val="6941773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F46D0B68-773F-4289-A451-C3A5F0C9146D}"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94</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246188804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2DD1FCEE-AC15-4E98-BED3-F5D22CE03EE5}"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9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42522624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2019-10-07 </a:t>
            </a: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AA1303E3-F6AF-4322-9065-0FC479122AB6}"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t>9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The 5G Core Network Deep Dive </a:t>
            </a:r>
          </a:p>
        </p:txBody>
      </p:sp>
      <p:sp>
        <p:nvSpPr>
          <p:cNvPr id="7" name="Footer Placeholder 6"/>
          <p:cNvSpPr>
            <a:spLocks noGrp="1"/>
          </p:cNvSpPr>
          <p:nvPr>
            <p:ph type="ftr" sz="quarter" idx="13"/>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mn-cs"/>
              </a:rPr>
              <a:t>BICP-16:000214 Uen, Rev N </a:t>
            </a:r>
          </a:p>
        </p:txBody>
      </p:sp>
    </p:spTree>
    <p:extLst>
      <p:ext uri="{BB962C8B-B14F-4D97-AF65-F5344CB8AC3E}">
        <p14:creationId xmlns:p14="http://schemas.microsoft.com/office/powerpoint/2010/main" val="99262285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a:t>Preconditions:</a:t>
            </a:r>
          </a:p>
          <a:p>
            <a:pPr lvl="1"/>
            <a:r>
              <a:rPr lang="en-US" sz="1200"/>
              <a:t>UE has registered in EPS</a:t>
            </a:r>
          </a:p>
          <a:p>
            <a:pPr lvl="1"/>
            <a:r>
              <a:rPr lang="en-US" sz="1200"/>
              <a:t>One or multiple PDN connections are established.</a:t>
            </a:r>
          </a:p>
          <a:p>
            <a:pPr lvl="1"/>
            <a:r>
              <a:rPr lang="en-US" sz="1200"/>
              <a:t>PGW-C/SMF has provided the UE with corresponding S-NSSAIs </a:t>
            </a:r>
            <a:r>
              <a:rPr lang="en-US" sz="1200">
                <a:highlight>
                  <a:srgbClr val="FFFF00"/>
                </a:highlight>
              </a:rPr>
              <a:t>[1] </a:t>
            </a:r>
            <a:r>
              <a:rPr lang="en-US" sz="1200"/>
              <a:t>and PDU session ID at PDN connection establishment.</a:t>
            </a:r>
          </a:p>
          <a:p>
            <a:pPr lvl="1"/>
            <a:r>
              <a:rPr lang="en-US" sz="1200"/>
              <a:t>UE moves into 5G coverage</a:t>
            </a:r>
          </a:p>
          <a:p>
            <a:pPr marL="355600" lvl="1" indent="0">
              <a:buNone/>
            </a:pPr>
            <a:endParaRPr lang="en-US" sz="1200"/>
          </a:p>
          <a:p>
            <a:r>
              <a:rPr lang="en-US" sz="1400"/>
              <a:t>UE performs registration in 5GS</a:t>
            </a:r>
          </a:p>
          <a:p>
            <a:pPr lvl="1"/>
            <a:r>
              <a:rPr lang="en-US" sz="1200"/>
              <a:t>Info used by the UE</a:t>
            </a:r>
          </a:p>
          <a:p>
            <a:pPr lvl="2"/>
            <a:r>
              <a:rPr lang="en-US" sz="1200"/>
              <a:t>Configured NSSAI, Previously Allowed NSSAI (if any), S-NSSAI for established PDN connections</a:t>
            </a:r>
          </a:p>
          <a:p>
            <a:pPr lvl="1"/>
            <a:r>
              <a:rPr lang="en-US" sz="1200"/>
              <a:t>Info provided by the UE</a:t>
            </a:r>
          </a:p>
          <a:p>
            <a:pPr lvl="2"/>
            <a:r>
              <a:rPr lang="en-US" sz="1200"/>
              <a:t>Requested NSSAI including the S-NSSAI associated to the established PDN connections/PDU sessions [</a:t>
            </a:r>
            <a:r>
              <a:rPr lang="en-US" sz="1200">
                <a:highlight>
                  <a:srgbClr val="FFFF00"/>
                </a:highlight>
              </a:rPr>
              <a:t>2].</a:t>
            </a:r>
            <a:br>
              <a:rPr lang="en-US" sz="1200"/>
            </a:br>
            <a:endParaRPr lang="en-US" sz="1200"/>
          </a:p>
          <a:p>
            <a:r>
              <a:rPr lang="en-US" sz="1400"/>
              <a:t>AMF selected by RAN</a:t>
            </a:r>
          </a:p>
          <a:p>
            <a:pPr lvl="1"/>
            <a:r>
              <a:rPr lang="en-US" sz="1200"/>
              <a:t>AMF assess if it can serve the UE or need to re-allocate AMF, see 23.502 clause 4.2.2.2.3. [3].</a:t>
            </a:r>
          </a:p>
          <a:p>
            <a:pPr lvl="1"/>
            <a:r>
              <a:rPr lang="en-US" sz="1200"/>
              <a:t>Final AMF register UE and provides to the UE</a:t>
            </a:r>
          </a:p>
          <a:p>
            <a:pPr lvl="2"/>
            <a:r>
              <a:rPr lang="en-US" sz="1100">
                <a:solidFill>
                  <a:srgbClr val="58585A"/>
                </a:solidFill>
              </a:rPr>
              <a:t>Allowed NSSAI and Rejected S-NSSAIs, RA.</a:t>
            </a:r>
          </a:p>
          <a:p>
            <a:pPr lvl="2"/>
            <a:r>
              <a:rPr lang="en-US" sz="1100">
                <a:solidFill>
                  <a:srgbClr val="58585A"/>
                </a:solidFill>
                <a:highlight>
                  <a:srgbClr val="FFFF00"/>
                </a:highlight>
              </a:rPr>
              <a:t>The target AMF derives the MME address and 4G GUTI and retrieves the EPS MM Context (converting it into 5GS MM Context) and the SMF + PGW-C address and APN</a:t>
            </a:r>
          </a:p>
          <a:p>
            <a:pPr lvl="2"/>
            <a:endParaRPr lang="en-US" sz="1100">
              <a:solidFill>
                <a:srgbClr val="58585A"/>
              </a:solidFill>
            </a:endParaRPr>
          </a:p>
          <a:p>
            <a:r>
              <a:rPr lang="en-US" sz="1400"/>
              <a:t>Consequences:</a:t>
            </a:r>
          </a:p>
          <a:p>
            <a:pPr lvl="1"/>
            <a:r>
              <a:rPr lang="en-US" sz="1200"/>
              <a:t>Not all PDN connections are guaranteed to be transferred to 5GS. After a possible AMF re-allocation some or all PDN connections may need to be released.</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t>
            </a:r>
          </a:p>
          <a:p>
            <a:endParaRPr lang="en-GB" sz="1200" kern="1200">
              <a:solidFill>
                <a:schemeClr val="tx1"/>
              </a:solidFill>
              <a:effectLst/>
              <a:latin typeface="Ericsson Hilda Light" panose="00000400000000000000" pitchFamily="2" charset="0"/>
              <a:ea typeface="+mn-ea"/>
              <a:cs typeface="+mn-cs"/>
            </a:endParaRPr>
          </a:p>
          <a:p>
            <a:endParaRPr lang="en-GB" sz="1200" kern="1200">
              <a:solidFill>
                <a:schemeClr val="tx1"/>
              </a:solidFill>
              <a:effectLst/>
              <a:latin typeface="Ericsson Hilda Light" panose="00000400000000000000" pitchFamily="2" charset="0"/>
              <a:ea typeface="+mn-ea"/>
              <a:cs typeface="+mn-cs"/>
            </a:endParaRP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In the home-routed roaming case, the AMF selects default V-SMFs. – why default as AMF got S-NSSAIs from the UE (was it that UE does not provide the relation to EBIs)?</a:t>
            </a: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During PDN connection establishment in the EPC, the UE and the PGW-C+SMF exchange information via PCO as described in TS 23.501 [2] clause 5.15.7. In case the PGW-C+SMF supports more than one S-NSSAI and the APN is valid for more than one S-NSSAI, before the PGW-C+SMF provides an S-NSSAI to the UE, the PGW-C+SMF should check such that the selected S-NSSAI is among the UE's subscribed S-NSSAIs by retrieving the Subscribed S-NSSAI from UDM using the </a:t>
            </a:r>
            <a:r>
              <a:rPr lang="en-GB" sz="1200" kern="1200" err="1">
                <a:solidFill>
                  <a:schemeClr val="tx1"/>
                </a:solidFill>
                <a:effectLst/>
                <a:latin typeface="Ericsson Hilda Light" panose="00000400000000000000" pitchFamily="2" charset="0"/>
                <a:ea typeface="+mn-ea"/>
                <a:cs typeface="+mn-cs"/>
              </a:rPr>
              <a:t>Nudm_SDM_Get</a:t>
            </a:r>
            <a:r>
              <a:rPr lang="en-GB" sz="1200" kern="1200">
                <a:solidFill>
                  <a:schemeClr val="tx1"/>
                </a:solidFill>
                <a:effectLst/>
                <a:latin typeface="Ericsson Hilda Light" panose="00000400000000000000" pitchFamily="2" charset="0"/>
                <a:ea typeface="+mn-ea"/>
                <a:cs typeface="+mn-cs"/>
              </a:rPr>
              <a:t> service operation (the PGW-C+SMF discovers and selects a UDM as described in TS 23.501 [2] clause 6.3.8). If the PGW-C+SMF is in a VPLMN, the PGW-C+SMF uses the </a:t>
            </a:r>
            <a:r>
              <a:rPr lang="en-GB" sz="1200" kern="1200" err="1">
                <a:solidFill>
                  <a:schemeClr val="tx1"/>
                </a:solidFill>
                <a:effectLst/>
                <a:latin typeface="Ericsson Hilda Light" panose="00000400000000000000" pitchFamily="2" charset="0"/>
                <a:ea typeface="+mn-ea"/>
                <a:cs typeface="+mn-cs"/>
              </a:rPr>
              <a:t>Nnssf_NSSelection_Get</a:t>
            </a:r>
            <a:r>
              <a:rPr lang="en-GB" sz="1200" kern="1200">
                <a:solidFill>
                  <a:schemeClr val="tx1"/>
                </a:solidFill>
                <a:effectLst/>
                <a:latin typeface="Ericsson Hilda Light" panose="00000400000000000000" pitchFamily="2" charset="0"/>
                <a:ea typeface="+mn-ea"/>
                <a:cs typeface="+mn-cs"/>
              </a:rPr>
              <a:t> service operation to retrieve a mapping of the Subscribed S-NSSAIs to Serving PLMN S-NSSAI values</a:t>
            </a:r>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8C3EE594-F97B-40E2-B7D2-B95A74D25AA0}" type="slidenum">
              <a:rPr lang="en-US" smtClean="0"/>
              <a:t>97</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69635312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a:t>Idle mode mobility to EPS follows the normal “registration” procedure in EPS</a:t>
            </a:r>
            <a:r>
              <a:rPr lang="en-GB" sz="1200"/>
              <a:t>. </a:t>
            </a:r>
          </a:p>
          <a:p>
            <a:pPr marL="0" indent="0">
              <a:buNone/>
            </a:pPr>
            <a:endParaRPr lang="en-GB" sz="1200"/>
          </a:p>
          <a:p>
            <a:pPr marL="0" indent="0">
              <a:buNone/>
            </a:pPr>
            <a:r>
              <a:rPr lang="en-GB" sz="1200"/>
              <a:t>In case of (e)Decor being used in EPS, UE Usage type </a:t>
            </a:r>
            <a:r>
              <a:rPr lang="en-US" sz="1200"/>
              <a:t>may be retrieved by new MME from old AMF as part of the MM context info transfer procedure. DCN-ID may be provided, to RAN, by UE if </a:t>
            </a:r>
            <a:r>
              <a:rPr lang="en-US" sz="1200" err="1"/>
              <a:t>eDECOR</a:t>
            </a:r>
            <a:r>
              <a:rPr lang="en-US" sz="1200"/>
              <a:t> is supported.</a:t>
            </a:r>
          </a:p>
          <a:p>
            <a:pPr marL="0" indent="0">
              <a:buNone/>
            </a:pPr>
            <a:r>
              <a:rPr lang="en-US" sz="1200"/>
              <a:t>A different MME may be selected by invoking redirection.</a:t>
            </a:r>
          </a:p>
          <a:p>
            <a:pPr marL="0" indent="0">
              <a:buNone/>
            </a:pPr>
            <a:endParaRPr lang="en-US" sz="1200"/>
          </a:p>
          <a:p>
            <a:pPr marL="0" indent="0">
              <a:buNone/>
            </a:pPr>
            <a:r>
              <a:rPr lang="en-US" sz="1200"/>
              <a:t>Since, in EPS, the same PGW shall be used for all PDN Connections using the same APN.</a:t>
            </a:r>
          </a:p>
          <a:p>
            <a:r>
              <a:rPr lang="en-US" sz="1200"/>
              <a:t>At EBI allocation, if PGW-C+SMF serves multiple PDU sessions for same DNN but different S-NSSAIs for a UE then SMF shall only request EBIs for PDU sessions served by a common UPF (PSA). In case different UPF (PSA) are serving those PDU sessions, then SMF chooses one UPF (PSA).</a:t>
            </a:r>
          </a:p>
          <a:p>
            <a:r>
              <a:rPr lang="x-none" sz="1200"/>
              <a:t>If a PDU Session from another SMF already exists towards same DNN, AMF either rejects the EBI assignment request, or revokes EBI(s) from existing PDU Session(s) to same DNN but different SMF. The AMF makes the decision based on the operator policy.</a:t>
            </a:r>
            <a:endParaRPr lang="sv-SE" sz="1200"/>
          </a:p>
          <a:p>
            <a:pPr marL="0" indent="0">
              <a:buNone/>
            </a:pPr>
            <a:r>
              <a:rPr lang="sv-SE" sz="1200"/>
              <a:t>	</a:t>
            </a:r>
            <a:r>
              <a:rPr lang="x-none" sz="1200"/>
              <a:t>The AMF stores DNN</a:t>
            </a:r>
            <a:r>
              <a:rPr lang="sv-SE" sz="1200"/>
              <a:t> </a:t>
            </a:r>
            <a:r>
              <a:rPr lang="x-none" sz="1200"/>
              <a:t>and PGW-C+SMF </a:t>
            </a:r>
            <a:r>
              <a:rPr lang="sv-SE" sz="1200"/>
              <a:t>for</a:t>
            </a:r>
            <a:r>
              <a:rPr lang="x-none" sz="1200"/>
              <a:t> PDU sesson(s) support</a:t>
            </a:r>
            <a:r>
              <a:rPr lang="sv-SE" sz="1200"/>
              <a:t>ing</a:t>
            </a:r>
            <a:r>
              <a:rPr lang="x-none" sz="1200"/>
              <a:t> EPS </a:t>
            </a:r>
            <a:r>
              <a:rPr lang="sv-SE" sz="1200"/>
              <a:t>IW</a:t>
            </a:r>
            <a:r>
              <a:rPr lang="x-none" sz="1200"/>
              <a:t> to UDM</a:t>
            </a:r>
            <a:endParaRPr lang="sv-SE" sz="1200"/>
          </a:p>
          <a:p>
            <a:pPr marL="0" indent="0">
              <a:buNone/>
            </a:pPr>
            <a:r>
              <a:rPr lang="en-GB" sz="1200"/>
              <a:t>Above applies when S-NSSAI(s) for PDU Sessions are different, otherwise same SMF is selected for PDU Sessions to same DNN.</a:t>
            </a:r>
            <a:endParaRPr lang="en-US" sz="1200"/>
          </a:p>
          <a:p>
            <a:endParaRPr lang="en-GB" sz="1200" kern="1200">
              <a:solidFill>
                <a:schemeClr val="tx1"/>
              </a:solidFill>
              <a:effectLst/>
              <a:latin typeface="Ericsson Hilda Light" panose="00000400000000000000" pitchFamily="2" charset="0"/>
              <a:ea typeface="+mn-ea"/>
              <a:cs typeface="+mn-cs"/>
            </a:endParaRPr>
          </a:p>
          <a:p>
            <a:endParaRPr lang="en-GB" sz="1200" kern="1200">
              <a:solidFill>
                <a:schemeClr val="tx1"/>
              </a:solidFill>
              <a:effectLst/>
              <a:latin typeface="Ericsson Hilda Light" panose="00000400000000000000" pitchFamily="2" charset="0"/>
              <a:ea typeface="+mn-ea"/>
              <a:cs typeface="+mn-cs"/>
            </a:endParaRPr>
          </a:p>
          <a:p>
            <a:r>
              <a:rPr lang="en-GB" sz="1200" kern="1200">
                <a:solidFill>
                  <a:schemeClr val="tx1"/>
                </a:solidFill>
                <a:effectLst/>
                <a:latin typeface="Ericsson Hilda Light" panose="00000400000000000000" pitchFamily="2" charset="0"/>
                <a:ea typeface="+mn-ea"/>
                <a:cs typeface="+mn-cs"/>
              </a:rPr>
              <a:t>In the home-routed roaming case, the AMF selects default V-SMFs. – why default as AMF got S-NSSAIs from the UE (was it that UE does not provide the relation to EBIs)?</a:t>
            </a:r>
          </a:p>
          <a:p>
            <a:endParaRPr lang="en-GB" sz="1200" kern="1200">
              <a:solidFill>
                <a:schemeClr val="tx1"/>
              </a:solidFill>
              <a:effectLst/>
              <a:latin typeface="Ericsson Hilda Light" panose="00000400000000000000" pitchFamily="2" charset="0"/>
              <a:ea typeface="+mn-ea"/>
              <a:cs typeface="+mn-cs"/>
            </a:endParaRP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BA116464-9F4F-4C85-A91B-72665B493A5C}" type="slidenum">
              <a:rPr lang="en-US" smtClean="0"/>
              <a:t>98</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40332675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a:t>At connected mode mobility from 5GS to EPS the source AMF selects the target MME based and target location information and forwards the UE context </a:t>
            </a:r>
            <a:r>
              <a:rPr lang="en-US"/>
              <a:t>(including UE Usage type, if available) to </a:t>
            </a:r>
            <a:r>
              <a:rPr lang="en-US" sz="1200"/>
              <a:t>the selected MME. </a:t>
            </a:r>
          </a:p>
          <a:p>
            <a:pPr marL="0" indent="0">
              <a:buNone/>
            </a:pPr>
            <a:endParaRPr lang="en-US" sz="1200"/>
          </a:p>
          <a:p>
            <a:pPr marL="0" indent="0">
              <a:buNone/>
            </a:pPr>
            <a:r>
              <a:rPr lang="en-US" sz="1200"/>
              <a:t>When the handover completes the UE performs a Tracking Area Update. This completes the UE registration in the target EPS. As part of this the UE obtains a DCN-ID if the target EPS uses </a:t>
            </a:r>
            <a:r>
              <a:rPr lang="en-US" sz="1200" err="1"/>
              <a:t>eDECOR</a:t>
            </a:r>
            <a:r>
              <a:rPr lang="en-US" sz="1200"/>
              <a:t>.</a:t>
            </a:r>
          </a:p>
          <a:p>
            <a:pPr marL="0" indent="0">
              <a:buNone/>
            </a:pPr>
            <a:endParaRPr lang="en-US" sz="1200"/>
          </a:p>
          <a:p>
            <a:pPr marL="0" indent="0">
              <a:buNone/>
            </a:pPr>
            <a:r>
              <a:rPr lang="en-US" sz="1200"/>
              <a:t>After concluded handover the initially selected MME may select a different target MME by invoking redirection. This is achieved via a Tracking Area Update from the UE after being forced to Idle mode.</a:t>
            </a:r>
          </a:p>
          <a:p>
            <a:pPr marL="0" indent="0">
              <a:buNone/>
            </a:pPr>
            <a:br>
              <a:rPr lang="en-US" sz="1200"/>
            </a:br>
            <a:r>
              <a:rPr lang="en-US" sz="1200"/>
              <a:t>Note that only PDU Sessions which have EBI allocated are candidates for being moved to EPS.</a:t>
            </a:r>
          </a:p>
          <a:p>
            <a:endParaRPr lang="en-US"/>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42FFCAA5-4D62-4C05-A526-35565DAAE5CE}" type="slidenum">
              <a:rPr lang="en-US" smtClean="0"/>
              <a:t>99</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336480482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At connected mode mobility from EPS to 5GS the source MME selects the target AMF based on target TAI and any other available local information (including the UE Usage Type if one is available for the UE in the subscription data) and forwards the UE context to the selected AMF. </a:t>
            </a:r>
          </a:p>
          <a:p>
            <a:pPr marL="0" indent="0">
              <a:buNone/>
            </a:pPr>
            <a:endParaRPr lang="en-US"/>
          </a:p>
          <a:p>
            <a:pPr marL="0" indent="0">
              <a:buNone/>
            </a:pPr>
            <a:r>
              <a:rPr lang="en-GB"/>
              <a:t>In the home-routed roaming case, the AMF selects default V-SMFs (using default/special S-NSSAI used for IW). </a:t>
            </a:r>
            <a:endParaRPr lang="en-US"/>
          </a:p>
          <a:p>
            <a:pPr marL="0" indent="0">
              <a:buNone/>
            </a:pPr>
            <a:endParaRPr lang="en-US"/>
          </a:p>
          <a:p>
            <a:pPr marL="0" indent="0">
              <a:buNone/>
            </a:pPr>
            <a:r>
              <a:rPr lang="en-US"/>
              <a:t>During the preparation phase the PGW-C+SMF sends the PDU Session IDs and the related S-NSSAIs to AMF.</a:t>
            </a:r>
          </a:p>
          <a:p>
            <a:pPr marL="0" indent="0">
              <a:buNone/>
            </a:pPr>
            <a:endParaRPr lang="en-US"/>
          </a:p>
          <a:p>
            <a:pPr marL="0" indent="0">
              <a:buNone/>
            </a:pPr>
            <a:r>
              <a:rPr lang="en-US"/>
              <a:t>If S-NSSAI for IW is different from S-NSSAI to be used in VPLMN, AMF updates default V-SMF which updates NG-RAN with appropriate VPLMN S-NSSAI value(s)</a:t>
            </a:r>
          </a:p>
          <a:p>
            <a:pPr marL="0" indent="0">
              <a:buNone/>
            </a:pPr>
            <a:endParaRPr lang="en-US"/>
          </a:p>
          <a:p>
            <a:pPr marL="0" indent="0">
              <a:buNone/>
            </a:pPr>
            <a:r>
              <a:rPr lang="en-US"/>
              <a:t>When the Handover completes the UE performs a Registration procedure. PGW-C+SMF has provided the UE with corresponding S-NSSAIs and PDU Session IDs at PDN Connection establishment thus enabling a Requested NSSAI. As part of the Registration procedure the UE obtains an Allowed NSSAI</a:t>
            </a:r>
          </a:p>
        </p:txBody>
      </p:sp>
      <p:sp>
        <p:nvSpPr>
          <p:cNvPr id="4" name="Date Placeholder 3"/>
          <p:cNvSpPr>
            <a:spLocks noGrp="1"/>
          </p:cNvSpPr>
          <p:nvPr>
            <p:ph type="dt" idx="10"/>
          </p:nvPr>
        </p:nvSpPr>
        <p:spPr/>
        <p:txBody>
          <a:bodyPr/>
          <a:lstStyle/>
          <a:p>
            <a:r>
              <a:rPr lang="en-US"/>
              <a:t>2019-10-07 </a:t>
            </a:r>
          </a:p>
        </p:txBody>
      </p:sp>
      <p:sp>
        <p:nvSpPr>
          <p:cNvPr id="5" name="Slide Number Placeholder 4"/>
          <p:cNvSpPr>
            <a:spLocks noGrp="1"/>
          </p:cNvSpPr>
          <p:nvPr>
            <p:ph type="sldNum" sz="quarter" idx="11"/>
          </p:nvPr>
        </p:nvSpPr>
        <p:spPr/>
        <p:txBody>
          <a:bodyPr/>
          <a:lstStyle/>
          <a:p>
            <a:fld id="{63B32651-527A-4728-8E20-E8EE7786B454}" type="slidenum">
              <a:rPr lang="en-US" smtClean="0"/>
              <a:t>100</a:t>
            </a:fld>
            <a:endParaRPr lang="en-US"/>
          </a:p>
        </p:txBody>
      </p:sp>
      <p:sp>
        <p:nvSpPr>
          <p:cNvPr id="6" name="Header Placeholder 5"/>
          <p:cNvSpPr>
            <a:spLocks noGrp="1"/>
          </p:cNvSpPr>
          <p:nvPr>
            <p:ph type="hdr" sz="quarter" idx="12"/>
          </p:nvPr>
        </p:nvSpPr>
        <p:spPr/>
        <p:txBody>
          <a:bodyPr/>
          <a:lstStyle/>
          <a:p>
            <a:r>
              <a:rPr lang="en-US"/>
              <a:t>The 5G Core Network Deep Dive </a:t>
            </a:r>
          </a:p>
        </p:txBody>
      </p:sp>
      <p:sp>
        <p:nvSpPr>
          <p:cNvPr id="7" name="Footer Placeholder 6"/>
          <p:cNvSpPr>
            <a:spLocks noGrp="1"/>
          </p:cNvSpPr>
          <p:nvPr>
            <p:ph type="ftr" sz="quarter" idx="13"/>
          </p:nvPr>
        </p:nvSpPr>
        <p:spPr/>
        <p:txBody>
          <a:bodyPr/>
          <a:lstStyle/>
          <a:p>
            <a:r>
              <a:rPr lang="en-US"/>
              <a:t>BICP-16:000214 Uen, Rev N </a:t>
            </a:r>
          </a:p>
        </p:txBody>
      </p:sp>
    </p:spTree>
    <p:extLst>
      <p:ext uri="{BB962C8B-B14F-4D97-AF65-F5344CB8AC3E}">
        <p14:creationId xmlns:p14="http://schemas.microsoft.com/office/powerpoint/2010/main" val="237092027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twork Slicing and 4G </a:t>
            </a:r>
            <a:r>
              <a:rPr lang="en-US">
                <a:sym typeface="Wingdings" panose="05000000000000000000" pitchFamily="2" charset="2"/>
              </a:rPr>
              <a:t> 5G </a:t>
            </a:r>
            <a:r>
              <a:rPr lang="en-US"/>
              <a:t>Interworking requires coordination of parameters</a:t>
            </a:r>
          </a:p>
          <a:p>
            <a:r>
              <a:rPr lang="en-US"/>
              <a:t>In order for Interworking between 4G and 5G to work with Network Slicing a number of network parameters need to be coordinated between the two systems.</a:t>
            </a:r>
          </a:p>
          <a:p>
            <a:r>
              <a:rPr lang="en-US"/>
              <a:t>The main parameters to coordinate are </a:t>
            </a:r>
          </a:p>
          <a:p>
            <a:pPr lvl="1"/>
            <a:r>
              <a:rPr lang="en-US"/>
              <a:t>S-NSSAI</a:t>
            </a:r>
          </a:p>
          <a:p>
            <a:pPr lvl="1"/>
            <a:r>
              <a:rPr lang="en-US"/>
              <a:t>DNN</a:t>
            </a:r>
          </a:p>
          <a:p>
            <a:pPr lvl="1"/>
            <a:r>
              <a:rPr lang="en-US"/>
              <a:t>APN</a:t>
            </a:r>
          </a:p>
          <a:p>
            <a:pPr lvl="1"/>
            <a:r>
              <a:rPr lang="en-US"/>
              <a:t>UE Usage Type (Not as separate illustration)</a:t>
            </a:r>
          </a:p>
          <a:p>
            <a:endParaRPr lang="en-US"/>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54086B27-DB62-41D7-9607-DB1BBD432760}" type="slidenum">
              <a:rPr lang="en-US" smtClean="0"/>
              <a:t>101</a:t>
            </a:fld>
            <a:endParaRPr lang="en-US"/>
          </a:p>
        </p:txBody>
      </p:sp>
    </p:spTree>
    <p:extLst>
      <p:ext uri="{BB962C8B-B14F-4D97-AF65-F5344CB8AC3E}">
        <p14:creationId xmlns:p14="http://schemas.microsoft.com/office/powerpoint/2010/main" val="53356336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The 5G Core Network Deep Dive </a:t>
            </a:r>
          </a:p>
        </p:txBody>
      </p:sp>
      <p:sp>
        <p:nvSpPr>
          <p:cNvPr id="5" name="Date Placeholder 4"/>
          <p:cNvSpPr>
            <a:spLocks noGrp="1"/>
          </p:cNvSpPr>
          <p:nvPr>
            <p:ph type="dt" idx="1"/>
          </p:nvPr>
        </p:nvSpPr>
        <p:spPr/>
        <p:txBody>
          <a:bodyPr/>
          <a:lstStyle/>
          <a:p>
            <a:r>
              <a:rPr lang="en-US"/>
              <a:t>2019-10-07 </a:t>
            </a:r>
          </a:p>
        </p:txBody>
      </p:sp>
      <p:sp>
        <p:nvSpPr>
          <p:cNvPr id="6" name="Footer Placeholder 5"/>
          <p:cNvSpPr>
            <a:spLocks noGrp="1"/>
          </p:cNvSpPr>
          <p:nvPr>
            <p:ph type="ftr" sz="quarter" idx="4"/>
          </p:nvPr>
        </p:nvSpPr>
        <p:spPr/>
        <p:txBody>
          <a:bodyPr/>
          <a:lstStyle/>
          <a:p>
            <a:r>
              <a:rPr lang="en-US"/>
              <a:t>BICP-16:000214 Uen, Rev N </a:t>
            </a:r>
          </a:p>
        </p:txBody>
      </p:sp>
      <p:sp>
        <p:nvSpPr>
          <p:cNvPr id="7" name="Slide Number Placeholder 6"/>
          <p:cNvSpPr>
            <a:spLocks noGrp="1"/>
          </p:cNvSpPr>
          <p:nvPr>
            <p:ph type="sldNum" sz="quarter" idx="5"/>
          </p:nvPr>
        </p:nvSpPr>
        <p:spPr/>
        <p:txBody>
          <a:bodyPr/>
          <a:lstStyle/>
          <a:p>
            <a:fld id="{5D19A047-FF9C-4226-BA00-EA1391EA70CE}" type="slidenum">
              <a:rPr lang="en-US" smtClean="0"/>
              <a:t>102</a:t>
            </a:fld>
            <a:endParaRPr lang="en-US"/>
          </a:p>
        </p:txBody>
      </p:sp>
    </p:spTree>
    <p:extLst>
      <p:ext uri="{BB962C8B-B14F-4D97-AF65-F5344CB8AC3E}">
        <p14:creationId xmlns:p14="http://schemas.microsoft.com/office/powerpoint/2010/main" val="102198020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0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1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7.png" Type="http://schemas.openxmlformats.org/officeDocument/2006/relationships/image"/><Relationship Id="rId3" Target="../media/hdphoto2.wdp" Type="http://schemas.microsoft.com/office/2007/relationships/hdphoto"/></Relationships>
</file>

<file path=ppt/slideLayouts/_rels/slideLayout1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6.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7.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8.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29.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3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 Id="rId3" Target="../media/image2.svg"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2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2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2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2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3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 Id="rId3" Target="../media/image2.svg"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4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4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 Id="rId3" Target="../media/image2.svg" Type="http://schemas.openxmlformats.org/officeDocument/2006/relationships/image"/></Relationships>
</file>

<file path=ppt/slideLayouts/_rels/slideLayout5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52.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5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4.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5.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5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6.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60.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61.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6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7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8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7.png" Type="http://schemas.openxmlformats.org/officeDocument/2006/relationships/image"/><Relationship Id="rId3" Target="../media/hdphoto2.wdp" Type="http://schemas.microsoft.com/office/2007/relationships/hdphoto"/></Relationships>
</file>

<file path=ppt/slideLayouts/_rels/slideLayout8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drawings/vmlDrawing1.vml" Type="http://schemas.openxmlformats.org/officeDocument/2006/relationships/vmlDrawing"/><Relationship Id="rId2" Target="../tags/tag1.xml" Type="http://schemas.openxmlformats.org/officeDocument/2006/relationships/tags"/><Relationship Id="rId3" Target="../slideMasters/slideMaster2.xml" Type="http://schemas.openxmlformats.org/officeDocument/2006/relationships/slideMaster"/><Relationship Id="rId4" Target="../embeddings/oleObject1.bin" Type="http://schemas.openxmlformats.org/officeDocument/2006/relationships/oleObject"/><Relationship Id="rId5" Target="../media/image8.emf" Type="http://schemas.openxmlformats.org/officeDocument/2006/relationships/image"/></Relationships>
</file>

<file path=ppt/slideLayouts/_rels/slideLayout86.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87.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88.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89.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svg" Type="http://schemas.openxmlformats.org/officeDocument/2006/relationships/image"/></Relationships>
</file>

<file path=ppt/slideLayouts/_rels/slideLayout90.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91.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2.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4.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5.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6.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7.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6.png" Type="http://schemas.openxmlformats.org/officeDocument/2006/relationships/image"/></Relationships>
</file>

<file path=ppt/slideLayouts/_rels/slideLayout98.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_rels/slideLayout99.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5.png" Type="http://schemas.openxmlformats.org/officeDocument/2006/relationships/image"/><Relationship Id="rId3" Target="../media/hdphoto1.wdp" Type="http://schemas.microsoft.com/office/2007/relationships/hdphoto"/></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a:t>Speaker name</a:t>
            </a:r>
          </a:p>
        </p:txBody>
      </p:sp>
      <p:sp>
        <p:nvSpPr>
          <p:cNvPr id="12" name="Content Placeholder 11"/>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spTree>
    <p:extLst>
      <p:ext uri="{BB962C8B-B14F-4D97-AF65-F5344CB8AC3E}">
        <p14:creationId xmlns:p14="http://schemas.microsoft.com/office/powerpoint/2010/main" val="449768924"/>
      </p:ext>
    </p:extLst>
  </p:cSld>
  <p:clrMapOvr>
    <a:masterClrMapping/>
  </p:clrMapOvr>
  <p:hf sldNum="0" hdr="0" ft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343872576"/>
      </p:ext>
    </p:extLst>
  </p:cSld>
  <p:clrMapOvr>
    <a:masterClrMapping/>
  </p:clrMapOvr>
  <p:hf sldNum="0" hdr="0" ftr="0"/>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70673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37884799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BB987-76F0-4CE5-9A14-359E8F5E9C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15436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8229126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2700254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7858060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 Hilda Light 40pt, </a:t>
            </a:r>
            <a:r>
              <a:rPr lang="en-US" err="1"/>
              <a:t>Eri</a:t>
            </a:r>
            <a:r>
              <a:rPr lang="en-US"/>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3741636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4396327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17582490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313967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462224345"/>
      </p:ext>
    </p:extLst>
  </p:cSld>
  <p:clrMapOvr>
    <a:masterClrMapping/>
  </p:clrMapOvr>
  <p:hf sldNum="0" hdr="0" ft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48294037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6250" y="476250"/>
            <a:ext cx="8356600"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251440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41645400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3650005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5"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9037514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Tree>
    <p:extLst>
      <p:ext uri="{BB962C8B-B14F-4D97-AF65-F5344CB8AC3E}">
        <p14:creationId xmlns:p14="http://schemas.microsoft.com/office/powerpoint/2010/main" val="366925680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3150066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377319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Preamble text, </a:t>
            </a:r>
            <a:r>
              <a:rPr lang="en-US"/>
              <a:t>Ericsson </a:t>
            </a:r>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Hilda 25pt, Ericsson Black</a:t>
            </a:r>
            <a:endParaRPr lang="en-US"/>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14692815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Title_SM"/>
          <p:cNvSpPr>
            <a:spLocks noGrp="1" noChangeArrowheads="1"/>
          </p:cNvSpPr>
          <p:nvPr>
            <p:ph type="title" hasCustomPrompt="1"/>
          </p:nvPr>
        </p:nvSpPr>
        <p:spPr bwMode="auto">
          <a:xfrm>
            <a:off x="479425"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96267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195818458"/>
      </p:ext>
    </p:extLst>
  </p:cSld>
  <p:clrMapOvr>
    <a:masterClrMapping/>
  </p:clrMapOvr>
  <p:hf sldNum="0" hdr="0" ftr="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26032679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a:p>
            <a:pPr lvl="4"/>
            <a:endParaRPr lang="en-US"/>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a:p>
            <a:pPr lvl="4"/>
            <a:endParaRPr lang="en-US"/>
          </a:p>
        </p:txBody>
      </p:sp>
      <p:sp>
        <p:nvSpPr>
          <p:cNvPr id="12"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4595531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473190"/>
            <a:ext cx="11233149" cy="6068772"/>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a:solidFill>
                  <a:schemeClr val="bg1"/>
                </a:solidFill>
              </a:rPr>
              <a:t>Characters for Embedded characters:</a:t>
            </a:r>
          </a:p>
          <a:p>
            <a:pPr marL="0" indent="0">
              <a:buClr>
                <a:schemeClr val="tx1"/>
              </a:buClr>
              <a:buFont typeface="Ericsson Hilda Light" panose="00000400000000000000" pitchFamily="2" charset="0"/>
              <a:buNone/>
            </a:pPr>
            <a:r>
              <a:rPr lang="en-US" sz="1400">
                <a:solidFill>
                  <a:schemeClr val="bg1"/>
                </a:solidFill>
              </a:rPr>
              <a:t>!"#$%&amp;'()*+,./0123456789:;&lt;=&gt;?@ABCDEFGHIJKLMNOPQRSTUVWXYZ[\]^_`</a:t>
            </a:r>
            <a:r>
              <a:rPr lang="en-US" sz="1400" err="1">
                <a:solidFill>
                  <a:schemeClr val="bg1"/>
                </a:solidFill>
              </a:rPr>
              <a:t>abcdefghijklmnopqrstuvwxyz</a:t>
            </a:r>
            <a:r>
              <a:rPr lang="en-US" sz="1400">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err="1">
                <a:solidFill>
                  <a:schemeClr val="bg1"/>
                </a:solidFill>
              </a:rPr>
              <a:t>ẀẁẃẄẅỲỳ</a:t>
            </a:r>
            <a:r>
              <a:rPr lang="en-US" sz="1400">
                <a:solidFill>
                  <a:schemeClr val="bg1"/>
                </a:solidFill>
              </a:rPr>
              <a:t>‘’‚“”„†‡•…‰‹›⁄€™ĀĀĂĂĄĄĆĆĊĊČČĎĎĐĐĒĒĖĖĘĘĚĚĞĞĠĠĢĢĪĪĮĮİĶĶĹĹĻĻĽĽŃŃŅŅŇŇŌŌŐŐŔŔŖŖŘŘŚŚŞŞŢŢŤŤŪŪŮŮŰŰŲŲŴŴŶŶŹŹŻŻȘș−≤≥</a:t>
            </a:r>
            <a:r>
              <a:rPr lang="en-US" sz="1400" err="1">
                <a:solidFill>
                  <a:schemeClr val="bg1"/>
                </a:solidFill>
              </a:rPr>
              <a:t>ﬁﬂΆΈΉΊΌΎΏΐΑΒΓΕΖΗΘΙΚΛΜΝΞΟΠΡΣΤΥΦΧΨΪΫΆΈΉΊΰ</a:t>
            </a:r>
            <a:r>
              <a:rPr lang="en-US" sz="1400">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bg1"/>
                </a:solidFill>
              </a:rPr>
              <a:t>!"#$%&amp;'()*+,./0123456789:;&lt;=&gt;?@ABCDEFGHIJKLMNOPQRSTUVWXYZ[\]^_`</a:t>
            </a:r>
            <a:r>
              <a:rPr lang="en-US" sz="1400" b="1" err="1">
                <a:solidFill>
                  <a:schemeClr val="bg1"/>
                </a:solidFill>
              </a:rPr>
              <a:t>abcdefghijklmnopqrstuvwxyz</a:t>
            </a:r>
            <a:r>
              <a:rPr lang="en-US" sz="1400" b="1">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err="1">
                <a:solidFill>
                  <a:schemeClr val="bg1"/>
                </a:solidFill>
              </a:rPr>
              <a:t>ẀẁẃẄẅỲỳ</a:t>
            </a:r>
            <a:r>
              <a:rPr lang="en-US" sz="1400" b="1">
                <a:solidFill>
                  <a:schemeClr val="bg1"/>
                </a:solidFill>
              </a:rPr>
              <a:t>‘’‚“”„†‡•…‰‹›⁄€™ĀĀĂĂĄĄĆĆĊĊČČĎĎĐĐĒĒĖĖĘĘĚĚĞĞĠĠĢĢĪĪĮĮİĶĶĹĹĻĻĽĽŃŃŅŅŇŇŌŌŐŐŔŔŖŖŘŘŚŚŞŞŢŢŤŤŪŪŮŮŰŰŲŲŴŴŶŶŹŹŻŻȘș−≤≥</a:t>
            </a:r>
            <a:r>
              <a:rPr lang="en-US" sz="1400" b="1" err="1">
                <a:solidFill>
                  <a:schemeClr val="bg1"/>
                </a:solidFill>
              </a:rPr>
              <a:t>ﬁﬂΆΈΉΊΌΎΏΐΑΒΓΕΖΗΘΙΚΛΜΝΞΟΠΡΣΤΥΦΧΨΪΫΆΈΉΊΰ</a:t>
            </a:r>
            <a:r>
              <a:rPr lang="en-US" sz="1400" b="1">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a:solidFill>
                  <a:schemeClr val="bg1"/>
                </a:solidFill>
                <a:latin typeface="+mj-lt"/>
              </a:rPr>
              <a:t>!"#$%&amp;'()*+,./0123456789:;&lt;=&gt;?@ABCDEFGHIJKLMNOPQRSTUVWXYZ[\]^_`</a:t>
            </a:r>
            <a:r>
              <a:rPr lang="en-US" sz="1400" err="1">
                <a:solidFill>
                  <a:schemeClr val="bg1"/>
                </a:solidFill>
                <a:latin typeface="+mj-lt"/>
              </a:rPr>
              <a:t>abcdefghijklmnopqrstuvwxyz</a:t>
            </a:r>
            <a:r>
              <a:rPr lang="en-US" sz="1400">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err="1">
                <a:solidFill>
                  <a:schemeClr val="bg1"/>
                </a:solidFill>
                <a:latin typeface="+mj-lt"/>
              </a:rPr>
              <a:t>ẀẁẃẄẅỲỳ</a:t>
            </a:r>
            <a:r>
              <a:rPr lang="en-US" sz="1400">
                <a:solidFill>
                  <a:schemeClr val="bg1"/>
                </a:solidFill>
                <a:latin typeface="+mj-lt"/>
              </a:rPr>
              <a:t>‘’‚“”„†‡•…‰‹›⁄€™ĀĀĂĂĄĄĆĆĊĊČČĎĎĐĐĒĒĖĖĘĘĚĚĞĞĠĠĢĢĪĪĮĮİĶĶĹĹĻĻĽĽŃŃŅŅŇŇŌŌŐŐŔŔŖŖŘŘŚŚŞŞŢŢŤŤŪŪŮŮŰŰŲŲŴŴŶŶŹŹŻŻȘș−≤≥</a:t>
            </a:r>
            <a:r>
              <a:rPr lang="en-US" sz="1400" err="1">
                <a:solidFill>
                  <a:schemeClr val="bg1"/>
                </a:solidFill>
                <a:latin typeface="+mj-lt"/>
              </a:rPr>
              <a:t>ﬁﬂΆΈΉΊΌΎΏΐΑΒΓΕΖΗΘΙΚΛΜΝΞΟΠΡΣΤΥΦΧΨΪΫΆΈΉΊΰ</a:t>
            </a:r>
            <a:r>
              <a:rPr lang="en-US" sz="1400">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bg1"/>
                </a:solidFill>
                <a:latin typeface="+mj-lt"/>
              </a:rPr>
              <a:t>!"#$%&amp;'()*+,./0123456789:;&lt;=&gt;?@ABCDEFGHIJKLMNOPQRSTUVWXYZ[\]^_`</a:t>
            </a:r>
            <a:r>
              <a:rPr lang="en-US" sz="1400" b="1" err="1">
                <a:solidFill>
                  <a:schemeClr val="bg1"/>
                </a:solidFill>
                <a:latin typeface="+mj-lt"/>
              </a:rPr>
              <a:t>abcdefghijklmnopqrstuvwxyz</a:t>
            </a:r>
            <a:r>
              <a:rPr lang="en-US" sz="1400" b="1">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err="1">
                <a:solidFill>
                  <a:schemeClr val="bg1"/>
                </a:solidFill>
                <a:latin typeface="+mj-lt"/>
              </a:rPr>
              <a:t>ẀẁẃẄẅỲỳ</a:t>
            </a:r>
            <a:r>
              <a:rPr lang="en-US" sz="1400" b="1">
                <a:solidFill>
                  <a:schemeClr val="bg1"/>
                </a:solidFill>
                <a:latin typeface="+mj-lt"/>
              </a:rPr>
              <a:t>‘’‚“”„†‡•…‰‹›⁄€™ĀĀĂĂĄĄĆĆĊĊČČĎĎĐĐĒĒĖĖĘĘĚĚĞĞĠĠĢĢĪĪĮĮİĶĶĹĹĻĻĽĽŃŃŅŅŇŇŌŌŐŐŔŔŖŖŘŘŚŚŞŞŢŢŤŤŪŪŮŮŰŰŲŲŴŴŶŶŹŹŻŻȘș−≤≥</a:t>
            </a:r>
            <a:r>
              <a:rPr lang="en-US" sz="1400" b="1" err="1">
                <a:solidFill>
                  <a:schemeClr val="bg1"/>
                </a:solidFill>
                <a:latin typeface="+mj-lt"/>
              </a:rPr>
              <a:t>ﬁﬂΆΈΉΊΌΎΏΐΑΒΓΕΖΗΘΙΚΛΜΝΞΟΠΡΣΤΥΦΧΨΪΫΆΈΉΊΰ</a:t>
            </a:r>
            <a:r>
              <a:rPr lang="en-US" sz="1400" b="1">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p:txBody>
      </p:sp>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pic>
        <p:nvPicPr>
          <p:cNvPr id="3" name="Picture 2">
            <a:extLst>
              <a:ext uri="{FF2B5EF4-FFF2-40B4-BE49-F238E27FC236}">
                <a16:creationId xmlns:a16="http://schemas.microsoft.com/office/drawing/2014/main" id="{C99071CE-F2DE-431D-A304-302D376E0947}"/>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5663309" y="2866608"/>
            <a:ext cx="865383" cy="1145569"/>
          </a:xfrm>
          <a:prstGeom prst="rect">
            <a:avLst/>
          </a:prstGeom>
          <a:ln>
            <a:noFill/>
          </a:ln>
        </p:spPr>
      </p:pic>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a:t>Ericsson.com/related-</a:t>
            </a:r>
            <a:r>
              <a:rPr lang="en-US" err="1"/>
              <a:t>url</a:t>
            </a:r>
            <a:endParaRPr lang="en-US"/>
          </a:p>
        </p:txBody>
      </p:sp>
    </p:spTree>
    <p:extLst>
      <p:ext uri="{BB962C8B-B14F-4D97-AF65-F5344CB8AC3E}">
        <p14:creationId xmlns:p14="http://schemas.microsoft.com/office/powerpoint/2010/main" val="184257788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Title-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6762" y="239731"/>
            <a:ext cx="10147279" cy="1085371"/>
          </a:xfrm>
        </p:spPr>
        <p:txBody>
          <a:bodyPr/>
          <a:lstStyle/>
          <a:p>
            <a:r>
              <a:rPr lang="en-US"/>
              <a:t>Click to edit Master title style</a:t>
            </a:r>
          </a:p>
        </p:txBody>
      </p:sp>
    </p:spTree>
    <p:extLst>
      <p:ext uri="{BB962C8B-B14F-4D97-AF65-F5344CB8AC3E}">
        <p14:creationId xmlns:p14="http://schemas.microsoft.com/office/powerpoint/2010/main" val="104412213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7207504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accent2"/>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7972178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accent3"/>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8593831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accent4"/>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1305969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5"/>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8993294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6"/>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4640619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a:t>Chapter/section divider or Statement/fact/quote, </a:t>
            </a:r>
            <a:br>
              <a:rPr lang="en-US"/>
            </a:br>
            <a:r>
              <a:rPr lang="en-US"/>
              <a:t>Ericsson Hilda Light 60pt, </a:t>
            </a:r>
            <a:br>
              <a:rPr lang="en-US"/>
            </a:br>
            <a:r>
              <a:rPr lang="en-US"/>
              <a:t>Ericsson Black, </a:t>
            </a:r>
            <a:br>
              <a:rPr lang="en-US"/>
            </a:br>
            <a:r>
              <a:rPr lang="en-US"/>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tatement/quote source, </a:t>
            </a:r>
          </a:p>
          <a:p>
            <a:r>
              <a:rPr lang="en-US"/>
              <a:t>Ericsson Black, Ericsson Hilda 20pt</a:t>
            </a:r>
          </a:p>
        </p:txBody>
      </p:sp>
    </p:spTree>
    <p:extLst>
      <p:ext uri="{BB962C8B-B14F-4D97-AF65-F5344CB8AC3E}">
        <p14:creationId xmlns:p14="http://schemas.microsoft.com/office/powerpoint/2010/main" val="2192420899"/>
      </p:ext>
    </p:extLst>
  </p:cSld>
  <p:clrMapOvr>
    <a:masterClrMapping/>
  </p:clrMapOvr>
  <p:hf sldNum="0" hdr="0" ftr="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aphic heavy slide">
    <p:bg>
      <p:bgPr>
        <a:solidFill>
          <a:schemeClr val="tx1"/>
        </a:solidFill>
        <a:effectLst/>
      </p:bgPr>
    </p:bg>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992748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2019009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768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772305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2B531-E609-4831-A624-74A9494151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E33D2D-B94E-4743-A46E-8356F10687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941AC5-2162-4463-8775-DE3663CE69F1}"/>
              </a:ext>
            </a:extLst>
          </p:cNvPr>
          <p:cNvSpPr>
            <a:spLocks noGrp="1"/>
          </p:cNvSpPr>
          <p:nvPr>
            <p:ph type="dt" sz="half" idx="10"/>
          </p:nvPr>
        </p:nvSpPr>
        <p:spPr/>
        <p:txBody>
          <a:bodyPr/>
          <a:lstStyle/>
          <a:p>
            <a:fld id="{6799E7EB-1E47-4D04-BA2F-AC885061C42B}" type="datetimeFigureOut">
              <a:rPr lang="en-US" smtClean="0"/>
              <a:t>9/28/2020</a:t>
            </a:fld>
            <a:endParaRPr lang="en-US"/>
          </a:p>
        </p:txBody>
      </p:sp>
      <p:sp>
        <p:nvSpPr>
          <p:cNvPr id="5" name="Footer Placeholder 4">
            <a:extLst>
              <a:ext uri="{FF2B5EF4-FFF2-40B4-BE49-F238E27FC236}">
                <a16:creationId xmlns:a16="http://schemas.microsoft.com/office/drawing/2014/main" id="{376669A8-6695-4BA8-9709-0B7E7CAD3B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7A70E7-58E6-4911-8663-A374734C9F48}"/>
              </a:ext>
            </a:extLst>
          </p:cNvPr>
          <p:cNvSpPr>
            <a:spLocks noGrp="1"/>
          </p:cNvSpPr>
          <p:nvPr>
            <p:ph type="sldNum" sz="quarter" idx="12"/>
          </p:nvPr>
        </p:nvSpPr>
        <p:spPr/>
        <p:txBody>
          <a:bodyPr/>
          <a:lstStyle/>
          <a:p>
            <a:fld id="{ADEC8814-9AB5-414C-ADC2-92EFE856DB93}" type="slidenum">
              <a:rPr lang="en-US" smtClean="0"/>
              <a:t>‹#›</a:t>
            </a:fld>
            <a:endParaRPr lang="en-US"/>
          </a:p>
        </p:txBody>
      </p:sp>
    </p:spTree>
    <p:extLst>
      <p:ext uri="{BB962C8B-B14F-4D97-AF65-F5344CB8AC3E}">
        <p14:creationId xmlns:p14="http://schemas.microsoft.com/office/powerpoint/2010/main" val="31384772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9249786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900884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a:t>Chapter/section, </a:t>
            </a:r>
            <a:br>
              <a:rPr lang="en-US"/>
            </a:br>
            <a:r>
              <a:rPr lang="en-US"/>
              <a:t>Ericsson Hilda Light 60pt, Ericsson Black, </a:t>
            </a:r>
            <a:br>
              <a:rPr lang="en-US"/>
            </a:br>
            <a:r>
              <a:rPr lang="en-US"/>
              <a:t>max 4-lines</a:t>
            </a:r>
          </a:p>
        </p:txBody>
      </p:sp>
    </p:spTree>
    <p:extLst>
      <p:ext uri="{BB962C8B-B14F-4D97-AF65-F5344CB8AC3E}">
        <p14:creationId xmlns:p14="http://schemas.microsoft.com/office/powerpoint/2010/main" val="1217029857"/>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380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653651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19435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2827440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9002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pic>
        <p:nvPicPr>
          <p:cNvPr id="9" name="Graphic 8">
            <a:extLst>
              <a:ext uri="{FF2B5EF4-FFF2-40B4-BE49-F238E27FC236}">
                <a16:creationId xmlns:a16="http://schemas.microsoft.com/office/drawing/2014/main" id="{6E03516D-EC68-4282-84F4-9729304A51D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90452" y="476250"/>
            <a:ext cx="256032" cy="256032"/>
          </a:xfrm>
          <a:prstGeom prst="rect">
            <a:avLst/>
          </a:prstGeom>
        </p:spPr>
      </p:pic>
      <p:sp>
        <p:nvSpPr>
          <p:cNvPr id="10" name="Content Placeholder 2">
            <a:extLst>
              <a:ext uri="{FF2B5EF4-FFF2-40B4-BE49-F238E27FC236}">
                <a16:creationId xmlns:a16="http://schemas.microsoft.com/office/drawing/2014/main" id="{C3D47211-FF10-4DFA-A5AF-8E0A63463B47}"/>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a:t>Speaker name</a:t>
            </a:r>
          </a:p>
        </p:txBody>
      </p:sp>
      <p:sp>
        <p:nvSpPr>
          <p:cNvPr id="11" name="Content Placeholder 11">
            <a:extLst>
              <a:ext uri="{FF2B5EF4-FFF2-40B4-BE49-F238E27FC236}">
                <a16:creationId xmlns:a16="http://schemas.microsoft.com/office/drawing/2014/main" id="{0E57E58D-AC34-4A4B-A5B1-CE1B53ABBDA9}"/>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3" name="Content Placeholder 11">
            <a:extLst>
              <a:ext uri="{FF2B5EF4-FFF2-40B4-BE49-F238E27FC236}">
                <a16:creationId xmlns:a16="http://schemas.microsoft.com/office/drawing/2014/main" id="{A4CC6AB0-560E-4AE0-A93D-9C1C64F05440}"/>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spTree>
    <p:extLst>
      <p:ext uri="{BB962C8B-B14F-4D97-AF65-F5344CB8AC3E}">
        <p14:creationId xmlns:p14="http://schemas.microsoft.com/office/powerpoint/2010/main" val="412822414"/>
      </p:ext>
    </p:extLst>
  </p:cSld>
  <p:clrMapOvr>
    <a:masterClrMapping/>
  </p:clrMapOvr>
  <p:hf sldNum="0" hdr="0" ft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8510209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5153223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479114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0303034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52299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9835442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816889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 Hilda Light 40pt, </a:t>
            </a:r>
            <a:r>
              <a:rPr lang="en-US" err="1"/>
              <a:t>Eri</a:t>
            </a:r>
            <a:r>
              <a:rPr lang="en-US"/>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198249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40962371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1135682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a:t>Presentation title,</a:t>
            </a:r>
            <a:br>
              <a:rPr lang="en-US"/>
            </a:br>
            <a:r>
              <a:rPr lang="en-US"/>
              <a:t>Ericsson Hilda Light 60pt,</a:t>
            </a:r>
            <a:br>
              <a:rPr lang="en-US"/>
            </a:br>
            <a:r>
              <a:rPr lang="en-US"/>
              <a:t>Ericsson White,</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Presentation description/subtitle</a:t>
            </a:r>
            <a:br>
              <a:rPr lang="en-US"/>
            </a:br>
            <a:r>
              <a:rPr lang="en-US"/>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solidFill>
                  <a:schemeClr val="bg1"/>
                </a:solidFill>
                <a:latin typeface="+mn-lt"/>
              </a:defRPr>
            </a:lvl1pPr>
          </a:lstStyle>
          <a:p>
            <a:r>
              <a:rPr lang="en-US"/>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a:t>YYYY-MM-DD</a:t>
            </a:r>
          </a:p>
        </p:txBody>
      </p:sp>
    </p:spTree>
    <p:extLst>
      <p:ext uri="{BB962C8B-B14F-4D97-AF65-F5344CB8AC3E}">
        <p14:creationId xmlns:p14="http://schemas.microsoft.com/office/powerpoint/2010/main" val="3132883011"/>
      </p:ext>
    </p:extLst>
  </p:cSld>
  <p:clrMapOvr>
    <a:masterClrMapping/>
  </p:clrMapOvr>
  <p:hf sldNum="0" hdr="0" ftr="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0498217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0712845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2536242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9508237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359145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0010844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565058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4619674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p:txBody>
      </p:sp>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1244089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Preamble text, </a:t>
            </a:r>
            <a:r>
              <a:rPr lang="en-US"/>
              <a:t>Ericsson </a:t>
            </a:r>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Hilda 25pt, Ericsson Black</a:t>
            </a:r>
            <a:endParaRPr lang="en-US"/>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507051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spTree>
    <p:extLst>
      <p:ext uri="{BB962C8B-B14F-4D97-AF65-F5344CB8AC3E}">
        <p14:creationId xmlns:p14="http://schemas.microsoft.com/office/powerpoint/2010/main" val="1882012457"/>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990943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8244826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a:p>
            <a:pPr lvl="3"/>
            <a:endParaRPr lang="en-US"/>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0"/>
            <a:r>
              <a:rPr lang="en-US"/>
              <a:t>First level</a:t>
            </a:r>
          </a:p>
          <a:p>
            <a:pPr lvl="1"/>
            <a:r>
              <a:rPr lang="en-US"/>
              <a:t>Second level</a:t>
            </a:r>
          </a:p>
          <a:p>
            <a:pPr lvl="3"/>
            <a:endParaRPr lang="en-US"/>
          </a:p>
        </p:txBody>
      </p:sp>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4401293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a:t>ericsson.com/related-</a:t>
            </a:r>
            <a:r>
              <a:rPr lang="en-US" err="1"/>
              <a:t>url</a:t>
            </a:r>
            <a:endParaRPr lang="en-US"/>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1633616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a:t>ericsson.com/related-</a:t>
            </a:r>
            <a:r>
              <a:rPr lang="en-US" err="1"/>
              <a:t>url</a:t>
            </a:r>
            <a:endParaRPr lang="en-US"/>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2037190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151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a:solidFill>
                  <a:schemeClr val="tx1"/>
                </a:solidFill>
              </a:rPr>
              <a:t>This Master Slide is to ensure that all our characters are embedded with the presentation. Should not be used in a presentation.</a:t>
            </a:r>
          </a:p>
          <a:p>
            <a:pPr marL="0" indent="0">
              <a:buClr>
                <a:schemeClr val="tx1"/>
              </a:buClr>
              <a:buFont typeface="Ericsson Hilda Light" panose="00000400000000000000" pitchFamily="2" charset="0"/>
              <a:buNone/>
            </a:pPr>
            <a:endParaRPr lang="en-US" sz="1400" b="1">
              <a:solidFill>
                <a:schemeClr val="tx1"/>
              </a:solidFill>
            </a:endParaRPr>
          </a:p>
          <a:p>
            <a:pPr marL="0" indent="0">
              <a:buClr>
                <a:schemeClr val="tx1"/>
              </a:buClr>
              <a:buFont typeface="Ericsson Hilda Light" panose="00000400000000000000" pitchFamily="2" charset="0"/>
              <a:buNone/>
            </a:pPr>
            <a:r>
              <a:rPr lang="en-US" sz="1400">
                <a:solidFill>
                  <a:schemeClr val="tx1"/>
                </a:solidFill>
              </a:rPr>
              <a:t>!"#$%&amp;'()*+,./0123456789:;&lt;=&gt;?@ABCDEFGHIJKLMNOPQRSTUVWXYZ[\]^_`</a:t>
            </a:r>
            <a:r>
              <a:rPr lang="en-US" sz="1400" err="1">
                <a:solidFill>
                  <a:schemeClr val="tx1"/>
                </a:solidFill>
              </a:rPr>
              <a:t>abcdefghijklmnopqrstuvwxyz</a:t>
            </a:r>
            <a:r>
              <a:rPr lang="en-US" sz="140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err="1">
                <a:solidFill>
                  <a:schemeClr val="tx1"/>
                </a:solidFill>
              </a:rPr>
              <a:t>ẀẁẃẄẅỲỳ</a:t>
            </a:r>
            <a:r>
              <a:rPr lang="en-US" sz="1400">
                <a:solidFill>
                  <a:schemeClr val="tx1"/>
                </a:solidFill>
              </a:rPr>
              <a:t>‘’‚“”„†‡•…‰‹›⁄€™ĀĀĂĂĄĄĆĆĊĊČČĎĎĐĐĒĒĖĖĘĘĚĚĞĞĠĠĢĢĪĪĮĮİĶĶĹĹĻĻĽĽŃŃŅŅŇŇŌŌŐŐŔŔŖŖŘŘŚŚŞŞŢŢŤŤŪŪŮŮŰŰŲŲŴŴŶŶŹŹŻŻȘș−≤≥</a:t>
            </a:r>
            <a:r>
              <a:rPr lang="en-US" sz="1400" err="1">
                <a:solidFill>
                  <a:schemeClr val="tx1"/>
                </a:solidFill>
              </a:rPr>
              <a:t>ﬁﬂΆΈΉΊΌΎΏΐΑΒΓΕΖΗΘΙΚΛΜΝΞΟΠΡΣΤΥΦΧΨΪΫΆΈΉΊΰ</a:t>
            </a:r>
            <a:r>
              <a:rPr lang="en-US" sz="140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tx1"/>
                </a:solidFill>
              </a:rPr>
              <a:t>!"#$%&amp;'()*+,./0123456789:;&lt;=&gt;?@ABCDEFGHIJKLMNOPQRSTUVWXYZ[\]^_`</a:t>
            </a:r>
            <a:r>
              <a:rPr lang="en-US" sz="1400" b="1" err="1">
                <a:solidFill>
                  <a:schemeClr val="tx1"/>
                </a:solidFill>
              </a:rPr>
              <a:t>abcdefghijklmnopqrstuvwxyz</a:t>
            </a:r>
            <a:r>
              <a:rPr lang="en-US" sz="1400" b="1">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err="1">
                <a:solidFill>
                  <a:schemeClr val="tx1"/>
                </a:solidFill>
              </a:rPr>
              <a:t>ẀẁẃẄẅỲỳ</a:t>
            </a:r>
            <a:r>
              <a:rPr lang="en-US" sz="1400" b="1">
                <a:solidFill>
                  <a:schemeClr val="tx1"/>
                </a:solidFill>
              </a:rPr>
              <a:t>‘’‚“”„†‡•…‰‹›⁄€™ĀĀĂĂĄĄĆĆĊĊČČĎĎĐĐĒĒĖĖĘĘĚĚĞĞĠĠĢĢĪĪĮĮİĶĶĹĹĻĻĽĽŃŃŅŅŇŇŌŌŐŐŔŔŖŖŘŘŚŚŞŞŢŢŤŤŪŪŮŮŰŰŲŲŴŴŶŶŹŹŻŻȘș−≤≥</a:t>
            </a:r>
            <a:r>
              <a:rPr lang="en-US" sz="1400" b="1" err="1">
                <a:solidFill>
                  <a:schemeClr val="tx1"/>
                </a:solidFill>
              </a:rPr>
              <a:t>ﬁﬂΆΈΉΊΌΎΏΐΑΒΓΕΖΗΘΙΚΛΜΝΞΟΠΡΣΤΥΦΧΨΪΫΆΈΉΊΰ</a:t>
            </a:r>
            <a:r>
              <a:rPr lang="en-US" sz="1400" b="1">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a:solidFill>
                  <a:schemeClr val="tx1"/>
                </a:solidFill>
                <a:latin typeface="+mj-lt"/>
              </a:rPr>
              <a:t>!"#$%&amp;'()*+,./0123456789:;&lt;=&gt;?@ABCDEFGHIJKLMNOPQRSTUVWXYZ[\]^_`</a:t>
            </a:r>
            <a:r>
              <a:rPr lang="en-US" sz="1400" err="1">
                <a:solidFill>
                  <a:schemeClr val="tx1"/>
                </a:solidFill>
                <a:latin typeface="+mj-lt"/>
              </a:rPr>
              <a:t>abcdefghijklmnopqrstuvwxyz</a:t>
            </a:r>
            <a:r>
              <a:rPr lang="en-US" sz="1400">
                <a:solidFill>
                  <a:schemeClr val="tx1"/>
                </a:solidFill>
                <a:latin typeface="+mj-lt"/>
              </a:rPr>
              <a:t>{|}~¡¢£¤¥¦§¨©ª«¬®¯°±²³´¶·¸¹º»¼½ÀÁÂÃÄÅÆÇÈËÌÍÎÏÐÑÒÓÔÕÖ×ØÙÚÛÜÝÞßàáâãäåæçèéêëìíîïðñòóôõö÷øùúûüýþÿĀāĂăąĆćĊċ</a:t>
            </a:r>
            <a:r>
              <a:rPr lang="en-US" sz="1400" kern="1200">
                <a:solidFill>
                  <a:schemeClr val="tx1"/>
                </a:solidFill>
                <a:latin typeface="+mn-lt"/>
                <a:ea typeface="+mn-ea"/>
                <a:cs typeface="+mn-cs"/>
              </a:rPr>
              <a:t>Čč</a:t>
            </a:r>
            <a:r>
              <a:rPr lang="en-US" sz="1400">
                <a:solidFill>
                  <a:schemeClr val="tx1"/>
                </a:solidFill>
                <a:latin typeface="+mj-lt"/>
              </a:rPr>
              <a:t>ĎďĐđĒĖėĘęĚěĞğĠġĢģĪīĮįİıĶķĹĺĻļĽľŁłŃńŅņŇňŌŐőŒœŔŕŖŗŘřŚśŞşŠšŢţŤťŪūŮůŰűŲųŴŵŶŷŸŹźŻżŽžƒȘșˆˇ˘˙˚˛˜˝</a:t>
            </a:r>
            <a:r>
              <a:rPr lang="en-US" sz="1400" err="1">
                <a:solidFill>
                  <a:schemeClr val="tx1"/>
                </a:solidFill>
                <a:latin typeface="+mj-lt"/>
              </a:rPr>
              <a:t>ẀẁẃẄẅỲỳ</a:t>
            </a:r>
            <a:r>
              <a:rPr lang="en-US" sz="1400">
                <a:solidFill>
                  <a:schemeClr val="tx1"/>
                </a:solidFill>
                <a:latin typeface="+mj-lt"/>
              </a:rPr>
              <a:t>‘’‚“”„†‡•…‰‹›⁄€™ĀĀĂĂĄĄĆĆĊĊČČĎĎĐĐĒĒĖĖĘĘĚĚĞĞĠĠĢĢĪĪĮĮİĶĶĹĹĻĻĽĽŃŃŅŅŇŇŌŌŐŐŔŔŖŖŘŘŚŚŞŞŢŢŤŤŪŪŮŮŰŰŲŲŴŴŶŶŹŹŻŻȘș−≤≥</a:t>
            </a:r>
            <a:r>
              <a:rPr lang="en-US" sz="1400" err="1">
                <a:solidFill>
                  <a:schemeClr val="tx1"/>
                </a:solidFill>
                <a:latin typeface="+mj-lt"/>
              </a:rPr>
              <a:t>ﬁﬂΆΈΉΊΌΎΏΐΑΒΓΕΖΗΘΙΚΛΜΝΞΟΠΡΣΤΥΦΧΨΪΫΆΈΉΊΰ</a:t>
            </a:r>
            <a:r>
              <a:rPr lang="en-US" sz="140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tx1"/>
                </a:solidFill>
                <a:latin typeface="+mj-lt"/>
              </a:rPr>
              <a:t>!"#$%&amp;'()*+,./0123456789:;&lt;=&gt;?@ABCDEFGHIJKLMNOPQRSTUVWXYZ[\]^_`</a:t>
            </a:r>
            <a:r>
              <a:rPr lang="en-US" sz="1400" b="1" err="1">
                <a:solidFill>
                  <a:schemeClr val="tx1"/>
                </a:solidFill>
                <a:latin typeface="+mj-lt"/>
              </a:rPr>
              <a:t>abcdefghijklmnopqrstuvwxyz</a:t>
            </a:r>
            <a:r>
              <a:rPr lang="en-US" sz="1400" b="1">
                <a:solidFill>
                  <a:schemeClr val="tx1"/>
                </a:solidFill>
                <a:latin typeface="+mj-lt"/>
              </a:rPr>
              <a:t>{|}~¡¢£¤¥¦§¨©ª«¬®¯°±²³´¶·¸¹º»¼½ÀÁÂÃÄÅÆÇÈËÌÍÎÏÐÑÒÓÔÕÖ×ØÙÚÛÜÝÞßàáâãäåæçèéêëìíîïðñòóôõö÷øùúûüýþÿĀāĂăąĆćĊċ</a:t>
            </a:r>
            <a:r>
              <a:rPr lang="en-US" sz="1400" b="1" kern="1200">
                <a:solidFill>
                  <a:schemeClr val="tx1"/>
                </a:solidFill>
                <a:latin typeface="+mn-lt"/>
                <a:ea typeface="+mn-ea"/>
                <a:cs typeface="+mn-cs"/>
              </a:rPr>
              <a:t>Čč</a:t>
            </a:r>
            <a:r>
              <a:rPr lang="en-US" sz="1400" b="1">
                <a:solidFill>
                  <a:schemeClr val="tx1"/>
                </a:solidFill>
                <a:latin typeface="+mj-lt"/>
              </a:rPr>
              <a:t>ĎďĐđĒĖėĘęĚěĞğĠġĢģĪīĮįİıĶķĹĺĻļĽľŁłŃńŅņŇňŌŐőŒœŔŕŖŗŘřŚśŞşŠšŢţŤťŪūŮůŰűŲųŴŵŶŷŸŹźŻżŽžƒȘșˆˇ˘˙˚˛˜˝</a:t>
            </a:r>
            <a:r>
              <a:rPr lang="en-US" sz="1400" b="1" err="1">
                <a:solidFill>
                  <a:schemeClr val="tx1"/>
                </a:solidFill>
                <a:latin typeface="+mj-lt"/>
              </a:rPr>
              <a:t>ẀẁẃẄẅỲỳ</a:t>
            </a:r>
            <a:r>
              <a:rPr lang="en-US" sz="1400" b="1">
                <a:solidFill>
                  <a:schemeClr val="tx1"/>
                </a:solidFill>
                <a:latin typeface="+mj-lt"/>
              </a:rPr>
              <a:t>‘’‚“”„†‡•…‰‹›⁄€™ĀĀĂĂĄĄĆĆĊĊČČĎĎĐĐĒĒĖĖĘĘĚĚĞĞĠĠĢĢĪĪĮĮİĶĶĹĹĻĻĽĽŃŃŅŅŇŇŌŌŐŐŔŔŖŖŘŘŚŚŞŞŢŢŤŤŪŪŮŮŰŰŲŲŴŴŶŶŹŹŻŻȘș−≤≥</a:t>
            </a:r>
            <a:r>
              <a:rPr lang="en-US" sz="1400" b="1" err="1">
                <a:solidFill>
                  <a:schemeClr val="tx1"/>
                </a:solidFill>
                <a:latin typeface="+mj-lt"/>
              </a:rPr>
              <a:t>ﬁﬂΆΈΉΊΌΎΏΐΑΒΓΕΖΗΘΙΚΛΜΝΞΟΠΡΣΤΥΦΧΨΪΫΆΈΉΊΰ</a:t>
            </a:r>
            <a:r>
              <a:rPr lang="en-US" sz="1400" b="1">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tx1"/>
                </a:solidFill>
                <a:latin typeface="Ericsson Technical Icons" panose="00000500000000000000" pitchFamily="2" charset="0"/>
              </a:rPr>
              <a:t>B C D F G H I L M O P R S W X b c d f g h I l m o p r s w x</a:t>
            </a:r>
            <a:endParaRPr lang="en-US" sz="1400" b="1">
              <a:solidFill>
                <a:schemeClr val="tx1"/>
              </a:solidFill>
              <a:latin typeface="+mj-lt"/>
            </a:endParaRPr>
          </a:p>
        </p:txBody>
      </p:sp>
    </p:spTree>
    <p:extLst>
      <p:ext uri="{BB962C8B-B14F-4D97-AF65-F5344CB8AC3E}">
        <p14:creationId xmlns:p14="http://schemas.microsoft.com/office/powerpoint/2010/main" val="36253489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68" y="1800000"/>
            <a:ext cx="11135785" cy="38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5804085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7286A-0073-4F53-9F69-4B066B904CCB}"/>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F797A8E0-6F37-4DE3-A271-EEE3F013AC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59EAA777-A31F-455F-B723-16C99BD6F186}"/>
              </a:ext>
            </a:extLst>
          </p:cNvPr>
          <p:cNvSpPr>
            <a:spLocks noGrp="1"/>
          </p:cNvSpPr>
          <p:nvPr>
            <p:ph type="dt" sz="half" idx="10"/>
          </p:nvPr>
        </p:nvSpPr>
        <p:spPr/>
        <p:txBody>
          <a:bodyPr/>
          <a:lstStyle/>
          <a:p>
            <a:fld id="{7154E481-8FEB-48DB-B759-946E9DFA897B}" type="datetimeFigureOut">
              <a:rPr lang="sv-SE" smtClean="0"/>
              <a:t>2020-09-28</a:t>
            </a:fld>
            <a:endParaRPr lang="sv-SE"/>
          </a:p>
        </p:txBody>
      </p:sp>
      <p:sp>
        <p:nvSpPr>
          <p:cNvPr id="5" name="Footer Placeholder 4">
            <a:extLst>
              <a:ext uri="{FF2B5EF4-FFF2-40B4-BE49-F238E27FC236}">
                <a16:creationId xmlns:a16="http://schemas.microsoft.com/office/drawing/2014/main" id="{B40F2FE5-3FA7-4413-98B2-4A36A4515E60}"/>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A927A0D-0FFB-44D5-8245-7A81AEF522BA}"/>
              </a:ext>
            </a:extLst>
          </p:cNvPr>
          <p:cNvSpPr>
            <a:spLocks noGrp="1"/>
          </p:cNvSpPr>
          <p:nvPr>
            <p:ph type="sldNum" sz="quarter" idx="12"/>
          </p:nvPr>
        </p:nvSpPr>
        <p:spPr/>
        <p:txBody>
          <a:bodyPr/>
          <a:lstStyle/>
          <a:p>
            <a:fld id="{A73CA730-AAAA-4C4D-B95B-ED5BB2A219C4}" type="slidenum">
              <a:rPr lang="sv-SE" smtClean="0"/>
              <a:t>‹#›</a:t>
            </a:fld>
            <a:endParaRPr lang="sv-SE"/>
          </a:p>
        </p:txBody>
      </p:sp>
    </p:spTree>
    <p:extLst>
      <p:ext uri="{BB962C8B-B14F-4D97-AF65-F5344CB8AC3E}">
        <p14:creationId xmlns:p14="http://schemas.microsoft.com/office/powerpoint/2010/main" val="97382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2848037790"/>
      </p:ext>
    </p:extLst>
  </p:cSld>
  <p:clrMapOvr>
    <a:masterClrMapping/>
  </p:clrMapOvr>
  <p:hf sldNum="0" hdr="0" ftr="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4203866091"/>
      </p:ext>
    </p:extLst>
  </p:cSld>
  <p:clrMapOvr>
    <a:masterClrMapping/>
  </p:clrMapOvr>
  <p:hf sldNum="0" hdr="0" ft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pic>
        <p:nvPicPr>
          <p:cNvPr id="6" name="Graphic 5">
            <a:extLst>
              <a:ext uri="{FF2B5EF4-FFF2-40B4-BE49-F238E27FC236}">
                <a16:creationId xmlns:a16="http://schemas.microsoft.com/office/drawing/2014/main" id="{E0F7625D-2507-407E-B5D2-5964ED88BA9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203834250"/>
      </p:ext>
    </p:extLst>
  </p:cSld>
  <p:clrMapOvr>
    <a:masterClrMapping/>
  </p:clrMapOvr>
  <p:hf sldNum="0"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a:t>Presentation title,</a:t>
            </a:r>
            <a:br>
              <a:rPr lang="en-US"/>
            </a:br>
            <a:r>
              <a:rPr lang="en-US"/>
              <a:t>Ericsson Hilda Light 60pt,</a:t>
            </a:r>
            <a:br>
              <a:rPr lang="en-US"/>
            </a:br>
            <a:r>
              <a:rPr lang="en-US"/>
              <a:t>Ericsson White,</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solidFill>
                  <a:schemeClr val="bg1"/>
                </a:solidFill>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a:t>YYYY-MM-DD</a:t>
            </a:r>
          </a:p>
        </p:txBody>
      </p:sp>
      <p:pic>
        <p:nvPicPr>
          <p:cNvPr id="9" name="Picture 11">
            <a:extLst>
              <a:ext uri="{FF2B5EF4-FFF2-40B4-BE49-F238E27FC236}">
                <a16:creationId xmlns:a16="http://schemas.microsoft.com/office/drawing/2014/main" id="{AE0ABF59-D34C-44E2-8569-812DEC85F2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19270" y="481203"/>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8309680"/>
      </p:ext>
    </p:extLst>
  </p:cSld>
  <p:clrMapOvr>
    <a:masterClrMapping/>
  </p:clrMapOvr>
  <p:hf sldNum="0" hdr="0" ftr="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spTree>
    <p:extLst>
      <p:ext uri="{BB962C8B-B14F-4D97-AF65-F5344CB8AC3E}">
        <p14:creationId xmlns:p14="http://schemas.microsoft.com/office/powerpoint/2010/main" val="1511404666"/>
      </p:ext>
    </p:extLst>
  </p:cSld>
  <p:clrMapOvr>
    <a:masterClrMapping/>
  </p:clrMapOvr>
  <p:hf sldNum="0"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191721279"/>
      </p:ext>
    </p:extLst>
  </p:cSld>
  <p:clrMapOvr>
    <a:masterClrMapping/>
  </p:clrMapOvr>
  <p:hf sldNum="0"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a:t>Keynote cover cage, </a:t>
            </a:r>
            <a:br>
              <a:rPr lang="en-US"/>
            </a:br>
            <a:r>
              <a:rPr lang="en-US"/>
              <a:t>Ericsson Hilda Light 60pt, </a:t>
            </a:r>
            <a:br>
              <a:rPr lang="en-US"/>
            </a:br>
            <a:r>
              <a:rPr lang="en-US"/>
              <a:t>Ericsson White,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peaker,</a:t>
            </a:r>
            <a:br>
              <a:rPr lang="en-US"/>
            </a:br>
            <a:r>
              <a:rPr lang="en-US"/>
              <a:t>Ericsson Black, Ericsson Hilda 20pt</a:t>
            </a:r>
          </a:p>
        </p:txBody>
      </p:sp>
      <p:pic>
        <p:nvPicPr>
          <p:cNvPr id="6" name="Picture 11">
            <a:extLst>
              <a:ext uri="{FF2B5EF4-FFF2-40B4-BE49-F238E27FC236}">
                <a16:creationId xmlns:a16="http://schemas.microsoft.com/office/drawing/2014/main" id="{62EA197D-ECA7-4E2F-AB03-2BA31AB9DE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9870711"/>
      </p:ext>
    </p:extLst>
  </p:cSld>
  <p:clrMapOvr>
    <a:masterClrMapping/>
  </p:clrMapOvr>
  <p:hf sldNum="0"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10DEA382-3777-4D1B-A88B-88F6F05CB2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1318727515"/>
      </p:ext>
    </p:extLst>
  </p:cSld>
  <p:clrMapOvr>
    <a:masterClrMapping/>
  </p:clrMapOvr>
  <p:hf sldNum="0" hdr="0" ftr="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6CF73A11-8A39-48C9-ACAA-C58D0BA7D95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66732760"/>
      </p:ext>
    </p:extLst>
  </p:cSld>
  <p:clrMapOvr>
    <a:masterClrMapping/>
  </p:clrMapOvr>
  <p:hf sldNum="0" hdr="0" ftr="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AD8118F2-961D-4A26-82DD-827B741645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1951166175"/>
      </p:ext>
    </p:extLst>
  </p:cSld>
  <p:clrMapOvr>
    <a:masterClrMapping/>
  </p:clrMapOvr>
  <p:hf sldNum="0"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C3A76CF7-278B-4F6E-9A79-EDD59651DF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737654617"/>
      </p:ext>
    </p:extLst>
  </p:cSld>
  <p:clrMapOvr>
    <a:masterClrMapping/>
  </p:clrMapOvr>
  <p:hf sldNum="0" hdr="0" ftr="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3965393699"/>
      </p:ext>
    </p:extLst>
  </p:cSld>
  <p:clrMapOvr>
    <a:masterClrMapping/>
  </p:clrMapOvr>
  <p:hf sldNum="0" hdr="0" ft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1585638541"/>
      </p:ext>
    </p:extLst>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a:t>Keynote cover cage, </a:t>
            </a:r>
            <a:br>
              <a:rPr lang="en-US"/>
            </a:br>
            <a:r>
              <a:rPr lang="en-US"/>
              <a:t>Ericsson Hilda Light 60pt, </a:t>
            </a:r>
            <a:br>
              <a:rPr lang="en-US"/>
            </a:br>
            <a:r>
              <a:rPr lang="en-US"/>
              <a:t>Ericsson White,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peaker,</a:t>
            </a:r>
            <a:br>
              <a:rPr lang="en-US"/>
            </a:br>
            <a:r>
              <a:rPr lang="en-US"/>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827191870"/>
      </p:ext>
    </p:extLst>
  </p:cSld>
  <p:clrMapOvr>
    <a:masterClrMapping/>
  </p:clrMapOvr>
  <p:hf sldNum="0"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tatement P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a:t>Chapter/section divider or Statement/fact/quote, </a:t>
            </a:r>
            <a:br>
              <a:rPr lang="en-US"/>
            </a:br>
            <a:r>
              <a:rPr lang="en-US"/>
              <a:t>Ericsson Hilda Light 60pt, </a:t>
            </a:r>
            <a:br>
              <a:rPr lang="en-US"/>
            </a:br>
            <a:r>
              <a:rPr lang="en-US"/>
              <a:t>Ericsson Black, </a:t>
            </a:r>
            <a:br>
              <a:rPr lang="en-US"/>
            </a:br>
            <a:r>
              <a:rPr lang="en-US"/>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tatement/quote source, </a:t>
            </a:r>
          </a:p>
          <a:p>
            <a:r>
              <a:rPr lang="en-US"/>
              <a:t>Ericsson Black, Ericsson Hilda 20pt</a:t>
            </a:r>
          </a:p>
        </p:txBody>
      </p:sp>
    </p:spTree>
    <p:extLst>
      <p:ext uri="{BB962C8B-B14F-4D97-AF65-F5344CB8AC3E}">
        <p14:creationId xmlns:p14="http://schemas.microsoft.com/office/powerpoint/2010/main" val="3675006427"/>
      </p:ext>
    </p:extLst>
  </p:cSld>
  <p:clrMapOvr>
    <a:masterClrMapping/>
  </p:clrMapOvr>
  <p:hf sldNum="0" hdr="0" ft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a:t>Chapter/section, </a:t>
            </a:r>
            <a:br>
              <a:rPr lang="en-US"/>
            </a:br>
            <a:r>
              <a:rPr lang="en-US"/>
              <a:t>Ericsson Hilda Light 60pt, Ericsson Black, </a:t>
            </a:r>
            <a:br>
              <a:rPr lang="en-US"/>
            </a:br>
            <a:r>
              <a:rPr lang="en-US"/>
              <a:t>max 4-lines</a:t>
            </a:r>
          </a:p>
        </p:txBody>
      </p:sp>
      <p:pic>
        <p:nvPicPr>
          <p:cNvPr id="7" name="Picture 6">
            <a:extLst>
              <a:ext uri="{FF2B5EF4-FFF2-40B4-BE49-F238E27FC236}">
                <a16:creationId xmlns:a16="http://schemas.microsoft.com/office/drawing/2014/main" id="{43B3A147-5510-431A-9FDB-044AD1A35953}"/>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1"/>
            <a:ext cx="190061" cy="256032"/>
          </a:xfrm>
          <a:prstGeom prst="rect">
            <a:avLst/>
          </a:prstGeom>
          <a:ln>
            <a:noFill/>
          </a:ln>
        </p:spPr>
      </p:pic>
    </p:spTree>
    <p:extLst>
      <p:ext uri="{BB962C8B-B14F-4D97-AF65-F5344CB8AC3E}">
        <p14:creationId xmlns:p14="http://schemas.microsoft.com/office/powerpoint/2010/main" val="2033799944"/>
      </p:ext>
    </p:extLst>
  </p:cSld>
  <p:clrMapOvr>
    <a:masterClrMapping/>
  </p:clrMapOvr>
  <p:hf sldNum="0"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872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9830876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3282710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3247064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7034532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 Hilda Light 40pt, </a:t>
            </a:r>
            <a:r>
              <a:rPr lang="en-US" err="1"/>
              <a:t>Eri</a:t>
            </a:r>
            <a:r>
              <a:rPr lang="en-US"/>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4702517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4350361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a:t>      Click icon to add picture</a:t>
            </a:r>
          </a:p>
        </p:txBody>
      </p:sp>
    </p:spTree>
    <p:extLst>
      <p:ext uri="{BB962C8B-B14F-4D97-AF65-F5344CB8AC3E}">
        <p14:creationId xmlns:p14="http://schemas.microsoft.com/office/powerpoint/2010/main" val="571168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55063029"/>
      </p:ext>
    </p:extLst>
  </p:cSld>
  <p:clrMapOvr>
    <a:masterClrMapping/>
  </p:clrMapOvr>
  <p:hf sldNum="0"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2373480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884992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6250" y="476250"/>
            <a:ext cx="8356600"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8060900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7"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8289097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8783844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5"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2839157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Tree>
    <p:extLst>
      <p:ext uri="{BB962C8B-B14F-4D97-AF65-F5344CB8AC3E}">
        <p14:creationId xmlns:p14="http://schemas.microsoft.com/office/powerpoint/2010/main" val="39029771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4213960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20243992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Preamble text, </a:t>
            </a:r>
            <a:r>
              <a:rPr lang="en-US"/>
              <a:t>Ericsson </a:t>
            </a:r>
            <a:r>
              <a:rPr kumimoji="0" lang="en-US" sz="2500" b="0" i="0" u="none" strike="noStrike" kern="1200" cap="none" spc="0" normalizeH="0" baseline="0" noProof="0">
                <a:ln>
                  <a:noFill/>
                </a:ln>
                <a:solidFill>
                  <a:srgbClr val="181818"/>
                </a:solidFill>
                <a:effectLst/>
                <a:uLnTx/>
                <a:uFillTx/>
                <a:ea typeface="+mn-ea"/>
                <a:cs typeface="Ericsson Hilda Light" panose="020B0604020202020204" pitchFamily="34" charset="0"/>
              </a:rPr>
              <a:t>Hilda 25pt, Ericsson Black</a:t>
            </a:r>
            <a:endParaRPr lang="en-US"/>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998392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024094764"/>
      </p:ext>
    </p:extLst>
  </p:cSld>
  <p:clrMapOvr>
    <a:masterClrMapping/>
  </p:clrMapOvr>
  <p:hf sldNum="0" hdr="0" ftr="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Title_SM"/>
          <p:cNvSpPr>
            <a:spLocks noGrp="1" noChangeArrowheads="1"/>
          </p:cNvSpPr>
          <p:nvPr>
            <p:ph type="title" hasCustomPrompt="1"/>
          </p:nvPr>
        </p:nvSpPr>
        <p:spPr bwMode="auto">
          <a:xfrm>
            <a:off x="479425"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37809934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98945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a:p>
            <a:pPr lvl="4"/>
            <a:endParaRPr lang="en-US"/>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a:t>For heading, use Ericsson Hilda in bold. For copy and bullets, use E. Hilda.</a:t>
            </a:r>
          </a:p>
          <a:p>
            <a:pPr lvl="1"/>
            <a:r>
              <a:rPr lang="en-US"/>
              <a:t>First level</a:t>
            </a:r>
          </a:p>
          <a:p>
            <a:pPr lvl="2"/>
            <a:r>
              <a:rPr lang="en-US"/>
              <a:t>Second level</a:t>
            </a:r>
          </a:p>
          <a:p>
            <a:pPr lvl="4"/>
            <a:endParaRPr lang="en-US"/>
          </a:p>
        </p:txBody>
      </p:sp>
      <p:sp>
        <p:nvSpPr>
          <p:cNvPr id="12"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a:t>Slide title, Ericsson Hilda Light 40pt, Ericsson Black, max 2-lines</a:t>
            </a:r>
          </a:p>
        </p:txBody>
      </p:sp>
    </p:spTree>
    <p:extLst>
      <p:ext uri="{BB962C8B-B14F-4D97-AF65-F5344CB8AC3E}">
        <p14:creationId xmlns:p14="http://schemas.microsoft.com/office/powerpoint/2010/main" val="17195380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473190"/>
            <a:ext cx="11233149" cy="6068772"/>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a:solidFill>
                  <a:schemeClr val="bg1"/>
                </a:solidFill>
              </a:rPr>
              <a:t>Characters for Embedded characters:</a:t>
            </a:r>
          </a:p>
          <a:p>
            <a:pPr marL="0" indent="0">
              <a:buClr>
                <a:schemeClr val="tx1"/>
              </a:buClr>
              <a:buFont typeface="Ericsson Hilda Light" panose="00000400000000000000" pitchFamily="2" charset="0"/>
              <a:buNone/>
            </a:pPr>
            <a:r>
              <a:rPr lang="en-US" sz="1400">
                <a:solidFill>
                  <a:schemeClr val="bg1"/>
                </a:solidFill>
              </a:rPr>
              <a:t>!"#$%&amp;'()*+,./0123456789:;&lt;=&gt;?@ABCDEFGHIJKLMNOPQRSTUVWXYZ[\]^_`</a:t>
            </a:r>
            <a:r>
              <a:rPr lang="en-US" sz="1400" err="1">
                <a:solidFill>
                  <a:schemeClr val="bg1"/>
                </a:solidFill>
              </a:rPr>
              <a:t>abcdefghijklmnopqrstuvwxyz</a:t>
            </a:r>
            <a:r>
              <a:rPr lang="en-US" sz="1400">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err="1">
                <a:solidFill>
                  <a:schemeClr val="bg1"/>
                </a:solidFill>
              </a:rPr>
              <a:t>ẀẁẃẄẅỲỳ</a:t>
            </a:r>
            <a:r>
              <a:rPr lang="en-US" sz="1400">
                <a:solidFill>
                  <a:schemeClr val="bg1"/>
                </a:solidFill>
              </a:rPr>
              <a:t>‘’‚“”„†‡•…‰‹›⁄€™ĀĀĂĂĄĄĆĆĊĊČČĎĎĐĐĒĒĖĖĘĘĚĚĞĞĠĠĢĢĪĪĮĮİĶĶĹĹĻĻĽĽŃŃŅŅŇŇŌŌŐŐŔŔŖŖŘŘŚŚŞŞŢŢŤŤŪŪŮŮŰŰŲŲŴŴŶŶŹŹŻŻȘș−≤≥</a:t>
            </a:r>
            <a:r>
              <a:rPr lang="en-US" sz="1400" err="1">
                <a:solidFill>
                  <a:schemeClr val="bg1"/>
                </a:solidFill>
              </a:rPr>
              <a:t>ﬁﬂΆΈΉΊΌΎΏΐΑΒΓΕΖΗΘΙΚΛΜΝΞΟΠΡΣΤΥΦΧΨΪΫΆΈΉΊΰ</a:t>
            </a:r>
            <a:r>
              <a:rPr lang="en-US" sz="1400">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bg1"/>
                </a:solidFill>
              </a:rPr>
              <a:t>!"#$%&amp;'()*+,./0123456789:;&lt;=&gt;?@ABCDEFGHIJKLMNOPQRSTUVWXYZ[\]^_`</a:t>
            </a:r>
            <a:r>
              <a:rPr lang="en-US" sz="1400" b="1" err="1">
                <a:solidFill>
                  <a:schemeClr val="bg1"/>
                </a:solidFill>
              </a:rPr>
              <a:t>abcdefghijklmnopqrstuvwxyz</a:t>
            </a:r>
            <a:r>
              <a:rPr lang="en-US" sz="1400" b="1">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err="1">
                <a:solidFill>
                  <a:schemeClr val="bg1"/>
                </a:solidFill>
              </a:rPr>
              <a:t>ẀẁẃẄẅỲỳ</a:t>
            </a:r>
            <a:r>
              <a:rPr lang="en-US" sz="1400" b="1">
                <a:solidFill>
                  <a:schemeClr val="bg1"/>
                </a:solidFill>
              </a:rPr>
              <a:t>‘’‚“”„†‡•…‰‹›⁄€™ĀĀĂĂĄĄĆĆĊĊČČĎĎĐĐĒĒĖĖĘĘĚĚĞĞĠĠĢĢĪĪĮĮİĶĶĹĹĻĻĽĽŃŃŅŅŇŇŌŌŐŐŔŔŖŖŘŘŚŚŞŞŢŢŤŤŪŪŮŮŰŰŲŲŴŴŶŶŹŹŻŻȘș−≤≥</a:t>
            </a:r>
            <a:r>
              <a:rPr lang="en-US" sz="1400" b="1" err="1">
                <a:solidFill>
                  <a:schemeClr val="bg1"/>
                </a:solidFill>
              </a:rPr>
              <a:t>ﬁﬂΆΈΉΊΌΎΏΐΑΒΓΕΖΗΘΙΚΛΜΝΞΟΠΡΣΤΥΦΧΨΪΫΆΈΉΊΰ</a:t>
            </a:r>
            <a:r>
              <a:rPr lang="en-US" sz="1400" b="1">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a:solidFill>
                  <a:schemeClr val="bg1"/>
                </a:solidFill>
                <a:latin typeface="+mj-lt"/>
              </a:rPr>
              <a:t>!"#$%&amp;'()*+,./0123456789:;&lt;=&gt;?@ABCDEFGHIJKLMNOPQRSTUVWXYZ[\]^_`</a:t>
            </a:r>
            <a:r>
              <a:rPr lang="en-US" sz="1400" err="1">
                <a:solidFill>
                  <a:schemeClr val="bg1"/>
                </a:solidFill>
                <a:latin typeface="+mj-lt"/>
              </a:rPr>
              <a:t>abcdefghijklmnopqrstuvwxyz</a:t>
            </a:r>
            <a:r>
              <a:rPr lang="en-US" sz="1400">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err="1">
                <a:solidFill>
                  <a:schemeClr val="bg1"/>
                </a:solidFill>
                <a:latin typeface="+mj-lt"/>
              </a:rPr>
              <a:t>ẀẁẃẄẅỲỳ</a:t>
            </a:r>
            <a:r>
              <a:rPr lang="en-US" sz="1400">
                <a:solidFill>
                  <a:schemeClr val="bg1"/>
                </a:solidFill>
                <a:latin typeface="+mj-lt"/>
              </a:rPr>
              <a:t>‘’‚“”„†‡•…‰‹›⁄€™ĀĀĂĂĄĄĆĆĊĊČČĎĎĐĐĒĒĖĖĘĘĚĚĞĞĠĠĢĢĪĪĮĮİĶĶĹĹĻĻĽĽŃŃŅŅŇŇŌŌŐŐŔŔŖŖŘŘŚŚŞŞŢŢŤŤŪŪŮŮŰŰŲŲŴŴŶŶŹŹŻŻȘș−≤≥</a:t>
            </a:r>
            <a:r>
              <a:rPr lang="en-US" sz="1400" err="1">
                <a:solidFill>
                  <a:schemeClr val="bg1"/>
                </a:solidFill>
                <a:latin typeface="+mj-lt"/>
              </a:rPr>
              <a:t>ﬁﬂΆΈΉΊΌΎΏΐΑΒΓΕΖΗΘΙΚΛΜΝΞΟΠΡΣΤΥΦΧΨΪΫΆΈΉΊΰ</a:t>
            </a:r>
            <a:r>
              <a:rPr lang="en-US" sz="1400">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a:solidFill>
                  <a:schemeClr val="bg1"/>
                </a:solidFill>
                <a:latin typeface="+mj-lt"/>
              </a:rPr>
              <a:t>!"#$%&amp;'()*+,./0123456789:;&lt;=&gt;?@ABCDEFGHIJKLMNOPQRSTUVWXYZ[\]^_`</a:t>
            </a:r>
            <a:r>
              <a:rPr lang="en-US" sz="1400" b="1" err="1">
                <a:solidFill>
                  <a:schemeClr val="bg1"/>
                </a:solidFill>
                <a:latin typeface="+mj-lt"/>
              </a:rPr>
              <a:t>abcdefghijklmnopqrstuvwxyz</a:t>
            </a:r>
            <a:r>
              <a:rPr lang="en-US" sz="1400" b="1">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err="1">
                <a:solidFill>
                  <a:schemeClr val="bg1"/>
                </a:solidFill>
                <a:latin typeface="+mj-lt"/>
              </a:rPr>
              <a:t>ẀẁẃẄẅỲỳ</a:t>
            </a:r>
            <a:r>
              <a:rPr lang="en-US" sz="1400" b="1">
                <a:solidFill>
                  <a:schemeClr val="bg1"/>
                </a:solidFill>
                <a:latin typeface="+mj-lt"/>
              </a:rPr>
              <a:t>‘’‚“”„†‡•…‰‹›⁄€™ĀĀĂĂĄĄĆĆĊĊČČĎĎĐĐĒĒĖĖĘĘĚĚĞĞĠĠĢĢĪĪĮĮİĶĶĹĹĻĻĽĽŃŃŅŅŇŇŌŌŐŐŔŔŖŖŘŘŚŚŞŞŢŢŤŤŪŪŮŮŰŰŲŲŴŴŶŶŹŹŻŻȘș−≤≥</a:t>
            </a:r>
            <a:r>
              <a:rPr lang="en-US" sz="1400" b="1" err="1">
                <a:solidFill>
                  <a:schemeClr val="bg1"/>
                </a:solidFill>
                <a:latin typeface="+mj-lt"/>
              </a:rPr>
              <a:t>ﬁﬂΆΈΉΊΌΎΏΐΑΒΓΕΖΗΘΙΚΛΜΝΞΟΠΡΣΤΥΦΧΨΪΫΆΈΉΊΰ</a:t>
            </a:r>
            <a:r>
              <a:rPr lang="en-US" sz="1400" b="1">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p:txBody>
      </p:sp>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pic>
        <p:nvPicPr>
          <p:cNvPr id="3" name="Picture 2">
            <a:extLst>
              <a:ext uri="{FF2B5EF4-FFF2-40B4-BE49-F238E27FC236}">
                <a16:creationId xmlns:a16="http://schemas.microsoft.com/office/drawing/2014/main" id="{C99071CE-F2DE-431D-A304-302D376E0947}"/>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5663309" y="2866608"/>
            <a:ext cx="865383" cy="1145569"/>
          </a:xfrm>
          <a:prstGeom prst="rect">
            <a:avLst/>
          </a:prstGeom>
          <a:ln>
            <a:noFill/>
          </a:ln>
        </p:spPr>
      </p:pic>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a:t>Ericsson.com/related-</a:t>
            </a:r>
            <a:r>
              <a:rPr lang="en-US" err="1"/>
              <a:t>url</a:t>
            </a:r>
            <a:endParaRPr lang="en-US"/>
          </a:p>
        </p:txBody>
      </p:sp>
    </p:spTree>
    <p:extLst>
      <p:ext uri="{BB962C8B-B14F-4D97-AF65-F5344CB8AC3E}">
        <p14:creationId xmlns:p14="http://schemas.microsoft.com/office/powerpoint/2010/main" val="41235556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Title-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6762" y="239731"/>
            <a:ext cx="10147279" cy="1085371"/>
          </a:xfrm>
        </p:spPr>
        <p:txBody>
          <a:bodyPr/>
          <a:lstStyle/>
          <a:p>
            <a:r>
              <a:rPr lang="en-US"/>
              <a:t>Click to edit Master title style</a:t>
            </a:r>
          </a:p>
        </p:txBody>
      </p:sp>
    </p:spTree>
    <p:extLst>
      <p:ext uri="{BB962C8B-B14F-4D97-AF65-F5344CB8AC3E}">
        <p14:creationId xmlns:p14="http://schemas.microsoft.com/office/powerpoint/2010/main" val="346467574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60" imgH="360" progId="TCLayout.ActiveDocument.1">
                  <p:embed/>
                </p:oleObj>
              </mc:Choice>
              <mc:Fallback>
                <p:oleObj name="think-cell Slide" r:id="rId4" imgW="360" imgH="360" progId="TCLayout.ActiveDocument.1">
                  <p:embed/>
                  <p:pic>
                    <p:nvPicPr>
                      <p:cNvPr id="5"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524935" y="239714"/>
            <a:ext cx="9992784" cy="1085371"/>
          </a:xfrm>
        </p:spPr>
        <p:txBody>
          <a:bodyPr/>
          <a:lstStyle/>
          <a:p>
            <a:r>
              <a:rPr lang="en-US"/>
              <a:t>Click to edit Master title style</a:t>
            </a:r>
          </a:p>
        </p:txBody>
      </p:sp>
      <p:sp>
        <p:nvSpPr>
          <p:cNvPr id="4" name="Text Placeholder 7"/>
          <p:cNvSpPr>
            <a:spLocks noGrp="1"/>
          </p:cNvSpPr>
          <p:nvPr>
            <p:ph type="body" sz="quarter" idx="13"/>
          </p:nvPr>
        </p:nvSpPr>
        <p:spPr>
          <a:xfrm>
            <a:off x="524935" y="6234099"/>
            <a:ext cx="11135785" cy="154800"/>
          </a:xfrm>
        </p:spPr>
        <p:txBody>
          <a:bodyPr/>
          <a:lstStyle>
            <a:lvl1pPr marL="0" indent="0">
              <a:buFontTx/>
              <a:buNone/>
              <a:defRPr sz="900"/>
            </a:lvl1pPr>
          </a:lstStyle>
          <a:p>
            <a:pPr lvl="0"/>
            <a:r>
              <a:rPr lang="en-US"/>
              <a:t>Edit Master text styles</a:t>
            </a:r>
          </a:p>
        </p:txBody>
      </p:sp>
    </p:spTree>
    <p:extLst>
      <p:ext uri="{BB962C8B-B14F-4D97-AF65-F5344CB8AC3E}">
        <p14:creationId xmlns:p14="http://schemas.microsoft.com/office/powerpoint/2010/main" val="8440856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813354138"/>
      </p:ext>
    </p:extLst>
  </p:cSld>
  <p:clrMapOvr>
    <a:masterClrMapping/>
  </p:clrMapOvr>
  <p:hf sldNum="0" hdr="0" ftr="0"/>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a:t>Presentation title,</a:t>
            </a:r>
            <a:br>
              <a:rPr lang="en-US"/>
            </a:br>
            <a:r>
              <a:rPr lang="en-US"/>
              <a:t>Ericsson Hilda Light 60pt,</a:t>
            </a:r>
            <a:br>
              <a:rPr lang="en-US"/>
            </a:br>
            <a:r>
              <a:rPr lang="en-US"/>
              <a:t>Ericsson Black,</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1865787238"/>
      </p:ext>
    </p:extLst>
  </p:cSld>
  <p:clrMapOvr>
    <a:masterClrMapping/>
  </p:clrMapOvr>
  <p:hf sldNum="0" hdr="0" ftr="0"/>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a:t>Presentation title,</a:t>
            </a:r>
            <a:br>
              <a:rPr lang="en-US"/>
            </a:br>
            <a:r>
              <a:rPr lang="en-US"/>
              <a:t>Ericsson Hilda Light 60pt,</a:t>
            </a:r>
            <a:br>
              <a:rPr lang="en-US"/>
            </a:br>
            <a:r>
              <a:rPr lang="en-US"/>
              <a:t>Ericsson White,</a:t>
            </a:r>
            <a:br>
              <a:rPr lang="en-US"/>
            </a:br>
            <a:r>
              <a:rPr lang="en-US"/>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Presentation description/subtitle</a:t>
            </a:r>
            <a:br>
              <a:rPr lang="en-US"/>
            </a:br>
            <a:r>
              <a:rPr lang="en-US"/>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solidFill>
                  <a:schemeClr val="bg1"/>
                </a:solidFill>
                <a:latin typeface="+mn-lt"/>
              </a:defRPr>
            </a:lvl1pPr>
          </a:lstStyle>
          <a:p>
            <a:r>
              <a:rPr lang="en-US"/>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a:t>YYYY-MM-DD</a:t>
            </a:r>
          </a:p>
        </p:txBody>
      </p:sp>
      <p:pic>
        <p:nvPicPr>
          <p:cNvPr id="9" name="Picture 11">
            <a:extLst>
              <a:ext uri="{FF2B5EF4-FFF2-40B4-BE49-F238E27FC236}">
                <a16:creationId xmlns:a16="http://schemas.microsoft.com/office/drawing/2014/main" id="{AE0ABF59-D34C-44E2-8569-812DEC85F2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19270" y="481203"/>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6497406"/>
      </p:ext>
    </p:extLst>
  </p:cSld>
  <p:clrMapOvr>
    <a:masterClrMapping/>
  </p:clrMapOvr>
  <p:hf sldNum="0" hdr="0" ftr="0"/>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spTree>
    <p:extLst>
      <p:ext uri="{BB962C8B-B14F-4D97-AF65-F5344CB8AC3E}">
        <p14:creationId xmlns:p14="http://schemas.microsoft.com/office/powerpoint/2010/main" val="2633384790"/>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49483706"/>
      </p:ext>
    </p:extLst>
  </p:cSld>
  <p:clrMapOvr>
    <a:masterClrMapping/>
  </p:clrMapOvr>
  <p:hf sldNum="0" hdr="0" ftr="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a:t>Keynote cover page, </a:t>
            </a:r>
            <a:br>
              <a:rPr lang="en-US"/>
            </a:br>
            <a:r>
              <a:rPr lang="en-US"/>
              <a:t>Ericsson Hilda Light 60pt, </a:t>
            </a:r>
            <a:br>
              <a:rPr lang="en-US"/>
            </a:br>
            <a:r>
              <a:rPr lang="en-US"/>
              <a:t>Ericsson Black,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peaker,</a:t>
            </a:r>
            <a:br>
              <a:rPr lang="en-US"/>
            </a:br>
            <a:r>
              <a:rPr lang="en-US"/>
              <a:t>Ericsson Black, Ericsson Hilda 20pt</a:t>
            </a:r>
          </a:p>
        </p:txBody>
      </p:sp>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3847515531"/>
      </p:ext>
    </p:extLst>
  </p:cSld>
  <p:clrMapOvr>
    <a:masterClrMapping/>
  </p:clrMapOvr>
  <p:hf sldNum="0" hdr="0" ftr="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a:t>Keynote cover cage, </a:t>
            </a:r>
            <a:br>
              <a:rPr lang="en-US"/>
            </a:br>
            <a:r>
              <a:rPr lang="en-US"/>
              <a:t>Ericsson Hilda Light 60pt, </a:t>
            </a:r>
            <a:br>
              <a:rPr lang="en-US"/>
            </a:br>
            <a:r>
              <a:rPr lang="en-US"/>
              <a:t>Ericsson White, </a:t>
            </a:r>
            <a:br>
              <a:rPr lang="en-US"/>
            </a:br>
            <a:r>
              <a:rPr lang="en-US"/>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peaker,</a:t>
            </a:r>
            <a:br>
              <a:rPr lang="en-US"/>
            </a:br>
            <a:r>
              <a:rPr lang="en-US"/>
              <a:t>Ericsson Black, Ericsson Hilda 20pt</a:t>
            </a:r>
          </a:p>
        </p:txBody>
      </p:sp>
      <p:pic>
        <p:nvPicPr>
          <p:cNvPr id="6" name="Picture 11">
            <a:extLst>
              <a:ext uri="{FF2B5EF4-FFF2-40B4-BE49-F238E27FC236}">
                <a16:creationId xmlns:a16="http://schemas.microsoft.com/office/drawing/2014/main" id="{62EA197D-ECA7-4E2F-AB03-2BA31AB9DE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4402712"/>
      </p:ext>
    </p:extLst>
  </p:cSld>
  <p:clrMapOvr>
    <a:masterClrMapping/>
  </p:clrMapOvr>
  <p:hf sldNum="0" hdr="0" ftr="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10DEA382-3777-4D1B-A88B-88F6F05CB2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3262231934"/>
      </p:ext>
    </p:extLst>
  </p:cSld>
  <p:clrMapOvr>
    <a:masterClrMapping/>
  </p:clrMapOvr>
  <p:hf sldNum="0" hdr="0" ftr="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6CF73A11-8A39-48C9-ACAA-C58D0BA7D95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2044040050"/>
      </p:ext>
    </p:extLst>
  </p:cSld>
  <p:clrMapOvr>
    <a:masterClrMapping/>
  </p:clrMapOvr>
  <p:hf sldNum="0" hdr="0" ftr="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AD8118F2-961D-4A26-82DD-827B741645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681305957"/>
      </p:ext>
    </p:extLst>
  </p:cSld>
  <p:clrMapOvr>
    <a:masterClrMapping/>
  </p:clrMapOvr>
  <p:hf sldNum="0" hdr="0" ftr="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C3A76CF7-278B-4F6E-9A79-EDD59651DF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1608236036"/>
      </p:ext>
    </p:extLst>
  </p:cSld>
  <p:clrMapOvr>
    <a:masterClrMapping/>
  </p:clrMapOvr>
  <p:hf sldNum="0" hdr="0" ftr="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3583823230"/>
      </p:ext>
    </p:extLst>
  </p:cSld>
  <p:clrMapOvr>
    <a:masterClrMapping/>
  </p:clrMapOvr>
  <p:hf sldNum="0" hdr="0" ftr="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a:t>Chapter/section divider or Statement/fact/quote, </a:t>
            </a:r>
            <a:br>
              <a:rPr lang="en-US"/>
            </a:br>
            <a:r>
              <a:rPr lang="en-US"/>
              <a:t>Ericsson Hilda Light 60pt, </a:t>
            </a:r>
            <a:br>
              <a:rPr lang="en-US"/>
            </a:br>
            <a:r>
              <a:rPr lang="en-US"/>
              <a:t>Ericsson White, </a:t>
            </a:r>
            <a:br>
              <a:rPr lang="en-US"/>
            </a:br>
            <a:r>
              <a:rPr lang="en-US"/>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a:t>Statement/quote source, </a:t>
            </a:r>
          </a:p>
          <a:p>
            <a:r>
              <a:rPr lang="en-US"/>
              <a:t>Ericsson White, Ericsson Hilda 20pt</a:t>
            </a:r>
          </a:p>
        </p:txBody>
      </p:sp>
    </p:spTree>
    <p:extLst>
      <p:ext uri="{BB962C8B-B14F-4D97-AF65-F5344CB8AC3E}">
        <p14:creationId xmlns:p14="http://schemas.microsoft.com/office/powerpoint/2010/main" val="3132529448"/>
      </p:ext>
    </p:extLst>
  </p:cSld>
  <p:clrMapOvr>
    <a:masterClrMapping/>
  </p:clrMapOvr>
  <p:hf sldNum="0" hdr="0" ft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tatement P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a:t>Chapter/section divider or Statement/fact/quote, </a:t>
            </a:r>
            <a:br>
              <a:rPr lang="en-US"/>
            </a:br>
            <a:r>
              <a:rPr lang="en-US"/>
              <a:t>Ericsson Hilda Light 60pt, </a:t>
            </a:r>
            <a:br>
              <a:rPr lang="en-US"/>
            </a:br>
            <a:r>
              <a:rPr lang="en-US"/>
              <a:t>Ericsson Black, </a:t>
            </a:r>
            <a:br>
              <a:rPr lang="en-US"/>
            </a:br>
            <a:r>
              <a:rPr lang="en-US"/>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a:t>Statement/quote source, </a:t>
            </a:r>
          </a:p>
          <a:p>
            <a:r>
              <a:rPr lang="en-US"/>
              <a:t>Ericsson Black, Ericsson Hilda 20pt</a:t>
            </a:r>
          </a:p>
        </p:txBody>
      </p:sp>
    </p:spTree>
    <p:extLst>
      <p:ext uri="{BB962C8B-B14F-4D97-AF65-F5344CB8AC3E}">
        <p14:creationId xmlns:p14="http://schemas.microsoft.com/office/powerpoint/2010/main" val="933791846"/>
      </p:ext>
    </p:extLst>
  </p:cSld>
  <p:clrMapOvr>
    <a:masterClrMapping/>
  </p:clrMapOvr>
  <p:hf sldNum="0" hdr="0" ft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a:t>Chapter/section, </a:t>
            </a:r>
            <a:br>
              <a:rPr lang="en-US"/>
            </a:br>
            <a:r>
              <a:rPr lang="en-US"/>
              <a:t>Ericsson Hilda Light 60pt, Ericsson Black, </a:t>
            </a:r>
            <a:br>
              <a:rPr lang="en-US"/>
            </a:br>
            <a:r>
              <a:rPr lang="en-US"/>
              <a:t>max 4-lines</a:t>
            </a:r>
          </a:p>
        </p:txBody>
      </p:sp>
      <p:pic>
        <p:nvPicPr>
          <p:cNvPr id="7" name="Picture 6">
            <a:extLst>
              <a:ext uri="{FF2B5EF4-FFF2-40B4-BE49-F238E27FC236}">
                <a16:creationId xmlns:a16="http://schemas.microsoft.com/office/drawing/2014/main" id="{43B3A147-5510-431A-9FDB-044AD1A35953}"/>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1"/>
            <a:ext cx="190061" cy="256032"/>
          </a:xfrm>
          <a:prstGeom prst="rect">
            <a:avLst/>
          </a:prstGeom>
          <a:ln>
            <a:noFill/>
          </a:ln>
        </p:spPr>
      </p:pic>
    </p:spTree>
    <p:extLst>
      <p:ext uri="{BB962C8B-B14F-4D97-AF65-F5344CB8AC3E}">
        <p14:creationId xmlns:p14="http://schemas.microsoft.com/office/powerpoint/2010/main" val="455727232"/>
      </p:ext>
    </p:extLst>
  </p:cSld>
  <p:clrMapOvr>
    <a:masterClrMapping/>
  </p:clrMapOvr>
  <p:hf sldNum="0" hdr="0" ftr="0"/>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slideLayouts/slideLayout21.xml" Type="http://schemas.openxmlformats.org/officeDocument/2006/relationships/slideLayout"/><Relationship Id="rId22" Target="../slideLayouts/slideLayout22.xml" Type="http://schemas.openxmlformats.org/officeDocument/2006/relationships/slideLayout"/><Relationship Id="rId23" Target="../slideLayouts/slideLayout23.xml" Type="http://schemas.openxmlformats.org/officeDocument/2006/relationships/slideLayout"/><Relationship Id="rId24" Target="../slideLayouts/slideLayout24.xml" Type="http://schemas.openxmlformats.org/officeDocument/2006/relationships/slideLayout"/><Relationship Id="rId25" Target="../slideLayouts/slideLayout25.xml" Type="http://schemas.openxmlformats.org/officeDocument/2006/relationships/slideLayout"/><Relationship Id="rId26" Target="../slideLayouts/slideLayout26.xml" Type="http://schemas.openxmlformats.org/officeDocument/2006/relationships/slideLayout"/><Relationship Id="rId27" Target="../slideLayouts/slideLayout27.xml" Type="http://schemas.openxmlformats.org/officeDocument/2006/relationships/slideLayout"/><Relationship Id="rId28" Target="../slideLayouts/slideLayout28.xml" Type="http://schemas.openxmlformats.org/officeDocument/2006/relationships/slideLayout"/><Relationship Id="rId29" Target="../slideLayouts/slideLayout29.xml" Type="http://schemas.openxmlformats.org/officeDocument/2006/relationships/slideLayout"/><Relationship Id="rId3" Target="../slideLayouts/slideLayout3.xml" Type="http://schemas.openxmlformats.org/officeDocument/2006/relationships/slideLayout"/><Relationship Id="rId30" Target="../slideLayouts/slideLayout30.xml" Type="http://schemas.openxmlformats.org/officeDocument/2006/relationships/slideLayout"/><Relationship Id="rId31" Target="../slideLayouts/slideLayout31.xml" Type="http://schemas.openxmlformats.org/officeDocument/2006/relationships/slideLayout"/><Relationship Id="rId32" Target="../slideLayouts/slideLayout32.xml" Type="http://schemas.openxmlformats.org/officeDocument/2006/relationships/slideLayout"/><Relationship Id="rId33" Target="../slideLayouts/slideLayout33.xml" Type="http://schemas.openxmlformats.org/officeDocument/2006/relationships/slideLayout"/><Relationship Id="rId34" Target="../slideLayouts/slideLayout34.xml" Type="http://schemas.openxmlformats.org/officeDocument/2006/relationships/slideLayout"/><Relationship Id="rId35" Target="../slideLayouts/slideLayout35.xml" Type="http://schemas.openxmlformats.org/officeDocument/2006/relationships/slideLayout"/><Relationship Id="rId36" Target="../slideLayouts/slideLayout36.xml" Type="http://schemas.openxmlformats.org/officeDocument/2006/relationships/slideLayout"/><Relationship Id="rId37" Target="../slideLayouts/slideLayout37.xml" Type="http://schemas.openxmlformats.org/officeDocument/2006/relationships/slideLayout"/><Relationship Id="rId38" Target="../slideLayouts/slideLayout38.xml" Type="http://schemas.openxmlformats.org/officeDocument/2006/relationships/slideLayout"/><Relationship Id="rId39" Target="../slideLayouts/slideLayout39.xml" Type="http://schemas.openxmlformats.org/officeDocument/2006/relationships/slideLayout"/><Relationship Id="rId4" Target="../slideLayouts/slideLayout4.xml" Type="http://schemas.openxmlformats.org/officeDocument/2006/relationships/slideLayout"/><Relationship Id="rId40" Target="../slideLayouts/slideLayout40.xml" Type="http://schemas.openxmlformats.org/officeDocument/2006/relationships/slideLayout"/><Relationship Id="rId41" Target="../slideLayouts/slideLayout41.xml" Type="http://schemas.openxmlformats.org/officeDocument/2006/relationships/slideLayout"/><Relationship Id="rId42" Target="../slideLayouts/slideLayout42.xml" Type="http://schemas.openxmlformats.org/officeDocument/2006/relationships/slideLayout"/><Relationship Id="rId43" Target="../slideLayouts/slideLayout43.xml" Type="http://schemas.openxmlformats.org/officeDocument/2006/relationships/slideLayout"/><Relationship Id="rId44" Target="../slideLayouts/slideLayout44.xml" Type="http://schemas.openxmlformats.org/officeDocument/2006/relationships/slideLayout"/><Relationship Id="rId45" Target="../slideLayouts/slideLayout45.xml" Type="http://schemas.openxmlformats.org/officeDocument/2006/relationships/slideLayout"/><Relationship Id="rId46" Target="../slideLayouts/slideLayout46.xml" Type="http://schemas.openxmlformats.org/officeDocument/2006/relationships/slideLayout"/><Relationship Id="rId47" Target="../slideLayouts/slideLayout47.xml" Type="http://schemas.openxmlformats.org/officeDocument/2006/relationships/slideLayout"/><Relationship Id="rId48" Target="../theme/theme1.xml" Type="http://schemas.openxmlformats.org/officeDocument/2006/relationships/theme"/><Relationship Id="rId49" Target="../media/image1.png" Type="http://schemas.openxmlformats.org/officeDocument/2006/relationships/image"/><Relationship Id="rId5" Target="../slideLayouts/slideLayout5.xml" Type="http://schemas.openxmlformats.org/officeDocument/2006/relationships/slideLayout"/><Relationship Id="rId50" Target="../media/image2.svg" Type="http://schemas.openxmlformats.org/officeDocument/2006/relationships/image"/><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48.xml" Type="http://schemas.openxmlformats.org/officeDocument/2006/relationships/slideLayout"/><Relationship Id="rId10" Target="../slideLayouts/slideLayout57.xml" Type="http://schemas.openxmlformats.org/officeDocument/2006/relationships/slideLayout"/><Relationship Id="rId11" Target="../slideLayouts/slideLayout58.xml" Type="http://schemas.openxmlformats.org/officeDocument/2006/relationships/slideLayout"/><Relationship Id="rId12" Target="../slideLayouts/slideLayout59.xml" Type="http://schemas.openxmlformats.org/officeDocument/2006/relationships/slideLayout"/><Relationship Id="rId13" Target="../slideLayouts/slideLayout60.xml" Type="http://schemas.openxmlformats.org/officeDocument/2006/relationships/slideLayout"/><Relationship Id="rId14" Target="../slideLayouts/slideLayout61.xml" Type="http://schemas.openxmlformats.org/officeDocument/2006/relationships/slideLayout"/><Relationship Id="rId15" Target="../slideLayouts/slideLayout62.xml" Type="http://schemas.openxmlformats.org/officeDocument/2006/relationships/slideLayout"/><Relationship Id="rId16" Target="../slideLayouts/slideLayout63.xml" Type="http://schemas.openxmlformats.org/officeDocument/2006/relationships/slideLayout"/><Relationship Id="rId17" Target="../slideLayouts/slideLayout64.xml" Type="http://schemas.openxmlformats.org/officeDocument/2006/relationships/slideLayout"/><Relationship Id="rId18" Target="../slideLayouts/slideLayout65.xml" Type="http://schemas.openxmlformats.org/officeDocument/2006/relationships/slideLayout"/><Relationship Id="rId19" Target="../slideLayouts/slideLayout66.xml" Type="http://schemas.openxmlformats.org/officeDocument/2006/relationships/slideLayout"/><Relationship Id="rId2" Target="../slideLayouts/slideLayout49.xml" Type="http://schemas.openxmlformats.org/officeDocument/2006/relationships/slideLayout"/><Relationship Id="rId20" Target="../slideLayouts/slideLayout67.xml" Type="http://schemas.openxmlformats.org/officeDocument/2006/relationships/slideLayout"/><Relationship Id="rId21" Target="../slideLayouts/slideLayout68.xml" Type="http://schemas.openxmlformats.org/officeDocument/2006/relationships/slideLayout"/><Relationship Id="rId22" Target="../slideLayouts/slideLayout69.xml" Type="http://schemas.openxmlformats.org/officeDocument/2006/relationships/slideLayout"/><Relationship Id="rId23" Target="../slideLayouts/slideLayout70.xml" Type="http://schemas.openxmlformats.org/officeDocument/2006/relationships/slideLayout"/><Relationship Id="rId24" Target="../slideLayouts/slideLayout71.xml" Type="http://schemas.openxmlformats.org/officeDocument/2006/relationships/slideLayout"/><Relationship Id="rId25" Target="../slideLayouts/slideLayout72.xml" Type="http://schemas.openxmlformats.org/officeDocument/2006/relationships/slideLayout"/><Relationship Id="rId26" Target="../slideLayouts/slideLayout73.xml" Type="http://schemas.openxmlformats.org/officeDocument/2006/relationships/slideLayout"/><Relationship Id="rId27" Target="../slideLayouts/slideLayout74.xml" Type="http://schemas.openxmlformats.org/officeDocument/2006/relationships/slideLayout"/><Relationship Id="rId28" Target="../slideLayouts/slideLayout75.xml" Type="http://schemas.openxmlformats.org/officeDocument/2006/relationships/slideLayout"/><Relationship Id="rId29" Target="../slideLayouts/slideLayout76.xml" Type="http://schemas.openxmlformats.org/officeDocument/2006/relationships/slideLayout"/><Relationship Id="rId3" Target="../slideLayouts/slideLayout50.xml" Type="http://schemas.openxmlformats.org/officeDocument/2006/relationships/slideLayout"/><Relationship Id="rId30" Target="../slideLayouts/slideLayout77.xml" Type="http://schemas.openxmlformats.org/officeDocument/2006/relationships/slideLayout"/><Relationship Id="rId31" Target="../slideLayouts/slideLayout78.xml" Type="http://schemas.openxmlformats.org/officeDocument/2006/relationships/slideLayout"/><Relationship Id="rId32" Target="../slideLayouts/slideLayout79.xml" Type="http://schemas.openxmlformats.org/officeDocument/2006/relationships/slideLayout"/><Relationship Id="rId33" Target="../slideLayouts/slideLayout80.xml" Type="http://schemas.openxmlformats.org/officeDocument/2006/relationships/slideLayout"/><Relationship Id="rId34" Target="../slideLayouts/slideLayout81.xml" Type="http://schemas.openxmlformats.org/officeDocument/2006/relationships/slideLayout"/><Relationship Id="rId35" Target="../slideLayouts/slideLayout82.xml" Type="http://schemas.openxmlformats.org/officeDocument/2006/relationships/slideLayout"/><Relationship Id="rId36" Target="../slideLayouts/slideLayout83.xml" Type="http://schemas.openxmlformats.org/officeDocument/2006/relationships/slideLayout"/><Relationship Id="rId37" Target="../slideLayouts/slideLayout84.xml" Type="http://schemas.openxmlformats.org/officeDocument/2006/relationships/slideLayout"/><Relationship Id="rId38" Target="../slideLayouts/slideLayout85.xml" Type="http://schemas.openxmlformats.org/officeDocument/2006/relationships/slideLayout"/><Relationship Id="rId39" Target="../theme/theme2.xml" Type="http://schemas.openxmlformats.org/officeDocument/2006/relationships/theme"/><Relationship Id="rId4" Target="../slideLayouts/slideLayout51.xml" Type="http://schemas.openxmlformats.org/officeDocument/2006/relationships/slideLayout"/><Relationship Id="rId40" Target="../media/image5.png" Type="http://schemas.openxmlformats.org/officeDocument/2006/relationships/image"/><Relationship Id="rId41" Target="../media/hdphoto1.wdp" Type="http://schemas.microsoft.com/office/2007/relationships/hdphoto"/><Relationship Id="rId5" Target="../slideLayouts/slideLayout52.xml" Type="http://schemas.openxmlformats.org/officeDocument/2006/relationships/slideLayout"/><Relationship Id="rId6" Target="../slideLayouts/slideLayout53.xml" Type="http://schemas.openxmlformats.org/officeDocument/2006/relationships/slideLayout"/><Relationship Id="rId7" Target="../slideLayouts/slideLayout54.xml" Type="http://schemas.openxmlformats.org/officeDocument/2006/relationships/slideLayout"/><Relationship Id="rId8" Target="../slideLayouts/slideLayout55.xml" Type="http://schemas.openxmlformats.org/officeDocument/2006/relationships/slideLayout"/><Relationship Id="rId9" Target="../slideLayouts/slideLayout56.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86.xml" Type="http://schemas.openxmlformats.org/officeDocument/2006/relationships/slideLayout"/><Relationship Id="rId10" Target="../slideLayouts/slideLayout95.xml" Type="http://schemas.openxmlformats.org/officeDocument/2006/relationships/slideLayout"/><Relationship Id="rId11" Target="../slideLayouts/slideLayout96.xml" Type="http://schemas.openxmlformats.org/officeDocument/2006/relationships/slideLayout"/><Relationship Id="rId12" Target="../slideLayouts/slideLayout97.xml" Type="http://schemas.openxmlformats.org/officeDocument/2006/relationships/slideLayout"/><Relationship Id="rId13" Target="../slideLayouts/slideLayout98.xml" Type="http://schemas.openxmlformats.org/officeDocument/2006/relationships/slideLayout"/><Relationship Id="rId14" Target="../slideLayouts/slideLayout99.xml" Type="http://schemas.openxmlformats.org/officeDocument/2006/relationships/slideLayout"/><Relationship Id="rId15" Target="../slideLayouts/slideLayout100.xml" Type="http://schemas.openxmlformats.org/officeDocument/2006/relationships/slideLayout"/><Relationship Id="rId16" Target="../slideLayouts/slideLayout101.xml" Type="http://schemas.openxmlformats.org/officeDocument/2006/relationships/slideLayout"/><Relationship Id="rId17" Target="../slideLayouts/slideLayout102.xml" Type="http://schemas.openxmlformats.org/officeDocument/2006/relationships/slideLayout"/><Relationship Id="rId18" Target="../slideLayouts/slideLayout103.xml" Type="http://schemas.openxmlformats.org/officeDocument/2006/relationships/slideLayout"/><Relationship Id="rId19" Target="../slideLayouts/slideLayout104.xml" Type="http://schemas.openxmlformats.org/officeDocument/2006/relationships/slideLayout"/><Relationship Id="rId2" Target="../slideLayouts/slideLayout87.xml" Type="http://schemas.openxmlformats.org/officeDocument/2006/relationships/slideLayout"/><Relationship Id="rId20" Target="../slideLayouts/slideLayout105.xml" Type="http://schemas.openxmlformats.org/officeDocument/2006/relationships/slideLayout"/><Relationship Id="rId21" Target="../slideLayouts/slideLayout106.xml" Type="http://schemas.openxmlformats.org/officeDocument/2006/relationships/slideLayout"/><Relationship Id="rId22" Target="../slideLayouts/slideLayout107.xml" Type="http://schemas.openxmlformats.org/officeDocument/2006/relationships/slideLayout"/><Relationship Id="rId23" Target="../slideLayouts/slideLayout108.xml" Type="http://schemas.openxmlformats.org/officeDocument/2006/relationships/slideLayout"/><Relationship Id="rId24" Target="../slideLayouts/slideLayout109.xml" Type="http://schemas.openxmlformats.org/officeDocument/2006/relationships/slideLayout"/><Relationship Id="rId25" Target="../slideLayouts/slideLayout110.xml" Type="http://schemas.openxmlformats.org/officeDocument/2006/relationships/slideLayout"/><Relationship Id="rId26" Target="../slideLayouts/slideLayout111.xml" Type="http://schemas.openxmlformats.org/officeDocument/2006/relationships/slideLayout"/><Relationship Id="rId27" Target="../slideLayouts/slideLayout112.xml" Type="http://schemas.openxmlformats.org/officeDocument/2006/relationships/slideLayout"/><Relationship Id="rId28" Target="../slideLayouts/slideLayout113.xml" Type="http://schemas.openxmlformats.org/officeDocument/2006/relationships/slideLayout"/><Relationship Id="rId29" Target="../slideLayouts/slideLayout114.xml" Type="http://schemas.openxmlformats.org/officeDocument/2006/relationships/slideLayout"/><Relationship Id="rId3" Target="../slideLayouts/slideLayout88.xml" Type="http://schemas.openxmlformats.org/officeDocument/2006/relationships/slideLayout"/><Relationship Id="rId30" Target="../slideLayouts/slideLayout115.xml" Type="http://schemas.openxmlformats.org/officeDocument/2006/relationships/slideLayout"/><Relationship Id="rId31" Target="../slideLayouts/slideLayout116.xml" Type="http://schemas.openxmlformats.org/officeDocument/2006/relationships/slideLayout"/><Relationship Id="rId32" Target="../slideLayouts/slideLayout117.xml" Type="http://schemas.openxmlformats.org/officeDocument/2006/relationships/slideLayout"/><Relationship Id="rId33" Target="../slideLayouts/slideLayout118.xml" Type="http://schemas.openxmlformats.org/officeDocument/2006/relationships/slideLayout"/><Relationship Id="rId34" Target="../slideLayouts/slideLayout119.xml" Type="http://schemas.openxmlformats.org/officeDocument/2006/relationships/slideLayout"/><Relationship Id="rId35" Target="../slideLayouts/slideLayout120.xml" Type="http://schemas.openxmlformats.org/officeDocument/2006/relationships/slideLayout"/><Relationship Id="rId36" Target="../slideLayouts/slideLayout121.xml" Type="http://schemas.openxmlformats.org/officeDocument/2006/relationships/slideLayout"/><Relationship Id="rId37" Target="../slideLayouts/slideLayout122.xml" Type="http://schemas.openxmlformats.org/officeDocument/2006/relationships/slideLayout"/><Relationship Id="rId38" Target="../slideLayouts/slideLayout123.xml" Type="http://schemas.openxmlformats.org/officeDocument/2006/relationships/slideLayout"/><Relationship Id="rId39" Target="../theme/theme3.xml" Type="http://schemas.openxmlformats.org/officeDocument/2006/relationships/theme"/><Relationship Id="rId4" Target="../slideLayouts/slideLayout89.xml" Type="http://schemas.openxmlformats.org/officeDocument/2006/relationships/slideLayout"/><Relationship Id="rId40" Target="../media/image5.png" Type="http://schemas.openxmlformats.org/officeDocument/2006/relationships/image"/><Relationship Id="rId41" Target="../media/hdphoto1.wdp" Type="http://schemas.microsoft.com/office/2007/relationships/hdphoto"/><Relationship Id="rId5" Target="../slideLayouts/slideLayout90.xml" Type="http://schemas.openxmlformats.org/officeDocument/2006/relationships/slideLayout"/><Relationship Id="rId6" Target="../slideLayouts/slideLayout91.xml" Type="http://schemas.openxmlformats.org/officeDocument/2006/relationships/slideLayout"/><Relationship Id="rId7" Target="../slideLayouts/slideLayout92.xml" Type="http://schemas.openxmlformats.org/officeDocument/2006/relationships/slideLayout"/><Relationship Id="rId8" Target="../slideLayouts/slideLayout93.xml" Type="http://schemas.openxmlformats.org/officeDocument/2006/relationships/slideLayout"/><Relationship Id="rId9" Target="../slideLayouts/slideLayout94.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124.xml" Type="http://schemas.openxmlformats.org/officeDocument/2006/relationships/slideLayout"/><Relationship Id="rId10" Target="../slideLayouts/slideLayout133.xml" Type="http://schemas.openxmlformats.org/officeDocument/2006/relationships/slideLayout"/><Relationship Id="rId11" Target="../slideLayouts/slideLayout134.xml" Type="http://schemas.openxmlformats.org/officeDocument/2006/relationships/slideLayout"/><Relationship Id="rId12" Target="../slideLayouts/slideLayout135.xml" Type="http://schemas.openxmlformats.org/officeDocument/2006/relationships/slideLayout"/><Relationship Id="rId13" Target="../slideLayouts/slideLayout136.xml" Type="http://schemas.openxmlformats.org/officeDocument/2006/relationships/slideLayout"/><Relationship Id="rId14" Target="../theme/theme4.xml" Type="http://schemas.openxmlformats.org/officeDocument/2006/relationships/theme"/><Relationship Id="rId15" Target="../media/image1.png" Type="http://schemas.openxmlformats.org/officeDocument/2006/relationships/image"/><Relationship Id="rId16" Target="../media/image2.svg" Type="http://schemas.openxmlformats.org/officeDocument/2006/relationships/image"/><Relationship Id="rId2" Target="../slideLayouts/slideLayout125.xml" Type="http://schemas.openxmlformats.org/officeDocument/2006/relationships/slideLayout"/><Relationship Id="rId3" Target="../slideLayouts/slideLayout126.xml" Type="http://schemas.openxmlformats.org/officeDocument/2006/relationships/slideLayout"/><Relationship Id="rId4" Target="../slideLayouts/slideLayout127.xml" Type="http://schemas.openxmlformats.org/officeDocument/2006/relationships/slideLayout"/><Relationship Id="rId5" Target="../slideLayouts/slideLayout128.xml" Type="http://schemas.openxmlformats.org/officeDocument/2006/relationships/slideLayout"/><Relationship Id="rId6" Target="../slideLayouts/slideLayout129.xml" Type="http://schemas.openxmlformats.org/officeDocument/2006/relationships/slideLayout"/><Relationship Id="rId7" Target="../slideLayouts/slideLayout130.xml" Type="http://schemas.openxmlformats.org/officeDocument/2006/relationships/slideLayout"/><Relationship Id="rId8" Target="../slideLayouts/slideLayout131.xml" Type="http://schemas.openxmlformats.org/officeDocument/2006/relationships/slideLayout"/><Relationship Id="rId9" Target="../slideLayouts/slideLayout132.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a:p>
            <a:pPr lvl="4"/>
            <a:r>
              <a:rPr lang="en-US"/>
              <a:t>Fifths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a:t>Slide title, Ericsson Hilda Light 40pt, Ericsson Black, max 2-lines</a:t>
            </a: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49" cstate="print">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11490452" y="476250"/>
            <a:ext cx="256032" cy="256032"/>
          </a:xfrm>
          <a:prstGeom prst="rect">
            <a:avLst/>
          </a:prstGeom>
        </p:spPr>
      </p:pic>
      <p:sp>
        <p:nvSpPr>
          <p:cNvPr id="10" name="txtfooterCopy">
            <a:extLst>
              <a:ext uri="{FF2B5EF4-FFF2-40B4-BE49-F238E27FC236}">
                <a16:creationId xmlns:a16="http://schemas.microsoft.com/office/drawing/2014/main" id="{066C1113-7296-4A71-B286-3CDDF25C494A}"/>
              </a:ext>
            </a:extLst>
          </p:cNvPr>
          <p:cNvSpPr txBox="1">
            <a:spLocks noChangeArrowheads="1"/>
          </p:cNvSpPr>
          <p:nvPr userDrawn="1"/>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1A1816"/>
                </a:solidFill>
              </a:rPr>
              <a:t>ERVGH Göran Hall  |  BDGSGDC [Stig Puustinen]  |  BICP-16:000214 Uen  |  T  |  2020-09-28  |  Ericsson Internal  |  Page </a:t>
            </a:r>
            <a:fld id="{F49988C2-5E44-4CC2-8B76-64BA739E250D}" type="slidenum">
              <a:rPr lang="en-US" sz="800" b="0" i="0" u="none" smtClean="0">
                <a:solidFill>
                  <a:srgbClr val="1A1816"/>
                </a:solidFill>
              </a:rPr>
              <a:t/>
            </a:fld>
            <a:endParaRPr lang="en-US" sz="800" b="0" i="0" u="none">
              <a:solidFill>
                <a:srgbClr val="1A1816"/>
              </a:solidFill>
            </a:endParaRPr>
          </a:p>
        </p:txBody>
      </p:sp>
    </p:spTree>
    <p:extLst>
      <p:ext uri="{BB962C8B-B14F-4D97-AF65-F5344CB8AC3E}">
        <p14:creationId xmlns:p14="http://schemas.microsoft.com/office/powerpoint/2010/main" val="106899252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 id="2147483948" r:id="rId38"/>
    <p:sldLayoutId id="2147483949" r:id="rId39"/>
    <p:sldLayoutId id="2147483950" r:id="rId40"/>
    <p:sldLayoutId id="2147483951" r:id="rId41"/>
    <p:sldLayoutId id="2147483952" r:id="rId42"/>
    <p:sldLayoutId id="2147483953" r:id="rId43"/>
    <p:sldLayoutId id="2147483954" r:id="rId44"/>
    <p:sldLayoutId id="2147483955" r:id="rId45"/>
    <p:sldLayoutId id="2147484121" r:id="rId46"/>
    <p:sldLayoutId id="2147484125" r:id="rId47"/>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p>
            <a:pPr lvl="0"/>
            <a:r>
              <a:rPr lang="en-US"/>
              <a:t>Slide title, Ericsson Hilda Light 40pt, Ericsson Black, max 2-lines</a:t>
            </a:r>
          </a:p>
        </p:txBody>
      </p:sp>
      <p:pic>
        <p:nvPicPr>
          <p:cNvPr id="8" name="Picture 7">
            <a:extLst>
              <a:ext uri="{FF2B5EF4-FFF2-40B4-BE49-F238E27FC236}">
                <a16:creationId xmlns:a16="http://schemas.microsoft.com/office/drawing/2014/main" id="{2051B066-0765-4F7D-BC7B-5421BFA666C6}"/>
              </a:ext>
            </a:extLst>
          </p:cNvPr>
          <p:cNvPicPr>
            <a:picLocks noChangeAspect="1"/>
          </p:cNvPicPr>
          <p:nvPr userDrawn="1"/>
        </p:nvPicPr>
        <p:blipFill>
          <a:blip r:embed="rId40" cstate="screen">
            <a:duotone>
              <a:prstClr val="black"/>
              <a:srgbClr val="D9C3A5">
                <a:tint val="50000"/>
                <a:satMod val="180000"/>
              </a:srgbClr>
            </a:duotone>
            <a:extLst>
              <a:ext uri="{BEBA8EAE-BF5A-486C-A8C5-ECC9F3942E4B}">
                <a14:imgProps xmlns:a14="http://schemas.microsoft.com/office/drawing/2010/main">
                  <a14:imgLayer r:embed="rId41">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7" name="txtfooterCopy">
            <a:extLst>
              <a:ext uri="{FF2B5EF4-FFF2-40B4-BE49-F238E27FC236}">
                <a16:creationId xmlns:a16="http://schemas.microsoft.com/office/drawing/2014/main" id="{1E23E4BC-D653-489C-81CC-F08E7CB32007}"/>
              </a:ext>
            </a:extLst>
          </p:cNvPr>
          <p:cNvSpPr txBox="1">
            <a:spLocks noChangeArrowheads="1"/>
          </p:cNvSpPr>
          <p:nvPr userDrawn="1"/>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1A1816"/>
                </a:solidFill>
              </a:rPr>
              <a:t>ERVGH Göran Hall  |  BDGSGDC [Stig Puustinen]  |  BICP-16:000214 Uen  |  T  |  2020-09-28  |  Ericsson Internal  |  Page </a:t>
            </a:r>
            <a:fld id="{68292EA9-2DB9-44F3-822A-D5DA2383A2E0}" type="slidenum">
              <a:rPr lang="en-US" sz="800" b="0" i="0" u="none" smtClean="0">
                <a:solidFill>
                  <a:srgbClr val="1A1816"/>
                </a:solidFill>
              </a:rPr>
              <a:t/>
            </a:fld>
            <a:endParaRPr lang="en-US" sz="800" b="0" i="0" u="none">
              <a:solidFill>
                <a:srgbClr val="1A1816"/>
              </a:solidFill>
            </a:endParaRPr>
          </a:p>
        </p:txBody>
      </p:sp>
    </p:spTree>
    <p:extLst>
      <p:ext uri="{BB962C8B-B14F-4D97-AF65-F5344CB8AC3E}">
        <p14:creationId xmlns:p14="http://schemas.microsoft.com/office/powerpoint/2010/main" val="1309583645"/>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6858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0287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p>
            <a:pPr lvl="0"/>
            <a:r>
              <a:rPr lang="en-US"/>
              <a:t>For heading, use Ericsson Hilda in bold. For copy and bullets, use Ericsson Hilda.</a:t>
            </a:r>
          </a:p>
          <a:p>
            <a:pPr lvl="1"/>
            <a:r>
              <a:rPr lang="en-US"/>
              <a:t>First level</a:t>
            </a:r>
          </a:p>
          <a:p>
            <a:pPr lvl="2"/>
            <a:r>
              <a:rPr lang="en-US"/>
              <a:t>Second level</a:t>
            </a:r>
          </a:p>
          <a:p>
            <a:pPr lvl="3"/>
            <a:r>
              <a:rPr lang="en-US"/>
              <a:t>Third level</a:t>
            </a:r>
          </a:p>
          <a:p>
            <a:pPr lvl="4"/>
            <a:r>
              <a:rPr lang="en-US"/>
              <a:t>Fourth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p>
            <a:pPr lvl="0"/>
            <a:r>
              <a:rPr lang="en-US"/>
              <a:t>Slide title, Ericsson Hilda Light 40pt, Ericsson Black, max 2-lines</a:t>
            </a:r>
          </a:p>
        </p:txBody>
      </p:sp>
      <p:pic>
        <p:nvPicPr>
          <p:cNvPr id="8" name="Picture 7">
            <a:extLst>
              <a:ext uri="{FF2B5EF4-FFF2-40B4-BE49-F238E27FC236}">
                <a16:creationId xmlns:a16="http://schemas.microsoft.com/office/drawing/2014/main" id="{2051B066-0765-4F7D-BC7B-5421BFA666C6}"/>
              </a:ext>
            </a:extLst>
          </p:cNvPr>
          <p:cNvPicPr>
            <a:picLocks noChangeAspect="1"/>
          </p:cNvPicPr>
          <p:nvPr/>
        </p:nvPicPr>
        <p:blipFill>
          <a:blip r:embed="rId40" cstate="screen">
            <a:duotone>
              <a:prstClr val="black"/>
              <a:srgbClr val="D9C3A5">
                <a:tint val="50000"/>
                <a:satMod val="180000"/>
              </a:srgbClr>
            </a:duotone>
            <a:extLst>
              <a:ext uri="{BEBA8EAE-BF5A-486C-A8C5-ECC9F3942E4B}">
                <a14:imgProps xmlns:a14="http://schemas.microsoft.com/office/drawing/2010/main">
                  <a14:imgLayer r:embed="rId41">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6" name="txtfooterCopy">
            <a:extLst>
              <a:ext uri="{FF2B5EF4-FFF2-40B4-BE49-F238E27FC236}">
                <a16:creationId xmlns:a16="http://schemas.microsoft.com/office/drawing/2014/main" id="{2C3643B0-5071-4EE3-BDAD-6A32AE70BE77}"/>
              </a:ext>
            </a:extLst>
          </p:cNvPr>
          <p:cNvSpPr txBox="1">
            <a:spLocks noChangeArrowheads="1"/>
          </p:cNvSpPr>
          <p:nvPr userDrawn="1"/>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1A1816"/>
                </a:solidFill>
              </a:rPr>
              <a:t>ERVGH Göran Hall  |  BDGSGDC [Stig Puustinen]  |  BICP-16:000214 Uen  |  T  |  2020-09-28  |  Ericsson Internal  |  Page </a:t>
            </a:r>
            <a:fld id="{132D1B8B-0BD2-4779-899F-B3E1A405AB41}" type="slidenum">
              <a:rPr lang="en-US" sz="800" b="0" i="0" u="none" smtClean="0">
                <a:solidFill>
                  <a:srgbClr val="1A1816"/>
                </a:solidFill>
              </a:rPr>
              <a:t/>
            </a:fld>
            <a:endParaRPr lang="en-US" sz="800" b="0" i="0" u="none">
              <a:solidFill>
                <a:srgbClr val="1A1816"/>
              </a:solidFill>
            </a:endParaRPr>
          </a:p>
        </p:txBody>
      </p:sp>
    </p:spTree>
    <p:extLst>
      <p:ext uri="{BB962C8B-B14F-4D97-AF65-F5344CB8AC3E}">
        <p14:creationId xmlns:p14="http://schemas.microsoft.com/office/powerpoint/2010/main" val="3912718467"/>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6858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0287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p>
            <a:pPr lvl="0"/>
            <a:r>
              <a:rPr lang="en-US"/>
              <a:t>For heading, use Ericsson Hilda in bold. For copy and bullets, use Ericsson Hilda.</a:t>
            </a:r>
          </a:p>
          <a:p>
            <a:pPr lvl="0"/>
            <a:r>
              <a:rPr lang="en-US"/>
              <a:t>First level</a:t>
            </a:r>
          </a:p>
          <a:p>
            <a:pPr lvl="1"/>
            <a:r>
              <a:rPr lang="en-US"/>
              <a:t>Second level</a:t>
            </a:r>
          </a:p>
          <a:p>
            <a:pPr lvl="2"/>
            <a:r>
              <a:rPr lang="en-US"/>
              <a:t>Third level</a:t>
            </a:r>
          </a:p>
          <a:p>
            <a:pPr lvl="3"/>
            <a:r>
              <a:rPr lang="en-US"/>
              <a:t>Fourth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p>
            <a:pPr lvl="0"/>
            <a:r>
              <a:rPr lang="en-US"/>
              <a:t>Slide title, Ericsson Hilda Light 40pt, Ericsson Black, max 2-lines</a:t>
            </a:r>
          </a:p>
        </p:txBody>
      </p:sp>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1000" b="0" i="0" u="none">
                <a:solidFill>
                  <a:srgbClr val="1A1816"/>
                </a:solidFill>
                <a:latin typeface="+mn-lt"/>
              </a:rPr>
              <a:t>ERVGH Göran Hall  |  BDGSGDC [Stig Puustinen]  |  BICP-16:000214 Uen  |  T  |  2020-09-28  |  Ericsson Internal  |  Page </a:t>
            </a:r>
            <a:fld id="{BB018405-8BE5-43DE-91CE-0BCE9CA2FFAE}" type="slidenum">
              <a:rPr lang="en-US" sz="1000" b="0" i="0" u="none" smtClean="0">
                <a:solidFill>
                  <a:srgbClr val="1A1816"/>
                </a:solidFill>
                <a:latin typeface="+mn-lt"/>
              </a:rPr>
              <a:t/>
            </a:fld>
            <a:endParaRPr lang="en-US" sz="1000" b="0" i="0" u="none">
              <a:solidFill>
                <a:srgbClr val="1A1816"/>
              </a:solidFill>
              <a:latin typeface="+mn-lt"/>
            </a:endParaRP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2543273543"/>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120" r:id="rId10"/>
    <p:sldLayoutId id="2147484122" r:id="rId11"/>
    <p:sldLayoutId id="2147484123" r:id="rId12"/>
    <p:sldLayoutId id="2147484124" r:id="rId13"/>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s/_rels/slide1.xml.rels><?xml version="1.0" encoding="UTF-8" standalone="yes"?><Relationships xmlns="http://schemas.openxmlformats.org/package/2006/relationships"><Relationship Id="rId1" Target="../slideLayouts/slideLayout50.xml" Type="http://schemas.openxmlformats.org/officeDocument/2006/relationships/slideLayout"/><Relationship Id="rId2" Target="../notesSlides/notesSlide1.xml" Type="http://schemas.openxmlformats.org/officeDocument/2006/relationships/notesSlide"/><Relationship Id="rId3" Target="../media/image9.jpeg" Type="http://schemas.openxmlformats.org/officeDocument/2006/relationships/image"/><Relationship Id="rId4" Target="../media/image10.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0.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00.xml.rels><?xml version="1.0" encoding="UTF-8" standalone="yes"?><Relationships xmlns="http://schemas.openxmlformats.org/package/2006/relationships"><Relationship Id="rId1" Target="../slideLayouts/slideLayout46.xml" Type="http://schemas.openxmlformats.org/officeDocument/2006/relationships/slideLayout"/><Relationship Id="rId2" Target="../notesSlides/notesSlide97.xml" Type="http://schemas.openxmlformats.org/officeDocument/2006/relationships/notesSlide"/></Relationships>
</file>

<file path=ppt/slides/_rels/slide101.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98.xml" Type="http://schemas.openxmlformats.org/officeDocument/2006/relationships/notesSlide"/><Relationship Id="rId3" Target="../media/image112.png" Type="http://schemas.openxmlformats.org/officeDocument/2006/relationships/image"/><Relationship Id="rId4" Target="../media/image113.png" Type="http://schemas.openxmlformats.org/officeDocument/2006/relationships/image"/></Relationships>
</file>

<file path=ppt/slides/_rels/slide102.xml.rels><?xml version="1.0" encoding="UTF-8" standalone="yes"?><Relationships xmlns="http://schemas.openxmlformats.org/package/2006/relationships"><Relationship Id="rId1" Target="../slideLayouts/slideLayout25.xml" Type="http://schemas.openxmlformats.org/officeDocument/2006/relationships/slideLayout"/><Relationship Id="rId2" Target="../notesSlides/notesSlide99.xml" Type="http://schemas.openxmlformats.org/officeDocument/2006/relationships/notesSlide"/><Relationship Id="rId3" Target="../media/image114.png" Type="http://schemas.openxmlformats.org/officeDocument/2006/relationships/image"/><Relationship Id="rId4" Target="../media/image115.svg" Type="http://schemas.openxmlformats.org/officeDocument/2006/relationships/image"/></Relationships>
</file>

<file path=ppt/slides/_rels/slide103.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00.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04.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01.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05.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102.xml" Type="http://schemas.openxmlformats.org/officeDocument/2006/relationships/notesSlide"/></Relationships>
</file>

<file path=ppt/slides/_rels/slide106.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103.xml" Type="http://schemas.openxmlformats.org/officeDocument/2006/relationships/notesSlide"/></Relationships>
</file>

<file path=ppt/slides/_rels/slide107.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104.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08.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105.xml" Type="http://schemas.openxmlformats.org/officeDocument/2006/relationships/notesSlide"/><Relationship Id="rId3" Target="../media/image14.png" Type="http://schemas.openxmlformats.org/officeDocument/2006/relationships/image"/><Relationship Id="rId4" Target="../media/image15.svg" Type="http://schemas.openxmlformats.org/officeDocument/2006/relationships/image"/><Relationship Id="rId5" Target="../media/image16.png" Type="http://schemas.openxmlformats.org/officeDocument/2006/relationships/image"/><Relationship Id="rId6" Target="../media/image17.svg" Type="http://schemas.openxmlformats.org/officeDocument/2006/relationships/image"/><Relationship Id="rId7" Target="../media/image18.png" Type="http://schemas.openxmlformats.org/officeDocument/2006/relationships/image"/><Relationship Id="rId8" Target="../media/image19.svg" Type="http://schemas.openxmlformats.org/officeDocument/2006/relationships/image"/></Relationships>
</file>

<file path=ppt/slides/_rels/slide109.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106.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1.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10.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107.xml" Type="http://schemas.openxmlformats.org/officeDocument/2006/relationships/notesSlide"/></Relationships>
</file>

<file path=ppt/slides/_rels/slide111.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108.xml" Type="http://schemas.openxmlformats.org/officeDocument/2006/relationships/notesSlide"/></Relationships>
</file>

<file path=ppt/slides/_rels/slide112.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109.xml" Type="http://schemas.openxmlformats.org/officeDocument/2006/relationships/notesSlide"/></Relationships>
</file>

<file path=ppt/slides/_rels/slide113.xml.rels><?xml version="1.0" encoding="UTF-8" standalone="yes"?><Relationships xmlns="http://schemas.openxmlformats.org/package/2006/relationships"><Relationship Id="rId1" Target="../drawings/vmlDrawing9.vml" Type="http://schemas.openxmlformats.org/officeDocument/2006/relationships/vmlDrawing"/><Relationship Id="rId2" Target="../slideLayouts/slideLayout17.xml" Type="http://schemas.openxmlformats.org/officeDocument/2006/relationships/slideLayout"/><Relationship Id="rId3" Target="../notesSlides/notesSlide110.xml" Type="http://schemas.openxmlformats.org/officeDocument/2006/relationships/notesSlide"/><Relationship Id="rId4" Target="../embeddings/oleObject10.bin" Type="http://schemas.openxmlformats.org/officeDocument/2006/relationships/oleObject"/><Relationship Id="rId5" Target="../media/image116.emf" Type="http://schemas.openxmlformats.org/officeDocument/2006/relationships/image"/></Relationships>
</file>

<file path=ppt/slides/_rels/slide114.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11.xml" Type="http://schemas.openxmlformats.org/officeDocument/2006/relationships/notesSlide"/></Relationships>
</file>

<file path=ppt/slides/_rels/slide11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12.xml" Type="http://schemas.openxmlformats.org/officeDocument/2006/relationships/notesSlide"/></Relationships>
</file>

<file path=ppt/slides/_rels/slide116.xml.rels><?xml version="1.0" encoding="UTF-8" standalone="yes"?><Relationships xmlns="http://schemas.openxmlformats.org/package/2006/relationships"><Relationship Id="rId1" Target="../slideLayouts/slideLayout122.xml" Type="http://schemas.openxmlformats.org/officeDocument/2006/relationships/slideLayout"/><Relationship Id="rId2" Target="../notesSlides/notesSlide113.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2.xml" Type="http://schemas.openxmlformats.org/officeDocument/2006/relationships/notesSlide"/><Relationship Id="rId3" Target="../media/image22.png" Type="http://schemas.openxmlformats.org/officeDocument/2006/relationships/image"/><Relationship Id="rId4" Target="../media/image23.svg" Type="http://schemas.openxmlformats.org/officeDocument/2006/relationships/image"/><Relationship Id="rId5" Target="../media/image20.png" Type="http://schemas.openxmlformats.org/officeDocument/2006/relationships/image"/><Relationship Id="rId6" Target="../media/image21.sv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3.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14.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15.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24.png" Type="http://schemas.openxmlformats.org/officeDocument/2006/relationships/image"/><Relationship Id="rId6" Target="../media/image25.sv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16.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17.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133.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134.xml" Type="http://schemas.openxmlformats.org/officeDocument/2006/relationships/slideLayout"/><Relationship Id="rId2" Target="../notesSlides/notesSlide19.xml" Type="http://schemas.openxmlformats.org/officeDocument/2006/relationships/notesSlide"/><Relationship Id="rId3" Target="../media/image26.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2.xml" Type="http://schemas.openxmlformats.org/officeDocument/2006/relationships/notesSlide"/><Relationship Id="rId3" Target="http://azweiwspappt002/sites/5g_ready_core_-_engagement_material/default.aspx" TargetMode="External" Type="http://schemas.openxmlformats.org/officeDocument/2006/relationships/hyperlink"/></Relationships>
</file>

<file path=ppt/slides/_rels/slide20.xml.rels><?xml version="1.0" encoding="UTF-8" standalone="yes"?><Relationships xmlns="http://schemas.openxmlformats.org/package/2006/relationships"><Relationship Id="rId1" Target="../slideLayouts/slideLayout131.xml" Type="http://schemas.openxmlformats.org/officeDocument/2006/relationships/slideLayout"/><Relationship Id="rId2" Target="../notesSlides/notesSlide20.xml" Type="http://schemas.openxmlformats.org/officeDocument/2006/relationships/notesSlide"/><Relationship Id="rId3" Target="../media/image27.emf" Type="http://schemas.openxmlformats.org/officeDocument/2006/relationships/image"/><Relationship Id="rId4" Target="../media/image28.emf" Type="http://schemas.openxmlformats.org/officeDocument/2006/relationships/image"/><Relationship Id="rId5" Target="../media/image29.emf" Type="http://schemas.openxmlformats.org/officeDocument/2006/relationships/image"/><Relationship Id="rId6" Target="../media/image30.emf"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131.xml" Type="http://schemas.openxmlformats.org/officeDocument/2006/relationships/slideLayout"/><Relationship Id="rId2" Target="../notesSlides/notesSlide21.xml" Type="http://schemas.openxmlformats.org/officeDocument/2006/relationships/notesSlide"/><Relationship Id="rId3" Target="../media/image27.emf" Type="http://schemas.openxmlformats.org/officeDocument/2006/relationships/image"/><Relationship Id="rId4" Target="../media/image28.emf" Type="http://schemas.openxmlformats.org/officeDocument/2006/relationships/image"/><Relationship Id="rId5" Target="../media/image29.emf" Type="http://schemas.openxmlformats.org/officeDocument/2006/relationships/image"/><Relationship Id="rId6" Target="../media/image30.emf"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22.xml" Type="http://schemas.openxmlformats.org/officeDocument/2006/relationships/notesSlide"/><Relationship Id="rId3" Target="../media/image31.emf" Type="http://schemas.openxmlformats.org/officeDocument/2006/relationships/image"/><Relationship Id="rId4" Target="../media/image32.emf"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134.xml" Type="http://schemas.openxmlformats.org/officeDocument/2006/relationships/slideLayout"/><Relationship Id="rId2" Target="../notesSlides/notesSlide23.xml" Type="http://schemas.openxmlformats.org/officeDocument/2006/relationships/notesSlide"/></Relationships>
</file>

<file path=ppt/slides/_rels/slide24.xml.rels><?xml version="1.0" encoding="UTF-8" standalone="yes"?><Relationships xmlns="http://schemas.openxmlformats.org/package/2006/relationships"><Relationship Id="rId1" Target="../slideLayouts/slideLayout131.xml" Type="http://schemas.openxmlformats.org/officeDocument/2006/relationships/slideLayout"/><Relationship Id="rId2" Target="../notesSlides/notesSlide24.xml" Type="http://schemas.openxmlformats.org/officeDocument/2006/relationships/notesSlide"/></Relationships>
</file>

<file path=ppt/slides/_rels/slide25.xml.rels><?xml version="1.0" encoding="UTF-8" standalone="yes"?><Relationships xmlns="http://schemas.openxmlformats.org/package/2006/relationships"><Relationship Id="rId1" Target="../slideLayouts/slideLayout135.xml" Type="http://schemas.openxmlformats.org/officeDocument/2006/relationships/slideLayout"/><Relationship Id="rId2" Target="../notesSlides/notesSlide25.xml" Type="http://schemas.openxmlformats.org/officeDocument/2006/relationships/notesSlide"/></Relationships>
</file>

<file path=ppt/slides/_rels/slide26.xml.rels><?xml version="1.0" encoding="UTF-8" standalone="yes"?><Relationships xmlns="http://schemas.openxmlformats.org/package/2006/relationships"><Relationship Id="rId1" Target="../slideLayouts/slideLayout133.xml" Type="http://schemas.openxmlformats.org/officeDocument/2006/relationships/slideLayout"/><Relationship Id="rId2" Target="../notesSlides/notesSlide26.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136.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slideLayouts/slideLayout16.xml" Type="http://schemas.openxmlformats.org/officeDocument/2006/relationships/slideLayout"/><Relationship Id="rId10" Target="../media/image15.svg" Type="http://schemas.openxmlformats.org/officeDocument/2006/relationships/image"/><Relationship Id="rId11" Target="../media/image39.png" Type="http://schemas.openxmlformats.org/officeDocument/2006/relationships/image"/><Relationship Id="rId12" Target="../media/image40.svg" Type="http://schemas.openxmlformats.org/officeDocument/2006/relationships/image"/><Relationship Id="rId13" Target="../media/image41.png" Type="http://schemas.openxmlformats.org/officeDocument/2006/relationships/image"/><Relationship Id="rId14" Target="../media/image42.svg" Type="http://schemas.openxmlformats.org/officeDocument/2006/relationships/image"/><Relationship Id="rId15" Target="../media/image43.png" Type="http://schemas.openxmlformats.org/officeDocument/2006/relationships/image"/><Relationship Id="rId16" Target="../media/image44.svg" Type="http://schemas.openxmlformats.org/officeDocument/2006/relationships/image"/><Relationship Id="rId17" Target="../media/image45.png" Type="http://schemas.openxmlformats.org/officeDocument/2006/relationships/image"/><Relationship Id="rId18" Target="../media/image46.svg" Type="http://schemas.openxmlformats.org/officeDocument/2006/relationships/image"/><Relationship Id="rId2" Target="../notesSlides/notesSlide28.xml" Type="http://schemas.openxmlformats.org/officeDocument/2006/relationships/notesSlide"/><Relationship Id="rId3" Target="../media/image33.png" Type="http://schemas.openxmlformats.org/officeDocument/2006/relationships/image"/><Relationship Id="rId4" Target="../media/image34.svg" Type="http://schemas.openxmlformats.org/officeDocument/2006/relationships/image"/><Relationship Id="rId5" Target="../media/image35.png" Type="http://schemas.openxmlformats.org/officeDocument/2006/relationships/image"/><Relationship Id="rId6" Target="../media/image36.svg" Type="http://schemas.openxmlformats.org/officeDocument/2006/relationships/image"/><Relationship Id="rId7" Target="../media/image37.png" Type="http://schemas.openxmlformats.org/officeDocument/2006/relationships/image"/><Relationship Id="rId8" Target="../media/image38.svg" Type="http://schemas.openxmlformats.org/officeDocument/2006/relationships/image"/><Relationship Id="rId9" Target="../media/image14.pn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29.xml" Type="http://schemas.openxmlformats.org/officeDocument/2006/relationships/notesSlide"/><Relationship Id="rId3" Target="../media/image47.png" Type="http://schemas.openxmlformats.org/officeDocument/2006/relationships/image"/><Relationship Id="rId4" Target="../media/image48.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3.xml" Type="http://schemas.openxmlformats.org/officeDocument/2006/relationships/notesSlide"/></Relationships>
</file>

<file path=ppt/slides/_rels/slide30.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0.xml" Type="http://schemas.openxmlformats.org/officeDocument/2006/relationships/notesSlide"/><Relationship Id="rId3" Target="../media/image49.png" Type="http://schemas.openxmlformats.org/officeDocument/2006/relationships/image"/><Relationship Id="rId4" Target="../media/image50.svg" Type="http://schemas.openxmlformats.org/officeDocument/2006/relationships/image"/><Relationship Id="rId5" Target="../media/image51.png" Type="http://schemas.openxmlformats.org/officeDocument/2006/relationships/image"/><Relationship Id="rId6" Target="../media/image52.svg" Type="http://schemas.openxmlformats.org/officeDocument/2006/relationships/image"/><Relationship Id="rId7" Target="../media/image53.png" Type="http://schemas.openxmlformats.org/officeDocument/2006/relationships/image"/><Relationship Id="rId8" Target="../media/image54.sv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41.xml" Type="http://schemas.openxmlformats.org/officeDocument/2006/relationships/slideLayout"/><Relationship Id="rId2" Target="../notesSlides/notesSlide31.xml" Type="http://schemas.openxmlformats.org/officeDocument/2006/relationships/notesSlide"/></Relationships>
</file>

<file path=ppt/slides/_rels/slide3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2.xml" Type="http://schemas.openxmlformats.org/officeDocument/2006/relationships/notesSlide"/><Relationship Id="rId3" Target="slide37.xml" Type="http://schemas.openxmlformats.org/officeDocument/2006/relationships/slide"/><Relationship Id="rId4" Target="slide30.xml" Type="http://schemas.openxmlformats.org/officeDocument/2006/relationships/slide"/><Relationship Id="rId5" Target="../media/image55.pn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3.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56.png" Type="http://schemas.openxmlformats.org/officeDocument/2006/relationships/image"/><Relationship Id="rId6" Target="../media/image57.svg" Type="http://schemas.openxmlformats.org/officeDocument/2006/relationships/image"/><Relationship Id="rId7" Target="../media/image58.png" Type="http://schemas.openxmlformats.org/officeDocument/2006/relationships/image"/><Relationship Id="rId8" Target="../media/image59.svg" Type="http://schemas.openxmlformats.org/officeDocument/2006/relationships/image"/></Relationships>
</file>

<file path=ppt/slides/_rels/slide34.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4.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56.png" Type="http://schemas.openxmlformats.org/officeDocument/2006/relationships/image"/><Relationship Id="rId6" Target="../media/image57.svg" Type="http://schemas.openxmlformats.org/officeDocument/2006/relationships/image"/><Relationship Id="rId7" Target="../media/image58.png" Type="http://schemas.openxmlformats.org/officeDocument/2006/relationships/image"/><Relationship Id="rId8" Target="../media/image59.svg" Type="http://schemas.openxmlformats.org/officeDocument/2006/relationships/image"/><Relationship Id="rId9" Target="../media/image60.png" Type="http://schemas.openxmlformats.org/officeDocument/2006/relationships/image"/></Relationships>
</file>

<file path=ppt/slides/_rels/slide3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5.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56.png" Type="http://schemas.openxmlformats.org/officeDocument/2006/relationships/image"/><Relationship Id="rId6" Target="../media/image57.svg" Type="http://schemas.openxmlformats.org/officeDocument/2006/relationships/image"/><Relationship Id="rId7" Target="../media/image58.png" Type="http://schemas.openxmlformats.org/officeDocument/2006/relationships/image"/><Relationship Id="rId8" Target="../media/image59.svg" Type="http://schemas.openxmlformats.org/officeDocument/2006/relationships/image"/><Relationship Id="rId9" Target="../media/image60.png" Type="http://schemas.openxmlformats.org/officeDocument/2006/relationships/image"/></Relationships>
</file>

<file path=ppt/slides/_rels/slide36.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6.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56.png" Type="http://schemas.openxmlformats.org/officeDocument/2006/relationships/image"/><Relationship Id="rId6" Target="../media/image57.svg" Type="http://schemas.openxmlformats.org/officeDocument/2006/relationships/image"/><Relationship Id="rId7" Target="../media/image58.png" Type="http://schemas.openxmlformats.org/officeDocument/2006/relationships/image"/><Relationship Id="rId8" Target="../media/image59.svg" Type="http://schemas.openxmlformats.org/officeDocument/2006/relationships/image"/><Relationship Id="rId9" Target="../media/image60.png" Type="http://schemas.openxmlformats.org/officeDocument/2006/relationships/image"/></Relationships>
</file>

<file path=ppt/slides/_rels/slide37.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7.xml" Type="http://schemas.openxmlformats.org/officeDocument/2006/relationships/notesSlide"/><Relationship Id="rId3" Target="../media/image20.png" Type="http://schemas.openxmlformats.org/officeDocument/2006/relationships/image"/><Relationship Id="rId4" Target="../media/image21.svg" Type="http://schemas.openxmlformats.org/officeDocument/2006/relationships/image"/><Relationship Id="rId5" Target="../media/image56.png" Type="http://schemas.openxmlformats.org/officeDocument/2006/relationships/image"/><Relationship Id="rId6" Target="../media/image57.svg" Type="http://schemas.openxmlformats.org/officeDocument/2006/relationships/image"/><Relationship Id="rId7" Target="../media/image58.png" Type="http://schemas.openxmlformats.org/officeDocument/2006/relationships/image"/><Relationship Id="rId8" Target="../media/image59.svg" Type="http://schemas.openxmlformats.org/officeDocument/2006/relationships/image"/><Relationship Id="rId9" Target="../media/image60.png" Type="http://schemas.openxmlformats.org/officeDocument/2006/relationships/image"/></Relationships>
</file>

<file path=ppt/slides/_rels/slide38.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8.xml" Type="http://schemas.openxmlformats.org/officeDocument/2006/relationships/notesSlide"/><Relationship Id="rId3" Target="../media/image61.png" Type="http://schemas.openxmlformats.org/officeDocument/2006/relationships/image"/><Relationship Id="rId4" Target="../media/image62.svg" Type="http://schemas.openxmlformats.org/officeDocument/2006/relationships/image"/><Relationship Id="rId5" Target="../media/image63.png" Type="http://schemas.openxmlformats.org/officeDocument/2006/relationships/image"/><Relationship Id="rId6" Target="../media/image64.svg" Type="http://schemas.openxmlformats.org/officeDocument/2006/relationships/image"/></Relationships>
</file>

<file path=ppt/slides/_rels/slide39.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39.xml" Type="http://schemas.openxmlformats.org/officeDocument/2006/relationships/notesSlide"/></Relationships>
</file>

<file path=ppt/slides/_rels/slide4.xml.rels><?xml version="1.0" encoding="UTF-8" standalone="yes"?><Relationships xmlns="http://schemas.openxmlformats.org/package/2006/relationships"><Relationship Id="rId1" Target="../tags/tag2.xml" Type="http://schemas.openxmlformats.org/officeDocument/2006/relationships/tags"/><Relationship Id="rId10" Target="../tags/tag11.xml" Type="http://schemas.openxmlformats.org/officeDocument/2006/relationships/tags"/><Relationship Id="rId11" Target="../tags/tag12.xml" Type="http://schemas.openxmlformats.org/officeDocument/2006/relationships/tags"/><Relationship Id="rId12" Target="../tags/tag13.xml" Type="http://schemas.openxmlformats.org/officeDocument/2006/relationships/tags"/><Relationship Id="rId13" Target="../tags/tag14.xml" Type="http://schemas.openxmlformats.org/officeDocument/2006/relationships/tags"/><Relationship Id="rId14" Target="../tags/tag15.xml" Type="http://schemas.openxmlformats.org/officeDocument/2006/relationships/tags"/><Relationship Id="rId15" Target="../tags/tag16.xml" Type="http://schemas.openxmlformats.org/officeDocument/2006/relationships/tags"/><Relationship Id="rId16" Target="../tags/tag17.xml" Type="http://schemas.openxmlformats.org/officeDocument/2006/relationships/tags"/><Relationship Id="rId17" Target="../tags/tag18.xml" Type="http://schemas.openxmlformats.org/officeDocument/2006/relationships/tags"/><Relationship Id="rId18" Target="../tags/tag19.xml" Type="http://schemas.openxmlformats.org/officeDocument/2006/relationships/tags"/><Relationship Id="rId19" Target="../tags/tag20.xml" Type="http://schemas.openxmlformats.org/officeDocument/2006/relationships/tags"/><Relationship Id="rId2" Target="../tags/tag3.xml" Type="http://schemas.openxmlformats.org/officeDocument/2006/relationships/tags"/><Relationship Id="rId20" Target="../tags/tag21.xml" Type="http://schemas.openxmlformats.org/officeDocument/2006/relationships/tags"/><Relationship Id="rId21" Target="../tags/tag22.xml" Type="http://schemas.openxmlformats.org/officeDocument/2006/relationships/tags"/><Relationship Id="rId22" Target="../tags/tag23.xml" Type="http://schemas.openxmlformats.org/officeDocument/2006/relationships/tags"/><Relationship Id="rId23" Target="../tags/tag24.xml" Type="http://schemas.openxmlformats.org/officeDocument/2006/relationships/tags"/><Relationship Id="rId24" Target="../tags/tag25.xml" Type="http://schemas.openxmlformats.org/officeDocument/2006/relationships/tags"/><Relationship Id="rId25" Target="../tags/tag26.xml" Type="http://schemas.openxmlformats.org/officeDocument/2006/relationships/tags"/><Relationship Id="rId26" Target="../tags/tag27.xml" Type="http://schemas.openxmlformats.org/officeDocument/2006/relationships/tags"/><Relationship Id="rId27" Target="../tags/tag28.xml" Type="http://schemas.openxmlformats.org/officeDocument/2006/relationships/tags"/><Relationship Id="rId28" Target="../slideLayouts/slideLayout17.xml" Type="http://schemas.openxmlformats.org/officeDocument/2006/relationships/slideLayout"/><Relationship Id="rId29" Target="../notesSlides/notesSlide4.xml" Type="http://schemas.openxmlformats.org/officeDocument/2006/relationships/notesSlide"/><Relationship Id="rId3" Target="../tags/tag4.xml" Type="http://schemas.openxmlformats.org/officeDocument/2006/relationships/tags"/><Relationship Id="rId4" Target="../tags/tag5.xml" Type="http://schemas.openxmlformats.org/officeDocument/2006/relationships/tags"/><Relationship Id="rId5" Target="../tags/tag6.xml" Type="http://schemas.openxmlformats.org/officeDocument/2006/relationships/tags"/><Relationship Id="rId6" Target="../tags/tag7.xml" Type="http://schemas.openxmlformats.org/officeDocument/2006/relationships/tags"/><Relationship Id="rId7" Target="../tags/tag8.xml" Type="http://schemas.openxmlformats.org/officeDocument/2006/relationships/tags"/><Relationship Id="rId8" Target="../tags/tag9.xml" Type="http://schemas.openxmlformats.org/officeDocument/2006/relationships/tags"/><Relationship Id="rId9" Target="../tags/tag10.xml" Type="http://schemas.openxmlformats.org/officeDocument/2006/relationships/tags"/></Relationships>
</file>

<file path=ppt/slides/_rels/slide40.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40.xml" Type="http://schemas.openxmlformats.org/officeDocument/2006/relationships/notesSlide"/></Relationships>
</file>

<file path=ppt/slides/_rels/slide41.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41.xml" Type="http://schemas.openxmlformats.org/officeDocument/2006/relationships/notesSlide"/></Relationships>
</file>

<file path=ppt/slides/_rels/slide4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42.xml" Type="http://schemas.openxmlformats.org/officeDocument/2006/relationships/notesSlide"/><Relationship Id="rId3" Target="../media/image65.png" Type="http://schemas.openxmlformats.org/officeDocument/2006/relationships/image"/></Relationships>
</file>

<file path=ppt/slides/_rels/slide43.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43.xml" Type="http://schemas.openxmlformats.org/officeDocument/2006/relationships/notesSlide"/></Relationships>
</file>

<file path=ppt/slides/_rels/slide44.xml.rels><?xml version="1.0" encoding="UTF-8" standalone="yes"?><Relationships xmlns="http://schemas.openxmlformats.org/package/2006/relationships"><Relationship Id="rId1" Target="../slideLayouts/slideLayout28.xml" Type="http://schemas.openxmlformats.org/officeDocument/2006/relationships/slideLayout"/><Relationship Id="rId2" Target="../notesSlides/notesSlide44.xml" Type="http://schemas.openxmlformats.org/officeDocument/2006/relationships/notesSlide"/><Relationship Id="rId3" Target="../media/image66.png" Type="http://schemas.openxmlformats.org/officeDocument/2006/relationships/image"/></Relationships>
</file>

<file path=ppt/slides/_rels/slide45.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45.xml" Type="http://schemas.openxmlformats.org/officeDocument/2006/relationships/notesSlide"/></Relationships>
</file>

<file path=ppt/slides/_rels/slide46.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46.xml" Type="http://schemas.openxmlformats.org/officeDocument/2006/relationships/notesSlide"/></Relationships>
</file>

<file path=ppt/slides/_rels/slide47.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47.xml" Type="http://schemas.openxmlformats.org/officeDocument/2006/relationships/notesSlide"/><Relationship Id="rId3" Target="../media/image67.png" Type="http://schemas.openxmlformats.org/officeDocument/2006/relationships/image"/></Relationships>
</file>

<file path=ppt/slides/_rels/slide48.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48.xml" Type="http://schemas.openxmlformats.org/officeDocument/2006/relationships/notesSlide"/><Relationship Id="rId3" Target="../media/image67.png" Type="http://schemas.openxmlformats.org/officeDocument/2006/relationships/image"/></Relationships>
</file>

<file path=ppt/slides/_rels/slide49.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49.xml" Type="http://schemas.openxmlformats.org/officeDocument/2006/relationships/notesSlide"/><Relationship Id="rId3" Target="../media/image68.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5.xml" Type="http://schemas.openxmlformats.org/officeDocument/2006/relationships/notesSlide"/><Relationship Id="rId3" Target="../media/image11.png" Type="http://schemas.openxmlformats.org/officeDocument/2006/relationships/image"/></Relationships>
</file>

<file path=ppt/slides/_rels/slide50.xml.rels><?xml version="1.0" encoding="UTF-8" standalone="yes"?><Relationships xmlns="http://schemas.openxmlformats.org/package/2006/relationships"><Relationship Id="rId1" Target="../drawings/vmlDrawing3.vml" Type="http://schemas.openxmlformats.org/officeDocument/2006/relationships/vmlDrawing"/><Relationship Id="rId2" Target="../slideLayouts/slideLayout46.xml" Type="http://schemas.openxmlformats.org/officeDocument/2006/relationships/slideLayout"/><Relationship Id="rId3" Target="../notesSlides/notesSlide50.xml" Type="http://schemas.openxmlformats.org/officeDocument/2006/relationships/notesSlide"/><Relationship Id="rId4" Target="../embeddings/oleObject3.bin" Type="http://schemas.openxmlformats.org/officeDocument/2006/relationships/oleObject"/><Relationship Id="rId5" Target="../media/image69.emf" Type="http://schemas.openxmlformats.org/officeDocument/2006/relationships/image"/><Relationship Id="rId6" Target="../media/image70.png" Type="http://schemas.openxmlformats.org/officeDocument/2006/relationships/image"/><Relationship Id="rId7" Target="../media/image71.png" Type="http://schemas.openxmlformats.org/officeDocument/2006/relationships/image"/></Relationships>
</file>

<file path=ppt/slides/_rels/slide51.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51.xml" Type="http://schemas.openxmlformats.org/officeDocument/2006/relationships/notesSlide"/></Relationships>
</file>

<file path=ppt/slides/_rels/slide52.xml.rels><?xml version="1.0" encoding="UTF-8" standalone="yes"?><Relationships xmlns="http://schemas.openxmlformats.org/package/2006/relationships"><Relationship Id="rId1" Target="../drawings/vmlDrawing4.vml" Type="http://schemas.openxmlformats.org/officeDocument/2006/relationships/vmlDrawing"/><Relationship Id="rId2" Target="../slideLayouts/slideLayout16.xml" Type="http://schemas.openxmlformats.org/officeDocument/2006/relationships/slideLayout"/><Relationship Id="rId3" Target="../notesSlides/notesSlide52.xml" Type="http://schemas.openxmlformats.org/officeDocument/2006/relationships/notesSlide"/><Relationship Id="rId4" Target="../embeddings/oleObject4.bin" Type="http://schemas.openxmlformats.org/officeDocument/2006/relationships/oleObject"/><Relationship Id="rId5" Target="../media/image72.emf" Type="http://schemas.openxmlformats.org/officeDocument/2006/relationships/image"/></Relationships>
</file>

<file path=ppt/slides/_rels/slide53.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53.xml" Type="http://schemas.openxmlformats.org/officeDocument/2006/relationships/notesSlide"/></Relationships>
</file>

<file path=ppt/slides/_rels/slide54.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54.xml" Type="http://schemas.openxmlformats.org/officeDocument/2006/relationships/notesSlide"/></Relationships>
</file>

<file path=ppt/slides/_rels/slide5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55.xml" Type="http://schemas.openxmlformats.org/officeDocument/2006/relationships/notesSlide"/><Relationship Id="rId3" Target="../media/image73.png" Type="http://schemas.openxmlformats.org/officeDocument/2006/relationships/image"/><Relationship Id="rId4" Target="../media/image74.png" Type="http://schemas.openxmlformats.org/officeDocument/2006/relationships/image"/><Relationship Id="rId5" Target="../media/image75.png" Type="http://schemas.openxmlformats.org/officeDocument/2006/relationships/image"/><Relationship Id="rId6" Target="../media/image76.png" Type="http://schemas.openxmlformats.org/officeDocument/2006/relationships/image"/></Relationships>
</file>

<file path=ppt/slides/_rels/slide56.xml.rels><?xml version="1.0" encoding="UTF-8" standalone="yes"?><Relationships xmlns="http://schemas.openxmlformats.org/package/2006/relationships"><Relationship Id="rId1" Target="../drawings/vmlDrawing5.vml" Type="http://schemas.openxmlformats.org/officeDocument/2006/relationships/vmlDrawing"/><Relationship Id="rId2" Target="../slideLayouts/slideLayout47.xml" Type="http://schemas.openxmlformats.org/officeDocument/2006/relationships/slideLayout"/><Relationship Id="rId3" Target="../embeddings/Microsoft_Visio_Drawing.vsdx" Type="http://schemas.openxmlformats.org/officeDocument/2006/relationships/package"/><Relationship Id="rId4" Target="../media/image77.emf" Type="http://schemas.openxmlformats.org/officeDocument/2006/relationships/image"/></Relationships>
</file>

<file path=ppt/slides/_rels/slide57.xml.rels><?xml version="1.0" encoding="UTF-8" standalone="yes"?><Relationships xmlns="http://schemas.openxmlformats.org/package/2006/relationships"><Relationship Id="rId1" Target="../drawings/vmlDrawing6.vml" Type="http://schemas.openxmlformats.org/officeDocument/2006/relationships/vmlDrawing"/><Relationship Id="rId2" Target="../slideLayouts/slideLayout28.xml" Type="http://schemas.openxmlformats.org/officeDocument/2006/relationships/slideLayout"/><Relationship Id="rId3" Target="../embeddings/oleObject5.bin" Type="http://schemas.openxmlformats.org/officeDocument/2006/relationships/oleObject"/><Relationship Id="rId4" Target="../media/image78.emf" Type="http://schemas.openxmlformats.org/officeDocument/2006/relationships/image"/></Relationships>
</file>

<file path=ppt/slides/_rels/slide58.xml.rels><?xml version="1.0" encoding="UTF-8" standalone="yes"?><Relationships xmlns="http://schemas.openxmlformats.org/package/2006/relationships"><Relationship Id="rId1" Target="../slideLayouts/slideLayout28.xml" Type="http://schemas.openxmlformats.org/officeDocument/2006/relationships/slideLayout"/><Relationship Id="rId2" Target="../notesSlides/notesSlide56.xml" Type="http://schemas.openxmlformats.org/officeDocument/2006/relationships/notesSlide"/><Relationship Id="rId3" Target="../media/image79.png" Type="http://schemas.openxmlformats.org/officeDocument/2006/relationships/image"/></Relationships>
</file>

<file path=ppt/slides/_rels/slide59.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57.xml" Type="http://schemas.openxmlformats.org/officeDocument/2006/relationships/notesSlide"/><Relationship Id="rId3" Target="../media/image80.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6.xml" Type="http://schemas.openxmlformats.org/officeDocument/2006/relationships/notesSlide"/></Relationships>
</file>

<file path=ppt/slides/_rels/slide60.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58.xml" Type="http://schemas.openxmlformats.org/officeDocument/2006/relationships/notesSlide"/></Relationships>
</file>

<file path=ppt/slides/_rels/slide61.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59.xml" Type="http://schemas.openxmlformats.org/officeDocument/2006/relationships/notesSlide"/><Relationship Id="rId3" Target="../media/image81.png" Type="http://schemas.openxmlformats.org/officeDocument/2006/relationships/image"/></Relationships>
</file>

<file path=ppt/slides/_rels/slide62.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60.xml" Type="http://schemas.openxmlformats.org/officeDocument/2006/relationships/notesSlide"/><Relationship Id="rId3" Target="../media/image20.png" Type="http://schemas.openxmlformats.org/officeDocument/2006/relationships/image"/><Relationship Id="rId4" Target="../media/image82.svg" Type="http://schemas.openxmlformats.org/officeDocument/2006/relationships/image"/><Relationship Id="rId5" Target="http://www.3gpp.org/DynaReport/33501.htm" TargetMode="External" Type="http://schemas.openxmlformats.org/officeDocument/2006/relationships/hyperlink"/></Relationships>
</file>

<file path=ppt/slides/_rels/slide63.xml.rels><?xml version="1.0" encoding="UTF-8" standalone="yes"?><Relationships xmlns="http://schemas.openxmlformats.org/package/2006/relationships"><Relationship Id="rId1" Target="../slideLayouts/slideLayout34.xml" Type="http://schemas.openxmlformats.org/officeDocument/2006/relationships/slideLayout"/><Relationship Id="rId2" Target="../notesSlides/notesSlide61.xml" Type="http://schemas.openxmlformats.org/officeDocument/2006/relationships/notesSlide"/></Relationships>
</file>

<file path=ppt/slides/_rels/slide64.xml.rels><?xml version="1.0" encoding="UTF-8" standalone="yes"?><Relationships xmlns="http://schemas.openxmlformats.org/package/2006/relationships"><Relationship Id="rId1" Target="../slideLayouts/slideLayout28.xml" Type="http://schemas.openxmlformats.org/officeDocument/2006/relationships/slideLayout"/><Relationship Id="rId2" Target="../notesSlides/notesSlide62.xml" Type="http://schemas.openxmlformats.org/officeDocument/2006/relationships/notesSlide"/></Relationships>
</file>

<file path=ppt/slides/_rels/slide65.xml.rels><?xml version="1.0" encoding="UTF-8" standalone="yes"?><Relationships xmlns="http://schemas.openxmlformats.org/package/2006/relationships"><Relationship Id="rId1" Target="../slideLayouts/slideLayout28.xml" Type="http://schemas.openxmlformats.org/officeDocument/2006/relationships/slideLayout"/><Relationship Id="rId2" Target="../notesSlides/notesSlide63.xml" Type="http://schemas.openxmlformats.org/officeDocument/2006/relationships/notesSlide"/></Relationships>
</file>

<file path=ppt/slides/_rels/slide66.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64.xml" Type="http://schemas.openxmlformats.org/officeDocument/2006/relationships/notesSlide"/><Relationship Id="rId3" Target="../media/image83.emf" Type="http://schemas.openxmlformats.org/officeDocument/2006/relationships/image"/><Relationship Id="rId4" Target="../media/image84.png" Type="http://schemas.openxmlformats.org/officeDocument/2006/relationships/image"/></Relationships>
</file>

<file path=ppt/slides/_rels/slide67.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65.xml" Type="http://schemas.openxmlformats.org/officeDocument/2006/relationships/notesSlide"/><Relationship Id="rId3" Target="../media/image85.png" Type="http://schemas.openxmlformats.org/officeDocument/2006/relationships/image"/></Relationships>
</file>

<file path=ppt/slides/_rels/slide68.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66.xml" Type="http://schemas.openxmlformats.org/officeDocument/2006/relationships/notesSlide"/><Relationship Id="rId3" Target="../media/image81.png" Type="http://schemas.openxmlformats.org/officeDocument/2006/relationships/image"/></Relationships>
</file>

<file path=ppt/slides/_rels/slide69.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67.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64.xml" Type="http://schemas.openxmlformats.org/officeDocument/2006/relationships/slideLayout"/><Relationship Id="rId2" Target="../notesSlides/notesSlide7.xml" Type="http://schemas.openxmlformats.org/officeDocument/2006/relationships/notesSlide"/></Relationships>
</file>

<file path=ppt/slides/_rels/slide70.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68.xml" Type="http://schemas.openxmlformats.org/officeDocument/2006/relationships/notesSlide"/></Relationships>
</file>

<file path=ppt/slides/_rels/slide71.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69.xml" Type="http://schemas.openxmlformats.org/officeDocument/2006/relationships/notesSlide"/><Relationship Id="rId3" Target="../media/image86.png" Type="http://schemas.openxmlformats.org/officeDocument/2006/relationships/image"/><Relationship Id="rId4" Target="../media/image87.svg" Type="http://schemas.openxmlformats.org/officeDocument/2006/relationships/image"/><Relationship Id="rId5" Target="../media/image88.png" Type="http://schemas.openxmlformats.org/officeDocument/2006/relationships/image"/><Relationship Id="rId6" Target="../media/image89.svg" Type="http://schemas.openxmlformats.org/officeDocument/2006/relationships/image"/><Relationship Id="rId7" Target="../media/image90.png" Type="http://schemas.openxmlformats.org/officeDocument/2006/relationships/image"/><Relationship Id="rId8" Target="../media/image91.svg" Type="http://schemas.openxmlformats.org/officeDocument/2006/relationships/image"/></Relationships>
</file>

<file path=ppt/slides/_rels/slide72.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70.xml" Type="http://schemas.openxmlformats.org/officeDocument/2006/relationships/notesSlide"/><Relationship Id="rId3" Target="../media/image20.png" Type="http://schemas.openxmlformats.org/officeDocument/2006/relationships/image"/><Relationship Id="rId4" Target="../media/image92.svg" Type="http://schemas.openxmlformats.org/officeDocument/2006/relationships/image"/><Relationship Id="rId5" Target="../media/image21.svg" Type="http://schemas.openxmlformats.org/officeDocument/2006/relationships/image"/></Relationships>
</file>

<file path=ppt/slides/_rels/slide73.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71.xml" Type="http://schemas.openxmlformats.org/officeDocument/2006/relationships/notesSlide"/></Relationships>
</file>

<file path=ppt/slides/_rels/slide74.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72.xml" Type="http://schemas.openxmlformats.org/officeDocument/2006/relationships/notesSlide"/></Relationships>
</file>

<file path=ppt/slides/_rels/slide75.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73.xml" Type="http://schemas.openxmlformats.org/officeDocument/2006/relationships/notesSlide"/></Relationships>
</file>

<file path=ppt/slides/_rels/slide76.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74.xml" Type="http://schemas.openxmlformats.org/officeDocument/2006/relationships/notesSlide"/><Relationship Id="rId3" Target="../media/image88.png" Type="http://schemas.openxmlformats.org/officeDocument/2006/relationships/image"/><Relationship Id="rId4" Target="../media/image93.svg" Type="http://schemas.openxmlformats.org/officeDocument/2006/relationships/image"/><Relationship Id="rId5" Target="../media/image90.png" Type="http://schemas.openxmlformats.org/officeDocument/2006/relationships/image"/><Relationship Id="rId6" Target="../media/image94.svg" Type="http://schemas.openxmlformats.org/officeDocument/2006/relationships/image"/></Relationships>
</file>

<file path=ppt/slides/_rels/slide77.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75.xml" Type="http://schemas.openxmlformats.org/officeDocument/2006/relationships/notesSlide"/></Relationships>
</file>

<file path=ppt/slides/_rels/slide78.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76.xml" Type="http://schemas.openxmlformats.org/officeDocument/2006/relationships/notesSlide"/><Relationship Id="rId3" Target="../media/image95.png" Type="http://schemas.openxmlformats.org/officeDocument/2006/relationships/image"/><Relationship Id="rId4" Target="../media/image96.png" Type="http://schemas.openxmlformats.org/officeDocument/2006/relationships/image"/></Relationships>
</file>

<file path=ppt/slides/_rels/slide79.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77.xml" Type="http://schemas.openxmlformats.org/officeDocument/2006/relationships/notesSlide"/></Relationships>
</file>

<file path=ppt/slides/_rels/slide8.xml.rels><?xml version="1.0" encoding="UTF-8" standalone="yes"?><Relationships xmlns="http://schemas.openxmlformats.org/package/2006/relationships"><Relationship Id="rId1" Target="../drawings/vmlDrawing2.vml" Type="http://schemas.openxmlformats.org/officeDocument/2006/relationships/vmlDrawing"/><Relationship Id="rId2" Target="../slideLayouts/slideLayout16.xml" Type="http://schemas.openxmlformats.org/officeDocument/2006/relationships/slideLayout"/><Relationship Id="rId3" Target="../notesSlides/notesSlide8.xml" Type="http://schemas.openxmlformats.org/officeDocument/2006/relationships/notesSlide"/><Relationship Id="rId4" Target="../media/image13.png" Type="http://schemas.openxmlformats.org/officeDocument/2006/relationships/image"/><Relationship Id="rId5" Target="../embeddings/oleObject2.bin" Type="http://schemas.openxmlformats.org/officeDocument/2006/relationships/oleObject"/><Relationship Id="rId6" Target="../media/image12.emf" Type="http://schemas.openxmlformats.org/officeDocument/2006/relationships/image"/></Relationships>
</file>

<file path=ppt/slides/_rels/slide80.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78.xml" Type="http://schemas.openxmlformats.org/officeDocument/2006/relationships/notesSlide"/></Relationships>
</file>

<file path=ppt/slides/_rels/slide81.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79.xml" Type="http://schemas.openxmlformats.org/officeDocument/2006/relationships/notesSlide"/></Relationships>
</file>

<file path=ppt/slides/_rels/slide82.xml.rels><?xml version="1.0" encoding="UTF-8" standalone="yes"?><Relationships xmlns="http://schemas.openxmlformats.org/package/2006/relationships"><Relationship Id="rId1" Target="../drawings/vmlDrawing7.vml" Type="http://schemas.openxmlformats.org/officeDocument/2006/relationships/vmlDrawing"/><Relationship Id="rId2" Target="../slideLayouts/slideLayout30.xml" Type="http://schemas.openxmlformats.org/officeDocument/2006/relationships/slideLayout"/><Relationship Id="rId3" Target="../notesSlides/notesSlide80.xml" Type="http://schemas.openxmlformats.org/officeDocument/2006/relationships/notesSlide"/><Relationship Id="rId4" Target="../embeddings/oleObject6.bin" Type="http://schemas.openxmlformats.org/officeDocument/2006/relationships/oleObject"/><Relationship Id="rId5" Target="../media/image97.emf" Type="http://schemas.openxmlformats.org/officeDocument/2006/relationships/image"/></Relationships>
</file>

<file path=ppt/slides/_rels/slide83.xml.rels><?xml version="1.0" encoding="UTF-8" standalone="yes"?><Relationships xmlns="http://schemas.openxmlformats.org/package/2006/relationships"><Relationship Id="rId1" Target="../slideLayouts/slideLayout25.xml" Type="http://schemas.openxmlformats.org/officeDocument/2006/relationships/slideLayout"/><Relationship Id="rId2" Target="../notesSlides/notesSlide81.xml" Type="http://schemas.openxmlformats.org/officeDocument/2006/relationships/notesSlide"/></Relationships>
</file>

<file path=ppt/slides/_rels/slide84.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82.xml" Type="http://schemas.openxmlformats.org/officeDocument/2006/relationships/notesSlide"/><Relationship Id="rId3" Target="../media/image98.png" Type="http://schemas.openxmlformats.org/officeDocument/2006/relationships/image"/><Relationship Id="rId4" Target="https://www.5g-acia.org/fileadmin/5G-ACIA/Publikationen/5G-ACIA_White_Paper_5G_for_Non-Public_Networks_for_Industrial_Scenarios/5G-ACIA_White_Paper_5G_for_Non-Public_Networks_for_Industrial_Scenarios.pdf" TargetMode="External" Type="http://schemas.openxmlformats.org/officeDocument/2006/relationships/hyperlink"/></Relationships>
</file>

<file path=ppt/slides/_rels/slide85.xml.rels><?xml version="1.0" encoding="UTF-8" standalone="yes"?><Relationships xmlns="http://schemas.openxmlformats.org/package/2006/relationships"><Relationship Id="rId1" Target="../slideLayouts/slideLayout16.xml" Type="http://schemas.openxmlformats.org/officeDocument/2006/relationships/slideLayout"/><Relationship Id="rId2" Target="../notesSlides/notesSlide83.xml" Type="http://schemas.openxmlformats.org/officeDocument/2006/relationships/notesSlide"/></Relationships>
</file>

<file path=ppt/slides/_rels/slide86.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84.xml" Type="http://schemas.openxmlformats.org/officeDocument/2006/relationships/notesSlide"/><Relationship Id="rId3" Target="../media/image99.png" Type="http://schemas.openxmlformats.org/officeDocument/2006/relationships/image"/></Relationships>
</file>

<file path=ppt/slides/_rels/slide87.xml.rels><?xml version="1.0" encoding="UTF-8" standalone="yes"?><Relationships xmlns="http://schemas.openxmlformats.org/package/2006/relationships"><Relationship Id="rId1" Target="../slideLayouts/slideLayout24.xml" Type="http://schemas.openxmlformats.org/officeDocument/2006/relationships/slideLayout"/><Relationship Id="rId2" Target="../media/image100.png" Type="http://schemas.openxmlformats.org/officeDocument/2006/relationships/image"/></Relationships>
</file>

<file path=ppt/slides/_rels/slide88.xml.rels><?xml version="1.0" encoding="UTF-8" standalone="yes"?><Relationships xmlns="http://schemas.openxmlformats.org/package/2006/relationships"><Relationship Id="rId1" Target="../drawings/vmlDrawing8.vml" Type="http://schemas.openxmlformats.org/officeDocument/2006/relationships/vmlDrawing"/><Relationship Id="rId2" Target="../slideLayouts/slideLayout16.xml" Type="http://schemas.openxmlformats.org/officeDocument/2006/relationships/slideLayout"/><Relationship Id="rId3" Target="../notesSlides/notesSlide85.xml" Type="http://schemas.openxmlformats.org/officeDocument/2006/relationships/notesSlide"/><Relationship Id="rId4" Target="../embeddings/oleObject7.bin" Type="http://schemas.openxmlformats.org/officeDocument/2006/relationships/oleObject"/><Relationship Id="rId5" Target="../media/image101.emf" Type="http://schemas.openxmlformats.org/officeDocument/2006/relationships/image"/><Relationship Id="rId6" Target="../embeddings/oleObject8.bin" Type="http://schemas.openxmlformats.org/officeDocument/2006/relationships/oleObject"/><Relationship Id="rId7" Target="../media/image102.emf" Type="http://schemas.openxmlformats.org/officeDocument/2006/relationships/image"/><Relationship Id="rId8" Target="../embeddings/oleObject9.bin" Type="http://schemas.openxmlformats.org/officeDocument/2006/relationships/oleObject"/><Relationship Id="rId9" Target="../media/image103.emf" Type="http://schemas.openxmlformats.org/officeDocument/2006/relationships/image"/></Relationships>
</file>

<file path=ppt/slides/_rels/slide89.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86.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9.xml" Type="http://schemas.openxmlformats.org/officeDocument/2006/relationships/notesSlide"/><Relationship Id="rId3" Target="../media/image14.png" Type="http://schemas.openxmlformats.org/officeDocument/2006/relationships/image"/><Relationship Id="rId4" Target="../media/image15.svg" Type="http://schemas.openxmlformats.org/officeDocument/2006/relationships/image"/><Relationship Id="rId5" Target="../media/image16.png" Type="http://schemas.openxmlformats.org/officeDocument/2006/relationships/image"/><Relationship Id="rId6" Target="../media/image17.svg" Type="http://schemas.openxmlformats.org/officeDocument/2006/relationships/image"/><Relationship Id="rId7" Target="../media/image18.png" Type="http://schemas.openxmlformats.org/officeDocument/2006/relationships/image"/><Relationship Id="rId8" Target="../media/image19.svg" Type="http://schemas.openxmlformats.org/officeDocument/2006/relationships/image"/></Relationships>
</file>

<file path=ppt/slides/_rels/slide90.xml.rels><?xml version="1.0" encoding="UTF-8" standalone="yes"?><Relationships xmlns="http://schemas.openxmlformats.org/package/2006/relationships"><Relationship Id="rId1" Target="../slideLayouts/slideLayout30.xml" Type="http://schemas.openxmlformats.org/officeDocument/2006/relationships/slideLayout"/><Relationship Id="rId2" Target="../notesSlides/notesSlide87.xml" Type="http://schemas.openxmlformats.org/officeDocument/2006/relationships/notesSlide"/></Relationships>
</file>

<file path=ppt/slides/_rels/slide91.xml.rels><?xml version="1.0" encoding="UTF-8" standalone="yes"?><Relationships xmlns="http://schemas.openxmlformats.org/package/2006/relationships"><Relationship Id="rId1" Target="../slideLayouts/slideLayout46.xml" Type="http://schemas.openxmlformats.org/officeDocument/2006/relationships/slideLayout"/><Relationship Id="rId2" Target="../notesSlides/notesSlide88.xml" Type="http://schemas.openxmlformats.org/officeDocument/2006/relationships/notesSlide"/><Relationship Id="rId3" Target="../media/image51.png" Type="http://schemas.openxmlformats.org/officeDocument/2006/relationships/image"/><Relationship Id="rId4" Target="../media/image52.svg" Type="http://schemas.openxmlformats.org/officeDocument/2006/relationships/image"/><Relationship Id="rId5" Target="../media/image104.png" Type="http://schemas.openxmlformats.org/officeDocument/2006/relationships/image"/><Relationship Id="rId6" Target="../media/image105.svg" Type="http://schemas.openxmlformats.org/officeDocument/2006/relationships/image"/><Relationship Id="rId7" Target="../media/image88.png" Type="http://schemas.openxmlformats.org/officeDocument/2006/relationships/image"/><Relationship Id="rId8" Target="../media/image106.svg" Type="http://schemas.openxmlformats.org/officeDocument/2006/relationships/image"/></Relationships>
</file>

<file path=ppt/slides/_rels/slide92.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89.xml" Type="http://schemas.openxmlformats.org/officeDocument/2006/relationships/notesSlide"/><Relationship Id="rId3" Target="../media/image107.png" Type="http://schemas.openxmlformats.org/officeDocument/2006/relationships/image"/><Relationship Id="rId4" Target="../media/image108.svg" Type="http://schemas.openxmlformats.org/officeDocument/2006/relationships/image"/></Relationships>
</file>

<file path=ppt/slides/_rels/slide93.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90.xml" Type="http://schemas.openxmlformats.org/officeDocument/2006/relationships/notesSlide"/><Relationship Id="rId3" Target="../media/image109.png" Type="http://schemas.openxmlformats.org/officeDocument/2006/relationships/image"/><Relationship Id="rId4" Target="../media/image110.png" Type="http://schemas.openxmlformats.org/officeDocument/2006/relationships/image"/></Relationships>
</file>

<file path=ppt/slides/_rels/slide94.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91.xml" Type="http://schemas.openxmlformats.org/officeDocument/2006/relationships/notesSlide"/><Relationship Id="rId3" Target="../media/image104.png" Type="http://schemas.openxmlformats.org/officeDocument/2006/relationships/image"/><Relationship Id="rId4" Target="../media/image111.svg" Type="http://schemas.openxmlformats.org/officeDocument/2006/relationships/image"/></Relationships>
</file>

<file path=ppt/slides/_rels/slide95.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92.xml" Type="http://schemas.openxmlformats.org/officeDocument/2006/relationships/notesSlide"/><Relationship Id="rId3" Target="../media/image104.png" Type="http://schemas.openxmlformats.org/officeDocument/2006/relationships/image"/><Relationship Id="rId4" Target="../media/image111.svg" Type="http://schemas.openxmlformats.org/officeDocument/2006/relationships/image"/></Relationships>
</file>

<file path=ppt/slides/_rels/slide96.xml.rels><?xml version="1.0" encoding="UTF-8" standalone="yes"?><Relationships xmlns="http://schemas.openxmlformats.org/package/2006/relationships"><Relationship Id="rId1" Target="../slideLayouts/slideLayout26.xml" Type="http://schemas.openxmlformats.org/officeDocument/2006/relationships/slideLayout"/><Relationship Id="rId2" Target="../notesSlides/notesSlide93.xml" Type="http://schemas.openxmlformats.org/officeDocument/2006/relationships/notesSlide"/><Relationship Id="rId3" Target="../media/image104.png" Type="http://schemas.openxmlformats.org/officeDocument/2006/relationships/image"/><Relationship Id="rId4" Target="../media/image111.svg" Type="http://schemas.openxmlformats.org/officeDocument/2006/relationships/image"/></Relationships>
</file>

<file path=ppt/slides/_rels/slide97.xml.rels><?xml version="1.0" encoding="UTF-8" standalone="yes"?><Relationships xmlns="http://schemas.openxmlformats.org/package/2006/relationships"><Relationship Id="rId1" Target="../slideLayouts/slideLayout46.xml" Type="http://schemas.openxmlformats.org/officeDocument/2006/relationships/slideLayout"/><Relationship Id="rId2" Target="../notesSlides/notesSlide94.xml" Type="http://schemas.openxmlformats.org/officeDocument/2006/relationships/notesSlide"/></Relationships>
</file>

<file path=ppt/slides/_rels/slide98.xml.rels><?xml version="1.0" encoding="UTF-8" standalone="yes"?><Relationships xmlns="http://schemas.openxmlformats.org/package/2006/relationships"><Relationship Id="rId1" Target="../slideLayouts/slideLayout46.xml" Type="http://schemas.openxmlformats.org/officeDocument/2006/relationships/slideLayout"/><Relationship Id="rId2" Target="../notesSlides/notesSlide95.xml" Type="http://schemas.openxmlformats.org/officeDocument/2006/relationships/notesSlide"/></Relationships>
</file>

<file path=ppt/slides/_rels/slide99.xml.rels><?xml version="1.0" encoding="UTF-8" standalone="yes"?><Relationships xmlns="http://schemas.openxmlformats.org/package/2006/relationships"><Relationship Id="rId1" Target="../slideLayouts/slideLayout46.xml" Type="http://schemas.openxmlformats.org/officeDocument/2006/relationships/slideLayout"/><Relationship Id="rId2" Target="../notesSlides/notesSlide96.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4">
            <a:extLst>
              <a:ext uri="{FF2B5EF4-FFF2-40B4-BE49-F238E27FC236}">
                <a16:creationId xmlns:a16="http://schemas.microsoft.com/office/drawing/2014/main" id="{8E20E054-125F-48DB-BFE0-F513685978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0" y="-15498"/>
            <a:ext cx="12192000" cy="6873498"/>
          </a:xfrm>
          <a:prstGeom prst="rect">
            <a:avLst/>
          </a:prstGeom>
          <a:noFill/>
          <a:ln w="9525">
            <a:noFill/>
            <a:miter lim="800000"/>
            <a:headEnd/>
            <a:tailEnd/>
          </a:ln>
        </p:spPr>
      </p:pic>
      <p:sp>
        <p:nvSpPr>
          <p:cNvPr id="2" name="Title 1">
            <a:extLst>
              <a:ext uri="{FF2B5EF4-FFF2-40B4-BE49-F238E27FC236}">
                <a16:creationId xmlns:a16="http://schemas.microsoft.com/office/drawing/2014/main" id="{54D98150-1D8F-4DDD-A1E3-775E516F0BEA}"/>
              </a:ext>
            </a:extLst>
          </p:cNvPr>
          <p:cNvSpPr>
            <a:spLocks noGrp="1"/>
          </p:cNvSpPr>
          <p:nvPr>
            <p:ph type="ctrTitle"/>
          </p:nvPr>
        </p:nvSpPr>
        <p:spPr>
          <a:xfrm>
            <a:off x="479425" y="1818767"/>
            <a:ext cx="9072538" cy="2330958"/>
          </a:xfrm>
        </p:spPr>
        <p:txBody>
          <a:bodyPr/>
          <a:lstStyle/>
          <a:p>
            <a:r>
              <a:rPr lang="en-US" sz="5400">
                <a:latin typeface="Ericsson Hilda Light" panose="020B0604020202020204" charset="0"/>
                <a:cs typeface="Ericsson Hilda Light" panose="020B0604020202020204" charset="0"/>
              </a:rPr>
              <a:t>Ericsson 5G CORE System</a:t>
            </a:r>
            <a:br>
              <a:rPr lang="en-US" sz="5400">
                <a:latin typeface="Ericsson Hilda Light" panose="020B0604020202020204" charset="0"/>
                <a:cs typeface="Ericsson Hilda Light" panose="020B0604020202020204" charset="0"/>
              </a:rPr>
            </a:br>
            <a:br>
              <a:rPr lang="en-US" sz="3200">
                <a:latin typeface="Ericsson Hilda Light" panose="020B0604020202020204" charset="0"/>
                <a:cs typeface="Ericsson Hilda Light" panose="020B0604020202020204" charset="0"/>
              </a:rPr>
            </a:br>
            <a:r>
              <a:rPr lang="nl-NL" sz="3200">
                <a:latin typeface="Ericsson Hilda Light" panose="020B0604020202020204" charset="0"/>
                <a:cs typeface="Ericsson Hilda Light" panose="020B0604020202020204" charset="0"/>
              </a:rPr>
              <a:t>5G Core Network deep dive</a:t>
            </a:r>
            <a:br>
              <a:rPr lang="en-US" sz="3200">
                <a:solidFill>
                  <a:srgbClr val="FFFFFF"/>
                </a:solidFill>
                <a:latin typeface="Ericsson Hilda Light" panose="020B0604020202020204" charset="0"/>
                <a:cs typeface="Ericsson Hilda Light" panose="020B0604020202020204" charset="0"/>
              </a:rPr>
            </a:br>
            <a:endParaRPr lang="en-US" sz="3200">
              <a:solidFill>
                <a:schemeClr val="bg1"/>
              </a:solidFill>
            </a:endParaRPr>
          </a:p>
        </p:txBody>
      </p:sp>
      <p:pic>
        <p:nvPicPr>
          <p:cNvPr id="8" name="Picture 11">
            <a:extLst>
              <a:ext uri="{FF2B5EF4-FFF2-40B4-BE49-F238E27FC236}">
                <a16:creationId xmlns:a16="http://schemas.microsoft.com/office/drawing/2014/main" id="{655F47FA-5A00-474B-AEA2-616CF199AEE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22391" y="478631"/>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ubtitle 3">
            <a:extLst>
              <a:ext uri="{FF2B5EF4-FFF2-40B4-BE49-F238E27FC236}">
                <a16:creationId xmlns:a16="http://schemas.microsoft.com/office/drawing/2014/main" id="{F34F3BF0-A5DE-4F45-8D4A-9F59BAB60DA6}"/>
              </a:ext>
            </a:extLst>
          </p:cNvPr>
          <p:cNvSpPr>
            <a:spLocks noGrp="1"/>
          </p:cNvSpPr>
          <p:nvPr>
            <p:ph type="subTitle" idx="1"/>
          </p:nvPr>
        </p:nvSpPr>
        <p:spPr>
          <a:xfrm>
            <a:off x="479425" y="4536796"/>
            <a:ext cx="5472114" cy="2087563"/>
          </a:xfrm>
        </p:spPr>
        <p:txBody>
          <a:bodyPr/>
          <a:lstStyle/>
          <a:p>
            <a:pPr>
              <a:spcBef>
                <a:spcPct val="20000"/>
              </a:spcBef>
              <a:defRPr/>
            </a:pPr>
            <a:r>
              <a:rPr lang="en-US">
                <a:solidFill>
                  <a:srgbClr val="FFFFFF"/>
                </a:solidFill>
                <a:latin typeface="Ericsson Hilda Light" panose="020B0604020202020204" charset="0"/>
                <a:cs typeface="Ericsson Hilda Light" panose="020B0604020202020204" charset="0"/>
              </a:rPr>
              <a:t>Business Area Digital Services</a:t>
            </a:r>
            <a:endParaRPr lang="en-US">
              <a:latin typeface="Ericsson Hilda Light" panose="020B0604020202020204" charset="0"/>
              <a:cs typeface="Ericsson Hilda Light" panose="020B0604020202020204" charset="0"/>
            </a:endParaRPr>
          </a:p>
        </p:txBody>
      </p:sp>
    </p:spTree>
    <p:extLst>
      <p:ext uri="{BB962C8B-B14F-4D97-AF65-F5344CB8AC3E}">
        <p14:creationId xmlns:p14="http://schemas.microsoft.com/office/powerpoint/2010/main" val="3385146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1"/>
          <p:cNvSpPr>
            <a:spLocks noGrp="1"/>
          </p:cNvSpPr>
          <p:nvPr>
            <p:ph type="title"/>
          </p:nvPr>
        </p:nvSpPr>
        <p:spPr/>
        <p:txBody>
          <a:bodyPr>
            <a:normAutofit/>
          </a:bodyPr>
          <a:lstStyle/>
          <a:p>
            <a:pPr>
              <a:defRPr/>
            </a:pPr>
            <a:r>
              <a:rPr lang="en-US"/>
              <a:t>5G System architecture</a:t>
            </a:r>
            <a:br>
              <a:rPr lang="en-US"/>
            </a:br>
            <a:r>
              <a:rPr lang="en-US" sz="2400"/>
              <a:t>Release 15 – simplified view</a:t>
            </a:r>
            <a:endParaRPr lang="en-US" sz="3200"/>
          </a:p>
        </p:txBody>
      </p:sp>
      <p:sp>
        <p:nvSpPr>
          <p:cNvPr id="160" name="Content Placeholder 3"/>
          <p:cNvSpPr txBox="1">
            <a:spLocks/>
          </p:cNvSpPr>
          <p:nvPr/>
        </p:nvSpPr>
        <p:spPr>
          <a:xfrm>
            <a:off x="472919" y="1590610"/>
            <a:ext cx="3916810" cy="2569138"/>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solidFill>
                  <a:srgbClr val="181818"/>
                </a:solidFill>
                <a:effectLst/>
                <a:uLnTx/>
                <a:uFillTx/>
                <a:latin typeface="Ericsson Hilda"/>
                <a:ea typeface="+mn-ea"/>
                <a:cs typeface="+mn-cs"/>
              </a:rPr>
              <a:t>5GC with Service Based Interface (SBI) between Control Plane (CP) network functions</a:t>
            </a:r>
          </a:p>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solidFill>
                  <a:srgbClr val="181818"/>
                </a:solidFill>
                <a:effectLst/>
                <a:uLnTx/>
                <a:uFillTx/>
                <a:latin typeface="Ericsson Hilda"/>
                <a:ea typeface="+mn-ea"/>
                <a:cs typeface="+mn-cs"/>
              </a:rPr>
              <a:t>CP/UP </a:t>
            </a:r>
            <a:r>
              <a:rPr kumimoji="0" lang="en-US" sz="1800" b="0" i="0" u="none" strike="noStrike" kern="0" cap="none" spc="0" normalizeH="0" baseline="0" noProof="0" dirty="0">
                <a:ln>
                  <a:noFill/>
                </a:ln>
                <a:effectLst/>
                <a:uLnTx/>
                <a:uFillTx/>
                <a:latin typeface="Ericsson Hilda"/>
                <a:ea typeface="+mn-ea"/>
                <a:cs typeface="+mn-cs"/>
              </a:rPr>
              <a:t>separation of GW similar to CUPS, realized by SMF/UPF</a:t>
            </a:r>
          </a:p>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effectLst/>
                <a:uLnTx/>
                <a:uFillTx/>
                <a:latin typeface="Ericsson Hilda"/>
                <a:ea typeface="+mn-ea"/>
                <a:cs typeface="+mn-cs"/>
              </a:rPr>
              <a:t>NSSF for slice selection</a:t>
            </a:r>
          </a:p>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effectLst/>
                <a:uLnTx/>
                <a:uFillTx/>
                <a:latin typeface="Ericsson Hilda"/>
                <a:ea typeface="+mn-ea"/>
                <a:cs typeface="+mn-cs"/>
              </a:rPr>
              <a:t>NRF for NF registration and </a:t>
            </a:r>
            <a:r>
              <a:rPr kumimoji="0" lang="en-US" sz="1800" b="0" i="0" u="none" strike="noStrike" kern="0" cap="none" spc="0" normalizeH="0" baseline="0" noProof="0" dirty="0">
                <a:ln>
                  <a:noFill/>
                </a:ln>
                <a:solidFill>
                  <a:srgbClr val="181818"/>
                </a:solidFill>
                <a:effectLst/>
                <a:uLnTx/>
                <a:uFillTx/>
                <a:latin typeface="Ericsson Hilda"/>
                <a:ea typeface="+mn-ea"/>
                <a:cs typeface="+mn-cs"/>
              </a:rPr>
              <a:t>service discovery</a:t>
            </a:r>
          </a:p>
        </p:txBody>
      </p:sp>
      <p:grpSp>
        <p:nvGrpSpPr>
          <p:cNvPr id="2" name="Group 1">
            <a:extLst>
              <a:ext uri="{FF2B5EF4-FFF2-40B4-BE49-F238E27FC236}">
                <a16:creationId xmlns:a16="http://schemas.microsoft.com/office/drawing/2014/main" id="{7B8D7A0E-0500-4ED5-A816-D4DF9EB3D2DC}"/>
              </a:ext>
            </a:extLst>
          </p:cNvPr>
          <p:cNvGrpSpPr/>
          <p:nvPr/>
        </p:nvGrpSpPr>
        <p:grpSpPr>
          <a:xfrm>
            <a:off x="870001" y="2000250"/>
            <a:ext cx="11318866" cy="4486598"/>
            <a:chOff x="870001" y="2000250"/>
            <a:chExt cx="11318866" cy="4486598"/>
          </a:xfrm>
        </p:grpSpPr>
        <p:sp>
          <p:nvSpPr>
            <p:cNvPr id="165" name="Rectangle: Rounded Corners 164">
              <a:extLst>
                <a:ext uri="{FF2B5EF4-FFF2-40B4-BE49-F238E27FC236}">
                  <a16:creationId xmlns:a16="http://schemas.microsoft.com/office/drawing/2014/main" id="{36456E3E-75B2-4F9F-B928-52BF061969B9}"/>
                </a:ext>
              </a:extLst>
            </p:cNvPr>
            <p:cNvSpPr/>
            <p:nvPr/>
          </p:nvSpPr>
          <p:spPr bwMode="auto">
            <a:xfrm>
              <a:off x="5305037" y="2000250"/>
              <a:ext cx="2838608" cy="1725030"/>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4" name="Rectangle: Rounded Corners 163">
              <a:extLst>
                <a:ext uri="{FF2B5EF4-FFF2-40B4-BE49-F238E27FC236}">
                  <a16:creationId xmlns:a16="http://schemas.microsoft.com/office/drawing/2014/main" id="{0E21B580-0F00-48FE-8AFD-65E18925A9F8}"/>
                </a:ext>
              </a:extLst>
            </p:cNvPr>
            <p:cNvSpPr/>
            <p:nvPr/>
          </p:nvSpPr>
          <p:spPr bwMode="auto">
            <a:xfrm>
              <a:off x="6072951" y="2000251"/>
              <a:ext cx="4332696" cy="4121116"/>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10" name="Text Box 144"/>
            <p:cNvSpPr txBox="1">
              <a:spLocks noChangeAspect="1" noChangeArrowheads="1"/>
            </p:cNvSpPr>
            <p:nvPr/>
          </p:nvSpPr>
          <p:spPr bwMode="auto">
            <a:xfrm>
              <a:off x="8542607" y="528297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25613" name="Text Box 144"/>
            <p:cNvSpPr txBox="1">
              <a:spLocks noChangeAspect="1" noChangeArrowheads="1"/>
            </p:cNvSpPr>
            <p:nvPr/>
          </p:nvSpPr>
          <p:spPr bwMode="auto">
            <a:xfrm>
              <a:off x="8067122" y="496484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cxnSp>
          <p:nvCxnSpPr>
            <p:cNvPr id="25622" name="Straight Connector 135"/>
            <p:cNvCxnSpPr>
              <a:cxnSpLocks/>
              <a:stCxn id="250" idx="2"/>
              <a:endCxn id="242" idx="0"/>
            </p:cNvCxnSpPr>
            <p:nvPr/>
          </p:nvCxnSpPr>
          <p:spPr bwMode="auto">
            <a:xfrm>
              <a:off x="8350222" y="4756724"/>
              <a:ext cx="487"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72" name="Text Box 144"/>
            <p:cNvSpPr txBox="1">
              <a:spLocks noChangeAspect="1" noChangeArrowheads="1"/>
            </p:cNvSpPr>
            <p:nvPr/>
          </p:nvSpPr>
          <p:spPr bwMode="auto">
            <a:xfrm>
              <a:off x="6694383" y="386042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3" name="Text Box 144"/>
            <p:cNvSpPr txBox="1">
              <a:spLocks noChangeAspect="1" noChangeArrowheads="1"/>
            </p:cNvSpPr>
            <p:nvPr/>
          </p:nvSpPr>
          <p:spPr bwMode="auto">
            <a:xfrm>
              <a:off x="5430025" y="3371339"/>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u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4" name="Text Box 144"/>
            <p:cNvSpPr txBox="1">
              <a:spLocks noChangeAspect="1" noChangeArrowheads="1"/>
            </p:cNvSpPr>
            <p:nvPr/>
          </p:nvSpPr>
          <p:spPr bwMode="auto">
            <a:xfrm>
              <a:off x="7568085" y="3375258"/>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pc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5" name="Text Box 144"/>
            <p:cNvSpPr txBox="1">
              <a:spLocks noChangeAspect="1" noChangeArrowheads="1"/>
            </p:cNvSpPr>
            <p:nvPr/>
          </p:nvSpPr>
          <p:spPr bwMode="auto">
            <a:xfrm>
              <a:off x="6870720" y="3391900"/>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m</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6" name="Text Box 144"/>
            <p:cNvSpPr txBox="1">
              <a:spLocks noChangeAspect="1" noChangeArrowheads="1"/>
            </p:cNvSpPr>
            <p:nvPr/>
          </p:nvSpPr>
          <p:spPr bwMode="auto">
            <a:xfrm>
              <a:off x="8266964" y="3863648"/>
              <a:ext cx="741516"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7" name="Text Box 144"/>
            <p:cNvSpPr txBox="1">
              <a:spLocks noChangeAspect="1" noChangeArrowheads="1"/>
            </p:cNvSpPr>
            <p:nvPr/>
          </p:nvSpPr>
          <p:spPr bwMode="auto">
            <a:xfrm>
              <a:off x="10446592" y="338714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91" name="Group 74"/>
            <p:cNvGrpSpPr>
              <a:grpSpLocks/>
            </p:cNvGrpSpPr>
            <p:nvPr/>
          </p:nvGrpSpPr>
          <p:grpSpPr bwMode="auto">
            <a:xfrm>
              <a:off x="10373387" y="4658858"/>
              <a:ext cx="1815480" cy="1462509"/>
              <a:chOff x="9344462" y="5130211"/>
              <a:chExt cx="2250397" cy="1719278"/>
            </a:xfrm>
          </p:grpSpPr>
          <p:sp>
            <p:nvSpPr>
              <p:cNvPr id="192" name="Freeform 34"/>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3"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Network </a:t>
                </a:r>
                <a:endParaRPr kumimoji="0" lang="en-US" altLang="en-US" sz="2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p>
            </p:txBody>
          </p:sp>
        </p:grpSp>
        <p:sp>
          <p:nvSpPr>
            <p:cNvPr id="159" name="Text Box 144"/>
            <p:cNvSpPr txBox="1">
              <a:spLocks noChangeAspect="1" noChangeArrowheads="1"/>
            </p:cNvSpPr>
            <p:nvPr/>
          </p:nvSpPr>
          <p:spPr bwMode="auto">
            <a:xfrm>
              <a:off x="6201412" y="3378380"/>
              <a:ext cx="79171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r</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2" name="Oval 161"/>
            <p:cNvSpPr/>
            <p:nvPr/>
          </p:nvSpPr>
          <p:spPr bwMode="auto">
            <a:xfrm>
              <a:off x="5618112"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7" name="Text Box 144"/>
            <p:cNvSpPr txBox="1">
              <a:spLocks noChangeAspect="1" noChangeArrowheads="1"/>
            </p:cNvSpPr>
            <p:nvPr/>
          </p:nvSpPr>
          <p:spPr bwMode="auto">
            <a:xfrm>
              <a:off x="8416619" y="3365596"/>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s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06" name="Straight Connector 205"/>
            <p:cNvCxnSpPr>
              <a:cxnSpLocks/>
            </p:cNvCxnSpPr>
            <p:nvPr/>
          </p:nvCxnSpPr>
          <p:spPr bwMode="auto">
            <a:xfrm>
              <a:off x="5698745" y="3560356"/>
              <a:ext cx="5027499"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7" name="Straight Connector 206"/>
            <p:cNvCxnSpPr>
              <a:cxnSpLocks/>
            </p:cNvCxnSpPr>
            <p:nvPr/>
          </p:nvCxnSpPr>
          <p:spPr bwMode="auto">
            <a:xfrm>
              <a:off x="5691559"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4" name="Straight Connector 213">
              <a:extLst>
                <a:ext uri="{FF2B5EF4-FFF2-40B4-BE49-F238E27FC236}">
                  <a16:creationId xmlns:a16="http://schemas.microsoft.com/office/drawing/2014/main" id="{75D087E2-57E1-4FDD-86C1-1CD2D0141E25}"/>
                </a:ext>
              </a:extLst>
            </p:cNvPr>
            <p:cNvCxnSpPr>
              <a:cxnSpLocks/>
            </p:cNvCxnSpPr>
            <p:nvPr/>
          </p:nvCxnSpPr>
          <p:spPr bwMode="auto">
            <a:xfrm>
              <a:off x="6395466" y="307057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5" name="Straight Connector 214">
              <a:extLst>
                <a:ext uri="{FF2B5EF4-FFF2-40B4-BE49-F238E27FC236}">
                  <a16:creationId xmlns:a16="http://schemas.microsoft.com/office/drawing/2014/main" id="{9E0A79E2-9639-4D8B-9CCD-EFD04D6C840C}"/>
                </a:ext>
              </a:extLst>
            </p:cNvPr>
            <p:cNvCxnSpPr>
              <a:cxnSpLocks/>
              <a:endCxn id="249" idx="0"/>
            </p:cNvCxnSpPr>
            <p:nvPr/>
          </p:nvCxnSpPr>
          <p:spPr bwMode="auto">
            <a:xfrm>
              <a:off x="6884411" y="3611188"/>
              <a:ext cx="7186" cy="557597"/>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6" name="Straight Connector 215">
              <a:extLst>
                <a:ext uri="{FF2B5EF4-FFF2-40B4-BE49-F238E27FC236}">
                  <a16:creationId xmlns:a16="http://schemas.microsoft.com/office/drawing/2014/main" id="{24B13A1E-BAFB-41C7-A13E-6ABCB396189F}"/>
                </a:ext>
              </a:extLst>
            </p:cNvPr>
            <p:cNvCxnSpPr>
              <a:cxnSpLocks/>
              <a:endCxn id="250" idx="0"/>
            </p:cNvCxnSpPr>
            <p:nvPr/>
          </p:nvCxnSpPr>
          <p:spPr bwMode="auto">
            <a:xfrm>
              <a:off x="8338528" y="3596455"/>
              <a:ext cx="11694" cy="58477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7" name="Straight Connector 216">
              <a:extLst>
                <a:ext uri="{FF2B5EF4-FFF2-40B4-BE49-F238E27FC236}">
                  <a16:creationId xmlns:a16="http://schemas.microsoft.com/office/drawing/2014/main" id="{9FA36852-A094-4EF5-B7CD-8FCF83270AA5}"/>
                </a:ext>
              </a:extLst>
            </p:cNvPr>
            <p:cNvCxnSpPr>
              <a:cxnSpLocks/>
            </p:cNvCxnSpPr>
            <p:nvPr/>
          </p:nvCxnSpPr>
          <p:spPr bwMode="auto">
            <a:xfrm>
              <a:off x="713264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8" name="Straight Connector 217">
              <a:extLst>
                <a:ext uri="{FF2B5EF4-FFF2-40B4-BE49-F238E27FC236}">
                  <a16:creationId xmlns:a16="http://schemas.microsoft.com/office/drawing/2014/main" id="{2CC930F1-8541-408E-BC98-2B5FD813A92A}"/>
                </a:ext>
              </a:extLst>
            </p:cNvPr>
            <p:cNvCxnSpPr>
              <a:cxnSpLocks/>
            </p:cNvCxnSpPr>
            <p:nvPr/>
          </p:nvCxnSpPr>
          <p:spPr bwMode="auto">
            <a:xfrm>
              <a:off x="7861594" y="3055155"/>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9" name="Straight Connector 218">
              <a:extLst>
                <a:ext uri="{FF2B5EF4-FFF2-40B4-BE49-F238E27FC236}">
                  <a16:creationId xmlns:a16="http://schemas.microsoft.com/office/drawing/2014/main" id="{03A13CB3-F220-4B1A-82B5-9FC97C17E4DE}"/>
                </a:ext>
              </a:extLst>
            </p:cNvPr>
            <p:cNvCxnSpPr>
              <a:cxnSpLocks/>
            </p:cNvCxnSpPr>
            <p:nvPr/>
          </p:nvCxnSpPr>
          <p:spPr bwMode="auto">
            <a:xfrm>
              <a:off x="930186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20" name="Straight Connector 219">
              <a:extLst>
                <a:ext uri="{FF2B5EF4-FFF2-40B4-BE49-F238E27FC236}">
                  <a16:creationId xmlns:a16="http://schemas.microsoft.com/office/drawing/2014/main" id="{6E67CE8A-4CEA-4A5F-8108-8E4B2F99ADD1}"/>
                </a:ext>
              </a:extLst>
            </p:cNvPr>
            <p:cNvCxnSpPr>
              <a:cxnSpLocks/>
            </p:cNvCxnSpPr>
            <p:nvPr/>
          </p:nvCxnSpPr>
          <p:spPr bwMode="auto">
            <a:xfrm>
              <a:off x="10752163"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22" name="Oval 221">
              <a:extLst>
                <a:ext uri="{FF2B5EF4-FFF2-40B4-BE49-F238E27FC236}">
                  <a16:creationId xmlns:a16="http://schemas.microsoft.com/office/drawing/2014/main" id="{4CCC064F-1B24-4B35-A185-BD0F41104C43}"/>
                </a:ext>
              </a:extLst>
            </p:cNvPr>
            <p:cNvSpPr/>
            <p:nvPr/>
          </p:nvSpPr>
          <p:spPr bwMode="auto">
            <a:xfrm>
              <a:off x="6335037" y="320979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3" name="Oval 222">
              <a:extLst>
                <a:ext uri="{FF2B5EF4-FFF2-40B4-BE49-F238E27FC236}">
                  <a16:creationId xmlns:a16="http://schemas.microsoft.com/office/drawing/2014/main" id="{70DB4543-DEAD-455C-9A02-B8A366DFFDA9}"/>
                </a:ext>
              </a:extLst>
            </p:cNvPr>
            <p:cNvSpPr/>
            <p:nvPr/>
          </p:nvSpPr>
          <p:spPr bwMode="auto">
            <a:xfrm>
              <a:off x="7066641" y="32022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4" name="Oval 223">
              <a:extLst>
                <a:ext uri="{FF2B5EF4-FFF2-40B4-BE49-F238E27FC236}">
                  <a16:creationId xmlns:a16="http://schemas.microsoft.com/office/drawing/2014/main" id="{5418E554-AD14-4575-965A-4F3EDD282F3C}"/>
                </a:ext>
              </a:extLst>
            </p:cNvPr>
            <p:cNvSpPr/>
            <p:nvPr/>
          </p:nvSpPr>
          <p:spPr bwMode="auto">
            <a:xfrm>
              <a:off x="7795734" y="3194272"/>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5" name="Oval 224">
              <a:extLst>
                <a:ext uri="{FF2B5EF4-FFF2-40B4-BE49-F238E27FC236}">
                  <a16:creationId xmlns:a16="http://schemas.microsoft.com/office/drawing/2014/main" id="{C350BDE5-D4C9-41FF-BC81-E4C3AAED5F21}"/>
                </a:ext>
              </a:extLst>
            </p:cNvPr>
            <p:cNvSpPr/>
            <p:nvPr/>
          </p:nvSpPr>
          <p:spPr bwMode="auto">
            <a:xfrm>
              <a:off x="9233420" y="318783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6" name="Oval 225">
              <a:extLst>
                <a:ext uri="{FF2B5EF4-FFF2-40B4-BE49-F238E27FC236}">
                  <a16:creationId xmlns:a16="http://schemas.microsoft.com/office/drawing/2014/main" id="{D7041F0B-D7DE-4322-931A-0B8892EBFC36}"/>
                </a:ext>
              </a:extLst>
            </p:cNvPr>
            <p:cNvSpPr/>
            <p:nvPr/>
          </p:nvSpPr>
          <p:spPr bwMode="auto">
            <a:xfrm>
              <a:off x="10692276"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7" name="Oval 226">
              <a:extLst>
                <a:ext uri="{FF2B5EF4-FFF2-40B4-BE49-F238E27FC236}">
                  <a16:creationId xmlns:a16="http://schemas.microsoft.com/office/drawing/2014/main" id="{70ED5429-6FED-4C59-B6EB-99282424AF3E}"/>
                </a:ext>
              </a:extLst>
            </p:cNvPr>
            <p:cNvSpPr/>
            <p:nvPr/>
          </p:nvSpPr>
          <p:spPr bwMode="auto">
            <a:xfrm>
              <a:off x="6822333" y="378105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8" name="Oval 227">
              <a:extLst>
                <a:ext uri="{FF2B5EF4-FFF2-40B4-BE49-F238E27FC236}">
                  <a16:creationId xmlns:a16="http://schemas.microsoft.com/office/drawing/2014/main" id="{DF74C6DF-E183-42D2-8977-A32BDDC25BB1}"/>
                </a:ext>
              </a:extLst>
            </p:cNvPr>
            <p:cNvSpPr/>
            <p:nvPr/>
          </p:nvSpPr>
          <p:spPr bwMode="auto">
            <a:xfrm>
              <a:off x="8272903" y="3773150"/>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7" name="Text Box 144">
              <a:extLst>
                <a:ext uri="{FF2B5EF4-FFF2-40B4-BE49-F238E27FC236}">
                  <a16:creationId xmlns:a16="http://schemas.microsoft.com/office/drawing/2014/main" id="{1096EC00-8E15-4531-93C9-595E3B2584ED}"/>
                </a:ext>
              </a:extLst>
            </p:cNvPr>
            <p:cNvSpPr txBox="1">
              <a:spLocks noChangeAspect="1" noChangeArrowheads="1"/>
            </p:cNvSpPr>
            <p:nvPr/>
          </p:nvSpPr>
          <p:spPr bwMode="auto">
            <a:xfrm>
              <a:off x="5694838" y="2094137"/>
              <a:ext cx="1121746"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5GC</a:t>
              </a:r>
            </a:p>
          </p:txBody>
        </p:sp>
        <p:sp>
          <p:nvSpPr>
            <p:cNvPr id="240" name="TextBox 239">
              <a:extLst>
                <a:ext uri="{FF2B5EF4-FFF2-40B4-BE49-F238E27FC236}">
                  <a16:creationId xmlns:a16="http://schemas.microsoft.com/office/drawing/2014/main" id="{6B50F069-D8DC-439D-A075-2FACB08595CC}"/>
                </a:ext>
              </a:extLst>
            </p:cNvPr>
            <p:cNvSpPr txBox="1"/>
            <p:nvPr/>
          </p:nvSpPr>
          <p:spPr bwMode="auto">
            <a:xfrm>
              <a:off x="5491612" y="249095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USF</a:t>
              </a:r>
            </a:p>
          </p:txBody>
        </p:sp>
        <p:sp>
          <p:nvSpPr>
            <p:cNvPr id="243" name="TextBox 242">
              <a:extLst>
                <a:ext uri="{FF2B5EF4-FFF2-40B4-BE49-F238E27FC236}">
                  <a16:creationId xmlns:a16="http://schemas.microsoft.com/office/drawing/2014/main" id="{CC7A5B4D-C298-478C-B489-96BB226BC582}"/>
                </a:ext>
              </a:extLst>
            </p:cNvPr>
            <p:cNvSpPr txBox="1"/>
            <p:nvPr/>
          </p:nvSpPr>
          <p:spPr bwMode="auto">
            <a:xfrm>
              <a:off x="6220086" y="249697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R</a:t>
              </a:r>
            </a:p>
          </p:txBody>
        </p:sp>
        <p:sp>
          <p:nvSpPr>
            <p:cNvPr id="248" name="TextBox 247">
              <a:extLst>
                <a:ext uri="{FF2B5EF4-FFF2-40B4-BE49-F238E27FC236}">
                  <a16:creationId xmlns:a16="http://schemas.microsoft.com/office/drawing/2014/main" id="{797FCEBE-CBC1-42EA-8506-087CF5549C05}"/>
                </a:ext>
              </a:extLst>
            </p:cNvPr>
            <p:cNvSpPr txBox="1"/>
            <p:nvPr/>
          </p:nvSpPr>
          <p:spPr bwMode="auto">
            <a:xfrm>
              <a:off x="9113948" y="249255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9" name="TextBox 248">
              <a:extLst>
                <a:ext uri="{FF2B5EF4-FFF2-40B4-BE49-F238E27FC236}">
                  <a16:creationId xmlns:a16="http://schemas.microsoft.com/office/drawing/2014/main" id="{5BA010C4-EA77-419D-8868-F344AB45E457}"/>
                </a:ext>
              </a:extLst>
            </p:cNvPr>
            <p:cNvSpPr txBox="1"/>
            <p:nvPr/>
          </p:nvSpPr>
          <p:spPr bwMode="auto">
            <a:xfrm>
              <a:off x="6711597" y="4168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50" name="TextBox 249">
              <a:extLst>
                <a:ext uri="{FF2B5EF4-FFF2-40B4-BE49-F238E27FC236}">
                  <a16:creationId xmlns:a16="http://schemas.microsoft.com/office/drawing/2014/main" id="{E551A470-9424-4A16-8CA2-C3F536442356}"/>
                </a:ext>
              </a:extLst>
            </p:cNvPr>
            <p:cNvSpPr txBox="1"/>
            <p:nvPr/>
          </p:nvSpPr>
          <p:spPr bwMode="auto">
            <a:xfrm>
              <a:off x="8170222" y="418123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51" name="TextBox 250">
              <a:extLst>
                <a:ext uri="{FF2B5EF4-FFF2-40B4-BE49-F238E27FC236}">
                  <a16:creationId xmlns:a16="http://schemas.microsoft.com/office/drawing/2014/main" id="{992C8F44-0307-412E-98DE-B129E4EC97FC}"/>
                </a:ext>
              </a:extLst>
            </p:cNvPr>
            <p:cNvSpPr txBox="1"/>
            <p:nvPr/>
          </p:nvSpPr>
          <p:spPr bwMode="auto">
            <a:xfrm>
              <a:off x="8396507" y="248056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252" name="TextBox 251">
              <a:extLst>
                <a:ext uri="{FF2B5EF4-FFF2-40B4-BE49-F238E27FC236}">
                  <a16:creationId xmlns:a16="http://schemas.microsoft.com/office/drawing/2014/main" id="{E4DBC7C6-8CA4-48DD-B1CA-4BEC25AF59C8}"/>
                </a:ext>
              </a:extLst>
            </p:cNvPr>
            <p:cNvSpPr txBox="1"/>
            <p:nvPr/>
          </p:nvSpPr>
          <p:spPr bwMode="auto">
            <a:xfrm>
              <a:off x="9844407"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EF</a:t>
              </a:r>
            </a:p>
          </p:txBody>
        </p:sp>
        <p:sp>
          <p:nvSpPr>
            <p:cNvPr id="253" name="TextBox 252">
              <a:extLst>
                <a:ext uri="{FF2B5EF4-FFF2-40B4-BE49-F238E27FC236}">
                  <a16:creationId xmlns:a16="http://schemas.microsoft.com/office/drawing/2014/main" id="{23409AEA-EEEC-4992-9622-11C2554B652C}"/>
                </a:ext>
              </a:extLst>
            </p:cNvPr>
            <p:cNvSpPr txBox="1"/>
            <p:nvPr/>
          </p:nvSpPr>
          <p:spPr bwMode="auto">
            <a:xfrm>
              <a:off x="10559377" y="24870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F</a:t>
              </a:r>
            </a:p>
          </p:txBody>
        </p:sp>
        <p:sp>
          <p:nvSpPr>
            <p:cNvPr id="330" name="Text Box 144">
              <a:extLst>
                <a:ext uri="{FF2B5EF4-FFF2-40B4-BE49-F238E27FC236}">
                  <a16:creationId xmlns:a16="http://schemas.microsoft.com/office/drawing/2014/main" id="{9C43F5C7-D0FB-4182-9679-FFF7E1264811}"/>
                </a:ext>
              </a:extLst>
            </p:cNvPr>
            <p:cNvSpPr txBox="1">
              <a:spLocks noChangeAspect="1" noChangeArrowheads="1"/>
            </p:cNvSpPr>
            <p:nvPr/>
          </p:nvSpPr>
          <p:spPr bwMode="auto">
            <a:xfrm>
              <a:off x="9118751" y="3380649"/>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r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1" name="Straight Connector 330">
              <a:extLst>
                <a:ext uri="{FF2B5EF4-FFF2-40B4-BE49-F238E27FC236}">
                  <a16:creationId xmlns:a16="http://schemas.microsoft.com/office/drawing/2014/main" id="{98D291E0-47DA-418D-B15D-92D721BA0163}"/>
                </a:ext>
              </a:extLst>
            </p:cNvPr>
            <p:cNvCxnSpPr>
              <a:cxnSpLocks/>
            </p:cNvCxnSpPr>
            <p:nvPr/>
          </p:nvCxnSpPr>
          <p:spPr bwMode="auto">
            <a:xfrm>
              <a:off x="8580978" y="3070208"/>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2" name="Oval 331">
              <a:extLst>
                <a:ext uri="{FF2B5EF4-FFF2-40B4-BE49-F238E27FC236}">
                  <a16:creationId xmlns:a16="http://schemas.microsoft.com/office/drawing/2014/main" id="{56E72514-CCEA-433A-8F5F-50C5089FEA9C}"/>
                </a:ext>
              </a:extLst>
            </p:cNvPr>
            <p:cNvSpPr/>
            <p:nvPr/>
          </p:nvSpPr>
          <p:spPr bwMode="auto">
            <a:xfrm>
              <a:off x="8515118" y="32093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50" name="Straight Connector 349">
              <a:extLst>
                <a:ext uri="{FF2B5EF4-FFF2-40B4-BE49-F238E27FC236}">
                  <a16:creationId xmlns:a16="http://schemas.microsoft.com/office/drawing/2014/main" id="{D7BF2B8B-0476-4B34-99AE-DCD7A8B94363}"/>
                </a:ext>
              </a:extLst>
            </p:cNvPr>
            <p:cNvCxnSpPr>
              <a:cxnSpLocks/>
            </p:cNvCxnSpPr>
            <p:nvPr/>
          </p:nvCxnSpPr>
          <p:spPr bwMode="auto">
            <a:xfrm>
              <a:off x="10011707" y="304850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51" name="Oval 350">
              <a:extLst>
                <a:ext uri="{FF2B5EF4-FFF2-40B4-BE49-F238E27FC236}">
                  <a16:creationId xmlns:a16="http://schemas.microsoft.com/office/drawing/2014/main" id="{7F2D3DA8-06EC-4D78-9DEB-EBBA2F62B676}"/>
                </a:ext>
              </a:extLst>
            </p:cNvPr>
            <p:cNvSpPr/>
            <p:nvPr/>
          </p:nvSpPr>
          <p:spPr bwMode="auto">
            <a:xfrm>
              <a:off x="9943264" y="317340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52" name="Text Box 144">
              <a:extLst>
                <a:ext uri="{FF2B5EF4-FFF2-40B4-BE49-F238E27FC236}">
                  <a16:creationId xmlns:a16="http://schemas.microsoft.com/office/drawing/2014/main" id="{2A5934D5-5698-4A72-90B2-478B2300303E}"/>
                </a:ext>
              </a:extLst>
            </p:cNvPr>
            <p:cNvSpPr txBox="1">
              <a:spLocks noChangeAspect="1" noChangeArrowheads="1"/>
            </p:cNvSpPr>
            <p:nvPr/>
          </p:nvSpPr>
          <p:spPr bwMode="auto">
            <a:xfrm>
              <a:off x="9820806" y="3371125"/>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e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69" name="Rectangle: Rounded Corners 68">
              <a:extLst>
                <a:ext uri="{FF2B5EF4-FFF2-40B4-BE49-F238E27FC236}">
                  <a16:creationId xmlns:a16="http://schemas.microsoft.com/office/drawing/2014/main" id="{0F53F1F3-C708-44D2-9267-FCB58B260D74}"/>
                </a:ext>
              </a:extLst>
            </p:cNvPr>
            <p:cNvSpPr/>
            <p:nvPr/>
          </p:nvSpPr>
          <p:spPr bwMode="auto">
            <a:xfrm>
              <a:off x="2545749" y="4345429"/>
              <a:ext cx="1875436" cy="1903476"/>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70" name="Freeform 88">
              <a:extLst>
                <a:ext uri="{FF2B5EF4-FFF2-40B4-BE49-F238E27FC236}">
                  <a16:creationId xmlns:a16="http://schemas.microsoft.com/office/drawing/2014/main" id="{6B509380-1BF8-4400-928B-8BDB359A156D}"/>
                </a:ext>
              </a:extLst>
            </p:cNvPr>
            <p:cNvSpPr>
              <a:spLocks/>
            </p:cNvSpPr>
            <p:nvPr/>
          </p:nvSpPr>
          <p:spPr bwMode="auto">
            <a:xfrm rot="3464770" flipH="1">
              <a:off x="1787125" y="5197918"/>
              <a:ext cx="595575" cy="444850"/>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71" name="Text Box 144">
              <a:extLst>
                <a:ext uri="{FF2B5EF4-FFF2-40B4-BE49-F238E27FC236}">
                  <a16:creationId xmlns:a16="http://schemas.microsoft.com/office/drawing/2014/main" id="{C137B1D7-9BD6-44DE-86BB-A299D7260E84}"/>
                </a:ext>
              </a:extLst>
            </p:cNvPr>
            <p:cNvSpPr txBox="1">
              <a:spLocks noChangeAspect="1" noChangeArrowheads="1"/>
            </p:cNvSpPr>
            <p:nvPr/>
          </p:nvSpPr>
          <p:spPr bwMode="auto">
            <a:xfrm>
              <a:off x="870001" y="5765532"/>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 UE</a:t>
              </a:r>
            </a:p>
          </p:txBody>
        </p:sp>
        <p:sp>
          <p:nvSpPr>
            <p:cNvPr id="72" name="Text Box 144">
              <a:extLst>
                <a:ext uri="{FF2B5EF4-FFF2-40B4-BE49-F238E27FC236}">
                  <a16:creationId xmlns:a16="http://schemas.microsoft.com/office/drawing/2014/main" id="{949F3A2C-F2A9-4F21-A9B8-1429F7630E0C}"/>
                </a:ext>
              </a:extLst>
            </p:cNvPr>
            <p:cNvSpPr txBox="1">
              <a:spLocks noChangeAspect="1" noChangeArrowheads="1"/>
            </p:cNvSpPr>
            <p:nvPr/>
          </p:nvSpPr>
          <p:spPr bwMode="auto">
            <a:xfrm>
              <a:off x="5041432" y="4457666"/>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73" name="Text Box 144">
              <a:extLst>
                <a:ext uri="{FF2B5EF4-FFF2-40B4-BE49-F238E27FC236}">
                  <a16:creationId xmlns:a16="http://schemas.microsoft.com/office/drawing/2014/main" id="{DD4E0CFB-6950-42FC-BF5E-03CC428E0B9A}"/>
                </a:ext>
              </a:extLst>
            </p:cNvPr>
            <p:cNvSpPr txBox="1">
              <a:spLocks noChangeAspect="1" noChangeArrowheads="1"/>
            </p:cNvSpPr>
            <p:nvPr/>
          </p:nvSpPr>
          <p:spPr bwMode="auto">
            <a:xfrm>
              <a:off x="5023315" y="5280730"/>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74" name="Text Box 144">
              <a:extLst>
                <a:ext uri="{FF2B5EF4-FFF2-40B4-BE49-F238E27FC236}">
                  <a16:creationId xmlns:a16="http://schemas.microsoft.com/office/drawing/2014/main" id="{041B22F5-80D3-4CBA-ACBC-A8D3833CC19A}"/>
                </a:ext>
              </a:extLst>
            </p:cNvPr>
            <p:cNvSpPr txBox="1">
              <a:spLocks noChangeAspect="1" noChangeArrowheads="1"/>
            </p:cNvSpPr>
            <p:nvPr/>
          </p:nvSpPr>
          <p:spPr bwMode="auto">
            <a:xfrm>
              <a:off x="5044693" y="405848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75" name="Straight Connector 74">
              <a:extLst>
                <a:ext uri="{FF2B5EF4-FFF2-40B4-BE49-F238E27FC236}">
                  <a16:creationId xmlns:a16="http://schemas.microsoft.com/office/drawing/2014/main" id="{9C9061F9-936F-4A65-9837-21A660C5397D}"/>
                </a:ext>
              </a:extLst>
            </p:cNvPr>
            <p:cNvCxnSpPr>
              <a:cxnSpLocks/>
            </p:cNvCxnSpPr>
            <p:nvPr/>
          </p:nvCxnSpPr>
          <p:spPr bwMode="auto">
            <a:xfrm>
              <a:off x="6884411" y="3611188"/>
              <a:ext cx="7186" cy="557597"/>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6" name="Straight Connector 133">
              <a:extLst>
                <a:ext uri="{FF2B5EF4-FFF2-40B4-BE49-F238E27FC236}">
                  <a16:creationId xmlns:a16="http://schemas.microsoft.com/office/drawing/2014/main" id="{73398765-D15A-41E9-AE62-00B8BAD3FFEC}"/>
                </a:ext>
              </a:extLst>
            </p:cNvPr>
            <p:cNvCxnSpPr>
              <a:cxnSpLocks/>
              <a:stCxn id="88" idx="3"/>
            </p:cNvCxnSpPr>
            <p:nvPr/>
          </p:nvCxnSpPr>
          <p:spPr bwMode="auto">
            <a:xfrm flipV="1">
              <a:off x="4317587" y="4456532"/>
              <a:ext cx="2394010" cy="36830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79" name="TextBox 78">
              <a:extLst>
                <a:ext uri="{FF2B5EF4-FFF2-40B4-BE49-F238E27FC236}">
                  <a16:creationId xmlns:a16="http://schemas.microsoft.com/office/drawing/2014/main" id="{0ACF0AB0-8F13-40A7-BE71-99D416C329F6}"/>
                </a:ext>
              </a:extLst>
            </p:cNvPr>
            <p:cNvSpPr txBox="1"/>
            <p:nvPr/>
          </p:nvSpPr>
          <p:spPr bwMode="auto">
            <a:xfrm>
              <a:off x="2624233" y="5176651"/>
              <a:ext cx="507649" cy="774772"/>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DU</a:t>
              </a:r>
            </a:p>
          </p:txBody>
        </p:sp>
        <p:grpSp>
          <p:nvGrpSpPr>
            <p:cNvPr id="82" name="Group 81">
              <a:extLst>
                <a:ext uri="{FF2B5EF4-FFF2-40B4-BE49-F238E27FC236}">
                  <a16:creationId xmlns:a16="http://schemas.microsoft.com/office/drawing/2014/main" id="{FDD9FF3F-D76D-4777-AC87-8C4E7FD6D4D1}"/>
                </a:ext>
              </a:extLst>
            </p:cNvPr>
            <p:cNvGrpSpPr>
              <a:grpSpLocks noChangeAspect="1"/>
            </p:cNvGrpSpPr>
            <p:nvPr/>
          </p:nvGrpSpPr>
          <p:grpSpPr>
            <a:xfrm>
              <a:off x="1163229" y="5047661"/>
              <a:ext cx="419644" cy="587501"/>
              <a:chOff x="10129764" y="745508"/>
              <a:chExt cx="221963" cy="310748"/>
            </a:xfrm>
          </p:grpSpPr>
          <p:grpSp>
            <p:nvGrpSpPr>
              <p:cNvPr id="83" name="Group 82">
                <a:extLst>
                  <a:ext uri="{FF2B5EF4-FFF2-40B4-BE49-F238E27FC236}">
                    <a16:creationId xmlns:a16="http://schemas.microsoft.com/office/drawing/2014/main" id="{71771076-8ADD-4527-A694-286CD18F64D7}"/>
                  </a:ext>
                </a:extLst>
              </p:cNvPr>
              <p:cNvGrpSpPr>
                <a:grpSpLocks noChangeAspect="1"/>
              </p:cNvGrpSpPr>
              <p:nvPr/>
            </p:nvGrpSpPr>
            <p:grpSpPr>
              <a:xfrm>
                <a:off x="10129764" y="745508"/>
                <a:ext cx="221963" cy="310748"/>
                <a:chOff x="1373325" y="5272742"/>
                <a:chExt cx="428625" cy="600075"/>
              </a:xfrm>
            </p:grpSpPr>
            <p:sp>
              <p:nvSpPr>
                <p:cNvPr id="85" name="Rectangle 84">
                  <a:extLst>
                    <a:ext uri="{FF2B5EF4-FFF2-40B4-BE49-F238E27FC236}">
                      <a16:creationId xmlns:a16="http://schemas.microsoft.com/office/drawing/2014/main" id="{108E215F-4561-4E15-9ED2-8676EF587EA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86" name="Graphic 85">
                  <a:extLst>
                    <a:ext uri="{FF2B5EF4-FFF2-40B4-BE49-F238E27FC236}">
                      <a16:creationId xmlns:a16="http://schemas.microsoft.com/office/drawing/2014/main" id="{BA2C7A11-31FE-4D52-A03B-584275F788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84" name="TextBox 83">
                <a:extLst>
                  <a:ext uri="{FF2B5EF4-FFF2-40B4-BE49-F238E27FC236}">
                    <a16:creationId xmlns:a16="http://schemas.microsoft.com/office/drawing/2014/main" id="{7FEADAD7-AD1C-42DD-9ACA-E3A277E55A6E}"/>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87" name="TextBox 86">
              <a:extLst>
                <a:ext uri="{FF2B5EF4-FFF2-40B4-BE49-F238E27FC236}">
                  <a16:creationId xmlns:a16="http://schemas.microsoft.com/office/drawing/2014/main" id="{A37D4BC8-8961-4E7E-9205-2A696F451489}"/>
                </a:ext>
              </a:extLst>
            </p:cNvPr>
            <p:cNvSpPr txBox="1"/>
            <p:nvPr/>
          </p:nvSpPr>
          <p:spPr bwMode="auto">
            <a:xfrm>
              <a:off x="3809938" y="5291211"/>
              <a:ext cx="507649" cy="694447"/>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Hilda"/>
                  <a:ea typeface="+mn-ea"/>
                  <a:cs typeface="+mn-cs"/>
                </a:rPr>
                <a:t>CU-UP</a:t>
              </a:r>
            </a:p>
          </p:txBody>
        </p:sp>
        <p:sp>
          <p:nvSpPr>
            <p:cNvPr id="88" name="TextBox 87">
              <a:extLst>
                <a:ext uri="{FF2B5EF4-FFF2-40B4-BE49-F238E27FC236}">
                  <a16:creationId xmlns:a16="http://schemas.microsoft.com/office/drawing/2014/main" id="{8759F68A-6B6A-43F5-B640-935731ECA733}"/>
                </a:ext>
              </a:extLst>
            </p:cNvPr>
            <p:cNvSpPr txBox="1"/>
            <p:nvPr/>
          </p:nvSpPr>
          <p:spPr bwMode="auto">
            <a:xfrm>
              <a:off x="3817461" y="4461735"/>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Hilda"/>
                  <a:ea typeface="+mn-ea"/>
                  <a:cs typeface="+mn-cs"/>
                </a:rPr>
                <a:t>CU-CP</a:t>
              </a:r>
            </a:p>
          </p:txBody>
        </p:sp>
        <p:cxnSp>
          <p:nvCxnSpPr>
            <p:cNvPr id="89" name="Straight Connector 133">
              <a:extLst>
                <a:ext uri="{FF2B5EF4-FFF2-40B4-BE49-F238E27FC236}">
                  <a16:creationId xmlns:a16="http://schemas.microsoft.com/office/drawing/2014/main" id="{5393EB5D-E20A-4A0B-B93F-C0747FB4EAD4}"/>
                </a:ext>
              </a:extLst>
            </p:cNvPr>
            <p:cNvCxnSpPr>
              <a:cxnSpLocks/>
              <a:stCxn id="86" idx="0"/>
            </p:cNvCxnSpPr>
            <p:nvPr/>
          </p:nvCxnSpPr>
          <p:spPr bwMode="auto">
            <a:xfrm rot="5400000" flipH="1" flipV="1">
              <a:off x="3647494" y="1983560"/>
              <a:ext cx="789659" cy="5338545"/>
            </a:xfrm>
            <a:prstGeom prst="bentConnector2">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90" name="Line 30">
              <a:extLst>
                <a:ext uri="{FF2B5EF4-FFF2-40B4-BE49-F238E27FC236}">
                  <a16:creationId xmlns:a16="http://schemas.microsoft.com/office/drawing/2014/main" id="{70DEDEDF-32C1-4D72-BFDA-38332431AB98}"/>
                </a:ext>
              </a:extLst>
            </p:cNvPr>
            <p:cNvSpPr>
              <a:spLocks noChangeShapeType="1"/>
            </p:cNvSpPr>
            <p:nvPr/>
          </p:nvSpPr>
          <p:spPr bwMode="auto">
            <a:xfrm flipV="1">
              <a:off x="3131881" y="5478662"/>
              <a:ext cx="685579" cy="0"/>
            </a:xfrm>
            <a:prstGeom prst="line">
              <a:avLst/>
            </a:prstGeom>
            <a:noFill/>
            <a:ln w="28575">
              <a:solidFill>
                <a:schemeClr val="tx2"/>
              </a:solidFill>
              <a:round/>
              <a:headEnd/>
              <a:tailEnd/>
            </a:ln>
          </p:spPr>
          <p:txBody>
            <a:bodyPr lIns="91438" tIns="45719" rIns="91438" bIns="45719"/>
            <a:lstStyle/>
            <a:p>
              <a:endParaRPr lang="sv-SE" sz="2400">
                <a:solidFill>
                  <a:srgbClr val="181818"/>
                </a:solidFill>
                <a:latin typeface="Ericsson Hilda"/>
                <a:ea typeface="ＭＳ Ｐゴシック" charset="0"/>
                <a:cs typeface="Arial" charset="0"/>
              </a:endParaRPr>
            </a:p>
          </p:txBody>
        </p:sp>
        <p:cxnSp>
          <p:nvCxnSpPr>
            <p:cNvPr id="91" name="Straight Connector 133">
              <a:extLst>
                <a:ext uri="{FF2B5EF4-FFF2-40B4-BE49-F238E27FC236}">
                  <a16:creationId xmlns:a16="http://schemas.microsoft.com/office/drawing/2014/main" id="{A2C98C94-6D6C-425F-A21A-6ECF2044EFC9}"/>
                </a:ext>
              </a:extLst>
            </p:cNvPr>
            <p:cNvCxnSpPr>
              <a:cxnSpLocks/>
              <a:endCxn id="88" idx="1"/>
            </p:cNvCxnSpPr>
            <p:nvPr/>
          </p:nvCxnSpPr>
          <p:spPr bwMode="auto">
            <a:xfrm flipV="1">
              <a:off x="3131881" y="4824834"/>
              <a:ext cx="685580" cy="52608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92" name="Text Box 144">
              <a:extLst>
                <a:ext uri="{FF2B5EF4-FFF2-40B4-BE49-F238E27FC236}">
                  <a16:creationId xmlns:a16="http://schemas.microsoft.com/office/drawing/2014/main" id="{55B7EDDE-BDFB-4766-9961-42DFFF567028}"/>
                </a:ext>
              </a:extLst>
            </p:cNvPr>
            <p:cNvSpPr txBox="1">
              <a:spLocks noChangeAspect="1" noChangeArrowheads="1"/>
            </p:cNvSpPr>
            <p:nvPr/>
          </p:nvSpPr>
          <p:spPr bwMode="auto">
            <a:xfrm>
              <a:off x="2940831" y="5801048"/>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RAN</a:t>
              </a:r>
            </a:p>
          </p:txBody>
        </p:sp>
        <p:cxnSp>
          <p:nvCxnSpPr>
            <p:cNvPr id="93" name="Straight Connector 133">
              <a:extLst>
                <a:ext uri="{FF2B5EF4-FFF2-40B4-BE49-F238E27FC236}">
                  <a16:creationId xmlns:a16="http://schemas.microsoft.com/office/drawing/2014/main" id="{C4301D0E-9935-4D2C-8ECA-2C87F84FE43E}"/>
                </a:ext>
              </a:extLst>
            </p:cNvPr>
            <p:cNvCxnSpPr>
              <a:cxnSpLocks/>
              <a:stCxn id="87" idx="0"/>
              <a:endCxn id="88" idx="2"/>
            </p:cNvCxnSpPr>
            <p:nvPr/>
          </p:nvCxnSpPr>
          <p:spPr bwMode="auto">
            <a:xfrm flipV="1">
              <a:off x="4063763" y="5187933"/>
              <a:ext cx="3761" cy="10327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98" name="Line 30"/>
            <p:cNvSpPr>
              <a:spLocks noChangeShapeType="1"/>
            </p:cNvSpPr>
            <p:nvPr/>
          </p:nvSpPr>
          <p:spPr bwMode="auto">
            <a:xfrm flipV="1">
              <a:off x="4317587" y="5470291"/>
              <a:ext cx="6089666" cy="36644"/>
            </a:xfrm>
            <a:prstGeom prst="line">
              <a:avLst/>
            </a:prstGeom>
            <a:noFill/>
            <a:ln w="28575">
              <a:solidFill>
                <a:schemeClr val="tx2"/>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42" name="TextBox 241">
              <a:extLst>
                <a:ext uri="{FF2B5EF4-FFF2-40B4-BE49-F238E27FC236}">
                  <a16:creationId xmlns:a16="http://schemas.microsoft.com/office/drawing/2014/main" id="{3E6FDA97-4331-4EA2-A071-025AA5B6DD54}"/>
                </a:ext>
              </a:extLst>
            </p:cNvPr>
            <p:cNvSpPr txBox="1"/>
            <p:nvPr/>
          </p:nvSpPr>
          <p:spPr bwMode="auto">
            <a:xfrm>
              <a:off x="8170709" y="517719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grpSp>
      <p:sp>
        <p:nvSpPr>
          <p:cNvPr id="78" name="TextBox 77">
            <a:extLst>
              <a:ext uri="{FF2B5EF4-FFF2-40B4-BE49-F238E27FC236}">
                <a16:creationId xmlns:a16="http://schemas.microsoft.com/office/drawing/2014/main" id="{F113E5BB-25B9-44F0-B8B1-B8FED1FF810B}"/>
              </a:ext>
            </a:extLst>
          </p:cNvPr>
          <p:cNvSpPr txBox="1"/>
          <p:nvPr/>
        </p:nvSpPr>
        <p:spPr bwMode="auto">
          <a:xfrm>
            <a:off x="6956997" y="24909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80" name="TextBox 79">
            <a:extLst>
              <a:ext uri="{FF2B5EF4-FFF2-40B4-BE49-F238E27FC236}">
                <a16:creationId xmlns:a16="http://schemas.microsoft.com/office/drawing/2014/main" id="{1310B6DA-B0DF-4883-A1CD-7E336E2D22D9}"/>
              </a:ext>
            </a:extLst>
          </p:cNvPr>
          <p:cNvSpPr txBox="1"/>
          <p:nvPr/>
        </p:nvSpPr>
        <p:spPr bwMode="auto">
          <a:xfrm>
            <a:off x="7695551" y="24909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PCF</a:t>
            </a:r>
          </a:p>
        </p:txBody>
      </p:sp>
    </p:spTree>
    <p:extLst>
      <p:ext uri="{BB962C8B-B14F-4D97-AF65-F5344CB8AC3E}">
        <p14:creationId xmlns:p14="http://schemas.microsoft.com/office/powerpoint/2010/main" val="425980028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2982A893-3C6C-4EF9-B10B-339A62891A60}"/>
              </a:ext>
            </a:extLst>
          </p:cNvPr>
          <p:cNvSpPr txBox="1"/>
          <p:nvPr/>
        </p:nvSpPr>
        <p:spPr bwMode="auto">
          <a:xfrm>
            <a:off x="3287383" y="2751035"/>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M</a:t>
            </a:r>
            <a:r>
              <a:rPr kumimoji="0" lang="en-US" sz="1600" b="0" i="0" u="none" strike="noStrike" kern="1200" cap="none" spc="0" normalizeH="0" baseline="0" noProof="0">
                <a:ln>
                  <a:noFill/>
                </a:ln>
                <a:solidFill>
                  <a:srgbClr val="0082F0"/>
                </a:solidFill>
                <a:effectLst/>
                <a:uLnTx/>
                <a:uFillTx/>
                <a:latin typeface="Ericsson Hilda"/>
                <a:ea typeface="+mn-ea"/>
                <a:cs typeface="+mn-cs"/>
              </a:rPr>
              <a:t>ME</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 name="Title 2">
            <a:extLst>
              <a:ext uri="{FF2B5EF4-FFF2-40B4-BE49-F238E27FC236}">
                <a16:creationId xmlns:a16="http://schemas.microsoft.com/office/drawing/2014/main" id="{79B1F829-6E88-45E3-9593-5E985EA53A35}"/>
              </a:ext>
            </a:extLst>
          </p:cNvPr>
          <p:cNvSpPr>
            <a:spLocks noGrp="1"/>
          </p:cNvSpPr>
          <p:nvPr>
            <p:ph type="title"/>
          </p:nvPr>
        </p:nvSpPr>
        <p:spPr>
          <a:xfrm>
            <a:off x="524935" y="218167"/>
            <a:ext cx="9992784" cy="1085371"/>
          </a:xfrm>
        </p:spPr>
        <p:txBody>
          <a:bodyPr>
            <a:noAutofit/>
          </a:bodyPr>
          <a:lstStyle/>
          <a:p>
            <a:r>
              <a:rPr lang="en-US" sz="3600"/>
              <a:t>Connected mode mobility EPS to 5GS</a:t>
            </a:r>
            <a:br>
              <a:rPr lang="en-US" sz="3600"/>
            </a:br>
            <a:r>
              <a:rPr lang="en-US" sz="2800"/>
              <a:t>Simplified</a:t>
            </a:r>
            <a:r>
              <a:rPr lang="en-US" sz="3600"/>
              <a:t> 	</a:t>
            </a:r>
          </a:p>
        </p:txBody>
      </p:sp>
      <p:grpSp>
        <p:nvGrpSpPr>
          <p:cNvPr id="49" name="Group 48">
            <a:extLst>
              <a:ext uri="{FF2B5EF4-FFF2-40B4-BE49-F238E27FC236}">
                <a16:creationId xmlns:a16="http://schemas.microsoft.com/office/drawing/2014/main" id="{77C9D867-16E7-48F6-A52F-E667AEF817BE}"/>
              </a:ext>
            </a:extLst>
          </p:cNvPr>
          <p:cNvGrpSpPr/>
          <p:nvPr/>
        </p:nvGrpSpPr>
        <p:grpSpPr>
          <a:xfrm>
            <a:off x="3122413" y="5674689"/>
            <a:ext cx="992350" cy="1183311"/>
            <a:chOff x="9548359" y="331410"/>
            <a:chExt cx="992350" cy="1183311"/>
          </a:xfrm>
        </p:grpSpPr>
        <p:sp>
          <p:nvSpPr>
            <p:cNvPr id="50" name="Freeform 4">
              <a:extLst>
                <a:ext uri="{FF2B5EF4-FFF2-40B4-BE49-F238E27FC236}">
                  <a16:creationId xmlns:a16="http://schemas.microsoft.com/office/drawing/2014/main" id="{6B0AF121-F054-49DC-B3C1-E7E0FC3C64A9}"/>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Text Box 144">
              <a:extLst>
                <a:ext uri="{FF2B5EF4-FFF2-40B4-BE49-F238E27FC236}">
                  <a16:creationId xmlns:a16="http://schemas.microsoft.com/office/drawing/2014/main" id="{1A9FAFC5-3805-44AC-AD75-09E2C846706E}"/>
                </a:ext>
              </a:extLst>
            </p:cNvPr>
            <p:cNvSpPr txBox="1">
              <a:spLocks noChangeAspect="1" noChangeArrowheads="1"/>
            </p:cNvSpPr>
            <p:nvPr/>
          </p:nvSpPr>
          <p:spPr bwMode="auto">
            <a:xfrm>
              <a:off x="9548359" y="827779"/>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sp>
        <p:nvSpPr>
          <p:cNvPr id="70" name="Rectangular Callout 104">
            <a:extLst>
              <a:ext uri="{FF2B5EF4-FFF2-40B4-BE49-F238E27FC236}">
                <a16:creationId xmlns:a16="http://schemas.microsoft.com/office/drawing/2014/main" id="{AFC8C705-7820-47D7-B800-82A093B59FC4}"/>
              </a:ext>
            </a:extLst>
          </p:cNvPr>
          <p:cNvSpPr/>
          <p:nvPr/>
        </p:nvSpPr>
        <p:spPr bwMode="auto">
          <a:xfrm>
            <a:off x="10057881" y="4528156"/>
            <a:ext cx="1775323" cy="1569660"/>
          </a:xfrm>
          <a:prstGeom prst="wedgeRectCallout">
            <a:avLst>
              <a:gd name="adj1" fmla="val -86105"/>
              <a:gd name="adj2" fmla="val 11794"/>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Handover Complete followed by registration procedure </a:t>
            </a:r>
            <a:r>
              <a:rPr lang="en-US" sz="1200">
                <a:solidFill>
                  <a:srgbClr val="00285F"/>
                </a:solidFill>
              </a:rPr>
              <a:t>(including requested NSSAI including all S-NSSAIs for all PDU Sessions). UE receives Allowed NSSAI</a:t>
            </a:r>
          </a:p>
        </p:txBody>
      </p:sp>
      <p:sp>
        <p:nvSpPr>
          <p:cNvPr id="71" name="Rectangular Callout 104">
            <a:extLst>
              <a:ext uri="{FF2B5EF4-FFF2-40B4-BE49-F238E27FC236}">
                <a16:creationId xmlns:a16="http://schemas.microsoft.com/office/drawing/2014/main" id="{D01F7DD4-A01B-48C2-A0E8-48EFDEEEC1EB}"/>
              </a:ext>
            </a:extLst>
          </p:cNvPr>
          <p:cNvSpPr/>
          <p:nvPr/>
        </p:nvSpPr>
        <p:spPr bwMode="auto">
          <a:xfrm>
            <a:off x="4654777" y="4086636"/>
            <a:ext cx="3165544" cy="830997"/>
          </a:xfrm>
          <a:prstGeom prst="wedgeRectCallout">
            <a:avLst>
              <a:gd name="adj1" fmla="val 7135"/>
              <a:gd name="adj2" fmla="val -80263"/>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Forward Relocation Request procedure. MME provides:</a:t>
            </a:r>
            <a:br>
              <a:rPr lang="en-US" sz="1200" b="1">
                <a:solidFill>
                  <a:srgbClr val="00285F"/>
                </a:solidFill>
              </a:rPr>
            </a:br>
            <a:r>
              <a:rPr lang="en-US" sz="1200" b="1">
                <a:solidFill>
                  <a:srgbClr val="00285F"/>
                </a:solidFill>
              </a:rPr>
              <a:t>- MME</a:t>
            </a:r>
            <a:r>
              <a:rPr lang="en-US" sz="1200">
                <a:solidFill>
                  <a:srgbClr val="00285F"/>
                </a:solidFill>
              </a:rPr>
              <a:t> UE Context, incl. EPS Bearer Context(s) each including PDN GW address</a:t>
            </a:r>
          </a:p>
        </p:txBody>
      </p:sp>
      <p:sp>
        <p:nvSpPr>
          <p:cNvPr id="77" name="Oval 76">
            <a:extLst>
              <a:ext uri="{FF2B5EF4-FFF2-40B4-BE49-F238E27FC236}">
                <a16:creationId xmlns:a16="http://schemas.microsoft.com/office/drawing/2014/main" id="{A8047EE4-718E-4E78-815F-DE7D383348E9}"/>
              </a:ext>
            </a:extLst>
          </p:cNvPr>
          <p:cNvSpPr/>
          <p:nvPr/>
        </p:nvSpPr>
        <p:spPr bwMode="auto">
          <a:xfrm>
            <a:off x="8380151" y="3813820"/>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6</a:t>
            </a:r>
          </a:p>
        </p:txBody>
      </p:sp>
      <p:sp>
        <p:nvSpPr>
          <p:cNvPr id="81" name="Oval 80">
            <a:extLst>
              <a:ext uri="{FF2B5EF4-FFF2-40B4-BE49-F238E27FC236}">
                <a16:creationId xmlns:a16="http://schemas.microsoft.com/office/drawing/2014/main" id="{05DB31E4-99CA-42C5-8845-CD75D26BB2B4}"/>
              </a:ext>
            </a:extLst>
          </p:cNvPr>
          <p:cNvSpPr/>
          <p:nvPr/>
        </p:nvSpPr>
        <p:spPr bwMode="auto">
          <a:xfrm>
            <a:off x="3165826" y="385071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1</a:t>
            </a:r>
          </a:p>
        </p:txBody>
      </p:sp>
      <p:grpSp>
        <p:nvGrpSpPr>
          <p:cNvPr id="2" name="Group 1">
            <a:extLst>
              <a:ext uri="{FF2B5EF4-FFF2-40B4-BE49-F238E27FC236}">
                <a16:creationId xmlns:a16="http://schemas.microsoft.com/office/drawing/2014/main" id="{729AC4B2-7A69-41B7-8A3F-EBA3F3F57622}"/>
              </a:ext>
            </a:extLst>
          </p:cNvPr>
          <p:cNvGrpSpPr/>
          <p:nvPr/>
        </p:nvGrpSpPr>
        <p:grpSpPr>
          <a:xfrm>
            <a:off x="4459413" y="6001012"/>
            <a:ext cx="3889164" cy="490879"/>
            <a:chOff x="4459413" y="6001012"/>
            <a:chExt cx="3889164" cy="490879"/>
          </a:xfrm>
        </p:grpSpPr>
        <p:sp>
          <p:nvSpPr>
            <p:cNvPr id="74" name="TextBox 73">
              <a:extLst>
                <a:ext uri="{FF2B5EF4-FFF2-40B4-BE49-F238E27FC236}">
                  <a16:creationId xmlns:a16="http://schemas.microsoft.com/office/drawing/2014/main" id="{7EA5658F-ABEB-4C7A-AF9F-26F243B73D9B}"/>
                </a:ext>
              </a:extLst>
            </p:cNvPr>
            <p:cNvSpPr txBox="1"/>
            <p:nvPr/>
          </p:nvSpPr>
          <p:spPr>
            <a:xfrm>
              <a:off x="4459413" y="6144194"/>
              <a:ext cx="3702197" cy="307777"/>
            </a:xfrm>
            <a:prstGeom prst="rect">
              <a:avLst/>
            </a:prstGeom>
            <a:noFill/>
          </p:spPr>
          <p:txBody>
            <a:bodyPr wrap="square" rtlCol="0">
              <a:spAutoFit/>
            </a:bodyPr>
            <a:lstStyle/>
            <a:p>
              <a:pPr algn="ctr"/>
              <a:r>
                <a:rPr lang="en-US" sz="1400" b="1">
                  <a:solidFill>
                    <a:srgbClr val="00285F"/>
                  </a:solidFill>
                </a:rPr>
                <a:t>UE moves from EPS to 5GS</a:t>
              </a:r>
            </a:p>
          </p:txBody>
        </p:sp>
        <p:sp>
          <p:nvSpPr>
            <p:cNvPr id="88" name="Arrow: Right 87">
              <a:extLst>
                <a:ext uri="{FF2B5EF4-FFF2-40B4-BE49-F238E27FC236}">
                  <a16:creationId xmlns:a16="http://schemas.microsoft.com/office/drawing/2014/main" id="{4688FC13-06DD-48D9-A1F2-C90A77D702C2}"/>
                </a:ext>
              </a:extLst>
            </p:cNvPr>
            <p:cNvSpPr/>
            <p:nvPr/>
          </p:nvSpPr>
          <p:spPr bwMode="auto">
            <a:xfrm>
              <a:off x="4569939" y="6001012"/>
              <a:ext cx="3778638" cy="490879"/>
            </a:xfrm>
            <a:prstGeom prst="rightArrow">
              <a:avLst>
                <a:gd name="adj1" fmla="val 53515"/>
                <a:gd name="adj2" fmla="val 50000"/>
              </a:avLst>
            </a:prstGeom>
            <a:noFill/>
            <a:ln w="1905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89" name="Group 88">
            <a:extLst>
              <a:ext uri="{FF2B5EF4-FFF2-40B4-BE49-F238E27FC236}">
                <a16:creationId xmlns:a16="http://schemas.microsoft.com/office/drawing/2014/main" id="{5E7646AE-6977-4144-AD9A-5AF11613709A}"/>
              </a:ext>
            </a:extLst>
          </p:cNvPr>
          <p:cNvGrpSpPr/>
          <p:nvPr/>
        </p:nvGrpSpPr>
        <p:grpSpPr>
          <a:xfrm>
            <a:off x="8406966" y="5680049"/>
            <a:ext cx="992350" cy="1182508"/>
            <a:chOff x="9538020" y="331410"/>
            <a:chExt cx="992350" cy="1182508"/>
          </a:xfrm>
        </p:grpSpPr>
        <p:sp>
          <p:nvSpPr>
            <p:cNvPr id="90" name="Freeform 4">
              <a:extLst>
                <a:ext uri="{FF2B5EF4-FFF2-40B4-BE49-F238E27FC236}">
                  <a16:creationId xmlns:a16="http://schemas.microsoft.com/office/drawing/2014/main" id="{2D01942B-3EBD-429C-B319-2102B83A42BE}"/>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Text Box 144">
              <a:extLst>
                <a:ext uri="{FF2B5EF4-FFF2-40B4-BE49-F238E27FC236}">
                  <a16:creationId xmlns:a16="http://schemas.microsoft.com/office/drawing/2014/main" id="{D4BC6E06-9CF6-4889-A4A1-6CF42E56A36C}"/>
                </a:ext>
              </a:extLst>
            </p:cNvPr>
            <p:cNvSpPr txBox="1">
              <a:spLocks noChangeAspect="1" noChangeArrowheads="1"/>
            </p:cNvSpPr>
            <p:nvPr/>
          </p:nvSpPr>
          <p:spPr bwMode="auto">
            <a:xfrm>
              <a:off x="9538020" y="826976"/>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cxnSp>
        <p:nvCxnSpPr>
          <p:cNvPr id="94" name="Straight Arrow Connector 93">
            <a:extLst>
              <a:ext uri="{FF2B5EF4-FFF2-40B4-BE49-F238E27FC236}">
                <a16:creationId xmlns:a16="http://schemas.microsoft.com/office/drawing/2014/main" id="{9698372F-EEF7-43F4-997B-41EC91084E81}"/>
              </a:ext>
            </a:extLst>
          </p:cNvPr>
          <p:cNvCxnSpPr>
            <a:cxnSpLocks/>
            <a:stCxn id="36" idx="0"/>
            <a:endCxn id="53" idx="2"/>
          </p:cNvCxnSpPr>
          <p:nvPr/>
        </p:nvCxnSpPr>
        <p:spPr bwMode="auto">
          <a:xfrm flipV="1">
            <a:off x="3618589" y="3819900"/>
            <a:ext cx="4099" cy="390723"/>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7" name="Straight Arrow Connector 96">
            <a:extLst>
              <a:ext uri="{FF2B5EF4-FFF2-40B4-BE49-F238E27FC236}">
                <a16:creationId xmlns:a16="http://schemas.microsoft.com/office/drawing/2014/main" id="{2E75B193-5A8F-48D4-B8E1-5C933BAEA034}"/>
              </a:ext>
            </a:extLst>
          </p:cNvPr>
          <p:cNvCxnSpPr>
            <a:cxnSpLocks/>
            <a:stCxn id="48" idx="1"/>
            <a:endCxn id="53" idx="3"/>
          </p:cNvCxnSpPr>
          <p:nvPr/>
        </p:nvCxnSpPr>
        <p:spPr bwMode="auto">
          <a:xfrm flipH="1">
            <a:off x="3957993" y="3270496"/>
            <a:ext cx="4574274" cy="14972"/>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9" name="Straight Arrow Connector 98">
            <a:extLst>
              <a:ext uri="{FF2B5EF4-FFF2-40B4-BE49-F238E27FC236}">
                <a16:creationId xmlns:a16="http://schemas.microsoft.com/office/drawing/2014/main" id="{FEBF523B-DD01-466D-9F86-04620D8CB8CD}"/>
              </a:ext>
            </a:extLst>
          </p:cNvPr>
          <p:cNvCxnSpPr>
            <a:cxnSpLocks/>
            <a:stCxn id="53" idx="0"/>
            <a:endCxn id="52" idx="1"/>
          </p:cNvCxnSpPr>
          <p:nvPr/>
        </p:nvCxnSpPr>
        <p:spPr bwMode="auto">
          <a:xfrm flipV="1">
            <a:off x="3622688" y="1901125"/>
            <a:ext cx="2137250" cy="849910"/>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103" name="Rectangular Callout 104">
            <a:extLst>
              <a:ext uri="{FF2B5EF4-FFF2-40B4-BE49-F238E27FC236}">
                <a16:creationId xmlns:a16="http://schemas.microsoft.com/office/drawing/2014/main" id="{6F9D1ACC-0110-4039-8F33-953315B65756}"/>
              </a:ext>
            </a:extLst>
          </p:cNvPr>
          <p:cNvSpPr/>
          <p:nvPr/>
        </p:nvSpPr>
        <p:spPr bwMode="auto">
          <a:xfrm>
            <a:off x="9482812" y="1065843"/>
            <a:ext cx="2740424" cy="1661993"/>
          </a:xfrm>
          <a:prstGeom prst="wedgeRectCallout">
            <a:avLst>
              <a:gd name="adj1" fmla="val -61457"/>
              <a:gd name="adj2" fmla="val 42059"/>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r>
              <a:rPr lang="en-GB" sz="1200"/>
              <a:t>In the home-routed roaming case, the AMF selects default V-SMFs (</a:t>
            </a:r>
            <a:r>
              <a:rPr lang="en-GB" sz="1200">
                <a:solidFill>
                  <a:schemeClr val="tx2"/>
                </a:solidFill>
              </a:rPr>
              <a:t>using S-NSSAI applicable for IW). </a:t>
            </a:r>
          </a:p>
          <a:p>
            <a:r>
              <a:rPr lang="en-US" sz="1200">
                <a:solidFill>
                  <a:schemeClr val="tx2"/>
                </a:solidFill>
              </a:rPr>
              <a:t>If S-NSSAI for IW is different from</a:t>
            </a:r>
            <a:r>
              <a:rPr lang="en-US" sz="1200"/>
              <a:t> S-NSSAI to be used in VPLMN, AMF updates default V-SMF which updates NG-RAN with appropriate VPLMN S-NSSAI value(s)</a:t>
            </a:r>
            <a:endParaRPr lang="en-US" sz="1200">
              <a:solidFill>
                <a:srgbClr val="00285F"/>
              </a:solidFill>
            </a:endParaRPr>
          </a:p>
        </p:txBody>
      </p:sp>
      <p:sp>
        <p:nvSpPr>
          <p:cNvPr id="48" name="TextBox 47">
            <a:extLst>
              <a:ext uri="{FF2B5EF4-FFF2-40B4-BE49-F238E27FC236}">
                <a16:creationId xmlns:a16="http://schemas.microsoft.com/office/drawing/2014/main" id="{9D2E1C8C-949F-4A68-B6F0-B49987EFEBF3}"/>
              </a:ext>
            </a:extLst>
          </p:cNvPr>
          <p:cNvSpPr txBox="1"/>
          <p:nvPr/>
        </p:nvSpPr>
        <p:spPr bwMode="auto">
          <a:xfrm>
            <a:off x="8532267" y="2736063"/>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52" name="TextBox 51">
            <a:extLst>
              <a:ext uri="{FF2B5EF4-FFF2-40B4-BE49-F238E27FC236}">
                <a16:creationId xmlns:a16="http://schemas.microsoft.com/office/drawing/2014/main" id="{000ECADF-B267-4C00-8743-F12EAB1B82EA}"/>
              </a:ext>
            </a:extLst>
          </p:cNvPr>
          <p:cNvSpPr txBox="1"/>
          <p:nvPr/>
        </p:nvSpPr>
        <p:spPr bwMode="auto">
          <a:xfrm>
            <a:off x="5759938" y="1366692"/>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S</a:t>
            </a:r>
            <a:r>
              <a:rPr kumimoji="0" lang="en-US" sz="1600" b="0" i="0" u="none" strike="noStrike" kern="1200" cap="none" spc="0" normalizeH="0" baseline="0" noProof="0">
                <a:ln>
                  <a:noFill/>
                </a:ln>
                <a:solidFill>
                  <a:srgbClr val="0082F0"/>
                </a:solidFill>
                <a:effectLst/>
                <a:uLnTx/>
                <a:uFillTx/>
                <a:latin typeface="Ericsson Hilda"/>
                <a:ea typeface="+mn-ea"/>
                <a:cs typeface="+mn-cs"/>
              </a:rPr>
              <a:t>MF</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PGW-C</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1" name="Rectangular Callout 104">
            <a:extLst>
              <a:ext uri="{FF2B5EF4-FFF2-40B4-BE49-F238E27FC236}">
                <a16:creationId xmlns:a16="http://schemas.microsoft.com/office/drawing/2014/main" id="{6AFF0EEF-6E4E-4C25-AB98-8F06EB5D63BF}"/>
              </a:ext>
            </a:extLst>
          </p:cNvPr>
          <p:cNvSpPr/>
          <p:nvPr/>
        </p:nvSpPr>
        <p:spPr bwMode="auto">
          <a:xfrm>
            <a:off x="235860" y="2040417"/>
            <a:ext cx="2591325" cy="830997"/>
          </a:xfrm>
          <a:prstGeom prst="wedgeRectCallout">
            <a:avLst>
              <a:gd name="adj1" fmla="val 66695"/>
              <a:gd name="adj2" fmla="val 74510"/>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MME selects AMF</a:t>
            </a:r>
          </a:p>
          <a:p>
            <a:pPr>
              <a:spcBef>
                <a:spcPts val="0"/>
              </a:spcBef>
            </a:pPr>
            <a:r>
              <a:rPr lang="en-US" sz="1200"/>
              <a:t>based on the target TAI and other available information (</a:t>
            </a:r>
            <a:r>
              <a:rPr lang="en-US" sz="1200" err="1"/>
              <a:t>e.g</a:t>
            </a:r>
            <a:r>
              <a:rPr lang="en-US" sz="1200"/>
              <a:t> UE Usage Type)</a:t>
            </a:r>
            <a:endParaRPr lang="en-US" sz="1200">
              <a:solidFill>
                <a:srgbClr val="00285F"/>
              </a:solidFill>
            </a:endParaRPr>
          </a:p>
        </p:txBody>
      </p:sp>
      <p:cxnSp>
        <p:nvCxnSpPr>
          <p:cNvPr id="29" name="Straight Arrow Connector 28">
            <a:extLst>
              <a:ext uri="{FF2B5EF4-FFF2-40B4-BE49-F238E27FC236}">
                <a16:creationId xmlns:a16="http://schemas.microsoft.com/office/drawing/2014/main" id="{F8BB4FFC-5A97-49A7-910F-B918ADE68AB9}"/>
              </a:ext>
            </a:extLst>
          </p:cNvPr>
          <p:cNvCxnSpPr>
            <a:cxnSpLocks/>
            <a:stCxn id="35" idx="0"/>
            <a:endCxn id="48" idx="2"/>
          </p:cNvCxnSpPr>
          <p:nvPr/>
        </p:nvCxnSpPr>
        <p:spPr bwMode="auto">
          <a:xfrm flipH="1" flipV="1">
            <a:off x="8867572" y="3804928"/>
            <a:ext cx="35570" cy="384291"/>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33" name="Oval 32">
            <a:extLst>
              <a:ext uri="{FF2B5EF4-FFF2-40B4-BE49-F238E27FC236}">
                <a16:creationId xmlns:a16="http://schemas.microsoft.com/office/drawing/2014/main" id="{F27588AD-673A-48F3-93ED-054FF1DD1CB6}"/>
              </a:ext>
            </a:extLst>
          </p:cNvPr>
          <p:cNvSpPr/>
          <p:nvPr/>
        </p:nvSpPr>
        <p:spPr bwMode="auto">
          <a:xfrm>
            <a:off x="3112074" y="529550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7</a:t>
            </a:r>
          </a:p>
        </p:txBody>
      </p:sp>
      <p:sp>
        <p:nvSpPr>
          <p:cNvPr id="34" name="Oval 33">
            <a:extLst>
              <a:ext uri="{FF2B5EF4-FFF2-40B4-BE49-F238E27FC236}">
                <a16:creationId xmlns:a16="http://schemas.microsoft.com/office/drawing/2014/main" id="{0D090601-1A1B-4D0C-887C-5965FA3A6F32}"/>
              </a:ext>
            </a:extLst>
          </p:cNvPr>
          <p:cNvSpPr/>
          <p:nvPr/>
        </p:nvSpPr>
        <p:spPr bwMode="auto">
          <a:xfrm>
            <a:off x="8993719" y="528548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9</a:t>
            </a:r>
            <a:endParaRPr kumimoji="0" lang="en-US" sz="2000" b="0" i="0" u="none" strike="noStrike" cap="none" normalizeH="0" baseline="0">
              <a:ln>
                <a:noFill/>
              </a:ln>
              <a:solidFill>
                <a:schemeClr val="tx2"/>
              </a:solidFill>
              <a:effectLst/>
              <a:latin typeface="Arial" charset="0"/>
            </a:endParaRPr>
          </a:p>
        </p:txBody>
      </p:sp>
      <p:sp>
        <p:nvSpPr>
          <p:cNvPr id="35" name="TextBox 34">
            <a:extLst>
              <a:ext uri="{FF2B5EF4-FFF2-40B4-BE49-F238E27FC236}">
                <a16:creationId xmlns:a16="http://schemas.microsoft.com/office/drawing/2014/main" id="{147F27E6-3779-4C78-9917-3ACF681A34C9}"/>
              </a:ext>
            </a:extLst>
          </p:cNvPr>
          <p:cNvSpPr txBox="1"/>
          <p:nvPr/>
        </p:nvSpPr>
        <p:spPr bwMode="auto">
          <a:xfrm>
            <a:off x="8610781" y="4189219"/>
            <a:ext cx="584721" cy="1080583"/>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NG-</a:t>
            </a:r>
            <a:br>
              <a:rPr kumimoji="0" lang="en-US" sz="1400" b="0" i="0" u="none" strike="noStrike" kern="1200" cap="none" spc="0" normalizeH="0" baseline="0" noProof="0">
                <a:ln>
                  <a:noFill/>
                </a:ln>
                <a:solidFill>
                  <a:srgbClr val="0082F0"/>
                </a:solidFill>
                <a:effectLst/>
                <a:uLnTx/>
                <a:uFillTx/>
                <a:latin typeface="Ericsson Hilda"/>
                <a:ea typeface="+mn-ea"/>
                <a:cs typeface="+mn-cs"/>
              </a:rPr>
            </a:br>
            <a:r>
              <a:rPr kumimoji="0" lang="en-US" sz="1400" b="0" i="0" u="none" strike="noStrike" kern="1200" cap="none" spc="0" normalizeH="0" baseline="0" noProof="0">
                <a:ln>
                  <a:noFill/>
                </a:ln>
                <a:solidFill>
                  <a:srgbClr val="0082F0"/>
                </a:solidFill>
                <a:effectLst/>
                <a:uLnTx/>
                <a:uFillTx/>
                <a:latin typeface="Ericsson Hilda"/>
                <a:ea typeface="+mn-ea"/>
                <a:cs typeface="+mn-cs"/>
              </a:rPr>
              <a:t>RAN</a:t>
            </a:r>
          </a:p>
        </p:txBody>
      </p:sp>
      <p:sp>
        <p:nvSpPr>
          <p:cNvPr id="36" name="TextBox 35">
            <a:extLst>
              <a:ext uri="{FF2B5EF4-FFF2-40B4-BE49-F238E27FC236}">
                <a16:creationId xmlns:a16="http://schemas.microsoft.com/office/drawing/2014/main" id="{CAD98DE2-DB5F-4623-9434-275B5872042C}"/>
              </a:ext>
            </a:extLst>
          </p:cNvPr>
          <p:cNvSpPr txBox="1"/>
          <p:nvPr/>
        </p:nvSpPr>
        <p:spPr bwMode="auto">
          <a:xfrm>
            <a:off x="3326228" y="4210623"/>
            <a:ext cx="584721" cy="1080583"/>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E-UTRAN</a:t>
            </a:r>
          </a:p>
        </p:txBody>
      </p:sp>
      <p:sp>
        <p:nvSpPr>
          <p:cNvPr id="45" name="Oval 44">
            <a:extLst>
              <a:ext uri="{FF2B5EF4-FFF2-40B4-BE49-F238E27FC236}">
                <a16:creationId xmlns:a16="http://schemas.microsoft.com/office/drawing/2014/main" id="{985C8926-2F59-40DB-90BB-D4D147898AD4}"/>
              </a:ext>
            </a:extLst>
          </p:cNvPr>
          <p:cNvSpPr/>
          <p:nvPr/>
        </p:nvSpPr>
        <p:spPr bwMode="auto">
          <a:xfrm>
            <a:off x="6095243" y="3322872"/>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3</a:t>
            </a:r>
            <a:endParaRPr kumimoji="0" lang="en-US" sz="2000" b="0" i="0" u="none" strike="noStrike" cap="none" normalizeH="0" baseline="0">
              <a:ln>
                <a:noFill/>
              </a:ln>
              <a:solidFill>
                <a:schemeClr val="tx2"/>
              </a:solidFill>
              <a:effectLst/>
              <a:latin typeface="Arial" charset="0"/>
            </a:endParaRPr>
          </a:p>
        </p:txBody>
      </p:sp>
      <p:cxnSp>
        <p:nvCxnSpPr>
          <p:cNvPr id="54" name="Straight Arrow Connector 53">
            <a:extLst>
              <a:ext uri="{FF2B5EF4-FFF2-40B4-BE49-F238E27FC236}">
                <a16:creationId xmlns:a16="http://schemas.microsoft.com/office/drawing/2014/main" id="{0FA562F4-B6E2-4327-902E-1EF86DB35E9E}"/>
              </a:ext>
            </a:extLst>
          </p:cNvPr>
          <p:cNvCxnSpPr>
            <a:cxnSpLocks/>
            <a:stCxn id="52" idx="3"/>
            <a:endCxn id="48" idx="0"/>
          </p:cNvCxnSpPr>
          <p:nvPr/>
        </p:nvCxnSpPr>
        <p:spPr bwMode="auto">
          <a:xfrm>
            <a:off x="6430548" y="1901125"/>
            <a:ext cx="2437024" cy="834938"/>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55" name="Straight Arrow Connector 54">
            <a:extLst>
              <a:ext uri="{FF2B5EF4-FFF2-40B4-BE49-F238E27FC236}">
                <a16:creationId xmlns:a16="http://schemas.microsoft.com/office/drawing/2014/main" id="{6DF54489-550F-4E0F-AA52-23CF593FB931}"/>
              </a:ext>
            </a:extLst>
          </p:cNvPr>
          <p:cNvCxnSpPr>
            <a:cxnSpLocks/>
            <a:stCxn id="36" idx="2"/>
          </p:cNvCxnSpPr>
          <p:nvPr/>
        </p:nvCxnSpPr>
        <p:spPr bwMode="auto">
          <a:xfrm flipH="1">
            <a:off x="3618588" y="5291206"/>
            <a:ext cx="1" cy="383483"/>
          </a:xfrm>
          <a:prstGeom prst="straightConnector1">
            <a:avLst/>
          </a:prstGeom>
          <a:noFill/>
          <a:ln w="12700" cap="flat" cmpd="sng" algn="ctr">
            <a:solidFill>
              <a:schemeClr val="tx1"/>
            </a:solidFill>
            <a:prstDash val="solid"/>
            <a:round/>
            <a:headEnd type="none" w="med" len="med"/>
            <a:tailEnd type="triangle" w="med" len="med"/>
          </a:ln>
          <a:effectLst/>
        </p:spPr>
      </p:cxnSp>
      <p:cxnSp>
        <p:nvCxnSpPr>
          <p:cNvPr id="56" name="Straight Arrow Connector 55">
            <a:extLst>
              <a:ext uri="{FF2B5EF4-FFF2-40B4-BE49-F238E27FC236}">
                <a16:creationId xmlns:a16="http://schemas.microsoft.com/office/drawing/2014/main" id="{6BFF7102-8691-48C4-A7AA-4CB0C9656078}"/>
              </a:ext>
            </a:extLst>
          </p:cNvPr>
          <p:cNvCxnSpPr>
            <a:cxnSpLocks/>
          </p:cNvCxnSpPr>
          <p:nvPr/>
        </p:nvCxnSpPr>
        <p:spPr bwMode="auto">
          <a:xfrm flipH="1" flipV="1">
            <a:off x="8885357" y="5296983"/>
            <a:ext cx="17784" cy="377706"/>
          </a:xfrm>
          <a:prstGeom prst="straightConnector1">
            <a:avLst/>
          </a:prstGeom>
          <a:noFill/>
          <a:ln w="12700" cap="flat" cmpd="sng" algn="ctr">
            <a:solidFill>
              <a:schemeClr val="tx1"/>
            </a:solidFill>
            <a:prstDash val="solid"/>
            <a:round/>
            <a:headEnd type="none" w="med" len="med"/>
            <a:tailEnd type="triangle" w="med" len="med"/>
          </a:ln>
          <a:effectLst/>
        </p:spPr>
      </p:cxnSp>
      <p:sp>
        <p:nvSpPr>
          <p:cNvPr id="37" name="Rectangular Callout 104">
            <a:extLst>
              <a:ext uri="{FF2B5EF4-FFF2-40B4-BE49-F238E27FC236}">
                <a16:creationId xmlns:a16="http://schemas.microsoft.com/office/drawing/2014/main" id="{2BEF4CA1-EAB6-4E4F-A978-1D66C87D01BE}"/>
              </a:ext>
            </a:extLst>
          </p:cNvPr>
          <p:cNvSpPr/>
          <p:nvPr/>
        </p:nvSpPr>
        <p:spPr bwMode="auto">
          <a:xfrm>
            <a:off x="6704432" y="670797"/>
            <a:ext cx="2145725" cy="646331"/>
          </a:xfrm>
          <a:prstGeom prst="wedgeRectCallout">
            <a:avLst>
              <a:gd name="adj1" fmla="val -42027"/>
              <a:gd name="adj2" fmla="val 82350"/>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r>
              <a:rPr lang="en-US" sz="1200" b="1">
                <a:solidFill>
                  <a:srgbClr val="00285F"/>
                </a:solidFill>
              </a:rPr>
              <a:t>T</a:t>
            </a:r>
            <a:r>
              <a:rPr lang="en-US" sz="1200"/>
              <a:t>he PGW-C+SMF sends PDU Session IDs and related S-NSSAIs to AMF.</a:t>
            </a:r>
            <a:endParaRPr lang="en-US" sz="1200">
              <a:solidFill>
                <a:srgbClr val="00285F"/>
              </a:solidFill>
            </a:endParaRPr>
          </a:p>
        </p:txBody>
      </p:sp>
      <p:sp>
        <p:nvSpPr>
          <p:cNvPr id="38" name="Rectangular Callout 104">
            <a:extLst>
              <a:ext uri="{FF2B5EF4-FFF2-40B4-BE49-F238E27FC236}">
                <a16:creationId xmlns:a16="http://schemas.microsoft.com/office/drawing/2014/main" id="{1FCFE679-C33D-4093-B857-5517EF40D1D6}"/>
              </a:ext>
            </a:extLst>
          </p:cNvPr>
          <p:cNvSpPr/>
          <p:nvPr/>
        </p:nvSpPr>
        <p:spPr bwMode="auto">
          <a:xfrm>
            <a:off x="836566" y="5343975"/>
            <a:ext cx="1775323" cy="646331"/>
          </a:xfrm>
          <a:prstGeom prst="wedgeRectCallout">
            <a:avLst>
              <a:gd name="adj1" fmla="val 85008"/>
              <a:gd name="adj2" fmla="val 8114"/>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UE </a:t>
            </a:r>
            <a:r>
              <a:rPr lang="en-US" sz="1200">
                <a:solidFill>
                  <a:srgbClr val="00285F"/>
                </a:solidFill>
              </a:rPr>
              <a:t>has S-NSSAI and PDU Session ID for each PDN Connection</a:t>
            </a:r>
          </a:p>
        </p:txBody>
      </p:sp>
      <p:sp>
        <p:nvSpPr>
          <p:cNvPr id="39" name="Oval 38">
            <a:extLst>
              <a:ext uri="{FF2B5EF4-FFF2-40B4-BE49-F238E27FC236}">
                <a16:creationId xmlns:a16="http://schemas.microsoft.com/office/drawing/2014/main" id="{9E94D2AB-2E53-4ED4-9A3D-D409280F93EA}"/>
              </a:ext>
            </a:extLst>
          </p:cNvPr>
          <p:cNvSpPr/>
          <p:nvPr/>
        </p:nvSpPr>
        <p:spPr bwMode="auto">
          <a:xfrm>
            <a:off x="6554170" y="1550648"/>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5</a:t>
            </a:r>
            <a:endParaRPr kumimoji="0" lang="en-US" sz="2000" b="0" i="0" u="none" strike="noStrike" cap="none" normalizeH="0" baseline="0">
              <a:ln>
                <a:noFill/>
              </a:ln>
              <a:solidFill>
                <a:schemeClr val="tx2"/>
              </a:solidFill>
              <a:effectLst/>
              <a:latin typeface="Arial" charset="0"/>
            </a:endParaRPr>
          </a:p>
        </p:txBody>
      </p:sp>
      <p:sp>
        <p:nvSpPr>
          <p:cNvPr id="40" name="Rectangular Callout 104">
            <a:extLst>
              <a:ext uri="{FF2B5EF4-FFF2-40B4-BE49-F238E27FC236}">
                <a16:creationId xmlns:a16="http://schemas.microsoft.com/office/drawing/2014/main" id="{6B20AC52-89D2-4E3B-AEFC-63CE173907F3}"/>
              </a:ext>
            </a:extLst>
          </p:cNvPr>
          <p:cNvSpPr/>
          <p:nvPr/>
        </p:nvSpPr>
        <p:spPr bwMode="auto">
          <a:xfrm>
            <a:off x="9575330" y="3606125"/>
            <a:ext cx="2509960" cy="461665"/>
          </a:xfrm>
          <a:prstGeom prst="wedgeRectCallout">
            <a:avLst>
              <a:gd name="adj1" fmla="val -80476"/>
              <a:gd name="adj2" fmla="val 28337"/>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r>
              <a:rPr lang="en-US" sz="1200" b="1">
                <a:solidFill>
                  <a:srgbClr val="00285F"/>
                </a:solidFill>
              </a:rPr>
              <a:t>Handover Request: </a:t>
            </a:r>
            <a:r>
              <a:rPr lang="en-US" sz="1200"/>
              <a:t>AMF sends S-NSSAI to NG-RAN</a:t>
            </a:r>
          </a:p>
        </p:txBody>
      </p:sp>
      <p:sp>
        <p:nvSpPr>
          <p:cNvPr id="41" name="Oval 40">
            <a:extLst>
              <a:ext uri="{FF2B5EF4-FFF2-40B4-BE49-F238E27FC236}">
                <a16:creationId xmlns:a16="http://schemas.microsoft.com/office/drawing/2014/main" id="{438B86C3-238A-40D7-93EF-5948A7BF04B9}"/>
              </a:ext>
            </a:extLst>
          </p:cNvPr>
          <p:cNvSpPr/>
          <p:nvPr/>
        </p:nvSpPr>
        <p:spPr bwMode="auto">
          <a:xfrm>
            <a:off x="5869554" y="5651540"/>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8</a:t>
            </a:r>
          </a:p>
        </p:txBody>
      </p:sp>
      <p:sp>
        <p:nvSpPr>
          <p:cNvPr id="42" name="Oval 41">
            <a:extLst>
              <a:ext uri="{FF2B5EF4-FFF2-40B4-BE49-F238E27FC236}">
                <a16:creationId xmlns:a16="http://schemas.microsoft.com/office/drawing/2014/main" id="{122518FE-F008-4E30-A59D-B8EF9A3CB7F7}"/>
              </a:ext>
            </a:extLst>
          </p:cNvPr>
          <p:cNvSpPr/>
          <p:nvPr/>
        </p:nvSpPr>
        <p:spPr bwMode="auto">
          <a:xfrm>
            <a:off x="2870399" y="327280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2</a:t>
            </a:r>
          </a:p>
        </p:txBody>
      </p:sp>
    </p:spTree>
    <p:extLst>
      <p:ext uri="{BB962C8B-B14F-4D97-AF65-F5344CB8AC3E}">
        <p14:creationId xmlns:p14="http://schemas.microsoft.com/office/powerpoint/2010/main" val="936299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500"/>
                                        <p:tgtEl>
                                          <p:spTgt spid="10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70"/>
                                        </p:tgtEl>
                                        <p:attrNameLst>
                                          <p:attrName>style.visibility</p:attrName>
                                        </p:attrNameLst>
                                      </p:cBhvr>
                                      <p:to>
                                        <p:strVal val="visible"/>
                                      </p:to>
                                    </p:set>
                                    <p:animEffect transition="in" filter="fade">
                                      <p:cBhvr>
                                        <p:cTn id="3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103" grpId="0" animBg="1"/>
      <p:bldP spid="31" grpId="0" animBg="1"/>
      <p:bldP spid="37" grpId="0" animBg="1"/>
      <p:bldP spid="40"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EBD1-2DF0-4985-9609-E5BB32E69B0F}"/>
              </a:ext>
            </a:extLst>
          </p:cNvPr>
          <p:cNvSpPr>
            <a:spLocks noGrp="1"/>
          </p:cNvSpPr>
          <p:nvPr>
            <p:ph type="title"/>
          </p:nvPr>
        </p:nvSpPr>
        <p:spPr>
          <a:xfrm>
            <a:off x="479424" y="476250"/>
            <a:ext cx="10157877" cy="1081088"/>
          </a:xfrm>
        </p:spPr>
        <p:txBody>
          <a:bodyPr/>
          <a:lstStyle/>
          <a:p>
            <a:r>
              <a:rPr lang="en-US"/>
              <a:t>Network slicing – mapping of selection parameters </a:t>
            </a:r>
            <a:r>
              <a:rPr lang="en-US" sz="2800"/>
              <a:t>Based on 5GC w/ EPC tight interworking</a:t>
            </a:r>
            <a:endParaRPr lang="en-US"/>
          </a:p>
        </p:txBody>
      </p:sp>
      <p:graphicFrame>
        <p:nvGraphicFramePr>
          <p:cNvPr id="6" name="Table 5">
            <a:extLst>
              <a:ext uri="{FF2B5EF4-FFF2-40B4-BE49-F238E27FC236}">
                <a16:creationId xmlns:a16="http://schemas.microsoft.com/office/drawing/2014/main" id="{92020C9D-31A2-4AEF-B051-75C555633D38}"/>
              </a:ext>
            </a:extLst>
          </p:cNvPr>
          <p:cNvGraphicFramePr>
            <a:graphicFrameLocks noGrp="1"/>
          </p:cNvGraphicFramePr>
          <p:nvPr/>
        </p:nvGraphicFramePr>
        <p:xfrm>
          <a:off x="4936900" y="4412787"/>
          <a:ext cx="3616167" cy="1706880"/>
        </p:xfrm>
        <a:graphic>
          <a:graphicData uri="http://schemas.openxmlformats.org/drawingml/2006/table">
            <a:tbl>
              <a:tblPr firstRow="1" bandRow="1">
                <a:tableStyleId>{5C22544A-7EE6-4342-B048-85BDC9FD1C3A}</a:tableStyleId>
              </a:tblPr>
              <a:tblGrid>
                <a:gridCol w="869883">
                  <a:extLst>
                    <a:ext uri="{9D8B030D-6E8A-4147-A177-3AD203B41FA5}">
                      <a16:colId xmlns:a16="http://schemas.microsoft.com/office/drawing/2014/main" val="1162996918"/>
                    </a:ext>
                  </a:extLst>
                </a:gridCol>
                <a:gridCol w="1363980">
                  <a:extLst>
                    <a:ext uri="{9D8B030D-6E8A-4147-A177-3AD203B41FA5}">
                      <a16:colId xmlns:a16="http://schemas.microsoft.com/office/drawing/2014/main" val="168292639"/>
                    </a:ext>
                  </a:extLst>
                </a:gridCol>
                <a:gridCol w="1382304">
                  <a:extLst>
                    <a:ext uri="{9D8B030D-6E8A-4147-A177-3AD203B41FA5}">
                      <a16:colId xmlns:a16="http://schemas.microsoft.com/office/drawing/2014/main" val="1212299745"/>
                    </a:ext>
                  </a:extLst>
                </a:gridCol>
              </a:tblGrid>
              <a:tr h="142833">
                <a:tc>
                  <a:txBody>
                    <a:bodyPr/>
                    <a:lstStyle/>
                    <a:p>
                      <a:endParaRPr lang="sv-SE" sz="1400"/>
                    </a:p>
                  </a:txBody>
                  <a:tcPr/>
                </a:tc>
                <a:tc>
                  <a:txBody>
                    <a:bodyPr/>
                    <a:lstStyle/>
                    <a:p>
                      <a:r>
                        <a:rPr lang="en-US" sz="1400"/>
                        <a:t>NR-connected</a:t>
                      </a:r>
                    </a:p>
                    <a:p>
                      <a:r>
                        <a:rPr lang="en-US" sz="1400"/>
                        <a:t>(option 2)</a:t>
                      </a:r>
                      <a:endParaRPr lang="sv-SE" sz="1400"/>
                    </a:p>
                  </a:txBody>
                  <a:tcPr/>
                </a:tc>
                <a:tc>
                  <a:txBody>
                    <a:bodyPr/>
                    <a:lstStyle/>
                    <a:p>
                      <a:r>
                        <a:rPr lang="en-US" sz="1400"/>
                        <a:t>LTE-connected</a:t>
                      </a:r>
                    </a:p>
                    <a:p>
                      <a:r>
                        <a:rPr lang="en-US" sz="1400"/>
                        <a:t>(option 1, 3)</a:t>
                      </a:r>
                      <a:endParaRPr lang="sv-SE" sz="1400"/>
                    </a:p>
                  </a:txBody>
                  <a:tcPr/>
                </a:tc>
                <a:extLst>
                  <a:ext uri="{0D108BD9-81ED-4DB2-BD59-A6C34878D82A}">
                    <a16:rowId xmlns:a16="http://schemas.microsoft.com/office/drawing/2014/main" val="453681937"/>
                  </a:ext>
                </a:extLst>
              </a:tr>
              <a:tr h="280216">
                <a:tc>
                  <a:txBody>
                    <a:bodyPr/>
                    <a:lstStyle/>
                    <a:p>
                      <a:r>
                        <a:rPr lang="en-US" sz="1400"/>
                        <a:t>Slice X</a:t>
                      </a:r>
                      <a:endParaRPr lang="sv-SE" sz="1400"/>
                    </a:p>
                  </a:txBody>
                  <a:tcPr/>
                </a:tc>
                <a:tc>
                  <a:txBody>
                    <a:bodyPr/>
                    <a:lstStyle/>
                    <a:p>
                      <a:r>
                        <a:rPr lang="en-US" sz="1100"/>
                        <a:t>S-NSSAI=x1</a:t>
                      </a:r>
                    </a:p>
                    <a:p>
                      <a:r>
                        <a:rPr lang="en-US" sz="1100"/>
                        <a:t>DNN=x2</a:t>
                      </a:r>
                      <a:endParaRPr lang="sv-SE" sz="1100"/>
                    </a:p>
                  </a:txBody>
                  <a:tcPr/>
                </a:tc>
                <a:tc>
                  <a:txBody>
                    <a:bodyPr/>
                    <a:lstStyle/>
                    <a:p>
                      <a:r>
                        <a:rPr lang="en-US" sz="1100"/>
                        <a:t>UUT=x3</a:t>
                      </a:r>
                    </a:p>
                    <a:p>
                      <a:r>
                        <a:rPr lang="en-US" sz="1100"/>
                        <a:t>APN=x4</a:t>
                      </a:r>
                    </a:p>
                    <a:p>
                      <a:r>
                        <a:rPr lang="en-US" sz="1100"/>
                        <a:t>SPID=x5</a:t>
                      </a:r>
                    </a:p>
                  </a:txBody>
                  <a:tcPr/>
                </a:tc>
                <a:extLst>
                  <a:ext uri="{0D108BD9-81ED-4DB2-BD59-A6C34878D82A}">
                    <a16:rowId xmlns:a16="http://schemas.microsoft.com/office/drawing/2014/main" val="148361692"/>
                  </a:ext>
                </a:extLst>
              </a:tr>
              <a:tr h="182455">
                <a:tc>
                  <a:txBody>
                    <a:bodyPr/>
                    <a:lstStyle/>
                    <a:p>
                      <a:r>
                        <a:rPr lang="en-US" sz="1400"/>
                        <a:t>Slice Y</a:t>
                      </a:r>
                      <a:endParaRPr lang="sv-SE" sz="1400"/>
                    </a:p>
                  </a:txBody>
                  <a:tcPr/>
                </a:tc>
                <a:tc>
                  <a:txBody>
                    <a:bodyPr/>
                    <a:lstStyle/>
                    <a:p>
                      <a:r>
                        <a:rPr lang="en-US" sz="1100"/>
                        <a:t>NSSAI=y1</a:t>
                      </a:r>
                    </a:p>
                    <a:p>
                      <a:r>
                        <a:rPr lang="en-US" sz="1100"/>
                        <a:t>DNN=y2</a:t>
                      </a:r>
                      <a:endParaRPr lang="sv-SE" sz="1100"/>
                    </a:p>
                  </a:txBody>
                  <a:tcPr/>
                </a:tc>
                <a:tc>
                  <a:txBody>
                    <a:bodyPr/>
                    <a:lstStyle/>
                    <a:p>
                      <a:r>
                        <a:rPr lang="en-US" sz="1100"/>
                        <a:t>UUT=y3</a:t>
                      </a:r>
                    </a:p>
                    <a:p>
                      <a:r>
                        <a:rPr lang="en-US" sz="1100"/>
                        <a:t>APN=y4</a:t>
                      </a:r>
                    </a:p>
                    <a:p>
                      <a:r>
                        <a:rPr lang="en-US" sz="1100"/>
                        <a:t>SPID=y5</a:t>
                      </a:r>
                    </a:p>
                  </a:txBody>
                  <a:tcPr/>
                </a:tc>
                <a:extLst>
                  <a:ext uri="{0D108BD9-81ED-4DB2-BD59-A6C34878D82A}">
                    <a16:rowId xmlns:a16="http://schemas.microsoft.com/office/drawing/2014/main" val="1385229698"/>
                  </a:ext>
                </a:extLst>
              </a:tr>
            </a:tbl>
          </a:graphicData>
        </a:graphic>
      </p:graphicFrame>
      <p:sp>
        <p:nvSpPr>
          <p:cNvPr id="3" name="TextBox 2">
            <a:extLst>
              <a:ext uri="{FF2B5EF4-FFF2-40B4-BE49-F238E27FC236}">
                <a16:creationId xmlns:a16="http://schemas.microsoft.com/office/drawing/2014/main" id="{E8C5BFCA-B537-481A-A438-70A313ABA45C}"/>
              </a:ext>
            </a:extLst>
          </p:cNvPr>
          <p:cNvSpPr txBox="1"/>
          <p:nvPr/>
        </p:nvSpPr>
        <p:spPr bwMode="auto">
          <a:xfrm>
            <a:off x="5468925" y="4048125"/>
            <a:ext cx="2552115" cy="282573"/>
          </a:xfrm>
          <a:prstGeom prst="rect">
            <a:avLst/>
          </a:prstGeom>
          <a:noFill/>
          <a:ln w="3175">
            <a:noFill/>
            <a:miter lim="800000"/>
            <a:headEnd/>
            <a:tailEnd/>
          </a:ln>
        </p:spPr>
        <p:txBody>
          <a:bodyPr vert="horz" wrap="square" lIns="72000" tIns="36000" rIns="0" bIns="0" numCol="1" rtlCol="0" anchor="t" anchorCtr="0" compatLnSpc="1">
            <a:prstTxWarp prst="textNoShape">
              <a:avLst/>
            </a:prstTxWarp>
            <a:spAutoFit/>
          </a:bodyPr>
          <a:lstStyle/>
          <a:p>
            <a:pPr algn="l">
              <a:buClr>
                <a:schemeClr val="tx1"/>
              </a:buClr>
            </a:pPr>
            <a:r>
              <a:rPr lang="en-US" sz="1600"/>
              <a:t>With DECOR in EPS</a:t>
            </a:r>
          </a:p>
        </p:txBody>
      </p:sp>
      <p:sp>
        <p:nvSpPr>
          <p:cNvPr id="9" name="TextBox 8">
            <a:extLst>
              <a:ext uri="{FF2B5EF4-FFF2-40B4-BE49-F238E27FC236}">
                <a16:creationId xmlns:a16="http://schemas.microsoft.com/office/drawing/2014/main" id="{369703A7-8CAA-45A9-A9F7-1F8806A73F1B}"/>
              </a:ext>
            </a:extLst>
          </p:cNvPr>
          <p:cNvSpPr txBox="1"/>
          <p:nvPr/>
        </p:nvSpPr>
        <p:spPr bwMode="auto">
          <a:xfrm>
            <a:off x="5468927" y="1589577"/>
            <a:ext cx="2552115" cy="282573"/>
          </a:xfrm>
          <a:prstGeom prst="rect">
            <a:avLst/>
          </a:prstGeom>
          <a:noFill/>
          <a:ln w="3175">
            <a:noFill/>
            <a:miter lim="800000"/>
            <a:headEnd/>
            <a:tailEnd/>
          </a:ln>
        </p:spPr>
        <p:txBody>
          <a:bodyPr vert="horz" wrap="square" lIns="72000" tIns="36000" rIns="0" bIns="0" numCol="1" rtlCol="0" anchor="t" anchorCtr="0" compatLnSpc="1">
            <a:prstTxWarp prst="textNoShape">
              <a:avLst/>
            </a:prstTxWarp>
            <a:spAutoFit/>
          </a:bodyPr>
          <a:lstStyle/>
          <a:p>
            <a:pPr algn="l">
              <a:buClr>
                <a:schemeClr val="tx1"/>
              </a:buClr>
            </a:pPr>
            <a:r>
              <a:rPr lang="en-US" sz="1600"/>
              <a:t>Without DECOR in EPS</a:t>
            </a:r>
          </a:p>
        </p:txBody>
      </p:sp>
      <p:graphicFrame>
        <p:nvGraphicFramePr>
          <p:cNvPr id="10" name="Table 9">
            <a:extLst>
              <a:ext uri="{FF2B5EF4-FFF2-40B4-BE49-F238E27FC236}">
                <a16:creationId xmlns:a16="http://schemas.microsoft.com/office/drawing/2014/main" id="{84C4E10F-C72B-4273-B19D-90F3AE88C2FE}"/>
              </a:ext>
            </a:extLst>
          </p:cNvPr>
          <p:cNvGraphicFramePr>
            <a:graphicFrameLocks noGrp="1"/>
          </p:cNvGraphicFramePr>
          <p:nvPr/>
        </p:nvGraphicFramePr>
        <p:xfrm>
          <a:off x="4936900" y="1954239"/>
          <a:ext cx="3616167" cy="1371600"/>
        </p:xfrm>
        <a:graphic>
          <a:graphicData uri="http://schemas.openxmlformats.org/drawingml/2006/table">
            <a:tbl>
              <a:tblPr firstRow="1" bandRow="1">
                <a:tableStyleId>{5C22544A-7EE6-4342-B048-85BDC9FD1C3A}</a:tableStyleId>
              </a:tblPr>
              <a:tblGrid>
                <a:gridCol w="869883">
                  <a:extLst>
                    <a:ext uri="{9D8B030D-6E8A-4147-A177-3AD203B41FA5}">
                      <a16:colId xmlns:a16="http://schemas.microsoft.com/office/drawing/2014/main" val="1162996918"/>
                    </a:ext>
                  </a:extLst>
                </a:gridCol>
                <a:gridCol w="1363980">
                  <a:extLst>
                    <a:ext uri="{9D8B030D-6E8A-4147-A177-3AD203B41FA5}">
                      <a16:colId xmlns:a16="http://schemas.microsoft.com/office/drawing/2014/main" val="168292639"/>
                    </a:ext>
                  </a:extLst>
                </a:gridCol>
                <a:gridCol w="1382304">
                  <a:extLst>
                    <a:ext uri="{9D8B030D-6E8A-4147-A177-3AD203B41FA5}">
                      <a16:colId xmlns:a16="http://schemas.microsoft.com/office/drawing/2014/main" val="1212299745"/>
                    </a:ext>
                  </a:extLst>
                </a:gridCol>
              </a:tblGrid>
              <a:tr h="142833">
                <a:tc>
                  <a:txBody>
                    <a:bodyPr/>
                    <a:lstStyle/>
                    <a:p>
                      <a:endParaRPr lang="sv-SE" sz="1400"/>
                    </a:p>
                  </a:txBody>
                  <a:tcPr/>
                </a:tc>
                <a:tc>
                  <a:txBody>
                    <a:bodyPr/>
                    <a:lstStyle/>
                    <a:p>
                      <a:r>
                        <a:rPr lang="en-US" sz="1400"/>
                        <a:t>NR-connected</a:t>
                      </a:r>
                    </a:p>
                    <a:p>
                      <a:r>
                        <a:rPr lang="en-US" sz="1400"/>
                        <a:t>(option 2)</a:t>
                      </a:r>
                      <a:endParaRPr lang="sv-SE" sz="1400"/>
                    </a:p>
                  </a:txBody>
                  <a:tcPr/>
                </a:tc>
                <a:tc>
                  <a:txBody>
                    <a:bodyPr/>
                    <a:lstStyle/>
                    <a:p>
                      <a:r>
                        <a:rPr lang="en-US" sz="1400"/>
                        <a:t>LTE-connected</a:t>
                      </a:r>
                    </a:p>
                    <a:p>
                      <a:r>
                        <a:rPr lang="en-US" sz="1400"/>
                        <a:t>(option 1, 3)</a:t>
                      </a:r>
                      <a:endParaRPr lang="sv-SE" sz="1400"/>
                    </a:p>
                  </a:txBody>
                  <a:tcPr/>
                </a:tc>
                <a:extLst>
                  <a:ext uri="{0D108BD9-81ED-4DB2-BD59-A6C34878D82A}">
                    <a16:rowId xmlns:a16="http://schemas.microsoft.com/office/drawing/2014/main" val="453681937"/>
                  </a:ext>
                </a:extLst>
              </a:tr>
              <a:tr h="280216">
                <a:tc>
                  <a:txBody>
                    <a:bodyPr/>
                    <a:lstStyle/>
                    <a:p>
                      <a:r>
                        <a:rPr lang="en-US" sz="1400"/>
                        <a:t>Slice X</a:t>
                      </a:r>
                      <a:endParaRPr lang="sv-SE" sz="1400"/>
                    </a:p>
                  </a:txBody>
                  <a:tcPr/>
                </a:tc>
                <a:tc>
                  <a:txBody>
                    <a:bodyPr/>
                    <a:lstStyle/>
                    <a:p>
                      <a:r>
                        <a:rPr lang="en-US" sz="1100"/>
                        <a:t>S-NSSAI=x1</a:t>
                      </a:r>
                    </a:p>
                    <a:p>
                      <a:r>
                        <a:rPr lang="en-US" sz="1100"/>
                        <a:t>DNN=x2</a:t>
                      </a:r>
                      <a:endParaRPr lang="sv-SE" sz="1100"/>
                    </a:p>
                  </a:txBody>
                  <a:tcPr/>
                </a:tc>
                <a:tc>
                  <a:txBody>
                    <a:bodyPr/>
                    <a:lstStyle/>
                    <a:p>
                      <a:r>
                        <a:rPr lang="en-US" sz="1100"/>
                        <a:t>APN=x3</a:t>
                      </a:r>
                    </a:p>
                    <a:p>
                      <a:r>
                        <a:rPr lang="en-US" sz="1100"/>
                        <a:t>SPID=x4</a:t>
                      </a:r>
                    </a:p>
                  </a:txBody>
                  <a:tcPr/>
                </a:tc>
                <a:extLst>
                  <a:ext uri="{0D108BD9-81ED-4DB2-BD59-A6C34878D82A}">
                    <a16:rowId xmlns:a16="http://schemas.microsoft.com/office/drawing/2014/main" val="148361692"/>
                  </a:ext>
                </a:extLst>
              </a:tr>
              <a:tr h="182455">
                <a:tc>
                  <a:txBody>
                    <a:bodyPr/>
                    <a:lstStyle/>
                    <a:p>
                      <a:r>
                        <a:rPr lang="en-US" sz="1400"/>
                        <a:t>Slice Y</a:t>
                      </a:r>
                      <a:endParaRPr lang="sv-SE" sz="1400"/>
                    </a:p>
                  </a:txBody>
                  <a:tcPr/>
                </a:tc>
                <a:tc>
                  <a:txBody>
                    <a:bodyPr/>
                    <a:lstStyle/>
                    <a:p>
                      <a:r>
                        <a:rPr lang="en-US" sz="1100"/>
                        <a:t>NSSAI=y1</a:t>
                      </a:r>
                    </a:p>
                    <a:p>
                      <a:r>
                        <a:rPr lang="en-US" sz="1100"/>
                        <a:t>DNN=y2</a:t>
                      </a:r>
                      <a:endParaRPr lang="sv-SE" sz="1100"/>
                    </a:p>
                  </a:txBody>
                  <a:tcPr/>
                </a:tc>
                <a:tc>
                  <a:txBody>
                    <a:bodyPr/>
                    <a:lstStyle/>
                    <a:p>
                      <a:r>
                        <a:rPr lang="en-US" sz="1100"/>
                        <a:t>APN=y3</a:t>
                      </a:r>
                    </a:p>
                    <a:p>
                      <a:r>
                        <a:rPr lang="en-US" sz="1100"/>
                        <a:t>SPID=y4</a:t>
                      </a:r>
                    </a:p>
                  </a:txBody>
                  <a:tcPr/>
                </a:tc>
                <a:extLst>
                  <a:ext uri="{0D108BD9-81ED-4DB2-BD59-A6C34878D82A}">
                    <a16:rowId xmlns:a16="http://schemas.microsoft.com/office/drawing/2014/main" val="1385229698"/>
                  </a:ext>
                </a:extLst>
              </a:tr>
            </a:tbl>
          </a:graphicData>
        </a:graphic>
      </p:graphicFrame>
      <p:sp>
        <p:nvSpPr>
          <p:cNvPr id="11" name="Content Placeholder 1">
            <a:extLst>
              <a:ext uri="{FF2B5EF4-FFF2-40B4-BE49-F238E27FC236}">
                <a16:creationId xmlns:a16="http://schemas.microsoft.com/office/drawing/2014/main" id="{435B5B82-CCCB-4E7D-92C9-4FA9A6F9A268}"/>
              </a:ext>
            </a:extLst>
          </p:cNvPr>
          <p:cNvSpPr txBox="1">
            <a:spLocks/>
          </p:cNvSpPr>
          <p:nvPr/>
        </p:nvSpPr>
        <p:spPr bwMode="auto">
          <a:xfrm>
            <a:off x="479425" y="1844675"/>
            <a:ext cx="4237355" cy="4392613"/>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r>
              <a:rPr lang="en-US"/>
              <a:t>Slicing parameters are provisioned in UDR and NRF by the management system</a:t>
            </a:r>
          </a:p>
          <a:p>
            <a:r>
              <a:rPr lang="en-US"/>
              <a:t>S-NSSAI can be also be provisioned (and updated) in the UE</a:t>
            </a:r>
          </a:p>
          <a:p>
            <a:r>
              <a:rPr lang="en-US"/>
              <a:t>Slicing parameters are derived or used by UDM, PCF AMF, SMF and NSSF as well as HSS, MME and SGW-C</a:t>
            </a:r>
          </a:p>
        </p:txBody>
      </p:sp>
      <p:grpSp>
        <p:nvGrpSpPr>
          <p:cNvPr id="5" name="Group 4">
            <a:extLst>
              <a:ext uri="{FF2B5EF4-FFF2-40B4-BE49-F238E27FC236}">
                <a16:creationId xmlns:a16="http://schemas.microsoft.com/office/drawing/2014/main" id="{23C4F4C5-A124-440B-8C78-034A0ACCAE63}"/>
              </a:ext>
            </a:extLst>
          </p:cNvPr>
          <p:cNvGrpSpPr/>
          <p:nvPr/>
        </p:nvGrpSpPr>
        <p:grpSpPr>
          <a:xfrm>
            <a:off x="9009407" y="1557594"/>
            <a:ext cx="2979350" cy="1988576"/>
            <a:chOff x="9009407" y="1557594"/>
            <a:chExt cx="2979350" cy="1988576"/>
          </a:xfrm>
        </p:grpSpPr>
        <p:pic>
          <p:nvPicPr>
            <p:cNvPr id="14" name="Picture 13">
              <a:extLst>
                <a:ext uri="{FF2B5EF4-FFF2-40B4-BE49-F238E27FC236}">
                  <a16:creationId xmlns:a16="http://schemas.microsoft.com/office/drawing/2014/main" id="{56FA4DFE-E004-4836-BA8A-C9832AB569F7}"/>
                </a:ext>
              </a:extLst>
            </p:cNvPr>
            <p:cNvPicPr>
              <a:picLocks noChangeAspect="1"/>
            </p:cNvPicPr>
            <p:nvPr/>
          </p:nvPicPr>
          <p:blipFill>
            <a:blip r:embed="rId3"/>
            <a:stretch>
              <a:fillRect/>
            </a:stretch>
          </p:blipFill>
          <p:spPr>
            <a:xfrm>
              <a:off x="9009407" y="1557594"/>
              <a:ext cx="2979350" cy="1988576"/>
            </a:xfrm>
            <a:prstGeom prst="rect">
              <a:avLst/>
            </a:prstGeom>
          </p:spPr>
        </p:pic>
        <p:sp>
          <p:nvSpPr>
            <p:cNvPr id="4" name="Rectangle 3">
              <a:extLst>
                <a:ext uri="{FF2B5EF4-FFF2-40B4-BE49-F238E27FC236}">
                  <a16:creationId xmlns:a16="http://schemas.microsoft.com/office/drawing/2014/main" id="{CF9DA33B-7F7D-487B-8CD0-C2550F388964}"/>
                </a:ext>
              </a:extLst>
            </p:cNvPr>
            <p:cNvSpPr/>
            <p:nvPr/>
          </p:nvSpPr>
          <p:spPr bwMode="auto">
            <a:xfrm>
              <a:off x="9670311" y="1562654"/>
              <a:ext cx="1132367" cy="112115"/>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3" name="Rectangle 12">
              <a:extLst>
                <a:ext uri="{FF2B5EF4-FFF2-40B4-BE49-F238E27FC236}">
                  <a16:creationId xmlns:a16="http://schemas.microsoft.com/office/drawing/2014/main" id="{71871315-70D5-466C-AA81-D80B0B1EF277}"/>
                </a:ext>
              </a:extLst>
            </p:cNvPr>
            <p:cNvSpPr/>
            <p:nvPr/>
          </p:nvSpPr>
          <p:spPr bwMode="auto">
            <a:xfrm>
              <a:off x="10010552" y="2533701"/>
              <a:ext cx="265815" cy="112115"/>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6" name="Rectangle 15">
              <a:extLst>
                <a:ext uri="{FF2B5EF4-FFF2-40B4-BE49-F238E27FC236}">
                  <a16:creationId xmlns:a16="http://schemas.microsoft.com/office/drawing/2014/main" id="{A6BCE0E1-2E33-4F3F-9A77-6438A390A53A}"/>
                </a:ext>
              </a:extLst>
            </p:cNvPr>
            <p:cNvSpPr/>
            <p:nvPr/>
          </p:nvSpPr>
          <p:spPr bwMode="auto">
            <a:xfrm>
              <a:off x="10536863" y="2533701"/>
              <a:ext cx="265815" cy="112115"/>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grpSp>
        <p:nvGrpSpPr>
          <p:cNvPr id="7" name="Group 6">
            <a:extLst>
              <a:ext uri="{FF2B5EF4-FFF2-40B4-BE49-F238E27FC236}">
                <a16:creationId xmlns:a16="http://schemas.microsoft.com/office/drawing/2014/main" id="{96DF0662-85C3-461A-B8BB-F982598F6E6A}"/>
              </a:ext>
            </a:extLst>
          </p:cNvPr>
          <p:cNvGrpSpPr/>
          <p:nvPr/>
        </p:nvGrpSpPr>
        <p:grpSpPr>
          <a:xfrm>
            <a:off x="8873109" y="4301808"/>
            <a:ext cx="3121053" cy="2259819"/>
            <a:chOff x="8873109" y="4301808"/>
            <a:chExt cx="3121053" cy="2259819"/>
          </a:xfrm>
        </p:grpSpPr>
        <p:pic>
          <p:nvPicPr>
            <p:cNvPr id="15" name="Picture 14">
              <a:extLst>
                <a:ext uri="{FF2B5EF4-FFF2-40B4-BE49-F238E27FC236}">
                  <a16:creationId xmlns:a16="http://schemas.microsoft.com/office/drawing/2014/main" id="{42903A23-C124-4098-9CC0-8A08BD7E4CAC}"/>
                </a:ext>
              </a:extLst>
            </p:cNvPr>
            <p:cNvPicPr>
              <a:picLocks noChangeAspect="1"/>
            </p:cNvPicPr>
            <p:nvPr/>
          </p:nvPicPr>
          <p:blipFill>
            <a:blip r:embed="rId4"/>
            <a:stretch>
              <a:fillRect/>
            </a:stretch>
          </p:blipFill>
          <p:spPr>
            <a:xfrm>
              <a:off x="8873109" y="4301808"/>
              <a:ext cx="3121053" cy="2259819"/>
            </a:xfrm>
            <a:prstGeom prst="rect">
              <a:avLst/>
            </a:prstGeom>
          </p:spPr>
        </p:pic>
        <p:sp>
          <p:nvSpPr>
            <p:cNvPr id="17" name="Rectangle 16">
              <a:extLst>
                <a:ext uri="{FF2B5EF4-FFF2-40B4-BE49-F238E27FC236}">
                  <a16:creationId xmlns:a16="http://schemas.microsoft.com/office/drawing/2014/main" id="{06D10A28-D372-4E1F-9E73-BB9933BD9FFA}"/>
                </a:ext>
              </a:extLst>
            </p:cNvPr>
            <p:cNvSpPr/>
            <p:nvPr/>
          </p:nvSpPr>
          <p:spPr bwMode="auto">
            <a:xfrm>
              <a:off x="9556897" y="4308935"/>
              <a:ext cx="1293629" cy="1198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8" name="Rectangle 17">
              <a:extLst>
                <a:ext uri="{FF2B5EF4-FFF2-40B4-BE49-F238E27FC236}">
                  <a16:creationId xmlns:a16="http://schemas.microsoft.com/office/drawing/2014/main" id="{12E0B525-F5BB-4E90-9A81-41D05EB4A743}"/>
                </a:ext>
              </a:extLst>
            </p:cNvPr>
            <p:cNvSpPr/>
            <p:nvPr/>
          </p:nvSpPr>
          <p:spPr bwMode="auto">
            <a:xfrm>
              <a:off x="10010552" y="5339267"/>
              <a:ext cx="265815" cy="112115"/>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9" name="Rectangle 18">
              <a:extLst>
                <a:ext uri="{FF2B5EF4-FFF2-40B4-BE49-F238E27FC236}">
                  <a16:creationId xmlns:a16="http://schemas.microsoft.com/office/drawing/2014/main" id="{C9B8CCC6-9414-4908-8879-DCDA55766697}"/>
                </a:ext>
              </a:extLst>
            </p:cNvPr>
            <p:cNvSpPr/>
            <p:nvPr/>
          </p:nvSpPr>
          <p:spPr bwMode="auto">
            <a:xfrm>
              <a:off x="10566988" y="5339267"/>
              <a:ext cx="265815" cy="112115"/>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spTree>
    <p:extLst>
      <p:ext uri="{BB962C8B-B14F-4D97-AF65-F5344CB8AC3E}">
        <p14:creationId xmlns:p14="http://schemas.microsoft.com/office/powerpoint/2010/main" val="12175534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5CABD2-8761-4E79-A23B-61E71F20D2B3}"/>
              </a:ext>
            </a:extLst>
          </p:cNvPr>
          <p:cNvSpPr>
            <a:spLocks noGrp="1"/>
          </p:cNvSpPr>
          <p:nvPr>
            <p:ph sz="quarter" idx="11"/>
          </p:nvPr>
        </p:nvSpPr>
        <p:spPr>
          <a:xfrm>
            <a:off x="405809" y="1203990"/>
            <a:ext cx="5883280" cy="4944045"/>
          </a:xfrm>
        </p:spPr>
        <p:txBody>
          <a:bodyPr/>
          <a:lstStyle/>
          <a:p>
            <a:pPr marL="0" indent="0">
              <a:buNone/>
            </a:pPr>
            <a:r>
              <a:rPr lang="sv-SE" sz="1600" b="1"/>
              <a:t>Deployment assumption</a:t>
            </a:r>
            <a:r>
              <a:rPr lang="sv-SE" sz="1600"/>
              <a:t>:</a:t>
            </a:r>
          </a:p>
          <a:p>
            <a:r>
              <a:rPr lang="sv-SE" sz="1600"/>
              <a:t>The operator adds 5GS to </a:t>
            </a:r>
            <a:r>
              <a:rPr lang="x-none" sz="1600"/>
              <a:t>i</a:t>
            </a:r>
            <a:r>
              <a:rPr lang="en-US" sz="1600"/>
              <a:t>t</a:t>
            </a:r>
            <a:r>
              <a:rPr lang="x-none" sz="1600"/>
              <a:t>s</a:t>
            </a:r>
            <a:r>
              <a:rPr lang="sv-SE" sz="1600"/>
              <a:t> existing 2-4G network.</a:t>
            </a:r>
          </a:p>
          <a:p>
            <a:r>
              <a:rPr lang="x-none" sz="1600"/>
              <a:t>I</a:t>
            </a:r>
            <a:r>
              <a:rPr lang="en-US" sz="1600"/>
              <a:t>M</a:t>
            </a:r>
            <a:r>
              <a:rPr lang="x-none" sz="1600"/>
              <a:t>S </a:t>
            </a:r>
            <a:r>
              <a:rPr lang="en-US" sz="1600"/>
              <a:t>A</a:t>
            </a:r>
            <a:r>
              <a:rPr lang="x-none" sz="1600"/>
              <a:t>P</a:t>
            </a:r>
            <a:r>
              <a:rPr lang="en-US" sz="1600"/>
              <a:t>N</a:t>
            </a:r>
            <a:r>
              <a:rPr lang="x-none" sz="1600"/>
              <a:t> </a:t>
            </a:r>
            <a:r>
              <a:rPr lang="en-US" sz="1600"/>
              <a:t>o</a:t>
            </a:r>
            <a:r>
              <a:rPr lang="x-none" sz="1600"/>
              <a:t>n</a:t>
            </a:r>
            <a:r>
              <a:rPr lang="en-US" sz="1600"/>
              <a:t>l</a:t>
            </a:r>
            <a:r>
              <a:rPr lang="x-none" sz="1600"/>
              <a:t>y </a:t>
            </a:r>
            <a:r>
              <a:rPr lang="en-US" sz="1600"/>
              <a:t>o</a:t>
            </a:r>
            <a:r>
              <a:rPr lang="x-none" sz="1600"/>
              <a:t>n 4G and 5G, </a:t>
            </a:r>
            <a:r>
              <a:rPr lang="en-US" sz="1600"/>
              <a:t>h</a:t>
            </a:r>
            <a:r>
              <a:rPr lang="x-none" sz="1600"/>
              <a:t>e</a:t>
            </a:r>
            <a:r>
              <a:rPr lang="en-US" sz="1600"/>
              <a:t>n</a:t>
            </a:r>
            <a:r>
              <a:rPr lang="x-none" sz="1600"/>
              <a:t>c</a:t>
            </a:r>
            <a:r>
              <a:rPr lang="en-US" sz="1600"/>
              <a:t>e</a:t>
            </a:r>
            <a:r>
              <a:rPr lang="x-none" sz="1600"/>
              <a:t> </a:t>
            </a:r>
            <a:r>
              <a:rPr lang="en-US" sz="1600"/>
              <a:t>n</a:t>
            </a:r>
            <a:r>
              <a:rPr lang="x-none" sz="1600"/>
              <a:t>o</a:t>
            </a:r>
            <a:r>
              <a:rPr lang="en-US" sz="1600"/>
              <a:t>t</a:t>
            </a:r>
            <a:r>
              <a:rPr lang="x-none" sz="1600"/>
              <a:t> </a:t>
            </a:r>
            <a:r>
              <a:rPr lang="en-US" sz="1600"/>
              <a:t>o</a:t>
            </a:r>
            <a:r>
              <a:rPr lang="x-none" sz="1600"/>
              <a:t>n 2</a:t>
            </a:r>
            <a:r>
              <a:rPr lang="en-US" sz="1600"/>
              <a:t>G</a:t>
            </a:r>
            <a:r>
              <a:rPr lang="x-none" sz="1600"/>
              <a:t>/3</a:t>
            </a:r>
            <a:r>
              <a:rPr lang="en-US" sz="1600"/>
              <a:t>G</a:t>
            </a:r>
            <a:endParaRPr lang="x-none" sz="1600"/>
          </a:p>
          <a:p>
            <a:pPr marL="0" indent="0">
              <a:buClr>
                <a:schemeClr val="tx1"/>
              </a:buClr>
              <a:buNone/>
            </a:pPr>
            <a:r>
              <a:rPr lang="en-GB" sz="1600" b="1"/>
              <a:t>User experience</a:t>
            </a:r>
            <a:endParaRPr lang="en-US" sz="1600" b="1"/>
          </a:p>
          <a:p>
            <a:r>
              <a:rPr lang="en-US" sz="1600"/>
              <a:t>P</a:t>
            </a:r>
            <a:r>
              <a:rPr lang="x-none" sz="1600"/>
              <a:t>o</a:t>
            </a:r>
            <a:r>
              <a:rPr lang="en-US" sz="1600"/>
              <a:t>s</a:t>
            </a:r>
            <a:r>
              <a:rPr lang="x-none" sz="1600"/>
              <a:t>s</a:t>
            </a:r>
            <a:r>
              <a:rPr lang="en-US" sz="1600"/>
              <a:t>i</a:t>
            </a:r>
            <a:r>
              <a:rPr lang="x-none" sz="1600"/>
              <a:t>b</a:t>
            </a:r>
            <a:r>
              <a:rPr lang="en-US" sz="1600"/>
              <a:t>l</a:t>
            </a:r>
            <a:r>
              <a:rPr lang="x-none" sz="1600"/>
              <a:t>e </a:t>
            </a:r>
            <a:r>
              <a:rPr lang="en-US" sz="1600"/>
              <a:t>t</a:t>
            </a:r>
            <a:r>
              <a:rPr lang="x-none" sz="1600"/>
              <a:t>o </a:t>
            </a:r>
            <a:r>
              <a:rPr lang="en-US" sz="1600"/>
              <a:t>u</a:t>
            </a:r>
            <a:r>
              <a:rPr lang="x-none" sz="1600"/>
              <a:t>s</a:t>
            </a:r>
            <a:r>
              <a:rPr lang="en-US" sz="1600"/>
              <a:t>e</a:t>
            </a:r>
            <a:r>
              <a:rPr lang="x-none" sz="1600"/>
              <a:t> </a:t>
            </a:r>
            <a:r>
              <a:rPr lang="en-US" sz="1600"/>
              <a:t>I</a:t>
            </a:r>
            <a:r>
              <a:rPr lang="x-none" sz="1600"/>
              <a:t>M</a:t>
            </a:r>
            <a:r>
              <a:rPr lang="en-US" sz="1600"/>
              <a:t>S</a:t>
            </a:r>
            <a:r>
              <a:rPr lang="x-none" sz="1600"/>
              <a:t> </a:t>
            </a:r>
            <a:r>
              <a:rPr lang="en-US" sz="1600"/>
              <a:t>v</a:t>
            </a:r>
            <a:r>
              <a:rPr lang="x-none" sz="1600"/>
              <a:t>o</a:t>
            </a:r>
            <a:r>
              <a:rPr lang="en-US" sz="1600"/>
              <a:t>i</a:t>
            </a:r>
            <a:r>
              <a:rPr lang="x-none" sz="1600"/>
              <a:t>c</a:t>
            </a:r>
            <a:r>
              <a:rPr lang="en-US" sz="1600"/>
              <a:t>e</a:t>
            </a:r>
            <a:r>
              <a:rPr lang="x-none" sz="1600"/>
              <a:t> </a:t>
            </a:r>
            <a:r>
              <a:rPr lang="en-US" sz="1600"/>
              <a:t>o</a:t>
            </a:r>
            <a:r>
              <a:rPr lang="x-none" sz="1600"/>
              <a:t>n 4</a:t>
            </a:r>
            <a:r>
              <a:rPr lang="en-US" sz="1600"/>
              <a:t>G</a:t>
            </a:r>
            <a:r>
              <a:rPr lang="x-none" sz="1600"/>
              <a:t> </a:t>
            </a:r>
            <a:r>
              <a:rPr lang="en-US" sz="1600"/>
              <a:t>a</a:t>
            </a:r>
            <a:r>
              <a:rPr lang="x-none" sz="1600"/>
              <a:t>n</a:t>
            </a:r>
            <a:r>
              <a:rPr lang="en-US" sz="1600"/>
              <a:t>d</a:t>
            </a:r>
            <a:r>
              <a:rPr lang="x-none" sz="1600"/>
              <a:t> 5G</a:t>
            </a:r>
          </a:p>
          <a:p>
            <a:r>
              <a:rPr lang="x-none" sz="1600"/>
              <a:t>Possible to use Internet services </a:t>
            </a:r>
            <a:r>
              <a:rPr lang="en-US" sz="1600"/>
              <a:t>o</a:t>
            </a:r>
            <a:r>
              <a:rPr lang="x-none" sz="1600"/>
              <a:t>n 2-5</a:t>
            </a:r>
            <a:r>
              <a:rPr lang="en-US" sz="1600"/>
              <a:t>G</a:t>
            </a:r>
            <a:endParaRPr lang="x-none" sz="1600"/>
          </a:p>
          <a:p>
            <a:r>
              <a:rPr lang="sv-SE" sz="1600"/>
              <a:t>Depending on which access </a:t>
            </a:r>
            <a:r>
              <a:rPr lang="x-none" sz="1600"/>
              <a:t>i</a:t>
            </a:r>
            <a:r>
              <a:rPr lang="en-US" sz="1600"/>
              <a:t>s</a:t>
            </a:r>
            <a:r>
              <a:rPr lang="x-none" sz="1600"/>
              <a:t> </a:t>
            </a:r>
            <a:r>
              <a:rPr lang="en-US" sz="1600"/>
              <a:t>u</a:t>
            </a:r>
            <a:r>
              <a:rPr lang="x-none" sz="1600"/>
              <a:t>s</a:t>
            </a:r>
            <a:r>
              <a:rPr lang="en-US" sz="1600"/>
              <a:t>e</a:t>
            </a:r>
            <a:r>
              <a:rPr lang="x-none" sz="1600"/>
              <a:t>d </a:t>
            </a:r>
            <a:r>
              <a:rPr lang="en-US" sz="1600"/>
              <a:t>t</a:t>
            </a:r>
            <a:r>
              <a:rPr lang="x-none" sz="1600"/>
              <a:t>o </a:t>
            </a:r>
            <a:r>
              <a:rPr lang="en-US" sz="1600"/>
              <a:t>s</a:t>
            </a:r>
            <a:r>
              <a:rPr lang="x-none" sz="1600"/>
              <a:t>e</a:t>
            </a:r>
            <a:r>
              <a:rPr lang="en-US" sz="1600"/>
              <a:t>t</a:t>
            </a:r>
            <a:r>
              <a:rPr lang="x-none" sz="1600"/>
              <a:t>up </a:t>
            </a:r>
            <a:r>
              <a:rPr lang="sv-SE" sz="1600"/>
              <a:t>the PDN connection to an APN, there will be an IP address break at different mobility cases.</a:t>
            </a:r>
          </a:p>
          <a:p>
            <a:pPr marL="0" indent="0">
              <a:buNone/>
            </a:pPr>
            <a:r>
              <a:rPr lang="x-none" sz="1600" b="1"/>
              <a:t>B</a:t>
            </a:r>
            <a:r>
              <a:rPr lang="en-US" sz="1600" b="1"/>
              <a:t>a</a:t>
            </a:r>
            <a:r>
              <a:rPr lang="x-none" sz="1600" b="1"/>
              <a:t>c</a:t>
            </a:r>
            <a:r>
              <a:rPr lang="en-US" sz="1600" b="1"/>
              <a:t>k</a:t>
            </a:r>
            <a:r>
              <a:rPr lang="x-none" sz="1600" b="1"/>
              <a:t>g</a:t>
            </a:r>
            <a:r>
              <a:rPr lang="en-US" sz="1600" b="1"/>
              <a:t>r</a:t>
            </a:r>
            <a:r>
              <a:rPr lang="x-none" sz="1600" b="1"/>
              <a:t>o</a:t>
            </a:r>
            <a:r>
              <a:rPr lang="en-US" sz="1600" b="1"/>
              <a:t>u</a:t>
            </a:r>
            <a:r>
              <a:rPr lang="x-none" sz="1600" b="1"/>
              <a:t>n</a:t>
            </a:r>
            <a:r>
              <a:rPr lang="en-US" sz="1600" b="1"/>
              <a:t>d</a:t>
            </a:r>
            <a:r>
              <a:rPr lang="x-none" sz="1600" b="1"/>
              <a:t> </a:t>
            </a:r>
            <a:r>
              <a:rPr lang="en-US" sz="1600" b="1"/>
              <a:t>3GPP:</a:t>
            </a:r>
          </a:p>
          <a:p>
            <a:r>
              <a:rPr lang="en-US" sz="1600"/>
              <a:t>SMF with </a:t>
            </a:r>
            <a:r>
              <a:rPr lang="en-US" sz="1600" err="1"/>
              <a:t>Gn</a:t>
            </a:r>
            <a:r>
              <a:rPr lang="en-US" sz="1600"/>
              <a:t>/</a:t>
            </a:r>
            <a:r>
              <a:rPr lang="en-US" sz="1600" err="1"/>
              <a:t>Gp</a:t>
            </a:r>
            <a:r>
              <a:rPr lang="en-US" sz="1600"/>
              <a:t> or S5/S8 towards 2G/3G networks is not defined. Hence an operator supporting 2-5G must d</a:t>
            </a:r>
            <a:r>
              <a:rPr lang="x-none" sz="1600"/>
              <a:t>e</a:t>
            </a:r>
            <a:r>
              <a:rPr lang="en-US" sz="1600"/>
              <a:t>p</a:t>
            </a:r>
            <a:r>
              <a:rPr lang="x-none" sz="1600" err="1"/>
              <a:t>loy</a:t>
            </a:r>
            <a:r>
              <a:rPr lang="x-none" sz="1600"/>
              <a:t> </a:t>
            </a:r>
            <a:r>
              <a:rPr lang="en-US" sz="1600"/>
              <a:t>both SMF and PGW.</a:t>
            </a:r>
          </a:p>
          <a:p>
            <a:pPr marL="0" indent="0">
              <a:buNone/>
            </a:pPr>
            <a:r>
              <a:rPr lang="sv-SE" sz="1600" b="1"/>
              <a:t>Requirements</a:t>
            </a:r>
            <a:r>
              <a:rPr lang="en-US" sz="1600" b="1"/>
              <a:t>:</a:t>
            </a:r>
          </a:p>
          <a:p>
            <a:r>
              <a:rPr lang="en-US" sz="1600"/>
              <a:t>If </a:t>
            </a:r>
            <a:r>
              <a:rPr lang="x-none" sz="1600"/>
              <a:t>t</a:t>
            </a:r>
            <a:r>
              <a:rPr lang="en-US" sz="1600"/>
              <a:t>h</a:t>
            </a:r>
            <a:r>
              <a:rPr lang="x-none" sz="1600"/>
              <a:t>e </a:t>
            </a:r>
            <a:r>
              <a:rPr lang="en-US" sz="1600"/>
              <a:t>same APN/DNN </a:t>
            </a:r>
            <a:r>
              <a:rPr lang="x-none" sz="1600"/>
              <a:t>i</a:t>
            </a:r>
            <a:r>
              <a:rPr lang="en-US" sz="1600"/>
              <a:t>s</a:t>
            </a:r>
            <a:r>
              <a:rPr lang="x-none" sz="1600"/>
              <a:t> </a:t>
            </a:r>
            <a:r>
              <a:rPr lang="en-US" sz="1600"/>
              <a:t>used for all subscribers, MME </a:t>
            </a:r>
            <a:r>
              <a:rPr lang="x-none" sz="1600"/>
              <a:t>m</a:t>
            </a:r>
            <a:r>
              <a:rPr lang="en-US" sz="1600"/>
              <a:t>u</a:t>
            </a:r>
            <a:r>
              <a:rPr lang="x-none" sz="1600"/>
              <a:t>s</a:t>
            </a:r>
            <a:r>
              <a:rPr lang="en-US" sz="1600"/>
              <a:t>t</a:t>
            </a:r>
            <a:r>
              <a:rPr lang="x-none" sz="1600"/>
              <a:t> </a:t>
            </a:r>
            <a:r>
              <a:rPr lang="en-US" sz="1600"/>
              <a:t>b</a:t>
            </a:r>
            <a:r>
              <a:rPr lang="x-none" sz="1600"/>
              <a:t>e</a:t>
            </a:r>
            <a:r>
              <a:rPr lang="en-US" sz="1600"/>
              <a:t> upgraded to select PGW or SMF depending on UE capabilities</a:t>
            </a:r>
          </a:p>
          <a:p>
            <a:r>
              <a:rPr lang="en-US" sz="1600"/>
              <a:t>If PCC functionality like usage monitoring is required, common database is needed for PCRF and PCF</a:t>
            </a:r>
          </a:p>
          <a:p>
            <a:endParaRPr lang="x-none" sz="1800"/>
          </a:p>
          <a:p>
            <a:pPr marL="0" indent="0">
              <a:buNone/>
            </a:pPr>
            <a:endParaRPr lang="en-US" sz="1600"/>
          </a:p>
        </p:txBody>
      </p:sp>
      <p:sp>
        <p:nvSpPr>
          <p:cNvPr id="3" name="Title 2">
            <a:extLst>
              <a:ext uri="{FF2B5EF4-FFF2-40B4-BE49-F238E27FC236}">
                <a16:creationId xmlns:a16="http://schemas.microsoft.com/office/drawing/2014/main" id="{C75DFB64-5603-46B8-BC9A-4DC6CB4A6B14}"/>
              </a:ext>
            </a:extLst>
          </p:cNvPr>
          <p:cNvSpPr>
            <a:spLocks noGrp="1"/>
          </p:cNvSpPr>
          <p:nvPr>
            <p:ph type="title"/>
          </p:nvPr>
        </p:nvSpPr>
        <p:spPr>
          <a:xfrm>
            <a:off x="479425" y="476250"/>
            <a:ext cx="8353426" cy="587357"/>
          </a:xfrm>
        </p:spPr>
        <p:txBody>
          <a:bodyPr/>
          <a:lstStyle/>
          <a:p>
            <a:r>
              <a:rPr lang="x-none"/>
              <a:t>Supporting 2-5</a:t>
            </a:r>
            <a:r>
              <a:rPr lang="en-US"/>
              <a:t>G</a:t>
            </a:r>
          </a:p>
        </p:txBody>
      </p:sp>
      <p:grpSp>
        <p:nvGrpSpPr>
          <p:cNvPr id="4" name="Group 3">
            <a:extLst>
              <a:ext uri="{FF2B5EF4-FFF2-40B4-BE49-F238E27FC236}">
                <a16:creationId xmlns:a16="http://schemas.microsoft.com/office/drawing/2014/main" id="{C50A1C8D-FEF2-4F16-9824-2D07E73658DF}"/>
              </a:ext>
            </a:extLst>
          </p:cNvPr>
          <p:cNvGrpSpPr/>
          <p:nvPr/>
        </p:nvGrpSpPr>
        <p:grpSpPr>
          <a:xfrm>
            <a:off x="7463852" y="4704469"/>
            <a:ext cx="4379379" cy="1443567"/>
            <a:chOff x="7489554" y="4933083"/>
            <a:chExt cx="4379379" cy="1443567"/>
          </a:xfrm>
        </p:grpSpPr>
        <p:sp>
          <p:nvSpPr>
            <p:cNvPr id="23" name="TextBox 22">
              <a:extLst>
                <a:ext uri="{FF2B5EF4-FFF2-40B4-BE49-F238E27FC236}">
                  <a16:creationId xmlns:a16="http://schemas.microsoft.com/office/drawing/2014/main" id="{78CB6322-BDB2-4A45-91A5-AEED8198FB0B}"/>
                </a:ext>
              </a:extLst>
            </p:cNvPr>
            <p:cNvSpPr txBox="1"/>
            <p:nvPr/>
          </p:nvSpPr>
          <p:spPr bwMode="auto">
            <a:xfrm>
              <a:off x="10666393" y="5588935"/>
              <a:ext cx="1202540" cy="787715"/>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buClr>
                  <a:schemeClr val="tx1"/>
                </a:buClr>
              </a:pPr>
              <a:r>
                <a:rPr lang="en-US" sz="900"/>
                <a:t>Initial PDN/PDU </a:t>
              </a:r>
            </a:p>
            <a:p>
              <a:pPr>
                <a:buClr>
                  <a:schemeClr val="tx1"/>
                </a:buClr>
              </a:pPr>
              <a:r>
                <a:rPr lang="en-US" sz="900"/>
                <a:t>session setup </a:t>
              </a:r>
            </a:p>
            <a:p>
              <a:pPr>
                <a:buClr>
                  <a:schemeClr val="tx1"/>
                </a:buClr>
              </a:pPr>
              <a:r>
                <a:rPr lang="en-US" sz="900"/>
                <a:t>and GW selection</a:t>
              </a:r>
            </a:p>
          </p:txBody>
        </p:sp>
        <p:cxnSp>
          <p:nvCxnSpPr>
            <p:cNvPr id="31" name="Straight Connector 30">
              <a:extLst>
                <a:ext uri="{FF2B5EF4-FFF2-40B4-BE49-F238E27FC236}">
                  <a16:creationId xmlns:a16="http://schemas.microsoft.com/office/drawing/2014/main" id="{0964B22F-9FC0-4DEE-9A1F-F40E5AA90FF0}"/>
                </a:ext>
              </a:extLst>
            </p:cNvPr>
            <p:cNvCxnSpPr>
              <a:cxnSpLocks/>
              <a:stCxn id="28" idx="0"/>
            </p:cNvCxnSpPr>
            <p:nvPr/>
          </p:nvCxnSpPr>
          <p:spPr bwMode="auto">
            <a:xfrm>
              <a:off x="7489554" y="4933083"/>
              <a:ext cx="3037474" cy="900337"/>
            </a:xfrm>
            <a:prstGeom prst="line">
              <a:avLst/>
            </a:prstGeom>
            <a:solidFill>
              <a:schemeClr val="accent1"/>
            </a:solidFill>
            <a:ln w="12700" cap="flat" cmpd="sng" algn="ctr">
              <a:solidFill>
                <a:schemeClr val="tx1"/>
              </a:solidFill>
              <a:prstDash val="dash"/>
              <a:round/>
              <a:headEnd type="none" w="med" len="med"/>
              <a:tailEnd type="none"/>
            </a:ln>
            <a:effectLst/>
          </p:spPr>
        </p:cxnSp>
        <p:cxnSp>
          <p:nvCxnSpPr>
            <p:cNvPr id="32" name="Straight Connector 31">
              <a:extLst>
                <a:ext uri="{FF2B5EF4-FFF2-40B4-BE49-F238E27FC236}">
                  <a16:creationId xmlns:a16="http://schemas.microsoft.com/office/drawing/2014/main" id="{1CCC207A-658A-4BBE-A4DB-BC6AE90964A6}"/>
                </a:ext>
              </a:extLst>
            </p:cNvPr>
            <p:cNvCxnSpPr>
              <a:cxnSpLocks/>
            </p:cNvCxnSpPr>
            <p:nvPr/>
          </p:nvCxnSpPr>
          <p:spPr bwMode="auto">
            <a:xfrm>
              <a:off x="8845191" y="5238782"/>
              <a:ext cx="1722362" cy="573784"/>
            </a:xfrm>
            <a:prstGeom prst="line">
              <a:avLst/>
            </a:prstGeom>
            <a:solidFill>
              <a:schemeClr val="accent1"/>
            </a:solidFill>
            <a:ln w="12700" cap="flat" cmpd="sng" algn="ctr">
              <a:solidFill>
                <a:schemeClr val="tx1"/>
              </a:solidFill>
              <a:prstDash val="dash"/>
              <a:round/>
              <a:headEnd type="none" w="med" len="med"/>
              <a:tailEnd type="none"/>
            </a:ln>
            <a:effectLst/>
          </p:spPr>
        </p:cxnSp>
        <p:cxnSp>
          <p:nvCxnSpPr>
            <p:cNvPr id="33" name="Straight Connector 32">
              <a:extLst>
                <a:ext uri="{FF2B5EF4-FFF2-40B4-BE49-F238E27FC236}">
                  <a16:creationId xmlns:a16="http://schemas.microsoft.com/office/drawing/2014/main" id="{1D925FC8-4DFA-402C-AC1C-73A7563764F4}"/>
                </a:ext>
              </a:extLst>
            </p:cNvPr>
            <p:cNvCxnSpPr>
              <a:cxnSpLocks/>
            </p:cNvCxnSpPr>
            <p:nvPr/>
          </p:nvCxnSpPr>
          <p:spPr bwMode="auto">
            <a:xfrm>
              <a:off x="10454886" y="5305308"/>
              <a:ext cx="118237" cy="465176"/>
            </a:xfrm>
            <a:prstGeom prst="line">
              <a:avLst/>
            </a:prstGeom>
            <a:solidFill>
              <a:schemeClr val="accent1"/>
            </a:solidFill>
            <a:ln w="12700" cap="flat" cmpd="sng" algn="ctr">
              <a:solidFill>
                <a:schemeClr val="tx1"/>
              </a:solidFill>
              <a:prstDash val="dash"/>
              <a:round/>
              <a:headEnd type="none" w="med" len="med"/>
              <a:tailEnd type="none"/>
            </a:ln>
            <a:effectLst/>
          </p:spPr>
        </p:cxnSp>
      </p:grpSp>
      <p:sp>
        <p:nvSpPr>
          <p:cNvPr id="62" name="TextBox 61">
            <a:extLst>
              <a:ext uri="{FF2B5EF4-FFF2-40B4-BE49-F238E27FC236}">
                <a16:creationId xmlns:a16="http://schemas.microsoft.com/office/drawing/2014/main" id="{ED5BE347-B5FA-4F27-BA34-60D24433E0B2}"/>
              </a:ext>
            </a:extLst>
          </p:cNvPr>
          <p:cNvSpPr txBox="1"/>
          <p:nvPr/>
        </p:nvSpPr>
        <p:spPr bwMode="auto">
          <a:xfrm>
            <a:off x="9598982" y="2203739"/>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400">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000"/>
              <a:t>SMF</a:t>
            </a:r>
            <a:br>
              <a:rPr lang="en-US" sz="1050"/>
            </a:br>
            <a:endParaRPr lang="en-US" sz="1050"/>
          </a:p>
        </p:txBody>
      </p:sp>
      <p:sp>
        <p:nvSpPr>
          <p:cNvPr id="74" name="TextBox 73">
            <a:extLst>
              <a:ext uri="{FF2B5EF4-FFF2-40B4-BE49-F238E27FC236}">
                <a16:creationId xmlns:a16="http://schemas.microsoft.com/office/drawing/2014/main" id="{ABC4F906-DC64-4551-8B55-D9B720DE1D14}"/>
              </a:ext>
            </a:extLst>
          </p:cNvPr>
          <p:cNvSpPr txBox="1"/>
          <p:nvPr/>
        </p:nvSpPr>
        <p:spPr bwMode="auto">
          <a:xfrm>
            <a:off x="7747168" y="2189465"/>
            <a:ext cx="472373" cy="767607"/>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defPPr>
              <a:defRPr lang="en-US"/>
            </a:defPPr>
            <a:lvl1pPr algn="ctr">
              <a:buClr>
                <a:schemeClr val="tx1"/>
              </a:buClr>
              <a:defRPr sz="2000">
                <a:latin typeface="Ericsson Technical Icons" panose="00000500000000000000" pitchFamily="2" charset="0"/>
              </a:defRPr>
            </a:lvl1pPr>
          </a:lstStyle>
          <a:p>
            <a:r>
              <a:rPr lang="en-US" sz="1400"/>
              <a:t>s</a:t>
            </a:r>
            <a:br>
              <a:rPr lang="en-US" sz="1400"/>
            </a:br>
            <a:r>
              <a:rPr lang="en-US" sz="1400"/>
              <a:t>g</a:t>
            </a:r>
          </a:p>
          <a:p>
            <a:r>
              <a:rPr lang="sv-SE" sz="1000">
                <a:latin typeface="+mn-lt"/>
              </a:rPr>
              <a:t>PGW</a:t>
            </a:r>
            <a:endParaRPr lang="en-US" sz="1000">
              <a:latin typeface="+mn-lt"/>
            </a:endParaRPr>
          </a:p>
          <a:p>
            <a:endParaRPr lang="en-US"/>
          </a:p>
        </p:txBody>
      </p:sp>
      <p:cxnSp>
        <p:nvCxnSpPr>
          <p:cNvPr id="21" name="Straight Arrow Connector 20">
            <a:extLst>
              <a:ext uri="{FF2B5EF4-FFF2-40B4-BE49-F238E27FC236}">
                <a16:creationId xmlns:a16="http://schemas.microsoft.com/office/drawing/2014/main" id="{8CBB6D08-4288-47A7-9693-7BCAA8F36CBF}"/>
              </a:ext>
            </a:extLst>
          </p:cNvPr>
          <p:cNvCxnSpPr>
            <a:cxnSpLocks/>
          </p:cNvCxnSpPr>
          <p:nvPr/>
        </p:nvCxnSpPr>
        <p:spPr bwMode="auto">
          <a:xfrm flipH="1">
            <a:off x="7504108" y="4237108"/>
            <a:ext cx="1077502" cy="0"/>
          </a:xfrm>
          <a:prstGeom prst="straightConnector1">
            <a:avLst/>
          </a:prstGeom>
          <a:solidFill>
            <a:schemeClr val="accent1"/>
          </a:solidFill>
          <a:ln w="28575" cap="flat" cmpd="sng" algn="ctr">
            <a:solidFill>
              <a:schemeClr val="accent4">
                <a:lumMod val="75000"/>
              </a:schemeClr>
            </a:solidFill>
            <a:prstDash val="solid"/>
            <a:round/>
            <a:headEnd type="arrow" w="med" len="med"/>
            <a:tailEnd type="arrow" w="med" len="med"/>
          </a:ln>
          <a:effectLst/>
        </p:spPr>
      </p:cxnSp>
      <p:sp>
        <p:nvSpPr>
          <p:cNvPr id="28" name="Freeform: Shape 27">
            <a:extLst>
              <a:ext uri="{FF2B5EF4-FFF2-40B4-BE49-F238E27FC236}">
                <a16:creationId xmlns:a16="http://schemas.microsoft.com/office/drawing/2014/main" id="{D0B5F4C7-E515-4F2F-B290-AE547E6E0168}"/>
              </a:ext>
            </a:extLst>
          </p:cNvPr>
          <p:cNvSpPr/>
          <p:nvPr/>
        </p:nvSpPr>
        <p:spPr bwMode="auto">
          <a:xfrm>
            <a:off x="7350626" y="2992811"/>
            <a:ext cx="369837" cy="1940272"/>
          </a:xfrm>
          <a:custGeom>
            <a:avLst/>
            <a:gdLst>
              <a:gd name="connsiteX0" fmla="*/ 138928 w 369837"/>
              <a:gd name="connsiteY0" fmla="*/ 1958109 h 1958109"/>
              <a:gd name="connsiteX1" fmla="*/ 9619 w 369837"/>
              <a:gd name="connsiteY1" fmla="*/ 766618 h 1958109"/>
              <a:gd name="connsiteX2" fmla="*/ 369837 w 369837"/>
              <a:gd name="connsiteY2" fmla="*/ 0 h 1958109"/>
            </a:gdLst>
            <a:ahLst/>
            <a:cxnLst>
              <a:cxn ang="0">
                <a:pos x="connsiteX0" y="connsiteY0"/>
              </a:cxn>
              <a:cxn ang="0">
                <a:pos x="connsiteX1" y="connsiteY1"/>
              </a:cxn>
              <a:cxn ang="0">
                <a:pos x="connsiteX2" y="connsiteY2"/>
              </a:cxn>
            </a:cxnLst>
            <a:rect l="l" t="t" r="r" b="b"/>
            <a:pathLst>
              <a:path w="369837" h="1958109">
                <a:moveTo>
                  <a:pt x="138928" y="1958109"/>
                </a:moveTo>
                <a:cubicBezTo>
                  <a:pt x="55031" y="1525539"/>
                  <a:pt x="-28866" y="1092969"/>
                  <a:pt x="9619" y="766618"/>
                </a:cubicBezTo>
                <a:cubicBezTo>
                  <a:pt x="48104" y="440267"/>
                  <a:pt x="208970" y="220133"/>
                  <a:pt x="369837" y="0"/>
                </a:cubicBezTo>
              </a:path>
            </a:pathLst>
          </a:custGeom>
          <a:noFill/>
          <a:ln w="15875" cap="flat" cmpd="sng" algn="ctr">
            <a:solidFill>
              <a:schemeClr val="accent4">
                <a:lumMod val="75000"/>
              </a:schemeClr>
            </a:solidFill>
            <a:prstDash val="solid"/>
            <a:round/>
            <a:headEnd type="none" w="med" len="med"/>
            <a:tailEnd type="triangle" w="med" len="med"/>
          </a:ln>
          <a:effectLst/>
        </p:spPr>
        <p:txBody>
          <a:bodyPr rtlCol="0" anchor="ctr"/>
          <a:lstStyle/>
          <a:p>
            <a:pPr algn="ctr"/>
            <a:endParaRPr lang="en-US"/>
          </a:p>
        </p:txBody>
      </p:sp>
      <p:sp>
        <p:nvSpPr>
          <p:cNvPr id="86" name="TextBox 85">
            <a:extLst>
              <a:ext uri="{FF2B5EF4-FFF2-40B4-BE49-F238E27FC236}">
                <a16:creationId xmlns:a16="http://schemas.microsoft.com/office/drawing/2014/main" id="{22E48DF3-570C-4D46-8C82-3248D7264AD5}"/>
              </a:ext>
            </a:extLst>
          </p:cNvPr>
          <p:cNvSpPr txBox="1"/>
          <p:nvPr/>
        </p:nvSpPr>
        <p:spPr bwMode="auto">
          <a:xfrm>
            <a:off x="7798483" y="3863798"/>
            <a:ext cx="577224" cy="20733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en-US" sz="2800" b="1">
                <a:sym typeface="Wingdings" panose="05000000000000000000" pitchFamily="2" charset="2"/>
              </a:rPr>
              <a:t></a:t>
            </a:r>
            <a:endParaRPr lang="en-US" sz="2800" b="1"/>
          </a:p>
        </p:txBody>
      </p:sp>
      <p:sp>
        <p:nvSpPr>
          <p:cNvPr id="89" name="Freeform: Shape 88">
            <a:extLst>
              <a:ext uri="{FF2B5EF4-FFF2-40B4-BE49-F238E27FC236}">
                <a16:creationId xmlns:a16="http://schemas.microsoft.com/office/drawing/2014/main" id="{A3A6FE38-A8B3-4EA8-901E-669DB052C030}"/>
              </a:ext>
            </a:extLst>
          </p:cNvPr>
          <p:cNvSpPr/>
          <p:nvPr/>
        </p:nvSpPr>
        <p:spPr bwMode="auto">
          <a:xfrm>
            <a:off x="8076591" y="3044646"/>
            <a:ext cx="739762" cy="1891887"/>
          </a:xfrm>
          <a:custGeom>
            <a:avLst/>
            <a:gdLst>
              <a:gd name="connsiteX0" fmla="*/ 138928 w 369837"/>
              <a:gd name="connsiteY0" fmla="*/ 1958109 h 1958109"/>
              <a:gd name="connsiteX1" fmla="*/ 9619 w 369837"/>
              <a:gd name="connsiteY1" fmla="*/ 766618 h 1958109"/>
              <a:gd name="connsiteX2" fmla="*/ 369837 w 369837"/>
              <a:gd name="connsiteY2" fmla="*/ 0 h 1958109"/>
              <a:gd name="connsiteX0" fmla="*/ 671843 w 671843"/>
              <a:gd name="connsiteY0" fmla="*/ 2190052 h 2190052"/>
              <a:gd name="connsiteX1" fmla="*/ 542534 w 671843"/>
              <a:gd name="connsiteY1" fmla="*/ 998561 h 2190052"/>
              <a:gd name="connsiteX2" fmla="*/ 23521 w 671843"/>
              <a:gd name="connsiteY2" fmla="*/ 0 h 2190052"/>
              <a:gd name="connsiteX0" fmla="*/ 710850 w 710850"/>
              <a:gd name="connsiteY0" fmla="*/ 2190052 h 2190052"/>
              <a:gd name="connsiteX1" fmla="*/ 68071 w 710850"/>
              <a:gd name="connsiteY1" fmla="*/ 925316 h 2190052"/>
              <a:gd name="connsiteX2" fmla="*/ 62528 w 710850"/>
              <a:gd name="connsiteY2" fmla="*/ 0 h 2190052"/>
              <a:gd name="connsiteX0" fmla="*/ 710850 w 710850"/>
              <a:gd name="connsiteY0" fmla="*/ 2190052 h 2190052"/>
              <a:gd name="connsiteX1" fmla="*/ 651636 w 710850"/>
              <a:gd name="connsiteY1" fmla="*/ 1359809 h 2190052"/>
              <a:gd name="connsiteX2" fmla="*/ 68071 w 710850"/>
              <a:gd name="connsiteY2" fmla="*/ 925316 h 2190052"/>
              <a:gd name="connsiteX3" fmla="*/ 62528 w 710850"/>
              <a:gd name="connsiteY3" fmla="*/ 0 h 2190052"/>
              <a:gd name="connsiteX0" fmla="*/ 745518 w 745518"/>
              <a:gd name="connsiteY0" fmla="*/ 2159533 h 2159533"/>
              <a:gd name="connsiteX1" fmla="*/ 686304 w 745518"/>
              <a:gd name="connsiteY1" fmla="*/ 1329290 h 2159533"/>
              <a:gd name="connsiteX2" fmla="*/ 102739 w 745518"/>
              <a:gd name="connsiteY2" fmla="*/ 894797 h 2159533"/>
              <a:gd name="connsiteX3" fmla="*/ 54993 w 745518"/>
              <a:gd name="connsiteY3" fmla="*/ 0 h 2159533"/>
              <a:gd name="connsiteX0" fmla="*/ 690525 w 690525"/>
              <a:gd name="connsiteY0" fmla="*/ 2159533 h 2159533"/>
              <a:gd name="connsiteX1" fmla="*/ 631311 w 690525"/>
              <a:gd name="connsiteY1" fmla="*/ 1329290 h 2159533"/>
              <a:gd name="connsiteX2" fmla="*/ 47746 w 690525"/>
              <a:gd name="connsiteY2" fmla="*/ 894797 h 2159533"/>
              <a:gd name="connsiteX3" fmla="*/ 0 w 690525"/>
              <a:gd name="connsiteY3" fmla="*/ 0 h 2159533"/>
              <a:gd name="connsiteX0" fmla="*/ 655356 w 655356"/>
              <a:gd name="connsiteY0" fmla="*/ 2000835 h 2000835"/>
              <a:gd name="connsiteX1" fmla="*/ 596142 w 655356"/>
              <a:gd name="connsiteY1" fmla="*/ 1170592 h 2000835"/>
              <a:gd name="connsiteX2" fmla="*/ 12577 w 655356"/>
              <a:gd name="connsiteY2" fmla="*/ 736099 h 2000835"/>
              <a:gd name="connsiteX3" fmla="*/ 0 w 655356"/>
              <a:gd name="connsiteY3" fmla="*/ 0 h 2000835"/>
              <a:gd name="connsiteX0" fmla="*/ 739762 w 739762"/>
              <a:gd name="connsiteY0" fmla="*/ 1909278 h 1909278"/>
              <a:gd name="connsiteX1" fmla="*/ 596142 w 739762"/>
              <a:gd name="connsiteY1" fmla="*/ 1170592 h 1909278"/>
              <a:gd name="connsiteX2" fmla="*/ 12577 w 739762"/>
              <a:gd name="connsiteY2" fmla="*/ 736099 h 1909278"/>
              <a:gd name="connsiteX3" fmla="*/ 0 w 739762"/>
              <a:gd name="connsiteY3" fmla="*/ 0 h 1909278"/>
              <a:gd name="connsiteX0" fmla="*/ 739762 w 739762"/>
              <a:gd name="connsiteY0" fmla="*/ 1909278 h 1909278"/>
              <a:gd name="connsiteX1" fmla="*/ 596142 w 739762"/>
              <a:gd name="connsiteY1" fmla="*/ 1170592 h 1909278"/>
              <a:gd name="connsiteX2" fmla="*/ 598114 w 739762"/>
              <a:gd name="connsiteY2" fmla="*/ 548168 h 1909278"/>
              <a:gd name="connsiteX3" fmla="*/ 0 w 739762"/>
              <a:gd name="connsiteY3" fmla="*/ 0 h 1909278"/>
              <a:gd name="connsiteX0" fmla="*/ 739762 w 739762"/>
              <a:gd name="connsiteY0" fmla="*/ 1909278 h 1909278"/>
              <a:gd name="connsiteX1" fmla="*/ 598114 w 739762"/>
              <a:gd name="connsiteY1" fmla="*/ 548168 h 1909278"/>
              <a:gd name="connsiteX2" fmla="*/ 0 w 739762"/>
              <a:gd name="connsiteY2" fmla="*/ 0 h 1909278"/>
              <a:gd name="connsiteX0" fmla="*/ 739762 w 739762"/>
              <a:gd name="connsiteY0" fmla="*/ 1909278 h 1909278"/>
              <a:gd name="connsiteX1" fmla="*/ 598114 w 739762"/>
              <a:gd name="connsiteY1" fmla="*/ 548168 h 1909278"/>
              <a:gd name="connsiteX2" fmla="*/ 0 w 739762"/>
              <a:gd name="connsiteY2" fmla="*/ 0 h 1909278"/>
              <a:gd name="connsiteX0" fmla="*/ 739762 w 739762"/>
              <a:gd name="connsiteY0" fmla="*/ 1909278 h 1909278"/>
              <a:gd name="connsiteX1" fmla="*/ 598114 w 739762"/>
              <a:gd name="connsiteY1" fmla="*/ 548168 h 1909278"/>
              <a:gd name="connsiteX2" fmla="*/ 0 w 739762"/>
              <a:gd name="connsiteY2" fmla="*/ 0 h 1909278"/>
              <a:gd name="connsiteX0" fmla="*/ 739762 w 739762"/>
              <a:gd name="connsiteY0" fmla="*/ 1909278 h 1909278"/>
              <a:gd name="connsiteX1" fmla="*/ 598114 w 739762"/>
              <a:gd name="connsiteY1" fmla="*/ 548168 h 1909278"/>
              <a:gd name="connsiteX2" fmla="*/ 0 w 739762"/>
              <a:gd name="connsiteY2" fmla="*/ 0 h 1909278"/>
            </a:gdLst>
            <a:ahLst/>
            <a:cxnLst>
              <a:cxn ang="0">
                <a:pos x="connsiteX0" y="connsiteY0"/>
              </a:cxn>
              <a:cxn ang="0">
                <a:pos x="connsiteX1" y="connsiteY1"/>
              </a:cxn>
              <a:cxn ang="0">
                <a:pos x="connsiteX2" y="connsiteY2"/>
              </a:cxn>
            </a:cxnLst>
            <a:rect l="l" t="t" r="r" b="b"/>
            <a:pathLst>
              <a:path w="739762" h="1909278">
                <a:moveTo>
                  <a:pt x="739762" y="1909278"/>
                </a:moveTo>
                <a:cubicBezTo>
                  <a:pt x="710252" y="1625714"/>
                  <a:pt x="681303" y="880301"/>
                  <a:pt x="598114" y="548168"/>
                </a:cubicBezTo>
                <a:cubicBezTo>
                  <a:pt x="468157" y="235738"/>
                  <a:pt x="911" y="220133"/>
                  <a:pt x="0" y="0"/>
                </a:cubicBezTo>
              </a:path>
            </a:pathLst>
          </a:custGeom>
          <a:noFill/>
          <a:ln w="15875" cap="flat" cmpd="sng" algn="ctr">
            <a:solidFill>
              <a:schemeClr val="accent4">
                <a:lumMod val="75000"/>
              </a:schemeClr>
            </a:solidFill>
            <a:prstDash val="solid"/>
            <a:round/>
            <a:headEnd type="none" w="med" len="med"/>
            <a:tailEnd type="triangle" w="med" len="med"/>
          </a:ln>
          <a:effectLst/>
        </p:spPr>
        <p:txBody>
          <a:bodyPr rtlCol="0" anchor="ctr"/>
          <a:lstStyle/>
          <a:p>
            <a:pPr algn="ctr"/>
            <a:endParaRPr lang="en-US"/>
          </a:p>
        </p:txBody>
      </p:sp>
      <p:cxnSp>
        <p:nvCxnSpPr>
          <p:cNvPr id="14" name="Straight Arrow Connector 13">
            <a:extLst>
              <a:ext uri="{FF2B5EF4-FFF2-40B4-BE49-F238E27FC236}">
                <a16:creationId xmlns:a16="http://schemas.microsoft.com/office/drawing/2014/main" id="{0D392354-BD3E-4F7D-BD3A-355C3013AAB8}"/>
              </a:ext>
            </a:extLst>
          </p:cNvPr>
          <p:cNvCxnSpPr>
            <a:cxnSpLocks/>
          </p:cNvCxnSpPr>
          <p:nvPr/>
        </p:nvCxnSpPr>
        <p:spPr bwMode="auto">
          <a:xfrm flipH="1">
            <a:off x="9155118" y="4237108"/>
            <a:ext cx="1152743" cy="0"/>
          </a:xfrm>
          <a:prstGeom prst="straightConnector1">
            <a:avLst/>
          </a:prstGeom>
          <a:solidFill>
            <a:schemeClr val="accent1"/>
          </a:solidFill>
          <a:ln w="28575" cap="flat" cmpd="sng" algn="ctr">
            <a:solidFill>
              <a:schemeClr val="accent3">
                <a:lumMod val="75000"/>
              </a:schemeClr>
            </a:solidFill>
            <a:prstDash val="solid"/>
            <a:round/>
            <a:headEnd type="arrow" w="med" len="med"/>
            <a:tailEnd type="arrow" w="med" len="med"/>
          </a:ln>
          <a:effectLst/>
        </p:spPr>
      </p:cxnSp>
      <p:sp>
        <p:nvSpPr>
          <p:cNvPr id="27" name="Freeform: Shape 26">
            <a:extLst>
              <a:ext uri="{FF2B5EF4-FFF2-40B4-BE49-F238E27FC236}">
                <a16:creationId xmlns:a16="http://schemas.microsoft.com/office/drawing/2014/main" id="{7BDCEF9C-12E4-42AC-9011-ADFACE666AE0}"/>
              </a:ext>
            </a:extLst>
          </p:cNvPr>
          <p:cNvSpPr/>
          <p:nvPr/>
        </p:nvSpPr>
        <p:spPr bwMode="auto">
          <a:xfrm>
            <a:off x="9951657" y="3011019"/>
            <a:ext cx="538052" cy="2014704"/>
          </a:xfrm>
          <a:custGeom>
            <a:avLst/>
            <a:gdLst>
              <a:gd name="connsiteX0" fmla="*/ 526473 w 577132"/>
              <a:gd name="connsiteY0" fmla="*/ 2041237 h 2041237"/>
              <a:gd name="connsiteX1" fmla="*/ 526473 w 577132"/>
              <a:gd name="connsiteY1" fmla="*/ 849746 h 2041237"/>
              <a:gd name="connsiteX2" fmla="*/ 0 w 577132"/>
              <a:gd name="connsiteY2" fmla="*/ 0 h 2041237"/>
              <a:gd name="connsiteX0" fmla="*/ 573506 w 576152"/>
              <a:gd name="connsiteY0" fmla="*/ 2041237 h 2041237"/>
              <a:gd name="connsiteX1" fmla="*/ 14843 w 576152"/>
              <a:gd name="connsiteY1" fmla="*/ 837424 h 2041237"/>
              <a:gd name="connsiteX2" fmla="*/ 47033 w 576152"/>
              <a:gd name="connsiteY2" fmla="*/ 0 h 2041237"/>
              <a:gd name="connsiteX0" fmla="*/ 601517 w 604163"/>
              <a:gd name="connsiteY0" fmla="*/ 1954987 h 1954987"/>
              <a:gd name="connsiteX1" fmla="*/ 42854 w 604163"/>
              <a:gd name="connsiteY1" fmla="*/ 751174 h 1954987"/>
              <a:gd name="connsiteX2" fmla="*/ 0 w 604163"/>
              <a:gd name="connsiteY2" fmla="*/ 0 h 1954987"/>
              <a:gd name="connsiteX0" fmla="*/ 601517 w 604163"/>
              <a:gd name="connsiteY0" fmla="*/ 1954987 h 1954987"/>
              <a:gd name="connsiteX1" fmla="*/ 42854 w 604163"/>
              <a:gd name="connsiteY1" fmla="*/ 751174 h 1954987"/>
              <a:gd name="connsiteX2" fmla="*/ 0 w 604163"/>
              <a:gd name="connsiteY2" fmla="*/ 0 h 1954987"/>
              <a:gd name="connsiteX0" fmla="*/ 601517 w 637832"/>
              <a:gd name="connsiteY0" fmla="*/ 1954987 h 1954987"/>
              <a:gd name="connsiteX1" fmla="*/ 575332 w 637832"/>
              <a:gd name="connsiteY1" fmla="*/ 540413 h 1954987"/>
              <a:gd name="connsiteX2" fmla="*/ 0 w 637832"/>
              <a:gd name="connsiteY2" fmla="*/ 0 h 1954987"/>
            </a:gdLst>
            <a:ahLst/>
            <a:cxnLst>
              <a:cxn ang="0">
                <a:pos x="connsiteX0" y="connsiteY0"/>
              </a:cxn>
              <a:cxn ang="0">
                <a:pos x="connsiteX1" y="connsiteY1"/>
              </a:cxn>
              <a:cxn ang="0">
                <a:pos x="connsiteX2" y="connsiteY2"/>
              </a:cxn>
            </a:cxnLst>
            <a:rect l="l" t="t" r="r" b="b"/>
            <a:pathLst>
              <a:path w="637832" h="1954987">
                <a:moveTo>
                  <a:pt x="601517" y="1954987"/>
                </a:moveTo>
                <a:cubicBezTo>
                  <a:pt x="645389" y="1529344"/>
                  <a:pt x="663077" y="880619"/>
                  <a:pt x="575332" y="540413"/>
                </a:cubicBezTo>
                <a:cubicBezTo>
                  <a:pt x="487587" y="200207"/>
                  <a:pt x="44261" y="267091"/>
                  <a:pt x="0" y="0"/>
                </a:cubicBezTo>
              </a:path>
            </a:pathLst>
          </a:custGeom>
          <a:noFill/>
          <a:ln w="15875" cap="flat" cmpd="sng" algn="ctr">
            <a:solidFill>
              <a:srgbClr val="7030A0"/>
            </a:solidFill>
            <a:prstDash val="solid"/>
            <a:round/>
            <a:headEnd type="none" w="med" len="med"/>
            <a:tailEnd type="triangle" w="med" len="med"/>
          </a:ln>
          <a:effectLst/>
        </p:spPr>
        <p:txBody>
          <a:bodyPr rtlCol="0" anchor="ctr"/>
          <a:lstStyle/>
          <a:p>
            <a:pPr algn="ctr"/>
            <a:endParaRPr lang="en-US"/>
          </a:p>
        </p:txBody>
      </p:sp>
      <p:sp>
        <p:nvSpPr>
          <p:cNvPr id="87" name="TextBox 86">
            <a:extLst>
              <a:ext uri="{FF2B5EF4-FFF2-40B4-BE49-F238E27FC236}">
                <a16:creationId xmlns:a16="http://schemas.microsoft.com/office/drawing/2014/main" id="{F0C1C75D-4712-436D-B7DA-393D259345DF}"/>
              </a:ext>
            </a:extLst>
          </p:cNvPr>
          <p:cNvSpPr txBox="1"/>
          <p:nvPr/>
        </p:nvSpPr>
        <p:spPr bwMode="auto">
          <a:xfrm>
            <a:off x="9425993" y="3854221"/>
            <a:ext cx="577224" cy="217642"/>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en-US" sz="2800" b="1">
                <a:sym typeface="Wingdings" panose="05000000000000000000" pitchFamily="2" charset="2"/>
              </a:rPr>
              <a:t></a:t>
            </a:r>
            <a:endParaRPr lang="en-US" sz="2800" b="1"/>
          </a:p>
        </p:txBody>
      </p:sp>
      <p:sp>
        <p:nvSpPr>
          <p:cNvPr id="90" name="Freeform: Shape 89">
            <a:extLst>
              <a:ext uri="{FF2B5EF4-FFF2-40B4-BE49-F238E27FC236}">
                <a16:creationId xmlns:a16="http://schemas.microsoft.com/office/drawing/2014/main" id="{400342D6-F730-49A6-B575-5F22A21BDA0C}"/>
              </a:ext>
            </a:extLst>
          </p:cNvPr>
          <p:cNvSpPr/>
          <p:nvPr/>
        </p:nvSpPr>
        <p:spPr bwMode="auto">
          <a:xfrm>
            <a:off x="8958520" y="2989856"/>
            <a:ext cx="821979" cy="1982959"/>
          </a:xfrm>
          <a:custGeom>
            <a:avLst/>
            <a:gdLst>
              <a:gd name="connsiteX0" fmla="*/ 526473 w 577132"/>
              <a:gd name="connsiteY0" fmla="*/ 2041237 h 2041237"/>
              <a:gd name="connsiteX1" fmla="*/ 526473 w 577132"/>
              <a:gd name="connsiteY1" fmla="*/ 849746 h 2041237"/>
              <a:gd name="connsiteX2" fmla="*/ 0 w 577132"/>
              <a:gd name="connsiteY2" fmla="*/ 0 h 2041237"/>
              <a:gd name="connsiteX0" fmla="*/ 0 w 1962288"/>
              <a:gd name="connsiteY0" fmla="*/ 1856416 h 1856416"/>
              <a:gd name="connsiteX1" fmla="*/ 1959488 w 1962288"/>
              <a:gd name="connsiteY1" fmla="*/ 849746 h 1856416"/>
              <a:gd name="connsiteX2" fmla="*/ 1433015 w 1962288"/>
              <a:gd name="connsiteY2" fmla="*/ 0 h 1856416"/>
              <a:gd name="connsiteX0" fmla="*/ 0 w 1469091"/>
              <a:gd name="connsiteY0" fmla="*/ 1856416 h 1856416"/>
              <a:gd name="connsiteX1" fmla="*/ 883854 w 1469091"/>
              <a:gd name="connsiteY1" fmla="*/ 560194 h 1856416"/>
              <a:gd name="connsiteX2" fmla="*/ 1433015 w 1469091"/>
              <a:gd name="connsiteY2" fmla="*/ 0 h 1856416"/>
              <a:gd name="connsiteX0" fmla="*/ 0 w 1041341"/>
              <a:gd name="connsiteY0" fmla="*/ 1924183 h 1924183"/>
              <a:gd name="connsiteX1" fmla="*/ 883854 w 1041341"/>
              <a:gd name="connsiteY1" fmla="*/ 627961 h 1924183"/>
              <a:gd name="connsiteX2" fmla="*/ 974412 w 1041341"/>
              <a:gd name="connsiteY2" fmla="*/ 0 h 1924183"/>
              <a:gd name="connsiteX0" fmla="*/ 0 w 974412"/>
              <a:gd name="connsiteY0" fmla="*/ 1924183 h 1924183"/>
              <a:gd name="connsiteX1" fmla="*/ 883854 w 974412"/>
              <a:gd name="connsiteY1" fmla="*/ 627961 h 1924183"/>
              <a:gd name="connsiteX2" fmla="*/ 974412 w 974412"/>
              <a:gd name="connsiteY2" fmla="*/ 0 h 1924183"/>
              <a:gd name="connsiteX0" fmla="*/ 0 w 974412"/>
              <a:gd name="connsiteY0" fmla="*/ 1924183 h 1924183"/>
              <a:gd name="connsiteX1" fmla="*/ 958899 w 974412"/>
              <a:gd name="connsiteY1" fmla="*/ 646442 h 1924183"/>
              <a:gd name="connsiteX2" fmla="*/ 974412 w 974412"/>
              <a:gd name="connsiteY2" fmla="*/ 0 h 1924183"/>
              <a:gd name="connsiteX0" fmla="*/ 0 w 974412"/>
              <a:gd name="connsiteY0" fmla="*/ 1924183 h 1924183"/>
              <a:gd name="connsiteX1" fmla="*/ 55589 w 974412"/>
              <a:gd name="connsiteY1" fmla="*/ 379479 h 1924183"/>
              <a:gd name="connsiteX2" fmla="*/ 974412 w 974412"/>
              <a:gd name="connsiteY2" fmla="*/ 0 h 1924183"/>
              <a:gd name="connsiteX0" fmla="*/ 0 w 974412"/>
              <a:gd name="connsiteY0" fmla="*/ 1924183 h 1924183"/>
              <a:gd name="connsiteX1" fmla="*/ 46081 w 974412"/>
              <a:gd name="connsiteY1" fmla="*/ 569163 h 1924183"/>
              <a:gd name="connsiteX2" fmla="*/ 974412 w 974412"/>
              <a:gd name="connsiteY2" fmla="*/ 0 h 1924183"/>
            </a:gdLst>
            <a:ahLst/>
            <a:cxnLst>
              <a:cxn ang="0">
                <a:pos x="connsiteX0" y="connsiteY0"/>
              </a:cxn>
              <a:cxn ang="0">
                <a:pos x="connsiteX1" y="connsiteY1"/>
              </a:cxn>
              <a:cxn ang="0">
                <a:pos x="connsiteX2" y="connsiteY2"/>
              </a:cxn>
            </a:cxnLst>
            <a:rect l="l" t="t" r="r" b="b"/>
            <a:pathLst>
              <a:path w="974412" h="1924183">
                <a:moveTo>
                  <a:pt x="0" y="1924183"/>
                </a:moveTo>
                <a:cubicBezTo>
                  <a:pt x="43872" y="1498540"/>
                  <a:pt x="133826" y="909369"/>
                  <a:pt x="46081" y="569163"/>
                </a:cubicBezTo>
                <a:cubicBezTo>
                  <a:pt x="-41664" y="228957"/>
                  <a:pt x="968644" y="273251"/>
                  <a:pt x="974412" y="0"/>
                </a:cubicBezTo>
              </a:path>
            </a:pathLst>
          </a:custGeom>
          <a:noFill/>
          <a:ln w="15875" cap="flat" cmpd="sng" algn="ctr">
            <a:solidFill>
              <a:srgbClr val="7030A0"/>
            </a:solidFill>
            <a:prstDash val="solid"/>
            <a:round/>
            <a:headEnd type="none" w="med" len="med"/>
            <a:tailEnd type="triangle" w="med" len="med"/>
          </a:ln>
          <a:effectLst/>
        </p:spPr>
        <p:txBody>
          <a:bodyPr rtlCol="0" anchor="ctr"/>
          <a:lstStyle/>
          <a:p>
            <a:pPr algn="ctr"/>
            <a:endParaRPr lang="en-US"/>
          </a:p>
        </p:txBody>
      </p:sp>
      <p:sp>
        <p:nvSpPr>
          <p:cNvPr id="64" name="TextBox 63">
            <a:extLst>
              <a:ext uri="{FF2B5EF4-FFF2-40B4-BE49-F238E27FC236}">
                <a16:creationId xmlns:a16="http://schemas.microsoft.com/office/drawing/2014/main" id="{83CF054F-8CCA-428D-92A9-5768FFC53822}"/>
              </a:ext>
            </a:extLst>
          </p:cNvPr>
          <p:cNvSpPr txBox="1"/>
          <p:nvPr/>
        </p:nvSpPr>
        <p:spPr bwMode="auto">
          <a:xfrm>
            <a:off x="9603039" y="1346293"/>
            <a:ext cx="472373" cy="634417"/>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0"/>
              </a:spcBef>
              <a:buClr>
                <a:schemeClr val="tx1"/>
              </a:buClr>
            </a:pPr>
            <a:r>
              <a:rPr lang="en-US" sz="900">
                <a:latin typeface="Ericsson Technical Icons" panose="00000500000000000000" pitchFamily="2" charset="0"/>
              </a:rPr>
              <a:t>s</a:t>
            </a:r>
            <a:br>
              <a:rPr lang="en-US" sz="900">
                <a:latin typeface="Ericsson Technical Icons" panose="00000500000000000000" pitchFamily="2" charset="0"/>
              </a:rPr>
            </a:br>
            <a:r>
              <a:rPr lang="en-US" sz="900">
                <a:latin typeface="Ericsson Technical Icons" panose="00000500000000000000" pitchFamily="2" charset="0"/>
              </a:rPr>
              <a:t>d</a:t>
            </a:r>
          </a:p>
          <a:p>
            <a:pPr algn="ctr">
              <a:lnSpc>
                <a:spcPct val="90000"/>
              </a:lnSpc>
              <a:spcBef>
                <a:spcPts val="0"/>
              </a:spcBef>
              <a:buClr>
                <a:schemeClr val="tx1"/>
              </a:buClr>
            </a:pPr>
            <a:r>
              <a:rPr lang="en-US" sz="700"/>
              <a:t> </a:t>
            </a:r>
            <a:br>
              <a:rPr lang="en-US" sz="700"/>
            </a:br>
            <a:r>
              <a:rPr lang="en-US" sz="1000"/>
              <a:t>PCF</a:t>
            </a:r>
          </a:p>
          <a:p>
            <a:pPr algn="ctr">
              <a:lnSpc>
                <a:spcPct val="90000"/>
              </a:lnSpc>
              <a:spcBef>
                <a:spcPts val="0"/>
              </a:spcBef>
              <a:buClr>
                <a:schemeClr val="tx1"/>
              </a:buClr>
            </a:pPr>
            <a:br>
              <a:rPr lang="en-US" sz="900"/>
            </a:br>
            <a:endParaRPr lang="en-US" sz="900"/>
          </a:p>
        </p:txBody>
      </p:sp>
      <p:cxnSp>
        <p:nvCxnSpPr>
          <p:cNvPr id="76" name="Straight Connector 56">
            <a:extLst>
              <a:ext uri="{FF2B5EF4-FFF2-40B4-BE49-F238E27FC236}">
                <a16:creationId xmlns:a16="http://schemas.microsoft.com/office/drawing/2014/main" id="{CE32F33A-2064-4AB9-9002-A99AB53D4498}"/>
              </a:ext>
            </a:extLst>
          </p:cNvPr>
          <p:cNvCxnSpPr>
            <a:cxnSpLocks/>
            <a:endCxn id="78" idx="2"/>
          </p:cNvCxnSpPr>
          <p:nvPr/>
        </p:nvCxnSpPr>
        <p:spPr bwMode="auto">
          <a:xfrm rot="16200000" flipV="1">
            <a:off x="7884603" y="2099581"/>
            <a:ext cx="181285" cy="1"/>
          </a:xfrm>
          <a:prstGeom prst="bentConnector3">
            <a:avLst>
              <a:gd name="adj1" fmla="val 50000"/>
            </a:avLst>
          </a:prstGeom>
          <a:noFill/>
          <a:ln w="3175" cap="flat" cmpd="sng" algn="ctr">
            <a:solidFill>
              <a:schemeClr val="tx1"/>
            </a:solidFill>
            <a:prstDash val="dash"/>
            <a:round/>
            <a:headEnd type="none" w="med" len="med"/>
            <a:tailEnd type="none" w="med" len="med"/>
          </a:ln>
          <a:effectLst/>
        </p:spPr>
      </p:cxnSp>
      <p:cxnSp>
        <p:nvCxnSpPr>
          <p:cNvPr id="77" name="Straight Connector 56">
            <a:extLst>
              <a:ext uri="{FF2B5EF4-FFF2-40B4-BE49-F238E27FC236}">
                <a16:creationId xmlns:a16="http://schemas.microsoft.com/office/drawing/2014/main" id="{BDA50058-2149-4386-89A2-A2D2FD2887B2}"/>
              </a:ext>
            </a:extLst>
          </p:cNvPr>
          <p:cNvCxnSpPr>
            <a:cxnSpLocks/>
            <a:endCxn id="64" idx="2"/>
          </p:cNvCxnSpPr>
          <p:nvPr/>
        </p:nvCxnSpPr>
        <p:spPr bwMode="auto">
          <a:xfrm rot="5400000" flipH="1" flipV="1">
            <a:off x="9734469" y="2085467"/>
            <a:ext cx="209514" cy="12700"/>
          </a:xfrm>
          <a:prstGeom prst="bentConnector3">
            <a:avLst>
              <a:gd name="adj1" fmla="val 50000"/>
            </a:avLst>
          </a:prstGeom>
          <a:noFill/>
          <a:ln w="3175" cap="flat" cmpd="sng" algn="ctr">
            <a:solidFill>
              <a:schemeClr val="tx1"/>
            </a:solidFill>
            <a:prstDash val="dash"/>
            <a:round/>
            <a:headEnd type="none" w="med" len="med"/>
            <a:tailEnd type="none" w="med" len="med"/>
          </a:ln>
          <a:effectLst/>
        </p:spPr>
      </p:cxnSp>
      <p:sp>
        <p:nvSpPr>
          <p:cNvPr id="78" name="TextBox 77">
            <a:extLst>
              <a:ext uri="{FF2B5EF4-FFF2-40B4-BE49-F238E27FC236}">
                <a16:creationId xmlns:a16="http://schemas.microsoft.com/office/drawing/2014/main" id="{BA1A0DEC-493C-47F7-80C1-B1C163217EE1}"/>
              </a:ext>
            </a:extLst>
          </p:cNvPr>
          <p:cNvSpPr txBox="1"/>
          <p:nvPr/>
        </p:nvSpPr>
        <p:spPr bwMode="auto">
          <a:xfrm>
            <a:off x="7739057" y="1374522"/>
            <a:ext cx="472373" cy="634417"/>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0"/>
              </a:spcBef>
              <a:buClr>
                <a:schemeClr val="tx1"/>
              </a:buClr>
            </a:pPr>
            <a:r>
              <a:rPr lang="en-US" sz="900">
                <a:latin typeface="Ericsson Technical Icons" panose="00000500000000000000" pitchFamily="2" charset="0"/>
              </a:rPr>
              <a:t>s</a:t>
            </a:r>
            <a:br>
              <a:rPr lang="en-US" sz="900">
                <a:latin typeface="Ericsson Technical Icons" panose="00000500000000000000" pitchFamily="2" charset="0"/>
              </a:rPr>
            </a:br>
            <a:r>
              <a:rPr lang="en-US" sz="900">
                <a:latin typeface="Ericsson Technical Icons" panose="00000500000000000000" pitchFamily="2" charset="0"/>
              </a:rPr>
              <a:t>d</a:t>
            </a:r>
          </a:p>
          <a:p>
            <a:pPr algn="ctr">
              <a:lnSpc>
                <a:spcPct val="90000"/>
              </a:lnSpc>
              <a:spcBef>
                <a:spcPts val="0"/>
              </a:spcBef>
              <a:buClr>
                <a:schemeClr val="tx1"/>
              </a:buClr>
            </a:pPr>
            <a:r>
              <a:rPr lang="en-US" sz="700"/>
              <a:t> </a:t>
            </a:r>
            <a:br>
              <a:rPr lang="en-US" sz="700"/>
            </a:br>
            <a:r>
              <a:rPr lang="en-US" sz="1000"/>
              <a:t>PCRF</a:t>
            </a:r>
            <a:br>
              <a:rPr lang="en-US" sz="900"/>
            </a:br>
            <a:endParaRPr lang="en-US" sz="900"/>
          </a:p>
        </p:txBody>
      </p:sp>
      <p:cxnSp>
        <p:nvCxnSpPr>
          <p:cNvPr id="79" name="Connector: Elbow 78">
            <a:extLst>
              <a:ext uri="{FF2B5EF4-FFF2-40B4-BE49-F238E27FC236}">
                <a16:creationId xmlns:a16="http://schemas.microsoft.com/office/drawing/2014/main" id="{B7B3EF86-3734-4A20-94C1-4296C1FF2FD5}"/>
              </a:ext>
            </a:extLst>
          </p:cNvPr>
          <p:cNvCxnSpPr>
            <a:cxnSpLocks/>
            <a:stCxn id="92" idx="0"/>
            <a:endCxn id="62" idx="2"/>
          </p:cNvCxnSpPr>
          <p:nvPr/>
        </p:nvCxnSpPr>
        <p:spPr bwMode="auto">
          <a:xfrm rot="16200000" flipV="1">
            <a:off x="9793705" y="3028424"/>
            <a:ext cx="643072" cy="552032"/>
          </a:xfrm>
          <a:prstGeom prst="bentConnector3">
            <a:avLst>
              <a:gd name="adj1" fmla="val 50000"/>
            </a:avLst>
          </a:prstGeom>
          <a:noFill/>
          <a:ln w="3175" cap="flat" cmpd="sng" algn="ctr">
            <a:solidFill>
              <a:schemeClr val="tx1"/>
            </a:solidFill>
            <a:prstDash val="dash"/>
            <a:round/>
            <a:headEnd type="none" w="med" len="med"/>
            <a:tailEnd type="none" w="med" len="med"/>
          </a:ln>
          <a:effectLst/>
        </p:spPr>
      </p:cxnSp>
      <p:cxnSp>
        <p:nvCxnSpPr>
          <p:cNvPr id="80" name="Connector: Elbow 79">
            <a:extLst>
              <a:ext uri="{FF2B5EF4-FFF2-40B4-BE49-F238E27FC236}">
                <a16:creationId xmlns:a16="http://schemas.microsoft.com/office/drawing/2014/main" id="{D379C46F-8D1D-4FB7-838A-D82F619E8BE0}"/>
              </a:ext>
            </a:extLst>
          </p:cNvPr>
          <p:cNvCxnSpPr>
            <a:cxnSpLocks/>
            <a:stCxn id="85" idx="0"/>
            <a:endCxn id="90" idx="2"/>
          </p:cNvCxnSpPr>
          <p:nvPr/>
        </p:nvCxnSpPr>
        <p:spPr bwMode="auto">
          <a:xfrm rot="5400000" flipH="1" flipV="1">
            <a:off x="8999961" y="2829765"/>
            <a:ext cx="620447" cy="940630"/>
          </a:xfrm>
          <a:prstGeom prst="bentConnector4">
            <a:avLst>
              <a:gd name="adj1" fmla="val 48144"/>
              <a:gd name="adj2" fmla="val 94599"/>
            </a:avLst>
          </a:prstGeom>
          <a:noFill/>
          <a:ln w="3175" cap="flat" cmpd="sng" algn="ctr">
            <a:solidFill>
              <a:schemeClr val="tx1"/>
            </a:solidFill>
            <a:prstDash val="dash"/>
            <a:round/>
            <a:headEnd type="none" w="med" len="med"/>
            <a:tailEnd type="none" w="med" len="med"/>
          </a:ln>
          <a:effectLst/>
        </p:spPr>
      </p:cxnSp>
      <p:cxnSp>
        <p:nvCxnSpPr>
          <p:cNvPr id="82" name="Connector: Elbow 81">
            <a:extLst>
              <a:ext uri="{FF2B5EF4-FFF2-40B4-BE49-F238E27FC236}">
                <a16:creationId xmlns:a16="http://schemas.microsoft.com/office/drawing/2014/main" id="{91CAFB3F-6FAB-4706-B251-1E818314B7BE}"/>
              </a:ext>
            </a:extLst>
          </p:cNvPr>
          <p:cNvCxnSpPr>
            <a:cxnSpLocks/>
            <a:stCxn id="83" idx="0"/>
          </p:cNvCxnSpPr>
          <p:nvPr/>
        </p:nvCxnSpPr>
        <p:spPr bwMode="auto">
          <a:xfrm rot="5400000" flipH="1" flipV="1">
            <a:off x="7362141" y="3102208"/>
            <a:ext cx="600190" cy="361582"/>
          </a:xfrm>
          <a:prstGeom prst="bentConnector3">
            <a:avLst>
              <a:gd name="adj1" fmla="val 37304"/>
            </a:avLst>
          </a:prstGeom>
          <a:solidFill>
            <a:schemeClr val="accent1"/>
          </a:solidFill>
          <a:ln w="12700" cap="flat" cmpd="sng" algn="ctr">
            <a:solidFill>
              <a:srgbClr val="00285F"/>
            </a:solidFill>
            <a:prstDash val="solid"/>
            <a:round/>
            <a:headEnd type="none" w="med" len="med"/>
            <a:tailEnd type="none" w="med" len="med"/>
          </a:ln>
          <a:effectLst/>
        </p:spPr>
      </p:cxnSp>
      <p:pic>
        <p:nvPicPr>
          <p:cNvPr id="83" name="Graphic 82">
            <a:extLst>
              <a:ext uri="{FF2B5EF4-FFF2-40B4-BE49-F238E27FC236}">
                <a16:creationId xmlns:a16="http://schemas.microsoft.com/office/drawing/2014/main" id="{7633EE17-F28E-4085-ABBF-7181363DCF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19865" y="3583094"/>
            <a:ext cx="723160" cy="494914"/>
          </a:xfrm>
          <a:prstGeom prst="rect">
            <a:avLst/>
          </a:prstGeom>
        </p:spPr>
      </p:pic>
      <p:sp>
        <p:nvSpPr>
          <p:cNvPr id="84" name="TextBox 83">
            <a:extLst>
              <a:ext uri="{FF2B5EF4-FFF2-40B4-BE49-F238E27FC236}">
                <a16:creationId xmlns:a16="http://schemas.microsoft.com/office/drawing/2014/main" id="{FB97A1CE-6D8F-4161-B2C6-A539F9C3F06B}"/>
              </a:ext>
            </a:extLst>
          </p:cNvPr>
          <p:cNvSpPr txBox="1"/>
          <p:nvPr/>
        </p:nvSpPr>
        <p:spPr bwMode="auto">
          <a:xfrm>
            <a:off x="7205014" y="3775693"/>
            <a:ext cx="517676" cy="19793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2G/3G</a:t>
            </a:r>
          </a:p>
        </p:txBody>
      </p:sp>
      <p:pic>
        <p:nvPicPr>
          <p:cNvPr id="85" name="Graphic 84">
            <a:extLst>
              <a:ext uri="{FF2B5EF4-FFF2-40B4-BE49-F238E27FC236}">
                <a16:creationId xmlns:a16="http://schemas.microsoft.com/office/drawing/2014/main" id="{8B5ED0D4-CB21-47AB-A5F8-67DC64AD4A0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8289" y="3610303"/>
            <a:ext cx="723160" cy="494914"/>
          </a:xfrm>
          <a:prstGeom prst="rect">
            <a:avLst/>
          </a:prstGeom>
        </p:spPr>
      </p:pic>
      <p:sp>
        <p:nvSpPr>
          <p:cNvPr id="88" name="TextBox 87">
            <a:extLst>
              <a:ext uri="{FF2B5EF4-FFF2-40B4-BE49-F238E27FC236}">
                <a16:creationId xmlns:a16="http://schemas.microsoft.com/office/drawing/2014/main" id="{A88CDC5C-0C0A-4604-BC4A-26EE539BF0EC}"/>
              </a:ext>
            </a:extLst>
          </p:cNvPr>
          <p:cNvSpPr txBox="1"/>
          <p:nvPr/>
        </p:nvSpPr>
        <p:spPr bwMode="auto">
          <a:xfrm>
            <a:off x="8602796" y="3765108"/>
            <a:ext cx="517676" cy="19793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lang="en-US" sz="1050">
                <a:solidFill>
                  <a:srgbClr val="181818"/>
                </a:solidFill>
                <a:latin typeface="Ericsson Hilda"/>
              </a:rPr>
              <a:t>EPC</a:t>
            </a:r>
            <a:endParaRPr kumimoji="0" lang="en-US" sz="105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91" name="Connector: Elbow 90">
            <a:extLst>
              <a:ext uri="{FF2B5EF4-FFF2-40B4-BE49-F238E27FC236}">
                <a16:creationId xmlns:a16="http://schemas.microsoft.com/office/drawing/2014/main" id="{8753B1DF-F758-4CD4-B26E-D33CE76EC020}"/>
              </a:ext>
            </a:extLst>
          </p:cNvPr>
          <p:cNvCxnSpPr>
            <a:cxnSpLocks/>
          </p:cNvCxnSpPr>
          <p:nvPr/>
        </p:nvCxnSpPr>
        <p:spPr bwMode="auto">
          <a:xfrm rot="16200000" flipV="1">
            <a:off x="7970596" y="3088899"/>
            <a:ext cx="738196" cy="526206"/>
          </a:xfrm>
          <a:prstGeom prst="bentConnector3">
            <a:avLst>
              <a:gd name="adj1" fmla="val 50000"/>
            </a:avLst>
          </a:prstGeom>
          <a:solidFill>
            <a:schemeClr val="accent1"/>
          </a:solidFill>
          <a:ln w="12700" cap="flat" cmpd="sng" algn="ctr">
            <a:solidFill>
              <a:srgbClr val="00285F"/>
            </a:solidFill>
            <a:prstDash val="solid"/>
            <a:round/>
            <a:headEnd type="none" w="med" len="med"/>
            <a:tailEnd type="none" w="med" len="med"/>
          </a:ln>
          <a:effectLst/>
        </p:spPr>
      </p:cxnSp>
      <p:pic>
        <p:nvPicPr>
          <p:cNvPr id="92" name="Graphic 91">
            <a:extLst>
              <a:ext uri="{FF2B5EF4-FFF2-40B4-BE49-F238E27FC236}">
                <a16:creationId xmlns:a16="http://schemas.microsoft.com/office/drawing/2014/main" id="{B8594F4D-A919-4D1B-833C-0BE282B1AAE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29677" y="3625976"/>
            <a:ext cx="723160" cy="494914"/>
          </a:xfrm>
          <a:prstGeom prst="rect">
            <a:avLst/>
          </a:prstGeom>
        </p:spPr>
      </p:pic>
      <p:sp>
        <p:nvSpPr>
          <p:cNvPr id="93" name="TextBox 92">
            <a:extLst>
              <a:ext uri="{FF2B5EF4-FFF2-40B4-BE49-F238E27FC236}">
                <a16:creationId xmlns:a16="http://schemas.microsoft.com/office/drawing/2014/main" id="{845EFEB1-1557-4AEA-9BA1-AD8239C2D497}"/>
              </a:ext>
            </a:extLst>
          </p:cNvPr>
          <p:cNvSpPr txBox="1"/>
          <p:nvPr/>
        </p:nvSpPr>
        <p:spPr bwMode="auto">
          <a:xfrm>
            <a:off x="10177979" y="3788169"/>
            <a:ext cx="517676" cy="19793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lang="en-US" sz="1050">
                <a:solidFill>
                  <a:srgbClr val="181818"/>
                </a:solidFill>
                <a:latin typeface="Ericsson Hilda"/>
              </a:rPr>
              <a:t>5GC</a:t>
            </a:r>
            <a:endParaRPr kumimoji="0" lang="en-US" sz="1050" b="0" i="0" u="none" strike="noStrike" kern="1200" cap="none" spc="0" normalizeH="0" baseline="0" noProof="0">
              <a:ln>
                <a:noFill/>
              </a:ln>
              <a:solidFill>
                <a:srgbClr val="181818"/>
              </a:solidFill>
              <a:effectLst/>
              <a:uLnTx/>
              <a:uFillTx/>
              <a:latin typeface="Ericsson Hilda"/>
              <a:ea typeface="+mn-ea"/>
              <a:cs typeface="+mn-cs"/>
            </a:endParaRPr>
          </a:p>
        </p:txBody>
      </p:sp>
      <p:sp>
        <p:nvSpPr>
          <p:cNvPr id="94" name="Speech Bubble: Rectangle 93">
            <a:extLst>
              <a:ext uri="{FF2B5EF4-FFF2-40B4-BE49-F238E27FC236}">
                <a16:creationId xmlns:a16="http://schemas.microsoft.com/office/drawing/2014/main" id="{2388E2FB-9CCF-4D90-AE5E-22EF013561C0}"/>
              </a:ext>
            </a:extLst>
          </p:cNvPr>
          <p:cNvSpPr/>
          <p:nvPr/>
        </p:nvSpPr>
        <p:spPr bwMode="auto">
          <a:xfrm>
            <a:off x="10319576" y="1663501"/>
            <a:ext cx="1392999" cy="639525"/>
          </a:xfrm>
          <a:prstGeom prst="wedgeRectCallout">
            <a:avLst>
              <a:gd name="adj1" fmla="val -65109"/>
              <a:gd name="adj2" fmla="val 80591"/>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en-US" sz="1100" b="0" i="0" u="none" strike="noStrike" cap="none" normalizeH="0" baseline="0">
                <a:ln>
                  <a:noFill/>
                </a:ln>
                <a:solidFill>
                  <a:schemeClr val="bg1"/>
                </a:solidFill>
                <a:effectLst/>
                <a:latin typeface="+mn-lt"/>
              </a:rPr>
              <a:t>IMS APN</a:t>
            </a:r>
            <a:br>
              <a:rPr lang="en-US" sz="1100">
                <a:solidFill>
                  <a:schemeClr val="bg1"/>
                </a:solidFill>
              </a:rPr>
            </a:br>
            <a:r>
              <a:rPr lang="en-US" sz="1100">
                <a:solidFill>
                  <a:schemeClr val="bg1"/>
                </a:solidFill>
              </a:rPr>
              <a:t>Internet APN</a:t>
            </a:r>
          </a:p>
          <a:p>
            <a:pPr marR="0" algn="l" defTabSz="914400" rtl="0" eaLnBrk="1" fontAlgn="base" latinLnBrk="0" hangingPunct="1">
              <a:lnSpc>
                <a:spcPct val="100000"/>
              </a:lnSpc>
              <a:spcBef>
                <a:spcPts val="300"/>
              </a:spcBef>
              <a:spcAft>
                <a:spcPct val="0"/>
              </a:spcAft>
              <a:buClrTx/>
              <a:buSzTx/>
              <a:tabLst/>
            </a:pPr>
            <a:endParaRPr lang="en-US" sz="1100">
              <a:solidFill>
                <a:schemeClr val="bg1"/>
              </a:solidFill>
            </a:endParaRPr>
          </a:p>
        </p:txBody>
      </p:sp>
      <p:sp>
        <p:nvSpPr>
          <p:cNvPr id="95" name="Speech Bubble: Rectangle 94">
            <a:extLst>
              <a:ext uri="{FF2B5EF4-FFF2-40B4-BE49-F238E27FC236}">
                <a16:creationId xmlns:a16="http://schemas.microsoft.com/office/drawing/2014/main" id="{32D0592D-0968-4FB5-A471-046100F6BD7B}"/>
              </a:ext>
            </a:extLst>
          </p:cNvPr>
          <p:cNvSpPr/>
          <p:nvPr/>
        </p:nvSpPr>
        <p:spPr bwMode="auto">
          <a:xfrm>
            <a:off x="6161865" y="1568416"/>
            <a:ext cx="1392999" cy="639525"/>
          </a:xfrm>
          <a:prstGeom prst="wedgeRectCallout">
            <a:avLst>
              <a:gd name="adj1" fmla="val 63486"/>
              <a:gd name="adj2" fmla="val 89967"/>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lang="en-US" sz="1100">
                <a:solidFill>
                  <a:schemeClr val="bg1"/>
                </a:solidFill>
              </a:rPr>
              <a:t>Internet APN</a:t>
            </a:r>
          </a:p>
          <a:p>
            <a:pPr marR="0" algn="l" defTabSz="914400" rtl="0" eaLnBrk="1" fontAlgn="base" latinLnBrk="0" hangingPunct="1">
              <a:lnSpc>
                <a:spcPct val="100000"/>
              </a:lnSpc>
              <a:spcBef>
                <a:spcPts val="300"/>
              </a:spcBef>
              <a:spcAft>
                <a:spcPct val="0"/>
              </a:spcAft>
              <a:buClrTx/>
              <a:buSzTx/>
              <a:tabLst/>
            </a:pPr>
            <a:endParaRPr lang="en-US" sz="1100">
              <a:solidFill>
                <a:schemeClr val="bg1"/>
              </a:solidFill>
            </a:endParaRPr>
          </a:p>
        </p:txBody>
      </p:sp>
      <p:grpSp>
        <p:nvGrpSpPr>
          <p:cNvPr id="6" name="Group 5">
            <a:extLst>
              <a:ext uri="{FF2B5EF4-FFF2-40B4-BE49-F238E27FC236}">
                <a16:creationId xmlns:a16="http://schemas.microsoft.com/office/drawing/2014/main" id="{8EA34A4D-8016-4D66-AA40-6247E92EB314}"/>
              </a:ext>
            </a:extLst>
          </p:cNvPr>
          <p:cNvGrpSpPr/>
          <p:nvPr/>
        </p:nvGrpSpPr>
        <p:grpSpPr>
          <a:xfrm>
            <a:off x="7387603" y="5915634"/>
            <a:ext cx="3200292" cy="806919"/>
            <a:chOff x="7387603" y="5915634"/>
            <a:chExt cx="3200292" cy="806919"/>
          </a:xfrm>
        </p:grpSpPr>
        <p:grpSp>
          <p:nvGrpSpPr>
            <p:cNvPr id="98" name="Group 97">
              <a:extLst>
                <a:ext uri="{FF2B5EF4-FFF2-40B4-BE49-F238E27FC236}">
                  <a16:creationId xmlns:a16="http://schemas.microsoft.com/office/drawing/2014/main" id="{C286BEA3-876E-472B-8F61-B4B4BF700ABA}"/>
                </a:ext>
              </a:extLst>
            </p:cNvPr>
            <p:cNvGrpSpPr/>
            <p:nvPr/>
          </p:nvGrpSpPr>
          <p:grpSpPr>
            <a:xfrm>
              <a:off x="7387603" y="5915634"/>
              <a:ext cx="3200292" cy="248075"/>
              <a:chOff x="7387603" y="5623534"/>
              <a:chExt cx="3200292" cy="248075"/>
            </a:xfrm>
          </p:grpSpPr>
          <p:cxnSp>
            <p:nvCxnSpPr>
              <p:cNvPr id="25" name="Straight Arrow Connector 24">
                <a:extLst>
                  <a:ext uri="{FF2B5EF4-FFF2-40B4-BE49-F238E27FC236}">
                    <a16:creationId xmlns:a16="http://schemas.microsoft.com/office/drawing/2014/main" id="{B840D554-15D4-4CBF-B7C1-9880A21B1F3F}"/>
                  </a:ext>
                </a:extLst>
              </p:cNvPr>
              <p:cNvCxnSpPr>
                <a:cxnSpLocks/>
              </p:cNvCxnSpPr>
              <p:nvPr/>
            </p:nvCxnSpPr>
            <p:spPr bwMode="auto">
              <a:xfrm flipH="1">
                <a:off x="7387603" y="5871609"/>
                <a:ext cx="3200292" cy="0"/>
              </a:xfrm>
              <a:prstGeom prst="straightConnector1">
                <a:avLst/>
              </a:prstGeom>
              <a:solidFill>
                <a:schemeClr val="accent1"/>
              </a:solidFill>
              <a:ln w="28575" cap="flat" cmpd="sng" algn="ctr">
                <a:solidFill>
                  <a:srgbClr val="FF0000"/>
                </a:solidFill>
                <a:prstDash val="dash"/>
                <a:round/>
                <a:headEnd type="triangle" w="med" len="med"/>
                <a:tailEnd type="triangle"/>
              </a:ln>
              <a:effectLst/>
            </p:spPr>
          </p:cxnSp>
          <p:sp>
            <p:nvSpPr>
              <p:cNvPr id="26" name="TextBox 25">
                <a:extLst>
                  <a:ext uri="{FF2B5EF4-FFF2-40B4-BE49-F238E27FC236}">
                    <a16:creationId xmlns:a16="http://schemas.microsoft.com/office/drawing/2014/main" id="{70B6A3BC-87E6-4310-952E-49B343FA1753}"/>
                  </a:ext>
                </a:extLst>
              </p:cNvPr>
              <p:cNvSpPr txBox="1"/>
              <p:nvPr/>
            </p:nvSpPr>
            <p:spPr bwMode="auto">
              <a:xfrm>
                <a:off x="8282429" y="5623534"/>
                <a:ext cx="1519748" cy="24112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en-US" sz="900"/>
                  <a:t>No IP Address preservation</a:t>
                </a:r>
              </a:p>
            </p:txBody>
          </p:sp>
        </p:grpSp>
        <p:sp>
          <p:nvSpPr>
            <p:cNvPr id="59" name="Freeform 6">
              <a:extLst>
                <a:ext uri="{FF2B5EF4-FFF2-40B4-BE49-F238E27FC236}">
                  <a16:creationId xmlns:a16="http://schemas.microsoft.com/office/drawing/2014/main" id="{971C9358-9DFB-410C-9135-364487140C39}"/>
                </a:ext>
              </a:extLst>
            </p:cNvPr>
            <p:cNvSpPr>
              <a:spLocks noChangeAspect="1" noEditPoints="1"/>
            </p:cNvSpPr>
            <p:nvPr/>
          </p:nvSpPr>
          <p:spPr bwMode="auto">
            <a:xfrm>
              <a:off x="8768993" y="6293247"/>
              <a:ext cx="239298" cy="42930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noFill/>
            </a:ln>
          </p:spPr>
          <p:txBody>
            <a:bodyPr/>
            <a:lstStyle/>
            <a:p>
              <a:r>
                <a:rPr lang="en-US" sz="900"/>
                <a:t>5G</a:t>
              </a:r>
            </a:p>
          </p:txBody>
        </p:sp>
      </p:grpSp>
    </p:spTree>
    <p:extLst>
      <p:ext uri="{BB962C8B-B14F-4D97-AF65-F5344CB8AC3E}">
        <p14:creationId xmlns:p14="http://schemas.microsoft.com/office/powerpoint/2010/main" val="4010625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FD48E1-60E5-42C0-B325-CE251900C143}"/>
              </a:ext>
            </a:extLst>
          </p:cNvPr>
          <p:cNvSpPr>
            <a:spLocks noGrp="1"/>
          </p:cNvSpPr>
          <p:nvPr>
            <p:ph type="title"/>
          </p:nvPr>
        </p:nvSpPr>
        <p:spPr>
          <a:xfrm>
            <a:off x="479424" y="476250"/>
            <a:ext cx="9704377" cy="1081088"/>
          </a:xfrm>
        </p:spPr>
        <p:txBody>
          <a:bodyPr/>
          <a:lstStyle/>
          <a:p>
            <a:r>
              <a:rPr lang="en-US"/>
              <a:t>EPC/5GC Interworking for </a:t>
            </a:r>
            <a:r>
              <a:rPr lang="en-US" err="1"/>
              <a:t>WiFi</a:t>
            </a:r>
            <a:r>
              <a:rPr lang="en-US"/>
              <a:t> integration</a:t>
            </a:r>
          </a:p>
        </p:txBody>
      </p:sp>
      <p:sp>
        <p:nvSpPr>
          <p:cNvPr id="2" name="Content Placeholder 1">
            <a:extLst>
              <a:ext uri="{FF2B5EF4-FFF2-40B4-BE49-F238E27FC236}">
                <a16:creationId xmlns:a16="http://schemas.microsoft.com/office/drawing/2014/main" id="{9D937311-B413-41CD-9BD9-B0D76F477149}"/>
              </a:ext>
            </a:extLst>
          </p:cNvPr>
          <p:cNvSpPr>
            <a:spLocks noGrp="1"/>
          </p:cNvSpPr>
          <p:nvPr>
            <p:ph idx="4294967295"/>
          </p:nvPr>
        </p:nvSpPr>
        <p:spPr>
          <a:xfrm>
            <a:off x="644525" y="1355726"/>
            <a:ext cx="11547475" cy="1675998"/>
          </a:xfrm>
        </p:spPr>
        <p:txBody>
          <a:bodyPr/>
          <a:lstStyle/>
          <a:p>
            <a:r>
              <a:rPr lang="en-US" err="1"/>
              <a:t>WiFi</a:t>
            </a:r>
            <a:r>
              <a:rPr lang="en-US"/>
              <a:t> Interworking supported in 3GPP standard rel-15</a:t>
            </a:r>
          </a:p>
          <a:p>
            <a:pPr lvl="1"/>
            <a:r>
              <a:rPr lang="en-US" sz="1800"/>
              <a:t>Between N3IWF (in 5GC) and NG-RAN (5GC)</a:t>
            </a:r>
          </a:p>
          <a:p>
            <a:pPr lvl="1"/>
            <a:r>
              <a:rPr lang="en-US" sz="1800"/>
              <a:t>Between </a:t>
            </a:r>
            <a:r>
              <a:rPr lang="en-US" sz="1800" err="1"/>
              <a:t>ePDG</a:t>
            </a:r>
            <a:r>
              <a:rPr lang="en-US" sz="1800"/>
              <a:t> (in EPC) and NG-RAN (5GC)</a:t>
            </a:r>
          </a:p>
          <a:p>
            <a:r>
              <a:rPr lang="en-US"/>
              <a:t>UE can be registered in EPC for 3GPP access and in 5GC for Non-3GPP access at the same time (and v.v.)</a:t>
            </a:r>
          </a:p>
          <a:p>
            <a:pPr lvl="1"/>
            <a:r>
              <a:rPr lang="en-US" sz="1800"/>
              <a:t>When switching 5GC/EPC for 3GPP access, the UE can stay in same </a:t>
            </a:r>
            <a:r>
              <a:rPr lang="en-US" sz="1800" err="1"/>
              <a:t>ePDG</a:t>
            </a:r>
            <a:r>
              <a:rPr lang="en-US" sz="1800"/>
              <a:t>/N3IWF for Non-3GPP access</a:t>
            </a:r>
          </a:p>
        </p:txBody>
      </p:sp>
      <p:sp>
        <p:nvSpPr>
          <p:cNvPr id="4" name="Rectangle 2">
            <a:extLst>
              <a:ext uri="{FF2B5EF4-FFF2-40B4-BE49-F238E27FC236}">
                <a16:creationId xmlns:a16="http://schemas.microsoft.com/office/drawing/2014/main" id="{67531E18-C9F2-4B5B-B259-4C10AC1C7385}"/>
              </a:ext>
            </a:extLst>
          </p:cNvPr>
          <p:cNvSpPr>
            <a:spLocks noChangeArrowheads="1"/>
          </p:cNvSpPr>
          <p:nvPr/>
        </p:nvSpPr>
        <p:spPr bwMode="auto">
          <a:xfrm>
            <a:off x="3451697" y="26866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4">
            <a:extLst>
              <a:ext uri="{FF2B5EF4-FFF2-40B4-BE49-F238E27FC236}">
                <a16:creationId xmlns:a16="http://schemas.microsoft.com/office/drawing/2014/main" id="{5BE33879-521B-44AC-84BE-882D9273934E}"/>
              </a:ext>
            </a:extLst>
          </p:cNvPr>
          <p:cNvSpPr>
            <a:spLocks noChangeArrowheads="1"/>
          </p:cNvSpPr>
          <p:nvPr/>
        </p:nvSpPr>
        <p:spPr bwMode="auto">
          <a:xfrm>
            <a:off x="-2008199" y="10566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217" name="Group 216">
            <a:extLst>
              <a:ext uri="{FF2B5EF4-FFF2-40B4-BE49-F238E27FC236}">
                <a16:creationId xmlns:a16="http://schemas.microsoft.com/office/drawing/2014/main" id="{F0F92B97-04B9-49C4-849E-3D341DC935BA}"/>
              </a:ext>
            </a:extLst>
          </p:cNvPr>
          <p:cNvGrpSpPr/>
          <p:nvPr/>
        </p:nvGrpSpPr>
        <p:grpSpPr>
          <a:xfrm>
            <a:off x="6740801" y="2996279"/>
            <a:ext cx="4586430" cy="3551454"/>
            <a:chOff x="6740801" y="2996279"/>
            <a:chExt cx="4586430" cy="3551454"/>
          </a:xfrm>
        </p:grpSpPr>
        <p:sp>
          <p:nvSpPr>
            <p:cNvPr id="88" name="TextBox 87">
              <a:extLst>
                <a:ext uri="{FF2B5EF4-FFF2-40B4-BE49-F238E27FC236}">
                  <a16:creationId xmlns:a16="http://schemas.microsoft.com/office/drawing/2014/main" id="{B21F96FE-4B8E-4390-AFBE-172D5A976F47}"/>
                </a:ext>
              </a:extLst>
            </p:cNvPr>
            <p:cNvSpPr txBox="1"/>
            <p:nvPr/>
          </p:nvSpPr>
          <p:spPr bwMode="auto">
            <a:xfrm>
              <a:off x="10967231" y="515447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89" name="TextBox 88">
              <a:extLst>
                <a:ext uri="{FF2B5EF4-FFF2-40B4-BE49-F238E27FC236}">
                  <a16:creationId xmlns:a16="http://schemas.microsoft.com/office/drawing/2014/main" id="{48E118B4-3A70-4F53-935E-86A8E6016623}"/>
                </a:ext>
              </a:extLst>
            </p:cNvPr>
            <p:cNvSpPr txBox="1"/>
            <p:nvPr/>
          </p:nvSpPr>
          <p:spPr bwMode="auto">
            <a:xfrm>
              <a:off x="8760074"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C</a:t>
              </a:r>
            </a:p>
          </p:txBody>
        </p:sp>
        <p:sp>
          <p:nvSpPr>
            <p:cNvPr id="90" name="TextBox 89">
              <a:extLst>
                <a:ext uri="{FF2B5EF4-FFF2-40B4-BE49-F238E27FC236}">
                  <a16:creationId xmlns:a16="http://schemas.microsoft.com/office/drawing/2014/main" id="{A8A6BB90-CD0F-4E10-AEEF-83D78F7916B6}"/>
                </a:ext>
              </a:extLst>
            </p:cNvPr>
            <p:cNvSpPr txBox="1"/>
            <p:nvPr/>
          </p:nvSpPr>
          <p:spPr bwMode="auto">
            <a:xfrm>
              <a:off x="8760074" y="364588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91" name="TextBox 90">
              <a:extLst>
                <a:ext uri="{FF2B5EF4-FFF2-40B4-BE49-F238E27FC236}">
                  <a16:creationId xmlns:a16="http://schemas.microsoft.com/office/drawing/2014/main" id="{F219E3BC-2E54-482C-A0FC-4CA0634CC7B9}"/>
                </a:ext>
              </a:extLst>
            </p:cNvPr>
            <p:cNvSpPr txBox="1"/>
            <p:nvPr/>
          </p:nvSpPr>
          <p:spPr bwMode="auto">
            <a:xfrm>
              <a:off x="8760074" y="299627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HSS</a:t>
              </a:r>
            </a:p>
          </p:txBody>
        </p:sp>
        <p:sp>
          <p:nvSpPr>
            <p:cNvPr id="92" name="TextBox 91">
              <a:extLst>
                <a:ext uri="{FF2B5EF4-FFF2-40B4-BE49-F238E27FC236}">
                  <a16:creationId xmlns:a16="http://schemas.microsoft.com/office/drawing/2014/main" id="{D87D5451-DED5-491C-A6E7-52CCEF5CFA1E}"/>
                </a:ext>
              </a:extLst>
            </p:cNvPr>
            <p:cNvSpPr txBox="1"/>
            <p:nvPr/>
          </p:nvSpPr>
          <p:spPr bwMode="auto">
            <a:xfrm>
              <a:off x="8760074" y="494891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U</a:t>
              </a:r>
            </a:p>
          </p:txBody>
        </p:sp>
        <p:sp>
          <p:nvSpPr>
            <p:cNvPr id="94" name="TextBox 93">
              <a:extLst>
                <a:ext uri="{FF2B5EF4-FFF2-40B4-BE49-F238E27FC236}">
                  <a16:creationId xmlns:a16="http://schemas.microsoft.com/office/drawing/2014/main" id="{C33C128D-096B-4F39-8ACA-8ECC8B5B8A3D}"/>
                </a:ext>
              </a:extLst>
            </p:cNvPr>
            <p:cNvSpPr txBox="1"/>
            <p:nvPr/>
          </p:nvSpPr>
          <p:spPr bwMode="auto">
            <a:xfrm>
              <a:off x="6755418"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3GPP AAA</a:t>
              </a:r>
            </a:p>
          </p:txBody>
        </p:sp>
        <p:cxnSp>
          <p:nvCxnSpPr>
            <p:cNvPr id="95" name="Straight Connector 94">
              <a:extLst>
                <a:ext uri="{FF2B5EF4-FFF2-40B4-BE49-F238E27FC236}">
                  <a16:creationId xmlns:a16="http://schemas.microsoft.com/office/drawing/2014/main" id="{2DC541DD-F0FF-435D-8819-D9F12167F190}"/>
                </a:ext>
              </a:extLst>
            </p:cNvPr>
            <p:cNvCxnSpPr>
              <a:cxnSpLocks/>
              <a:stCxn id="89" idx="1"/>
              <a:endCxn id="94" idx="3"/>
            </p:cNvCxnSpPr>
            <p:nvPr/>
          </p:nvCxnSpPr>
          <p:spPr bwMode="auto">
            <a:xfrm flipH="1">
              <a:off x="7115418" y="4582300"/>
              <a:ext cx="1644656"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97" name="Straight Connector 96">
              <a:extLst>
                <a:ext uri="{FF2B5EF4-FFF2-40B4-BE49-F238E27FC236}">
                  <a16:creationId xmlns:a16="http://schemas.microsoft.com/office/drawing/2014/main" id="{A4F72879-4E69-411C-AE6C-8FD91298EA90}"/>
                </a:ext>
              </a:extLst>
            </p:cNvPr>
            <p:cNvCxnSpPr>
              <a:cxnSpLocks/>
              <a:stCxn id="94" idx="2"/>
              <a:endCxn id="169" idx="0"/>
            </p:cNvCxnSpPr>
            <p:nvPr/>
          </p:nvCxnSpPr>
          <p:spPr bwMode="auto">
            <a:xfrm flipH="1">
              <a:off x="6920801" y="4870046"/>
              <a:ext cx="14617" cy="92464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98" name="Straight Connector 97">
              <a:extLst>
                <a:ext uri="{FF2B5EF4-FFF2-40B4-BE49-F238E27FC236}">
                  <a16:creationId xmlns:a16="http://schemas.microsoft.com/office/drawing/2014/main" id="{09DDB7B3-C7B3-400E-BE01-19475AF69768}"/>
                </a:ext>
              </a:extLst>
            </p:cNvPr>
            <p:cNvCxnSpPr>
              <a:cxnSpLocks/>
              <a:stCxn id="169" idx="0"/>
              <a:endCxn id="92" idx="1"/>
            </p:cNvCxnSpPr>
            <p:nvPr/>
          </p:nvCxnSpPr>
          <p:spPr bwMode="auto">
            <a:xfrm flipV="1">
              <a:off x="6920801" y="5236663"/>
              <a:ext cx="1839273" cy="558029"/>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99" name="Straight Connector 98">
              <a:extLst>
                <a:ext uri="{FF2B5EF4-FFF2-40B4-BE49-F238E27FC236}">
                  <a16:creationId xmlns:a16="http://schemas.microsoft.com/office/drawing/2014/main" id="{9D3D4CE9-5DC3-4F04-8FB2-1EB46121C94B}"/>
                </a:ext>
              </a:extLst>
            </p:cNvPr>
            <p:cNvCxnSpPr>
              <a:cxnSpLocks/>
              <a:stCxn id="169" idx="0"/>
              <a:endCxn id="89" idx="1"/>
            </p:cNvCxnSpPr>
            <p:nvPr/>
          </p:nvCxnSpPr>
          <p:spPr bwMode="auto">
            <a:xfrm flipV="1">
              <a:off x="6920801" y="4582300"/>
              <a:ext cx="1839273" cy="121239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0" name="Straight Connector 32">
              <a:extLst>
                <a:ext uri="{FF2B5EF4-FFF2-40B4-BE49-F238E27FC236}">
                  <a16:creationId xmlns:a16="http://schemas.microsoft.com/office/drawing/2014/main" id="{09C191EF-41FD-4F15-9BF1-30BD10BDD53C}"/>
                </a:ext>
              </a:extLst>
            </p:cNvPr>
            <p:cNvCxnSpPr>
              <a:cxnSpLocks/>
              <a:endCxn id="89" idx="1"/>
            </p:cNvCxnSpPr>
            <p:nvPr/>
          </p:nvCxnSpPr>
          <p:spPr bwMode="auto">
            <a:xfrm rot="5400000">
              <a:off x="8206844" y="4016369"/>
              <a:ext cx="1119162" cy="12701"/>
            </a:xfrm>
            <a:prstGeom prst="bentConnector4">
              <a:avLst>
                <a:gd name="adj1" fmla="val 925"/>
                <a:gd name="adj2" fmla="val 1899858"/>
              </a:avLst>
            </a:prstGeom>
            <a:solidFill>
              <a:schemeClr val="accent1"/>
            </a:solidFill>
            <a:ln w="12700" cap="flat" cmpd="sng" algn="ctr">
              <a:solidFill>
                <a:schemeClr val="tx1"/>
              </a:solidFill>
              <a:prstDash val="solid"/>
              <a:round/>
              <a:headEnd type="none" w="med" len="med"/>
              <a:tailEnd type="none"/>
            </a:ln>
            <a:effectLst/>
          </p:spPr>
        </p:cxnSp>
        <p:cxnSp>
          <p:nvCxnSpPr>
            <p:cNvPr id="101" name="Straight Connector 100">
              <a:extLst>
                <a:ext uri="{FF2B5EF4-FFF2-40B4-BE49-F238E27FC236}">
                  <a16:creationId xmlns:a16="http://schemas.microsoft.com/office/drawing/2014/main" id="{9EF2A718-F14B-410C-8E6A-3F24CB5439C3}"/>
                </a:ext>
              </a:extLst>
            </p:cNvPr>
            <p:cNvCxnSpPr>
              <a:cxnSpLocks/>
              <a:stCxn id="89" idx="0"/>
              <a:endCxn id="90" idx="2"/>
            </p:cNvCxnSpPr>
            <p:nvPr/>
          </p:nvCxnSpPr>
          <p:spPr bwMode="auto">
            <a:xfrm flipV="1">
              <a:off x="8940074" y="4221380"/>
              <a:ext cx="0" cy="7317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2" name="Straight Connector 101">
              <a:extLst>
                <a:ext uri="{FF2B5EF4-FFF2-40B4-BE49-F238E27FC236}">
                  <a16:creationId xmlns:a16="http://schemas.microsoft.com/office/drawing/2014/main" id="{F09924F9-EA2A-4CA1-A389-2F2AE2484414}"/>
                </a:ext>
              </a:extLst>
            </p:cNvPr>
            <p:cNvCxnSpPr>
              <a:cxnSpLocks/>
              <a:stCxn id="92" idx="0"/>
              <a:endCxn id="89" idx="2"/>
            </p:cNvCxnSpPr>
            <p:nvPr/>
          </p:nvCxnSpPr>
          <p:spPr bwMode="auto">
            <a:xfrm flipV="1">
              <a:off x="8940074" y="4870046"/>
              <a:ext cx="0" cy="7887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3" name="Straight Connector 32">
              <a:extLst>
                <a:ext uri="{FF2B5EF4-FFF2-40B4-BE49-F238E27FC236}">
                  <a16:creationId xmlns:a16="http://schemas.microsoft.com/office/drawing/2014/main" id="{06931923-118D-4795-91FA-E7E79A1BB2EA}"/>
                </a:ext>
              </a:extLst>
            </p:cNvPr>
            <p:cNvCxnSpPr>
              <a:cxnSpLocks/>
              <a:stCxn id="91" idx="1"/>
              <a:endCxn id="94" idx="0"/>
            </p:cNvCxnSpPr>
            <p:nvPr/>
          </p:nvCxnSpPr>
          <p:spPr bwMode="auto">
            <a:xfrm rot="10800000" flipV="1">
              <a:off x="6935418" y="3284025"/>
              <a:ext cx="1824656" cy="1010527"/>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104" name="Straight Connector 32">
              <a:extLst>
                <a:ext uri="{FF2B5EF4-FFF2-40B4-BE49-F238E27FC236}">
                  <a16:creationId xmlns:a16="http://schemas.microsoft.com/office/drawing/2014/main" id="{EA8C799E-52B0-4959-A517-5D2960DD08A6}"/>
                </a:ext>
              </a:extLst>
            </p:cNvPr>
            <p:cNvCxnSpPr>
              <a:cxnSpLocks/>
              <a:stCxn id="91" idx="3"/>
              <a:endCxn id="88" idx="0"/>
            </p:cNvCxnSpPr>
            <p:nvPr/>
          </p:nvCxnSpPr>
          <p:spPr bwMode="auto">
            <a:xfrm>
              <a:off x="9120074" y="3284026"/>
              <a:ext cx="2027157" cy="1870445"/>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105" name="Straight Connector 104">
              <a:extLst>
                <a:ext uri="{FF2B5EF4-FFF2-40B4-BE49-F238E27FC236}">
                  <a16:creationId xmlns:a16="http://schemas.microsoft.com/office/drawing/2014/main" id="{44E841EE-3155-4DB6-AE6C-872D00168C03}"/>
                </a:ext>
              </a:extLst>
            </p:cNvPr>
            <p:cNvCxnSpPr>
              <a:cxnSpLocks/>
              <a:stCxn id="90" idx="3"/>
              <a:endCxn id="88" idx="1"/>
            </p:cNvCxnSpPr>
            <p:nvPr/>
          </p:nvCxnSpPr>
          <p:spPr bwMode="auto">
            <a:xfrm>
              <a:off x="9120074" y="3933634"/>
              <a:ext cx="1847157" cy="150858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6" name="Straight Connector 105">
              <a:extLst>
                <a:ext uri="{FF2B5EF4-FFF2-40B4-BE49-F238E27FC236}">
                  <a16:creationId xmlns:a16="http://schemas.microsoft.com/office/drawing/2014/main" id="{0CFBFAD0-ABCF-4166-8094-EEE467F06768}"/>
                </a:ext>
              </a:extLst>
            </p:cNvPr>
            <p:cNvCxnSpPr>
              <a:cxnSpLocks/>
              <a:stCxn id="89" idx="3"/>
              <a:endCxn id="88" idx="1"/>
            </p:cNvCxnSpPr>
            <p:nvPr/>
          </p:nvCxnSpPr>
          <p:spPr bwMode="auto">
            <a:xfrm>
              <a:off x="9120074" y="4582300"/>
              <a:ext cx="1847157" cy="8599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7" name="Straight Connector 106">
              <a:extLst>
                <a:ext uri="{FF2B5EF4-FFF2-40B4-BE49-F238E27FC236}">
                  <a16:creationId xmlns:a16="http://schemas.microsoft.com/office/drawing/2014/main" id="{7C3391CA-4C3E-402D-BAB0-BC2A3DDD0147}"/>
                </a:ext>
              </a:extLst>
            </p:cNvPr>
            <p:cNvCxnSpPr>
              <a:cxnSpLocks/>
              <a:stCxn id="88" idx="1"/>
              <a:endCxn id="166" idx="0"/>
            </p:cNvCxnSpPr>
            <p:nvPr/>
          </p:nvCxnSpPr>
          <p:spPr bwMode="auto">
            <a:xfrm flipH="1">
              <a:off x="10474506" y="5442218"/>
              <a:ext cx="492725" cy="37284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8" name="Straight Connector 107">
              <a:extLst>
                <a:ext uri="{FF2B5EF4-FFF2-40B4-BE49-F238E27FC236}">
                  <a16:creationId xmlns:a16="http://schemas.microsoft.com/office/drawing/2014/main" id="{AB26083A-B144-4EA8-B436-2399F76E607F}"/>
                </a:ext>
              </a:extLst>
            </p:cNvPr>
            <p:cNvCxnSpPr>
              <a:cxnSpLocks/>
              <a:stCxn id="92" idx="3"/>
              <a:endCxn id="166" idx="0"/>
            </p:cNvCxnSpPr>
            <p:nvPr/>
          </p:nvCxnSpPr>
          <p:spPr bwMode="auto">
            <a:xfrm>
              <a:off x="9120074" y="5236663"/>
              <a:ext cx="1354432" cy="578397"/>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109" name="Group 108">
              <a:extLst>
                <a:ext uri="{FF2B5EF4-FFF2-40B4-BE49-F238E27FC236}">
                  <a16:creationId xmlns:a16="http://schemas.microsoft.com/office/drawing/2014/main" id="{10F54947-7DD6-42C7-B480-0EA2D97C0985}"/>
                </a:ext>
              </a:extLst>
            </p:cNvPr>
            <p:cNvGrpSpPr>
              <a:grpSpLocks noChangeAspect="1"/>
            </p:cNvGrpSpPr>
            <p:nvPr/>
          </p:nvGrpSpPr>
          <p:grpSpPr>
            <a:xfrm>
              <a:off x="7224136" y="6253982"/>
              <a:ext cx="209822" cy="293751"/>
              <a:chOff x="10129764" y="745508"/>
              <a:chExt cx="221963" cy="310748"/>
            </a:xfrm>
          </p:grpSpPr>
          <p:grpSp>
            <p:nvGrpSpPr>
              <p:cNvPr id="120" name="Group 119">
                <a:extLst>
                  <a:ext uri="{FF2B5EF4-FFF2-40B4-BE49-F238E27FC236}">
                    <a16:creationId xmlns:a16="http://schemas.microsoft.com/office/drawing/2014/main" id="{14A41C36-63AF-461E-A531-CFB4540288A3}"/>
                  </a:ext>
                </a:extLst>
              </p:cNvPr>
              <p:cNvGrpSpPr>
                <a:grpSpLocks noChangeAspect="1"/>
              </p:cNvGrpSpPr>
              <p:nvPr/>
            </p:nvGrpSpPr>
            <p:grpSpPr>
              <a:xfrm>
                <a:off x="10129764" y="745508"/>
                <a:ext cx="221963" cy="310748"/>
                <a:chOff x="1373325" y="5272742"/>
                <a:chExt cx="428625" cy="600075"/>
              </a:xfrm>
            </p:grpSpPr>
            <p:sp>
              <p:nvSpPr>
                <p:cNvPr id="122" name="Rectangle 121">
                  <a:extLst>
                    <a:ext uri="{FF2B5EF4-FFF2-40B4-BE49-F238E27FC236}">
                      <a16:creationId xmlns:a16="http://schemas.microsoft.com/office/drawing/2014/main" id="{406377B2-FC37-4AD4-9B9C-4E10F2EF56D5}"/>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23" name="Graphic 122">
                  <a:extLst>
                    <a:ext uri="{FF2B5EF4-FFF2-40B4-BE49-F238E27FC236}">
                      <a16:creationId xmlns:a16="http://schemas.microsoft.com/office/drawing/2014/main" id="{64C2EFC7-BE02-4E57-9B50-4FAEE69F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21" name="TextBox 120">
                <a:extLst>
                  <a:ext uri="{FF2B5EF4-FFF2-40B4-BE49-F238E27FC236}">
                    <a16:creationId xmlns:a16="http://schemas.microsoft.com/office/drawing/2014/main" id="{23126AC5-BB3B-412E-A888-B9D457CF1F59}"/>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12" name="Group 111">
              <a:extLst>
                <a:ext uri="{FF2B5EF4-FFF2-40B4-BE49-F238E27FC236}">
                  <a16:creationId xmlns:a16="http://schemas.microsoft.com/office/drawing/2014/main" id="{02F03331-61A8-4DCE-9E30-E438DC4EDCC2}"/>
                </a:ext>
              </a:extLst>
            </p:cNvPr>
            <p:cNvGrpSpPr>
              <a:grpSpLocks noChangeAspect="1"/>
            </p:cNvGrpSpPr>
            <p:nvPr/>
          </p:nvGrpSpPr>
          <p:grpSpPr>
            <a:xfrm>
              <a:off x="10723620" y="6253982"/>
              <a:ext cx="209822" cy="293751"/>
              <a:chOff x="10129764" y="745508"/>
              <a:chExt cx="221963" cy="310748"/>
            </a:xfrm>
          </p:grpSpPr>
          <p:grpSp>
            <p:nvGrpSpPr>
              <p:cNvPr id="116" name="Group 115">
                <a:extLst>
                  <a:ext uri="{FF2B5EF4-FFF2-40B4-BE49-F238E27FC236}">
                    <a16:creationId xmlns:a16="http://schemas.microsoft.com/office/drawing/2014/main" id="{81DCBFF5-17B6-4E60-82F0-E7EE4C89FEBA}"/>
                  </a:ext>
                </a:extLst>
              </p:cNvPr>
              <p:cNvGrpSpPr>
                <a:grpSpLocks noChangeAspect="1"/>
              </p:cNvGrpSpPr>
              <p:nvPr/>
            </p:nvGrpSpPr>
            <p:grpSpPr>
              <a:xfrm>
                <a:off x="10129764" y="745508"/>
                <a:ext cx="221963" cy="310748"/>
                <a:chOff x="1373325" y="5272742"/>
                <a:chExt cx="428625" cy="600075"/>
              </a:xfrm>
            </p:grpSpPr>
            <p:sp>
              <p:nvSpPr>
                <p:cNvPr id="118" name="Rectangle 117">
                  <a:extLst>
                    <a:ext uri="{FF2B5EF4-FFF2-40B4-BE49-F238E27FC236}">
                      <a16:creationId xmlns:a16="http://schemas.microsoft.com/office/drawing/2014/main" id="{D76506CE-8AC7-40A0-A19A-A4CC20E32F8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9" name="Graphic 118">
                  <a:extLst>
                    <a:ext uri="{FF2B5EF4-FFF2-40B4-BE49-F238E27FC236}">
                      <a16:creationId xmlns:a16="http://schemas.microsoft.com/office/drawing/2014/main" id="{B5D26CCF-EF95-4208-8B9F-CA05C798A8B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17" name="TextBox 116">
                <a:extLst>
                  <a:ext uri="{FF2B5EF4-FFF2-40B4-BE49-F238E27FC236}">
                    <a16:creationId xmlns:a16="http://schemas.microsoft.com/office/drawing/2014/main" id="{6D0387F1-178C-46A6-A8E8-6AD7F2EBD2EE}"/>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113" name="Straight Arrow Connector 112">
              <a:extLst>
                <a:ext uri="{FF2B5EF4-FFF2-40B4-BE49-F238E27FC236}">
                  <a16:creationId xmlns:a16="http://schemas.microsoft.com/office/drawing/2014/main" id="{D49A38C5-95F2-428C-88E4-280776C778C2}"/>
                </a:ext>
              </a:extLst>
            </p:cNvPr>
            <p:cNvCxnSpPr/>
            <p:nvPr/>
          </p:nvCxnSpPr>
          <p:spPr bwMode="auto">
            <a:xfrm flipH="1" flipV="1">
              <a:off x="7148577" y="6156220"/>
              <a:ext cx="180470"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114" name="Straight Arrow Connector 113">
              <a:extLst>
                <a:ext uri="{FF2B5EF4-FFF2-40B4-BE49-F238E27FC236}">
                  <a16:creationId xmlns:a16="http://schemas.microsoft.com/office/drawing/2014/main" id="{47FF39D3-28D3-4894-8EDB-0574ED7D197E}"/>
                </a:ext>
              </a:extLst>
            </p:cNvPr>
            <p:cNvCxnSpPr>
              <a:cxnSpLocks/>
              <a:stCxn id="119" idx="0"/>
            </p:cNvCxnSpPr>
            <p:nvPr/>
          </p:nvCxnSpPr>
          <p:spPr bwMode="auto">
            <a:xfrm flipH="1" flipV="1">
              <a:off x="10700140" y="6156220"/>
              <a:ext cx="128391"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66" name="TextBox 165">
              <a:extLst>
                <a:ext uri="{FF2B5EF4-FFF2-40B4-BE49-F238E27FC236}">
                  <a16:creationId xmlns:a16="http://schemas.microsoft.com/office/drawing/2014/main" id="{FD973F77-8B7B-4756-8578-C0F1F755B8FA}"/>
                </a:ext>
              </a:extLst>
            </p:cNvPr>
            <p:cNvSpPr txBox="1"/>
            <p:nvPr/>
          </p:nvSpPr>
          <p:spPr bwMode="auto">
            <a:xfrm>
              <a:off x="10294506" y="5815060"/>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800">
                  <a:solidFill>
                    <a:srgbClr val="181818"/>
                  </a:solidFill>
                  <a:latin typeface="Ericsson Hilda"/>
                </a:rPr>
                <a:t>NG</a:t>
              </a:r>
              <a:r>
                <a:rPr kumimoji="0" lang="en-US" sz="800" b="0" i="0" u="none" strike="noStrike" kern="1200" cap="none" spc="0" normalizeH="0" baseline="0" noProof="0">
                  <a:ln>
                    <a:noFill/>
                  </a:ln>
                  <a:solidFill>
                    <a:srgbClr val="181818"/>
                  </a:solidFill>
                  <a:effectLst/>
                  <a:uLnTx/>
                  <a:uFillTx/>
                  <a:latin typeface="Ericsson Hilda"/>
                  <a:ea typeface="+mn-ea"/>
                  <a:cs typeface="+mn-cs"/>
                </a:rPr>
                <a:t>-RAN</a:t>
              </a:r>
            </a:p>
          </p:txBody>
        </p:sp>
        <p:sp>
          <p:nvSpPr>
            <p:cNvPr id="169" name="TextBox 168">
              <a:extLst>
                <a:ext uri="{FF2B5EF4-FFF2-40B4-BE49-F238E27FC236}">
                  <a16:creationId xmlns:a16="http://schemas.microsoft.com/office/drawing/2014/main" id="{09B40721-D54E-4A25-BD4E-D93DFC7015A9}"/>
                </a:ext>
              </a:extLst>
            </p:cNvPr>
            <p:cNvSpPr txBox="1"/>
            <p:nvPr/>
          </p:nvSpPr>
          <p:spPr bwMode="auto">
            <a:xfrm>
              <a:off x="6740801" y="579469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err="1">
                  <a:ln>
                    <a:noFill/>
                  </a:ln>
                  <a:solidFill>
                    <a:srgbClr val="181818"/>
                  </a:solidFill>
                  <a:effectLst/>
                  <a:uLnTx/>
                  <a:uFillTx/>
                  <a:latin typeface="Ericsson Hilda"/>
                  <a:ea typeface="+mn-ea"/>
                  <a:cs typeface="+mn-cs"/>
                </a:rPr>
                <a:t>ePDG</a:t>
              </a:r>
              <a:endParaRPr kumimoji="0" lang="en-US" sz="800" i="0" u="none" strike="noStrike" kern="1200" cap="none" spc="0" normalizeH="0" baseline="0" noProof="0">
                <a:ln>
                  <a:noFill/>
                </a:ln>
                <a:solidFill>
                  <a:srgbClr val="181818"/>
                </a:solidFill>
                <a:effectLst/>
                <a:uLnTx/>
                <a:uFillTx/>
                <a:latin typeface="Ericsson Hilda"/>
                <a:ea typeface="+mn-ea"/>
                <a:cs typeface="+mn-cs"/>
              </a:endParaRPr>
            </a:p>
          </p:txBody>
        </p:sp>
        <p:sp>
          <p:nvSpPr>
            <p:cNvPr id="178" name="TextBox 177">
              <a:extLst>
                <a:ext uri="{FF2B5EF4-FFF2-40B4-BE49-F238E27FC236}">
                  <a16:creationId xmlns:a16="http://schemas.microsoft.com/office/drawing/2014/main" id="{913700B2-A8E1-4547-BF29-AC61B30D3A32}"/>
                </a:ext>
              </a:extLst>
            </p:cNvPr>
            <p:cNvSpPr txBox="1"/>
            <p:nvPr/>
          </p:nvSpPr>
          <p:spPr bwMode="auto">
            <a:xfrm>
              <a:off x="7141840" y="443813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6b</a:t>
              </a:r>
            </a:p>
          </p:txBody>
        </p:sp>
        <p:sp>
          <p:nvSpPr>
            <p:cNvPr id="180" name="TextBox 179">
              <a:extLst>
                <a:ext uri="{FF2B5EF4-FFF2-40B4-BE49-F238E27FC236}">
                  <a16:creationId xmlns:a16="http://schemas.microsoft.com/office/drawing/2014/main" id="{165CFCC2-6B52-4592-959F-BF638F10DA36}"/>
                </a:ext>
              </a:extLst>
            </p:cNvPr>
            <p:cNvSpPr txBox="1"/>
            <p:nvPr/>
          </p:nvSpPr>
          <p:spPr bwMode="auto">
            <a:xfrm>
              <a:off x="6970048" y="508829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m</a:t>
              </a:r>
            </a:p>
          </p:txBody>
        </p:sp>
        <p:sp>
          <p:nvSpPr>
            <p:cNvPr id="181" name="TextBox 180">
              <a:extLst>
                <a:ext uri="{FF2B5EF4-FFF2-40B4-BE49-F238E27FC236}">
                  <a16:creationId xmlns:a16="http://schemas.microsoft.com/office/drawing/2014/main" id="{DF17ECB1-2133-435B-BDE8-D496A23FC155}"/>
                </a:ext>
              </a:extLst>
            </p:cNvPr>
            <p:cNvSpPr txBox="1"/>
            <p:nvPr/>
          </p:nvSpPr>
          <p:spPr bwMode="auto">
            <a:xfrm>
              <a:off x="7725546" y="4938123"/>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C</a:t>
              </a:r>
            </a:p>
          </p:txBody>
        </p:sp>
        <p:sp>
          <p:nvSpPr>
            <p:cNvPr id="182" name="TextBox 181">
              <a:extLst>
                <a:ext uri="{FF2B5EF4-FFF2-40B4-BE49-F238E27FC236}">
                  <a16:creationId xmlns:a16="http://schemas.microsoft.com/office/drawing/2014/main" id="{80A73021-6702-4D7C-9BB4-C345DFB4E00B}"/>
                </a:ext>
              </a:extLst>
            </p:cNvPr>
            <p:cNvSpPr txBox="1"/>
            <p:nvPr/>
          </p:nvSpPr>
          <p:spPr bwMode="auto">
            <a:xfrm>
              <a:off x="7712481" y="5356707"/>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U</a:t>
              </a:r>
            </a:p>
          </p:txBody>
        </p:sp>
        <p:sp>
          <p:nvSpPr>
            <p:cNvPr id="183" name="TextBox 182">
              <a:extLst>
                <a:ext uri="{FF2B5EF4-FFF2-40B4-BE49-F238E27FC236}">
                  <a16:creationId xmlns:a16="http://schemas.microsoft.com/office/drawing/2014/main" id="{55EC947F-1A6A-4FAC-83ED-5249C63F7361}"/>
                </a:ext>
              </a:extLst>
            </p:cNvPr>
            <p:cNvSpPr txBox="1"/>
            <p:nvPr/>
          </p:nvSpPr>
          <p:spPr bwMode="auto">
            <a:xfrm>
              <a:off x="7033686" y="3140562"/>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x</a:t>
              </a:r>
            </a:p>
          </p:txBody>
        </p:sp>
        <p:sp>
          <p:nvSpPr>
            <p:cNvPr id="184" name="TextBox 183">
              <a:extLst>
                <a:ext uri="{FF2B5EF4-FFF2-40B4-BE49-F238E27FC236}">
                  <a16:creationId xmlns:a16="http://schemas.microsoft.com/office/drawing/2014/main" id="{500DE18B-3E5E-40D6-9F0F-5F595A0ADAFA}"/>
                </a:ext>
              </a:extLst>
            </p:cNvPr>
            <p:cNvSpPr txBox="1"/>
            <p:nvPr/>
          </p:nvSpPr>
          <p:spPr bwMode="auto">
            <a:xfrm>
              <a:off x="8285183"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0</a:t>
              </a:r>
            </a:p>
          </p:txBody>
        </p:sp>
        <p:sp>
          <p:nvSpPr>
            <p:cNvPr id="185" name="TextBox 184">
              <a:extLst>
                <a:ext uri="{FF2B5EF4-FFF2-40B4-BE49-F238E27FC236}">
                  <a16:creationId xmlns:a16="http://schemas.microsoft.com/office/drawing/2014/main" id="{8C458DE9-42A4-42B2-9792-D7FA88C11860}"/>
                </a:ext>
              </a:extLst>
            </p:cNvPr>
            <p:cNvSpPr txBox="1"/>
            <p:nvPr/>
          </p:nvSpPr>
          <p:spPr bwMode="auto">
            <a:xfrm>
              <a:off x="10902122"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8</a:t>
              </a:r>
            </a:p>
          </p:txBody>
        </p:sp>
        <p:sp>
          <p:nvSpPr>
            <p:cNvPr id="186" name="TextBox 185">
              <a:extLst>
                <a:ext uri="{FF2B5EF4-FFF2-40B4-BE49-F238E27FC236}">
                  <a16:creationId xmlns:a16="http://schemas.microsoft.com/office/drawing/2014/main" id="{94515D62-EE70-4850-A0EA-4E6195B7C40E}"/>
                </a:ext>
              </a:extLst>
            </p:cNvPr>
            <p:cNvSpPr txBox="1"/>
            <p:nvPr/>
          </p:nvSpPr>
          <p:spPr bwMode="auto">
            <a:xfrm>
              <a:off x="9743017" y="43427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5</a:t>
              </a:r>
            </a:p>
          </p:txBody>
        </p:sp>
        <p:sp>
          <p:nvSpPr>
            <p:cNvPr id="187" name="TextBox 186">
              <a:extLst>
                <a:ext uri="{FF2B5EF4-FFF2-40B4-BE49-F238E27FC236}">
                  <a16:creationId xmlns:a16="http://schemas.microsoft.com/office/drawing/2014/main" id="{C0FF8D61-06D4-427B-A0C3-9A60B9493F71}"/>
                </a:ext>
              </a:extLst>
            </p:cNvPr>
            <p:cNvSpPr txBox="1"/>
            <p:nvPr/>
          </p:nvSpPr>
          <p:spPr bwMode="auto">
            <a:xfrm>
              <a:off x="9743017" y="4734261"/>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1</a:t>
              </a:r>
            </a:p>
          </p:txBody>
        </p:sp>
        <p:sp>
          <p:nvSpPr>
            <p:cNvPr id="188" name="TextBox 187">
              <a:extLst>
                <a:ext uri="{FF2B5EF4-FFF2-40B4-BE49-F238E27FC236}">
                  <a16:creationId xmlns:a16="http://schemas.microsoft.com/office/drawing/2014/main" id="{0961630A-AC11-40BE-AC09-1F856D04AFE3}"/>
                </a:ext>
              </a:extLst>
            </p:cNvPr>
            <p:cNvSpPr txBox="1"/>
            <p:nvPr/>
          </p:nvSpPr>
          <p:spPr bwMode="auto">
            <a:xfrm>
              <a:off x="9743017" y="538181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3</a:t>
              </a:r>
            </a:p>
          </p:txBody>
        </p:sp>
        <p:cxnSp>
          <p:nvCxnSpPr>
            <p:cNvPr id="189" name="Straight Connector 188">
              <a:extLst>
                <a:ext uri="{FF2B5EF4-FFF2-40B4-BE49-F238E27FC236}">
                  <a16:creationId xmlns:a16="http://schemas.microsoft.com/office/drawing/2014/main" id="{17D4385E-7648-4013-ADF6-73AC0A7176D1}"/>
                </a:ext>
              </a:extLst>
            </p:cNvPr>
            <p:cNvCxnSpPr>
              <a:cxnSpLocks/>
              <a:stCxn id="88" idx="2"/>
              <a:endCxn id="119" idx="0"/>
            </p:cNvCxnSpPr>
            <p:nvPr/>
          </p:nvCxnSpPr>
          <p:spPr bwMode="auto">
            <a:xfrm flipH="1">
              <a:off x="10828531" y="5729964"/>
              <a:ext cx="318700" cy="524018"/>
            </a:xfrm>
            <a:prstGeom prst="line">
              <a:avLst/>
            </a:prstGeom>
            <a:solidFill>
              <a:schemeClr val="accent1"/>
            </a:solidFill>
            <a:ln w="12700" cap="flat" cmpd="sng" algn="ctr">
              <a:solidFill>
                <a:schemeClr val="tx1"/>
              </a:solidFill>
              <a:prstDash val="sysDash"/>
              <a:round/>
              <a:headEnd type="none" w="med" len="med"/>
              <a:tailEnd type="none"/>
            </a:ln>
            <a:effectLst/>
          </p:spPr>
        </p:cxnSp>
        <p:sp>
          <p:nvSpPr>
            <p:cNvPr id="192" name="TextBox 191">
              <a:extLst>
                <a:ext uri="{FF2B5EF4-FFF2-40B4-BE49-F238E27FC236}">
                  <a16:creationId xmlns:a16="http://schemas.microsoft.com/office/drawing/2014/main" id="{832D7E1E-0C88-4CAB-A69D-D594F5C09341}"/>
                </a:ext>
              </a:extLst>
            </p:cNvPr>
            <p:cNvSpPr txBox="1"/>
            <p:nvPr/>
          </p:nvSpPr>
          <p:spPr bwMode="auto">
            <a:xfrm>
              <a:off x="11022360" y="5923706"/>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a:t>
              </a:r>
            </a:p>
          </p:txBody>
        </p:sp>
        <p:sp>
          <p:nvSpPr>
            <p:cNvPr id="193" name="TextBox 192">
              <a:extLst>
                <a:ext uri="{FF2B5EF4-FFF2-40B4-BE49-F238E27FC236}">
                  <a16:creationId xmlns:a16="http://schemas.microsoft.com/office/drawing/2014/main" id="{3BB076AD-5877-42CA-AE3C-8F30933C9019}"/>
                </a:ext>
              </a:extLst>
            </p:cNvPr>
            <p:cNvSpPr txBox="1"/>
            <p:nvPr/>
          </p:nvSpPr>
          <p:spPr bwMode="auto">
            <a:xfrm>
              <a:off x="9095183" y="483898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4</a:t>
              </a:r>
            </a:p>
          </p:txBody>
        </p:sp>
        <p:sp>
          <p:nvSpPr>
            <p:cNvPr id="194" name="TextBox 193">
              <a:extLst>
                <a:ext uri="{FF2B5EF4-FFF2-40B4-BE49-F238E27FC236}">
                  <a16:creationId xmlns:a16="http://schemas.microsoft.com/office/drawing/2014/main" id="{FF79453D-842B-41DF-B5C4-449371008ABE}"/>
                </a:ext>
              </a:extLst>
            </p:cNvPr>
            <p:cNvSpPr txBox="1"/>
            <p:nvPr/>
          </p:nvSpPr>
          <p:spPr bwMode="auto">
            <a:xfrm>
              <a:off x="10585249" y="54628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2</a:t>
              </a:r>
            </a:p>
          </p:txBody>
        </p:sp>
        <p:sp>
          <p:nvSpPr>
            <p:cNvPr id="195" name="TextBox 194">
              <a:extLst>
                <a:ext uri="{FF2B5EF4-FFF2-40B4-BE49-F238E27FC236}">
                  <a16:creationId xmlns:a16="http://schemas.microsoft.com/office/drawing/2014/main" id="{FBCCB9A0-FBD3-490C-B3E6-41217944D0B7}"/>
                </a:ext>
              </a:extLst>
            </p:cNvPr>
            <p:cNvSpPr txBox="1"/>
            <p:nvPr/>
          </p:nvSpPr>
          <p:spPr bwMode="auto">
            <a:xfrm>
              <a:off x="9095183" y="418493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7</a:t>
              </a:r>
            </a:p>
          </p:txBody>
        </p:sp>
      </p:grpSp>
      <p:grpSp>
        <p:nvGrpSpPr>
          <p:cNvPr id="216" name="Group 215">
            <a:extLst>
              <a:ext uri="{FF2B5EF4-FFF2-40B4-BE49-F238E27FC236}">
                <a16:creationId xmlns:a16="http://schemas.microsoft.com/office/drawing/2014/main" id="{9DEB02ED-B585-4E8D-B2BD-43DC81A24727}"/>
              </a:ext>
            </a:extLst>
          </p:cNvPr>
          <p:cNvGrpSpPr/>
          <p:nvPr/>
        </p:nvGrpSpPr>
        <p:grpSpPr>
          <a:xfrm>
            <a:off x="1135678" y="2987562"/>
            <a:ext cx="4935712" cy="3551454"/>
            <a:chOff x="1135678" y="2987562"/>
            <a:chExt cx="4935712" cy="3551454"/>
          </a:xfrm>
        </p:grpSpPr>
        <p:sp>
          <p:nvSpPr>
            <p:cNvPr id="9" name="TextBox 8">
              <a:extLst>
                <a:ext uri="{FF2B5EF4-FFF2-40B4-BE49-F238E27FC236}">
                  <a16:creationId xmlns:a16="http://schemas.microsoft.com/office/drawing/2014/main" id="{239D7AD5-EA26-40C0-9BDC-A7BE5A02E032}"/>
                </a:ext>
              </a:extLst>
            </p:cNvPr>
            <p:cNvSpPr txBox="1"/>
            <p:nvPr/>
          </p:nvSpPr>
          <p:spPr bwMode="auto">
            <a:xfrm>
              <a:off x="1294000" y="5798299"/>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E-UTRAN</a:t>
              </a:r>
            </a:p>
          </p:txBody>
        </p:sp>
        <p:sp>
          <p:nvSpPr>
            <p:cNvPr id="10" name="TextBox 9">
              <a:extLst>
                <a:ext uri="{FF2B5EF4-FFF2-40B4-BE49-F238E27FC236}">
                  <a16:creationId xmlns:a16="http://schemas.microsoft.com/office/drawing/2014/main" id="{54EF68E3-B305-4A51-A493-DA646278871F}"/>
                </a:ext>
              </a:extLst>
            </p:cNvPr>
            <p:cNvSpPr txBox="1"/>
            <p:nvPr/>
          </p:nvSpPr>
          <p:spPr bwMode="auto">
            <a:xfrm>
              <a:off x="4853861" y="579829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3IWF</a:t>
              </a:r>
            </a:p>
          </p:txBody>
        </p:sp>
        <p:sp>
          <p:nvSpPr>
            <p:cNvPr id="11" name="TextBox 10">
              <a:extLst>
                <a:ext uri="{FF2B5EF4-FFF2-40B4-BE49-F238E27FC236}">
                  <a16:creationId xmlns:a16="http://schemas.microsoft.com/office/drawing/2014/main" id="{33630D4C-57DA-4442-9509-C6E2F8C08645}"/>
                </a:ext>
              </a:extLst>
            </p:cNvPr>
            <p:cNvSpPr txBox="1"/>
            <p:nvPr/>
          </p:nvSpPr>
          <p:spPr bwMode="auto">
            <a:xfrm>
              <a:off x="5521624" y="51457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12" name="TextBox 11">
              <a:extLst>
                <a:ext uri="{FF2B5EF4-FFF2-40B4-BE49-F238E27FC236}">
                  <a16:creationId xmlns:a16="http://schemas.microsoft.com/office/drawing/2014/main" id="{17A7ABD6-2D21-41E2-8A69-C34CA1935F30}"/>
                </a:ext>
              </a:extLst>
            </p:cNvPr>
            <p:cNvSpPr txBox="1"/>
            <p:nvPr/>
          </p:nvSpPr>
          <p:spPr bwMode="auto">
            <a:xfrm>
              <a:off x="3314467" y="42858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C</a:t>
              </a:r>
            </a:p>
          </p:txBody>
        </p:sp>
        <p:sp>
          <p:nvSpPr>
            <p:cNvPr id="13" name="TextBox 12">
              <a:extLst>
                <a:ext uri="{FF2B5EF4-FFF2-40B4-BE49-F238E27FC236}">
                  <a16:creationId xmlns:a16="http://schemas.microsoft.com/office/drawing/2014/main" id="{3E3E6FE7-9DB5-4C30-9754-7636E437AE5B}"/>
                </a:ext>
              </a:extLst>
            </p:cNvPr>
            <p:cNvSpPr txBox="1"/>
            <p:nvPr/>
          </p:nvSpPr>
          <p:spPr bwMode="auto">
            <a:xfrm>
              <a:off x="3314467" y="3637170"/>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14" name="TextBox 13">
              <a:extLst>
                <a:ext uri="{FF2B5EF4-FFF2-40B4-BE49-F238E27FC236}">
                  <a16:creationId xmlns:a16="http://schemas.microsoft.com/office/drawing/2014/main" id="{CE022912-335C-4EEB-ADF1-5D5FEEA40DA1}"/>
                </a:ext>
              </a:extLst>
            </p:cNvPr>
            <p:cNvSpPr txBox="1"/>
            <p:nvPr/>
          </p:nvSpPr>
          <p:spPr bwMode="auto">
            <a:xfrm>
              <a:off x="3314467" y="298756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HSS</a:t>
              </a:r>
            </a:p>
          </p:txBody>
        </p:sp>
        <p:sp>
          <p:nvSpPr>
            <p:cNvPr id="15" name="TextBox 14">
              <a:extLst>
                <a:ext uri="{FF2B5EF4-FFF2-40B4-BE49-F238E27FC236}">
                  <a16:creationId xmlns:a16="http://schemas.microsoft.com/office/drawing/2014/main" id="{C6C2C542-AD07-4B51-9B78-0891D511823F}"/>
                </a:ext>
              </a:extLst>
            </p:cNvPr>
            <p:cNvSpPr txBox="1"/>
            <p:nvPr/>
          </p:nvSpPr>
          <p:spPr bwMode="auto">
            <a:xfrm>
              <a:off x="3314467" y="494019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U</a:t>
              </a:r>
            </a:p>
          </p:txBody>
        </p:sp>
        <p:sp>
          <p:nvSpPr>
            <p:cNvPr id="16" name="TextBox 15">
              <a:extLst>
                <a:ext uri="{FF2B5EF4-FFF2-40B4-BE49-F238E27FC236}">
                  <a16:creationId xmlns:a16="http://schemas.microsoft.com/office/drawing/2014/main" id="{3B7E2C31-68DC-4401-80F8-3674D4BE5551}"/>
                </a:ext>
              </a:extLst>
            </p:cNvPr>
            <p:cNvSpPr txBox="1"/>
            <p:nvPr/>
          </p:nvSpPr>
          <p:spPr bwMode="auto">
            <a:xfrm>
              <a:off x="2167527" y="472205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GW</a:t>
              </a:r>
            </a:p>
          </p:txBody>
        </p:sp>
        <p:sp>
          <p:nvSpPr>
            <p:cNvPr id="17" name="TextBox 16">
              <a:extLst>
                <a:ext uri="{FF2B5EF4-FFF2-40B4-BE49-F238E27FC236}">
                  <a16:creationId xmlns:a16="http://schemas.microsoft.com/office/drawing/2014/main" id="{B7F5528B-6D49-4D0F-B008-FC6AF5A071BD}"/>
                </a:ext>
              </a:extLst>
            </p:cNvPr>
            <p:cNvSpPr txBox="1"/>
            <p:nvPr/>
          </p:nvSpPr>
          <p:spPr bwMode="auto">
            <a:xfrm>
              <a:off x="1294000" y="494000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MME</a:t>
              </a:r>
            </a:p>
          </p:txBody>
        </p:sp>
        <p:cxnSp>
          <p:nvCxnSpPr>
            <p:cNvPr id="19" name="Straight Connector 18">
              <a:extLst>
                <a:ext uri="{FF2B5EF4-FFF2-40B4-BE49-F238E27FC236}">
                  <a16:creationId xmlns:a16="http://schemas.microsoft.com/office/drawing/2014/main" id="{70D7111E-DAC5-4EA0-A015-B6B1B4566E01}"/>
                </a:ext>
              </a:extLst>
            </p:cNvPr>
            <p:cNvCxnSpPr>
              <a:cxnSpLocks/>
              <a:stCxn id="16" idx="1"/>
              <a:endCxn id="17" idx="3"/>
            </p:cNvCxnSpPr>
            <p:nvPr/>
          </p:nvCxnSpPr>
          <p:spPr bwMode="auto">
            <a:xfrm flipH="1">
              <a:off x="1654000" y="5009804"/>
              <a:ext cx="513527" cy="21795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1" name="Straight Connector 20">
              <a:extLst>
                <a:ext uri="{FF2B5EF4-FFF2-40B4-BE49-F238E27FC236}">
                  <a16:creationId xmlns:a16="http://schemas.microsoft.com/office/drawing/2014/main" id="{EFACA068-CC69-43A9-9CD6-77F66C5C9ACE}"/>
                </a:ext>
              </a:extLst>
            </p:cNvPr>
            <p:cNvCxnSpPr>
              <a:cxnSpLocks/>
              <a:stCxn id="16" idx="1"/>
              <a:endCxn id="9" idx="0"/>
            </p:cNvCxnSpPr>
            <p:nvPr/>
          </p:nvCxnSpPr>
          <p:spPr bwMode="auto">
            <a:xfrm flipH="1">
              <a:off x="1474000" y="5009804"/>
              <a:ext cx="693527" cy="788495"/>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4" name="Straight Connector 23">
              <a:extLst>
                <a:ext uri="{FF2B5EF4-FFF2-40B4-BE49-F238E27FC236}">
                  <a16:creationId xmlns:a16="http://schemas.microsoft.com/office/drawing/2014/main" id="{3755665B-9261-415B-9751-FA5ACDB5EAC3}"/>
                </a:ext>
              </a:extLst>
            </p:cNvPr>
            <p:cNvCxnSpPr>
              <a:cxnSpLocks/>
              <a:stCxn id="17" idx="2"/>
              <a:endCxn id="9" idx="0"/>
            </p:cNvCxnSpPr>
            <p:nvPr/>
          </p:nvCxnSpPr>
          <p:spPr bwMode="auto">
            <a:xfrm>
              <a:off x="1474000" y="5515502"/>
              <a:ext cx="0" cy="282797"/>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7" name="Straight Connector 26">
              <a:extLst>
                <a:ext uri="{FF2B5EF4-FFF2-40B4-BE49-F238E27FC236}">
                  <a16:creationId xmlns:a16="http://schemas.microsoft.com/office/drawing/2014/main" id="{FA0D9AF2-9A41-47BD-A1C4-43075AAC3EBF}"/>
                </a:ext>
              </a:extLst>
            </p:cNvPr>
            <p:cNvCxnSpPr>
              <a:cxnSpLocks/>
              <a:stCxn id="16" idx="3"/>
              <a:endCxn id="15" idx="1"/>
            </p:cNvCxnSpPr>
            <p:nvPr/>
          </p:nvCxnSpPr>
          <p:spPr bwMode="auto">
            <a:xfrm>
              <a:off x="2527527" y="5009804"/>
              <a:ext cx="786940" cy="21814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0" name="Straight Connector 29">
              <a:extLst>
                <a:ext uri="{FF2B5EF4-FFF2-40B4-BE49-F238E27FC236}">
                  <a16:creationId xmlns:a16="http://schemas.microsoft.com/office/drawing/2014/main" id="{BFFAD6CD-6F29-490B-8D76-54CF9B0651B9}"/>
                </a:ext>
              </a:extLst>
            </p:cNvPr>
            <p:cNvCxnSpPr>
              <a:cxnSpLocks/>
              <a:stCxn id="16" idx="3"/>
              <a:endCxn id="12" idx="1"/>
            </p:cNvCxnSpPr>
            <p:nvPr/>
          </p:nvCxnSpPr>
          <p:spPr bwMode="auto">
            <a:xfrm flipV="1">
              <a:off x="2527527" y="4573583"/>
              <a:ext cx="786940" cy="436221"/>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7" name="Straight Connector 36">
              <a:extLst>
                <a:ext uri="{FF2B5EF4-FFF2-40B4-BE49-F238E27FC236}">
                  <a16:creationId xmlns:a16="http://schemas.microsoft.com/office/drawing/2014/main" id="{C79E055C-E6B6-4D00-AE13-025500092763}"/>
                </a:ext>
              </a:extLst>
            </p:cNvPr>
            <p:cNvCxnSpPr>
              <a:cxnSpLocks/>
              <a:stCxn id="12" idx="0"/>
              <a:endCxn id="13" idx="2"/>
            </p:cNvCxnSpPr>
            <p:nvPr/>
          </p:nvCxnSpPr>
          <p:spPr bwMode="auto">
            <a:xfrm flipV="1">
              <a:off x="3494467" y="4212663"/>
              <a:ext cx="0" cy="7317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0" name="Straight Connector 39">
              <a:extLst>
                <a:ext uri="{FF2B5EF4-FFF2-40B4-BE49-F238E27FC236}">
                  <a16:creationId xmlns:a16="http://schemas.microsoft.com/office/drawing/2014/main" id="{EBE34525-8A7C-4AB9-A267-7E3F6B1C3B5E}"/>
                </a:ext>
              </a:extLst>
            </p:cNvPr>
            <p:cNvCxnSpPr>
              <a:cxnSpLocks/>
              <a:stCxn id="15" idx="0"/>
              <a:endCxn id="12" idx="2"/>
            </p:cNvCxnSpPr>
            <p:nvPr/>
          </p:nvCxnSpPr>
          <p:spPr bwMode="auto">
            <a:xfrm flipV="1">
              <a:off x="3494467" y="4861329"/>
              <a:ext cx="0" cy="7887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3" name="Straight Connector 32">
              <a:extLst>
                <a:ext uri="{FF2B5EF4-FFF2-40B4-BE49-F238E27FC236}">
                  <a16:creationId xmlns:a16="http://schemas.microsoft.com/office/drawing/2014/main" id="{98582DC8-3B06-4A40-B8F7-2146CD7394F7}"/>
                </a:ext>
              </a:extLst>
            </p:cNvPr>
            <p:cNvCxnSpPr>
              <a:cxnSpLocks/>
              <a:stCxn id="14" idx="1"/>
              <a:endCxn id="17" idx="0"/>
            </p:cNvCxnSpPr>
            <p:nvPr/>
          </p:nvCxnSpPr>
          <p:spPr bwMode="auto">
            <a:xfrm rot="10800000" flipV="1">
              <a:off x="1474001" y="3275309"/>
              <a:ext cx="1840467" cy="1664700"/>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46" name="Straight Connector 32">
              <a:extLst>
                <a:ext uri="{FF2B5EF4-FFF2-40B4-BE49-F238E27FC236}">
                  <a16:creationId xmlns:a16="http://schemas.microsoft.com/office/drawing/2014/main" id="{2C11A509-806D-4576-BF4D-561CB05B6E3E}"/>
                </a:ext>
              </a:extLst>
            </p:cNvPr>
            <p:cNvCxnSpPr>
              <a:cxnSpLocks/>
              <a:stCxn id="14" idx="3"/>
              <a:endCxn id="11" idx="0"/>
            </p:cNvCxnSpPr>
            <p:nvPr/>
          </p:nvCxnSpPr>
          <p:spPr bwMode="auto">
            <a:xfrm>
              <a:off x="3674467" y="3275309"/>
              <a:ext cx="2027157" cy="1870445"/>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50" name="Straight Connector 49">
              <a:extLst>
                <a:ext uri="{FF2B5EF4-FFF2-40B4-BE49-F238E27FC236}">
                  <a16:creationId xmlns:a16="http://schemas.microsoft.com/office/drawing/2014/main" id="{C468D709-958E-4A4C-A120-E6C6FF7F6D7F}"/>
                </a:ext>
              </a:extLst>
            </p:cNvPr>
            <p:cNvCxnSpPr>
              <a:cxnSpLocks/>
              <a:stCxn id="13" idx="3"/>
              <a:endCxn id="11" idx="1"/>
            </p:cNvCxnSpPr>
            <p:nvPr/>
          </p:nvCxnSpPr>
          <p:spPr bwMode="auto">
            <a:xfrm>
              <a:off x="3674467" y="3924917"/>
              <a:ext cx="1847157" cy="150858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3" name="Straight Connector 52">
              <a:extLst>
                <a:ext uri="{FF2B5EF4-FFF2-40B4-BE49-F238E27FC236}">
                  <a16:creationId xmlns:a16="http://schemas.microsoft.com/office/drawing/2014/main" id="{22E3174C-D752-4525-8822-BAE081C987BE}"/>
                </a:ext>
              </a:extLst>
            </p:cNvPr>
            <p:cNvCxnSpPr>
              <a:cxnSpLocks/>
              <a:stCxn id="12" idx="3"/>
              <a:endCxn id="11" idx="1"/>
            </p:cNvCxnSpPr>
            <p:nvPr/>
          </p:nvCxnSpPr>
          <p:spPr bwMode="auto">
            <a:xfrm>
              <a:off x="3674467" y="4573583"/>
              <a:ext cx="1847157" cy="8599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6" name="Straight Connector 55">
              <a:extLst>
                <a:ext uri="{FF2B5EF4-FFF2-40B4-BE49-F238E27FC236}">
                  <a16:creationId xmlns:a16="http://schemas.microsoft.com/office/drawing/2014/main" id="{CBD9BF86-45B2-47DE-BD5C-8C777CFA6CDA}"/>
                </a:ext>
              </a:extLst>
            </p:cNvPr>
            <p:cNvCxnSpPr>
              <a:cxnSpLocks/>
              <a:stCxn id="11" idx="1"/>
              <a:endCxn id="10" idx="0"/>
            </p:cNvCxnSpPr>
            <p:nvPr/>
          </p:nvCxnSpPr>
          <p:spPr bwMode="auto">
            <a:xfrm flipH="1">
              <a:off x="5033861" y="5433501"/>
              <a:ext cx="487763" cy="364797"/>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9" name="Straight Connector 58">
              <a:extLst>
                <a:ext uri="{FF2B5EF4-FFF2-40B4-BE49-F238E27FC236}">
                  <a16:creationId xmlns:a16="http://schemas.microsoft.com/office/drawing/2014/main" id="{150D1EE4-7D07-47A5-9DC9-6302D7C9E4A8}"/>
                </a:ext>
              </a:extLst>
            </p:cNvPr>
            <p:cNvCxnSpPr>
              <a:cxnSpLocks/>
              <a:stCxn id="15" idx="3"/>
              <a:endCxn id="10" idx="0"/>
            </p:cNvCxnSpPr>
            <p:nvPr/>
          </p:nvCxnSpPr>
          <p:spPr bwMode="auto">
            <a:xfrm>
              <a:off x="3674467" y="5227946"/>
              <a:ext cx="1359394" cy="570352"/>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62" name="Group 61">
              <a:extLst>
                <a:ext uri="{FF2B5EF4-FFF2-40B4-BE49-F238E27FC236}">
                  <a16:creationId xmlns:a16="http://schemas.microsoft.com/office/drawing/2014/main" id="{44FD33B9-7889-4446-86FD-B188410EFFC1}"/>
                </a:ext>
              </a:extLst>
            </p:cNvPr>
            <p:cNvGrpSpPr>
              <a:grpSpLocks noChangeAspect="1"/>
            </p:cNvGrpSpPr>
            <p:nvPr/>
          </p:nvGrpSpPr>
          <p:grpSpPr>
            <a:xfrm>
              <a:off x="1778529" y="6245265"/>
              <a:ext cx="209822" cy="293751"/>
              <a:chOff x="10129764" y="745508"/>
              <a:chExt cx="221963" cy="310748"/>
            </a:xfrm>
          </p:grpSpPr>
          <p:grpSp>
            <p:nvGrpSpPr>
              <p:cNvPr id="63" name="Group 62">
                <a:extLst>
                  <a:ext uri="{FF2B5EF4-FFF2-40B4-BE49-F238E27FC236}">
                    <a16:creationId xmlns:a16="http://schemas.microsoft.com/office/drawing/2014/main" id="{FD3CCA77-2C58-4558-A206-F4BB1FAED9D7}"/>
                  </a:ext>
                </a:extLst>
              </p:cNvPr>
              <p:cNvGrpSpPr>
                <a:grpSpLocks noChangeAspect="1"/>
              </p:cNvGrpSpPr>
              <p:nvPr/>
            </p:nvGrpSpPr>
            <p:grpSpPr>
              <a:xfrm>
                <a:off x="10129764" y="745508"/>
                <a:ext cx="221963" cy="310748"/>
                <a:chOff x="1373325" y="5272742"/>
                <a:chExt cx="428625" cy="600075"/>
              </a:xfrm>
            </p:grpSpPr>
            <p:sp>
              <p:nvSpPr>
                <p:cNvPr id="65" name="Rectangle 64">
                  <a:extLst>
                    <a:ext uri="{FF2B5EF4-FFF2-40B4-BE49-F238E27FC236}">
                      <a16:creationId xmlns:a16="http://schemas.microsoft.com/office/drawing/2014/main" id="{482738F8-3935-48F2-B923-A8C2A87B0797}"/>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66" name="Graphic 65">
                  <a:extLst>
                    <a:ext uri="{FF2B5EF4-FFF2-40B4-BE49-F238E27FC236}">
                      <a16:creationId xmlns:a16="http://schemas.microsoft.com/office/drawing/2014/main" id="{4343681C-E917-472E-A645-A4C49CFFCAA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64" name="TextBox 63">
                <a:extLst>
                  <a:ext uri="{FF2B5EF4-FFF2-40B4-BE49-F238E27FC236}">
                    <a16:creationId xmlns:a16="http://schemas.microsoft.com/office/drawing/2014/main" id="{DA71C1A2-763B-4E75-AFFF-B304307B54D1}"/>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67" name="TextBox 66">
              <a:extLst>
                <a:ext uri="{FF2B5EF4-FFF2-40B4-BE49-F238E27FC236}">
                  <a16:creationId xmlns:a16="http://schemas.microsoft.com/office/drawing/2014/main" id="{F362265B-35CE-4405-913C-6BC3ECD560C5}"/>
                </a:ext>
              </a:extLst>
            </p:cNvPr>
            <p:cNvSpPr txBox="1"/>
            <p:nvPr/>
          </p:nvSpPr>
          <p:spPr bwMode="auto">
            <a:xfrm>
              <a:off x="5528507" y="5806343"/>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800">
                  <a:solidFill>
                    <a:srgbClr val="181818"/>
                  </a:solidFill>
                  <a:latin typeface="Ericsson Hilda"/>
                </a:rPr>
                <a:t>NG</a:t>
              </a:r>
              <a:r>
                <a:rPr kumimoji="0" lang="en-US" sz="800" b="0" i="0" u="none" strike="noStrike" kern="1200" cap="none" spc="0" normalizeH="0" baseline="0" noProof="0">
                  <a:ln>
                    <a:noFill/>
                  </a:ln>
                  <a:solidFill>
                    <a:srgbClr val="181818"/>
                  </a:solidFill>
                  <a:effectLst/>
                  <a:uLnTx/>
                  <a:uFillTx/>
                  <a:latin typeface="Ericsson Hilda"/>
                  <a:ea typeface="+mn-ea"/>
                  <a:cs typeface="+mn-cs"/>
                </a:rPr>
                <a:t>-UTRAN</a:t>
              </a:r>
            </a:p>
          </p:txBody>
        </p:sp>
        <p:cxnSp>
          <p:nvCxnSpPr>
            <p:cNvPr id="68" name="Straight Connector 67">
              <a:extLst>
                <a:ext uri="{FF2B5EF4-FFF2-40B4-BE49-F238E27FC236}">
                  <a16:creationId xmlns:a16="http://schemas.microsoft.com/office/drawing/2014/main" id="{2D6D2526-3A8B-4C19-8A6B-657D4404116C}"/>
                </a:ext>
              </a:extLst>
            </p:cNvPr>
            <p:cNvCxnSpPr>
              <a:cxnSpLocks/>
              <a:stCxn id="11" idx="2"/>
              <a:endCxn id="67" idx="0"/>
            </p:cNvCxnSpPr>
            <p:nvPr/>
          </p:nvCxnSpPr>
          <p:spPr bwMode="auto">
            <a:xfrm>
              <a:off x="5701624" y="5721247"/>
              <a:ext cx="6883" cy="85096"/>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71" name="Group 70">
              <a:extLst>
                <a:ext uri="{FF2B5EF4-FFF2-40B4-BE49-F238E27FC236}">
                  <a16:creationId xmlns:a16="http://schemas.microsoft.com/office/drawing/2014/main" id="{3AB15715-A51D-4D2A-B925-35B68C957BC2}"/>
                </a:ext>
              </a:extLst>
            </p:cNvPr>
            <p:cNvGrpSpPr>
              <a:grpSpLocks noChangeAspect="1"/>
            </p:cNvGrpSpPr>
            <p:nvPr/>
          </p:nvGrpSpPr>
          <p:grpSpPr>
            <a:xfrm>
              <a:off x="5278013" y="6245265"/>
              <a:ext cx="209822" cy="293751"/>
              <a:chOff x="10129764" y="745508"/>
              <a:chExt cx="221963" cy="310748"/>
            </a:xfrm>
          </p:grpSpPr>
          <p:grpSp>
            <p:nvGrpSpPr>
              <p:cNvPr id="72" name="Group 71">
                <a:extLst>
                  <a:ext uri="{FF2B5EF4-FFF2-40B4-BE49-F238E27FC236}">
                    <a16:creationId xmlns:a16="http://schemas.microsoft.com/office/drawing/2014/main" id="{92AEC72E-46D2-4EDF-87D3-8CE6BE7341DA}"/>
                  </a:ext>
                </a:extLst>
              </p:cNvPr>
              <p:cNvGrpSpPr>
                <a:grpSpLocks noChangeAspect="1"/>
              </p:cNvGrpSpPr>
              <p:nvPr/>
            </p:nvGrpSpPr>
            <p:grpSpPr>
              <a:xfrm>
                <a:off x="10129764" y="745508"/>
                <a:ext cx="221963" cy="310748"/>
                <a:chOff x="1373325" y="5272742"/>
                <a:chExt cx="428625" cy="600075"/>
              </a:xfrm>
            </p:grpSpPr>
            <p:sp>
              <p:nvSpPr>
                <p:cNvPr id="74" name="Rectangle 73">
                  <a:extLst>
                    <a:ext uri="{FF2B5EF4-FFF2-40B4-BE49-F238E27FC236}">
                      <a16:creationId xmlns:a16="http://schemas.microsoft.com/office/drawing/2014/main" id="{57ECCB6E-A348-4146-B4BA-A32F642ED73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75" name="Graphic 74">
                  <a:extLst>
                    <a:ext uri="{FF2B5EF4-FFF2-40B4-BE49-F238E27FC236}">
                      <a16:creationId xmlns:a16="http://schemas.microsoft.com/office/drawing/2014/main" id="{503A1BF4-E100-49B3-9079-554BFF9C63A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73" name="TextBox 72">
                <a:extLst>
                  <a:ext uri="{FF2B5EF4-FFF2-40B4-BE49-F238E27FC236}">
                    <a16:creationId xmlns:a16="http://schemas.microsoft.com/office/drawing/2014/main" id="{BF258B2F-501B-4384-8A20-5B541D716F26}"/>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77" name="Straight Arrow Connector 76">
              <a:extLst>
                <a:ext uri="{FF2B5EF4-FFF2-40B4-BE49-F238E27FC236}">
                  <a16:creationId xmlns:a16="http://schemas.microsoft.com/office/drawing/2014/main" id="{EE60E77E-0255-4011-A330-9AC178F8E60F}"/>
                </a:ext>
              </a:extLst>
            </p:cNvPr>
            <p:cNvCxnSpPr/>
            <p:nvPr/>
          </p:nvCxnSpPr>
          <p:spPr bwMode="auto">
            <a:xfrm flipH="1" flipV="1">
              <a:off x="1702970" y="6147503"/>
              <a:ext cx="180470"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78" name="Straight Arrow Connector 77">
              <a:extLst>
                <a:ext uri="{FF2B5EF4-FFF2-40B4-BE49-F238E27FC236}">
                  <a16:creationId xmlns:a16="http://schemas.microsoft.com/office/drawing/2014/main" id="{07068287-61BF-46A7-A9BA-B4156036E629}"/>
                </a:ext>
              </a:extLst>
            </p:cNvPr>
            <p:cNvCxnSpPr>
              <a:cxnSpLocks/>
              <a:stCxn id="75" idx="0"/>
            </p:cNvCxnSpPr>
            <p:nvPr/>
          </p:nvCxnSpPr>
          <p:spPr bwMode="auto">
            <a:xfrm flipH="1" flipV="1">
              <a:off x="5254533" y="6147503"/>
              <a:ext cx="128391"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81" name="Straight Arrow Connector 80">
              <a:extLst>
                <a:ext uri="{FF2B5EF4-FFF2-40B4-BE49-F238E27FC236}">
                  <a16:creationId xmlns:a16="http://schemas.microsoft.com/office/drawing/2014/main" id="{70052FA3-FC46-475D-AC5C-D23442B59D41}"/>
                </a:ext>
              </a:extLst>
            </p:cNvPr>
            <p:cNvCxnSpPr>
              <a:cxnSpLocks/>
              <a:stCxn id="75" idx="0"/>
            </p:cNvCxnSpPr>
            <p:nvPr/>
          </p:nvCxnSpPr>
          <p:spPr bwMode="auto">
            <a:xfrm flipV="1">
              <a:off x="5382924" y="6127220"/>
              <a:ext cx="86906" cy="11804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25" name="TextBox 124">
              <a:extLst>
                <a:ext uri="{FF2B5EF4-FFF2-40B4-BE49-F238E27FC236}">
                  <a16:creationId xmlns:a16="http://schemas.microsoft.com/office/drawing/2014/main" id="{6C5602A0-79E8-489C-A46E-85EDE09785C3}"/>
                </a:ext>
              </a:extLst>
            </p:cNvPr>
            <p:cNvSpPr txBox="1"/>
            <p:nvPr/>
          </p:nvSpPr>
          <p:spPr bwMode="auto">
            <a:xfrm>
              <a:off x="1294000" y="5798299"/>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E-UTRAN</a:t>
              </a:r>
            </a:p>
          </p:txBody>
        </p:sp>
        <p:sp>
          <p:nvSpPr>
            <p:cNvPr id="126" name="TextBox 125">
              <a:extLst>
                <a:ext uri="{FF2B5EF4-FFF2-40B4-BE49-F238E27FC236}">
                  <a16:creationId xmlns:a16="http://schemas.microsoft.com/office/drawing/2014/main" id="{1DAE77FB-CDD9-4A45-AD23-EE370ADF894F}"/>
                </a:ext>
              </a:extLst>
            </p:cNvPr>
            <p:cNvSpPr txBox="1"/>
            <p:nvPr/>
          </p:nvSpPr>
          <p:spPr bwMode="auto">
            <a:xfrm>
              <a:off x="4853861" y="579829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N3IWF</a:t>
              </a:r>
            </a:p>
          </p:txBody>
        </p:sp>
        <p:sp>
          <p:nvSpPr>
            <p:cNvPr id="127" name="TextBox 126">
              <a:extLst>
                <a:ext uri="{FF2B5EF4-FFF2-40B4-BE49-F238E27FC236}">
                  <a16:creationId xmlns:a16="http://schemas.microsoft.com/office/drawing/2014/main" id="{87A1A1D7-14F1-4338-B13F-1B38D0459F1C}"/>
                </a:ext>
              </a:extLst>
            </p:cNvPr>
            <p:cNvSpPr txBox="1"/>
            <p:nvPr/>
          </p:nvSpPr>
          <p:spPr bwMode="auto">
            <a:xfrm>
              <a:off x="5521624" y="51457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AMF</a:t>
              </a:r>
            </a:p>
          </p:txBody>
        </p:sp>
        <p:sp>
          <p:nvSpPr>
            <p:cNvPr id="128" name="TextBox 127">
              <a:extLst>
                <a:ext uri="{FF2B5EF4-FFF2-40B4-BE49-F238E27FC236}">
                  <a16:creationId xmlns:a16="http://schemas.microsoft.com/office/drawing/2014/main" id="{5C9AA954-22C5-45B1-B51A-21705D7B5E18}"/>
                </a:ext>
              </a:extLst>
            </p:cNvPr>
            <p:cNvSpPr txBox="1"/>
            <p:nvPr/>
          </p:nvSpPr>
          <p:spPr bwMode="auto">
            <a:xfrm>
              <a:off x="3314467" y="42858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SMF/</a:t>
              </a:r>
              <a:br>
                <a:rPr kumimoji="0" lang="en-US" sz="800" i="0" u="none" strike="noStrike" kern="1200" cap="none" spc="0" normalizeH="0" baseline="0" noProof="0">
                  <a:ln>
                    <a:noFill/>
                  </a:ln>
                  <a:solidFill>
                    <a:srgbClr val="181818"/>
                  </a:solidFill>
                  <a:effectLst/>
                  <a:uLnTx/>
                  <a:uFillTx/>
                  <a:latin typeface="Ericsson Hilda"/>
                  <a:ea typeface="+mn-ea"/>
                  <a:cs typeface="+mn-cs"/>
                </a:rPr>
              </a:br>
              <a:r>
                <a:rPr kumimoji="0" lang="en-US" sz="800" i="0" u="none" strike="noStrike" kern="1200" cap="none" spc="0" normalizeH="0" baseline="0" noProof="0">
                  <a:ln>
                    <a:noFill/>
                  </a:ln>
                  <a:solidFill>
                    <a:srgbClr val="181818"/>
                  </a:solidFill>
                  <a:effectLst/>
                  <a:uLnTx/>
                  <a:uFillTx/>
                  <a:latin typeface="Ericsson Hilda"/>
                  <a:ea typeface="+mn-ea"/>
                  <a:cs typeface="+mn-cs"/>
                </a:rPr>
                <a:t>PGW-C</a:t>
              </a:r>
            </a:p>
          </p:txBody>
        </p:sp>
        <p:sp>
          <p:nvSpPr>
            <p:cNvPr id="129" name="TextBox 128">
              <a:extLst>
                <a:ext uri="{FF2B5EF4-FFF2-40B4-BE49-F238E27FC236}">
                  <a16:creationId xmlns:a16="http://schemas.microsoft.com/office/drawing/2014/main" id="{A0A50B12-BEEA-44FF-B089-21593E8DDD25}"/>
                </a:ext>
              </a:extLst>
            </p:cNvPr>
            <p:cNvSpPr txBox="1"/>
            <p:nvPr/>
          </p:nvSpPr>
          <p:spPr bwMode="auto">
            <a:xfrm>
              <a:off x="3314467" y="3637170"/>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PCF</a:t>
              </a:r>
            </a:p>
          </p:txBody>
        </p:sp>
        <p:sp>
          <p:nvSpPr>
            <p:cNvPr id="130" name="TextBox 129">
              <a:extLst>
                <a:ext uri="{FF2B5EF4-FFF2-40B4-BE49-F238E27FC236}">
                  <a16:creationId xmlns:a16="http://schemas.microsoft.com/office/drawing/2014/main" id="{03D93E48-BB79-445F-A956-8BE8F20E31E8}"/>
                </a:ext>
              </a:extLst>
            </p:cNvPr>
            <p:cNvSpPr txBox="1"/>
            <p:nvPr/>
          </p:nvSpPr>
          <p:spPr bwMode="auto">
            <a:xfrm>
              <a:off x="3314467" y="298756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UDM/</a:t>
              </a:r>
              <a:br>
                <a:rPr kumimoji="0" lang="en-US" sz="800" i="0" u="none" strike="noStrike" kern="1200" cap="none" spc="0" normalizeH="0" baseline="0" noProof="0">
                  <a:ln>
                    <a:noFill/>
                  </a:ln>
                  <a:solidFill>
                    <a:srgbClr val="181818"/>
                  </a:solidFill>
                  <a:effectLst/>
                  <a:uLnTx/>
                  <a:uFillTx/>
                  <a:latin typeface="Ericsson Hilda"/>
                  <a:ea typeface="+mn-ea"/>
                  <a:cs typeface="+mn-cs"/>
                </a:rPr>
              </a:br>
              <a:r>
                <a:rPr kumimoji="0" lang="en-US" sz="800" i="0" u="none" strike="noStrike" kern="1200" cap="none" spc="0" normalizeH="0" baseline="0" noProof="0">
                  <a:ln>
                    <a:noFill/>
                  </a:ln>
                  <a:solidFill>
                    <a:srgbClr val="181818"/>
                  </a:solidFill>
                  <a:effectLst/>
                  <a:uLnTx/>
                  <a:uFillTx/>
                  <a:latin typeface="Ericsson Hilda"/>
                  <a:ea typeface="+mn-ea"/>
                  <a:cs typeface="+mn-cs"/>
                </a:rPr>
                <a:t>HSS</a:t>
              </a:r>
            </a:p>
          </p:txBody>
        </p:sp>
        <p:sp>
          <p:nvSpPr>
            <p:cNvPr id="131" name="TextBox 130">
              <a:extLst>
                <a:ext uri="{FF2B5EF4-FFF2-40B4-BE49-F238E27FC236}">
                  <a16:creationId xmlns:a16="http://schemas.microsoft.com/office/drawing/2014/main" id="{928A2B96-BA76-4325-A52F-AEFD7D010DD8}"/>
                </a:ext>
              </a:extLst>
            </p:cNvPr>
            <p:cNvSpPr txBox="1"/>
            <p:nvPr/>
          </p:nvSpPr>
          <p:spPr bwMode="auto">
            <a:xfrm>
              <a:off x="3314467" y="494019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UPF/</a:t>
              </a:r>
              <a:br>
                <a:rPr kumimoji="0" lang="en-US" sz="800" i="0" u="none" strike="noStrike" kern="1200" cap="none" spc="0" normalizeH="0" baseline="0" noProof="0">
                  <a:ln>
                    <a:noFill/>
                  </a:ln>
                  <a:solidFill>
                    <a:srgbClr val="181818"/>
                  </a:solidFill>
                  <a:effectLst/>
                  <a:uLnTx/>
                  <a:uFillTx/>
                  <a:latin typeface="Ericsson Hilda"/>
                  <a:ea typeface="+mn-ea"/>
                  <a:cs typeface="+mn-cs"/>
                </a:rPr>
              </a:br>
              <a:r>
                <a:rPr kumimoji="0" lang="en-US" sz="800" i="0" u="none" strike="noStrike" kern="1200" cap="none" spc="0" normalizeH="0" baseline="0" noProof="0">
                  <a:ln>
                    <a:noFill/>
                  </a:ln>
                  <a:solidFill>
                    <a:srgbClr val="181818"/>
                  </a:solidFill>
                  <a:effectLst/>
                  <a:uLnTx/>
                  <a:uFillTx/>
                  <a:latin typeface="Ericsson Hilda"/>
                  <a:ea typeface="+mn-ea"/>
                  <a:cs typeface="+mn-cs"/>
                </a:rPr>
                <a:t>PGW-U</a:t>
              </a:r>
            </a:p>
          </p:txBody>
        </p:sp>
        <p:sp>
          <p:nvSpPr>
            <p:cNvPr id="132" name="TextBox 131">
              <a:extLst>
                <a:ext uri="{FF2B5EF4-FFF2-40B4-BE49-F238E27FC236}">
                  <a16:creationId xmlns:a16="http://schemas.microsoft.com/office/drawing/2014/main" id="{7DDD05D2-BAD7-4D91-A50C-98FF65DECA18}"/>
                </a:ext>
              </a:extLst>
            </p:cNvPr>
            <p:cNvSpPr txBox="1"/>
            <p:nvPr/>
          </p:nvSpPr>
          <p:spPr bwMode="auto">
            <a:xfrm>
              <a:off x="2167527" y="472205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SGW</a:t>
              </a:r>
            </a:p>
          </p:txBody>
        </p:sp>
        <p:sp>
          <p:nvSpPr>
            <p:cNvPr id="133" name="TextBox 132">
              <a:extLst>
                <a:ext uri="{FF2B5EF4-FFF2-40B4-BE49-F238E27FC236}">
                  <a16:creationId xmlns:a16="http://schemas.microsoft.com/office/drawing/2014/main" id="{59E3326D-F279-44D2-B3DD-5D84D091C0B9}"/>
                </a:ext>
              </a:extLst>
            </p:cNvPr>
            <p:cNvSpPr txBox="1"/>
            <p:nvPr/>
          </p:nvSpPr>
          <p:spPr bwMode="auto">
            <a:xfrm>
              <a:off x="1294000" y="494000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a:ln>
                    <a:noFill/>
                  </a:ln>
                  <a:solidFill>
                    <a:srgbClr val="181818"/>
                  </a:solidFill>
                  <a:effectLst/>
                  <a:uLnTx/>
                  <a:uFillTx/>
                  <a:latin typeface="Ericsson Hilda"/>
                  <a:ea typeface="+mn-ea"/>
                  <a:cs typeface="+mn-cs"/>
                </a:rPr>
                <a:t>MME</a:t>
              </a:r>
            </a:p>
          </p:txBody>
        </p:sp>
        <p:cxnSp>
          <p:nvCxnSpPr>
            <p:cNvPr id="134" name="Straight Connector 133">
              <a:extLst>
                <a:ext uri="{FF2B5EF4-FFF2-40B4-BE49-F238E27FC236}">
                  <a16:creationId xmlns:a16="http://schemas.microsoft.com/office/drawing/2014/main" id="{A2165552-0D6B-44E9-9BB0-692FA083381C}"/>
                </a:ext>
              </a:extLst>
            </p:cNvPr>
            <p:cNvCxnSpPr>
              <a:cxnSpLocks/>
              <a:stCxn id="132" idx="1"/>
              <a:endCxn id="133" idx="3"/>
            </p:cNvCxnSpPr>
            <p:nvPr/>
          </p:nvCxnSpPr>
          <p:spPr bwMode="auto">
            <a:xfrm flipH="1">
              <a:off x="1654000" y="5009804"/>
              <a:ext cx="513527" cy="21795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5" name="Straight Connector 134">
              <a:extLst>
                <a:ext uri="{FF2B5EF4-FFF2-40B4-BE49-F238E27FC236}">
                  <a16:creationId xmlns:a16="http://schemas.microsoft.com/office/drawing/2014/main" id="{5ED6CF0D-7BBC-40B4-87D2-A327B0427A46}"/>
                </a:ext>
              </a:extLst>
            </p:cNvPr>
            <p:cNvCxnSpPr>
              <a:cxnSpLocks/>
              <a:stCxn id="132" idx="1"/>
              <a:endCxn id="125" idx="0"/>
            </p:cNvCxnSpPr>
            <p:nvPr/>
          </p:nvCxnSpPr>
          <p:spPr bwMode="auto">
            <a:xfrm flipH="1">
              <a:off x="1474000" y="5009804"/>
              <a:ext cx="693527" cy="788495"/>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6" name="Straight Connector 135">
              <a:extLst>
                <a:ext uri="{FF2B5EF4-FFF2-40B4-BE49-F238E27FC236}">
                  <a16:creationId xmlns:a16="http://schemas.microsoft.com/office/drawing/2014/main" id="{37A15518-EFD7-43D8-A21B-937EFBCCEB0B}"/>
                </a:ext>
              </a:extLst>
            </p:cNvPr>
            <p:cNvCxnSpPr>
              <a:cxnSpLocks/>
              <a:stCxn id="133" idx="2"/>
              <a:endCxn id="125" idx="0"/>
            </p:cNvCxnSpPr>
            <p:nvPr/>
          </p:nvCxnSpPr>
          <p:spPr bwMode="auto">
            <a:xfrm>
              <a:off x="1474000" y="5515502"/>
              <a:ext cx="0" cy="282797"/>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7" name="Straight Connector 136">
              <a:extLst>
                <a:ext uri="{FF2B5EF4-FFF2-40B4-BE49-F238E27FC236}">
                  <a16:creationId xmlns:a16="http://schemas.microsoft.com/office/drawing/2014/main" id="{667A2CCA-BB5E-4C54-BF32-B4F50E03C4B2}"/>
                </a:ext>
              </a:extLst>
            </p:cNvPr>
            <p:cNvCxnSpPr>
              <a:cxnSpLocks/>
              <a:stCxn id="132" idx="3"/>
              <a:endCxn id="131" idx="1"/>
            </p:cNvCxnSpPr>
            <p:nvPr/>
          </p:nvCxnSpPr>
          <p:spPr bwMode="auto">
            <a:xfrm>
              <a:off x="2527527" y="5009804"/>
              <a:ext cx="786940" cy="21814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8" name="Straight Connector 137">
              <a:extLst>
                <a:ext uri="{FF2B5EF4-FFF2-40B4-BE49-F238E27FC236}">
                  <a16:creationId xmlns:a16="http://schemas.microsoft.com/office/drawing/2014/main" id="{F2A7F3EF-F0CE-4DC2-9A83-C209229976F5}"/>
                </a:ext>
              </a:extLst>
            </p:cNvPr>
            <p:cNvCxnSpPr>
              <a:cxnSpLocks/>
              <a:stCxn id="132" idx="3"/>
              <a:endCxn id="128" idx="1"/>
            </p:cNvCxnSpPr>
            <p:nvPr/>
          </p:nvCxnSpPr>
          <p:spPr bwMode="auto">
            <a:xfrm flipV="1">
              <a:off x="2527527" y="4573583"/>
              <a:ext cx="786940" cy="436221"/>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9" name="Straight Connector 32">
              <a:extLst>
                <a:ext uri="{FF2B5EF4-FFF2-40B4-BE49-F238E27FC236}">
                  <a16:creationId xmlns:a16="http://schemas.microsoft.com/office/drawing/2014/main" id="{DD28879F-C7E8-4401-9E4E-02C3FEAE2E7B}"/>
                </a:ext>
              </a:extLst>
            </p:cNvPr>
            <p:cNvCxnSpPr>
              <a:cxnSpLocks/>
              <a:endCxn id="128" idx="1"/>
            </p:cNvCxnSpPr>
            <p:nvPr/>
          </p:nvCxnSpPr>
          <p:spPr bwMode="auto">
            <a:xfrm rot="5400000">
              <a:off x="2765950" y="4012366"/>
              <a:ext cx="1109734" cy="12700"/>
            </a:xfrm>
            <a:prstGeom prst="bentConnector4">
              <a:avLst>
                <a:gd name="adj1" fmla="val -341"/>
                <a:gd name="adj2" fmla="val 1900000"/>
              </a:avLst>
            </a:prstGeom>
            <a:solidFill>
              <a:schemeClr val="accent1"/>
            </a:solidFill>
            <a:ln w="12700" cap="flat" cmpd="sng" algn="ctr">
              <a:solidFill>
                <a:schemeClr val="tx1"/>
              </a:solidFill>
              <a:prstDash val="solid"/>
              <a:round/>
              <a:headEnd type="none" w="med" len="med"/>
              <a:tailEnd type="none"/>
            </a:ln>
            <a:effectLst/>
          </p:spPr>
        </p:cxnSp>
        <p:cxnSp>
          <p:nvCxnSpPr>
            <p:cNvPr id="140" name="Straight Connector 139">
              <a:extLst>
                <a:ext uri="{FF2B5EF4-FFF2-40B4-BE49-F238E27FC236}">
                  <a16:creationId xmlns:a16="http://schemas.microsoft.com/office/drawing/2014/main" id="{A347CF21-CB7F-401F-A1AF-02A972A161B6}"/>
                </a:ext>
              </a:extLst>
            </p:cNvPr>
            <p:cNvCxnSpPr>
              <a:cxnSpLocks/>
              <a:stCxn id="128" idx="0"/>
              <a:endCxn id="129" idx="2"/>
            </p:cNvCxnSpPr>
            <p:nvPr/>
          </p:nvCxnSpPr>
          <p:spPr bwMode="auto">
            <a:xfrm flipV="1">
              <a:off x="3494467" y="4212663"/>
              <a:ext cx="0" cy="7317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41" name="Straight Connector 140">
              <a:extLst>
                <a:ext uri="{FF2B5EF4-FFF2-40B4-BE49-F238E27FC236}">
                  <a16:creationId xmlns:a16="http://schemas.microsoft.com/office/drawing/2014/main" id="{25A032EC-94B9-4302-ACF0-17B452C59D5D}"/>
                </a:ext>
              </a:extLst>
            </p:cNvPr>
            <p:cNvCxnSpPr>
              <a:cxnSpLocks/>
              <a:stCxn id="131" idx="0"/>
              <a:endCxn id="128" idx="2"/>
            </p:cNvCxnSpPr>
            <p:nvPr/>
          </p:nvCxnSpPr>
          <p:spPr bwMode="auto">
            <a:xfrm flipV="1">
              <a:off x="3494467" y="4861329"/>
              <a:ext cx="0" cy="7887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42" name="Straight Connector 32">
              <a:extLst>
                <a:ext uri="{FF2B5EF4-FFF2-40B4-BE49-F238E27FC236}">
                  <a16:creationId xmlns:a16="http://schemas.microsoft.com/office/drawing/2014/main" id="{5B3076EE-75B3-406A-AAAF-0291CD32687F}"/>
                </a:ext>
              </a:extLst>
            </p:cNvPr>
            <p:cNvCxnSpPr>
              <a:cxnSpLocks/>
              <a:stCxn id="130" idx="1"/>
              <a:endCxn id="133" idx="0"/>
            </p:cNvCxnSpPr>
            <p:nvPr/>
          </p:nvCxnSpPr>
          <p:spPr bwMode="auto">
            <a:xfrm rot="10800000" flipV="1">
              <a:off x="1474001" y="3275309"/>
              <a:ext cx="1840467" cy="1664700"/>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143" name="Straight Connector 32">
              <a:extLst>
                <a:ext uri="{FF2B5EF4-FFF2-40B4-BE49-F238E27FC236}">
                  <a16:creationId xmlns:a16="http://schemas.microsoft.com/office/drawing/2014/main" id="{43B4A531-1E09-47EF-AE22-F3D7598E399C}"/>
                </a:ext>
              </a:extLst>
            </p:cNvPr>
            <p:cNvCxnSpPr>
              <a:cxnSpLocks/>
              <a:stCxn id="130" idx="3"/>
              <a:endCxn id="127" idx="0"/>
            </p:cNvCxnSpPr>
            <p:nvPr/>
          </p:nvCxnSpPr>
          <p:spPr bwMode="auto">
            <a:xfrm>
              <a:off x="3674467" y="3275309"/>
              <a:ext cx="2027157" cy="1870445"/>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144" name="Straight Connector 143">
              <a:extLst>
                <a:ext uri="{FF2B5EF4-FFF2-40B4-BE49-F238E27FC236}">
                  <a16:creationId xmlns:a16="http://schemas.microsoft.com/office/drawing/2014/main" id="{7A15AFA1-9D5F-40CE-9360-031D12AD04F7}"/>
                </a:ext>
              </a:extLst>
            </p:cNvPr>
            <p:cNvCxnSpPr>
              <a:cxnSpLocks/>
              <a:stCxn id="129" idx="3"/>
              <a:endCxn id="127" idx="1"/>
            </p:cNvCxnSpPr>
            <p:nvPr/>
          </p:nvCxnSpPr>
          <p:spPr bwMode="auto">
            <a:xfrm>
              <a:off x="3674467" y="3924917"/>
              <a:ext cx="1847157" cy="150858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45" name="Straight Connector 144">
              <a:extLst>
                <a:ext uri="{FF2B5EF4-FFF2-40B4-BE49-F238E27FC236}">
                  <a16:creationId xmlns:a16="http://schemas.microsoft.com/office/drawing/2014/main" id="{80BBC1F2-1368-47F2-9EBD-94E320E68623}"/>
                </a:ext>
              </a:extLst>
            </p:cNvPr>
            <p:cNvCxnSpPr>
              <a:cxnSpLocks/>
              <a:stCxn id="128" idx="3"/>
              <a:endCxn id="127" idx="1"/>
            </p:cNvCxnSpPr>
            <p:nvPr/>
          </p:nvCxnSpPr>
          <p:spPr bwMode="auto">
            <a:xfrm>
              <a:off x="3674467" y="4573583"/>
              <a:ext cx="1847157" cy="8599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46" name="Straight Connector 145">
              <a:extLst>
                <a:ext uri="{FF2B5EF4-FFF2-40B4-BE49-F238E27FC236}">
                  <a16:creationId xmlns:a16="http://schemas.microsoft.com/office/drawing/2014/main" id="{B44574F9-4112-462D-8932-59C90E5AAC10}"/>
                </a:ext>
              </a:extLst>
            </p:cNvPr>
            <p:cNvCxnSpPr>
              <a:cxnSpLocks/>
              <a:stCxn id="127" idx="1"/>
              <a:endCxn id="126" idx="0"/>
            </p:cNvCxnSpPr>
            <p:nvPr/>
          </p:nvCxnSpPr>
          <p:spPr bwMode="auto">
            <a:xfrm flipH="1">
              <a:off x="5033861" y="5433501"/>
              <a:ext cx="487763" cy="364797"/>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47" name="Straight Connector 146">
              <a:extLst>
                <a:ext uri="{FF2B5EF4-FFF2-40B4-BE49-F238E27FC236}">
                  <a16:creationId xmlns:a16="http://schemas.microsoft.com/office/drawing/2014/main" id="{4FF47F3B-CEE9-4B81-96FF-8E4ADB365810}"/>
                </a:ext>
              </a:extLst>
            </p:cNvPr>
            <p:cNvCxnSpPr>
              <a:cxnSpLocks/>
              <a:stCxn id="131" idx="3"/>
              <a:endCxn id="126" idx="0"/>
            </p:cNvCxnSpPr>
            <p:nvPr/>
          </p:nvCxnSpPr>
          <p:spPr bwMode="auto">
            <a:xfrm>
              <a:off x="3674467" y="5227946"/>
              <a:ext cx="1359394" cy="570352"/>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148" name="Group 147">
              <a:extLst>
                <a:ext uri="{FF2B5EF4-FFF2-40B4-BE49-F238E27FC236}">
                  <a16:creationId xmlns:a16="http://schemas.microsoft.com/office/drawing/2014/main" id="{12876ECB-6E2C-4A6E-92CB-3DD9380603E7}"/>
                </a:ext>
              </a:extLst>
            </p:cNvPr>
            <p:cNvGrpSpPr>
              <a:grpSpLocks noChangeAspect="1"/>
            </p:cNvGrpSpPr>
            <p:nvPr/>
          </p:nvGrpSpPr>
          <p:grpSpPr>
            <a:xfrm>
              <a:off x="1778529" y="6245265"/>
              <a:ext cx="209822" cy="293751"/>
              <a:chOff x="10129764" y="745508"/>
              <a:chExt cx="221963" cy="310748"/>
            </a:xfrm>
          </p:grpSpPr>
          <p:grpSp>
            <p:nvGrpSpPr>
              <p:cNvPr id="159" name="Group 158">
                <a:extLst>
                  <a:ext uri="{FF2B5EF4-FFF2-40B4-BE49-F238E27FC236}">
                    <a16:creationId xmlns:a16="http://schemas.microsoft.com/office/drawing/2014/main" id="{786E3AF6-3713-4D3A-8107-BAF847EF3125}"/>
                  </a:ext>
                </a:extLst>
              </p:cNvPr>
              <p:cNvGrpSpPr>
                <a:grpSpLocks noChangeAspect="1"/>
              </p:cNvGrpSpPr>
              <p:nvPr/>
            </p:nvGrpSpPr>
            <p:grpSpPr>
              <a:xfrm>
                <a:off x="10129764" y="745508"/>
                <a:ext cx="221963" cy="310748"/>
                <a:chOff x="1373325" y="5272742"/>
                <a:chExt cx="428625" cy="600075"/>
              </a:xfrm>
            </p:grpSpPr>
            <p:sp>
              <p:nvSpPr>
                <p:cNvPr id="161" name="Rectangle 160">
                  <a:extLst>
                    <a:ext uri="{FF2B5EF4-FFF2-40B4-BE49-F238E27FC236}">
                      <a16:creationId xmlns:a16="http://schemas.microsoft.com/office/drawing/2014/main" id="{41C6E97A-CBC7-4DD2-BDD8-11A4B935F79D}"/>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62" name="Graphic 161">
                  <a:extLst>
                    <a:ext uri="{FF2B5EF4-FFF2-40B4-BE49-F238E27FC236}">
                      <a16:creationId xmlns:a16="http://schemas.microsoft.com/office/drawing/2014/main" id="{B97E2E0C-AAED-4DCD-86AA-4ED1E1C9816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60" name="TextBox 159">
                <a:extLst>
                  <a:ext uri="{FF2B5EF4-FFF2-40B4-BE49-F238E27FC236}">
                    <a16:creationId xmlns:a16="http://schemas.microsoft.com/office/drawing/2014/main" id="{8BAFC8B1-55D5-4C3F-8D0A-D48E3445F519}"/>
                  </a:ext>
                </a:extLst>
              </p:cNvPr>
              <p:cNvSpPr txBox="1"/>
              <p:nvPr/>
            </p:nvSpPr>
            <p:spPr bwMode="auto">
              <a:xfrm>
                <a:off x="10129764" y="760261"/>
                <a:ext cx="76979" cy="233807"/>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149" name="TextBox 148">
              <a:extLst>
                <a:ext uri="{FF2B5EF4-FFF2-40B4-BE49-F238E27FC236}">
                  <a16:creationId xmlns:a16="http://schemas.microsoft.com/office/drawing/2014/main" id="{09C2B7FE-2760-4F2D-A85C-F047ACCA2B4A}"/>
                </a:ext>
              </a:extLst>
            </p:cNvPr>
            <p:cNvSpPr txBox="1"/>
            <p:nvPr/>
          </p:nvSpPr>
          <p:spPr bwMode="auto">
            <a:xfrm>
              <a:off x="5528507" y="5806343"/>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800">
                  <a:solidFill>
                    <a:srgbClr val="181818"/>
                  </a:solidFill>
                  <a:latin typeface="Ericsson Hilda"/>
                </a:rPr>
                <a:t>NG</a:t>
              </a:r>
              <a:r>
                <a:rPr kumimoji="0" lang="en-US" sz="800" i="0" u="none" strike="noStrike" kern="1200" cap="none" spc="0" normalizeH="0" baseline="0" noProof="0">
                  <a:ln>
                    <a:noFill/>
                  </a:ln>
                  <a:solidFill>
                    <a:srgbClr val="181818"/>
                  </a:solidFill>
                  <a:effectLst/>
                  <a:uLnTx/>
                  <a:uFillTx/>
                  <a:latin typeface="Ericsson Hilda"/>
                  <a:ea typeface="+mn-ea"/>
                  <a:cs typeface="+mn-cs"/>
                </a:rPr>
                <a:t>-RAN</a:t>
              </a:r>
            </a:p>
          </p:txBody>
        </p:sp>
        <p:cxnSp>
          <p:nvCxnSpPr>
            <p:cNvPr id="150" name="Straight Connector 149">
              <a:extLst>
                <a:ext uri="{FF2B5EF4-FFF2-40B4-BE49-F238E27FC236}">
                  <a16:creationId xmlns:a16="http://schemas.microsoft.com/office/drawing/2014/main" id="{44B677B9-7BE5-4671-AE6C-D52BF92435C4}"/>
                </a:ext>
              </a:extLst>
            </p:cNvPr>
            <p:cNvCxnSpPr>
              <a:cxnSpLocks/>
              <a:stCxn id="127" idx="2"/>
              <a:endCxn id="149" idx="0"/>
            </p:cNvCxnSpPr>
            <p:nvPr/>
          </p:nvCxnSpPr>
          <p:spPr bwMode="auto">
            <a:xfrm>
              <a:off x="5701624" y="5721247"/>
              <a:ext cx="6883" cy="85096"/>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151" name="Group 150">
              <a:extLst>
                <a:ext uri="{FF2B5EF4-FFF2-40B4-BE49-F238E27FC236}">
                  <a16:creationId xmlns:a16="http://schemas.microsoft.com/office/drawing/2014/main" id="{8AEDB0AC-B43E-47DA-96B7-F473D403D530}"/>
                </a:ext>
              </a:extLst>
            </p:cNvPr>
            <p:cNvGrpSpPr>
              <a:grpSpLocks noChangeAspect="1"/>
            </p:cNvGrpSpPr>
            <p:nvPr/>
          </p:nvGrpSpPr>
          <p:grpSpPr>
            <a:xfrm>
              <a:off x="5278013" y="6245265"/>
              <a:ext cx="209822" cy="293751"/>
              <a:chOff x="10129764" y="745508"/>
              <a:chExt cx="221963" cy="310748"/>
            </a:xfrm>
          </p:grpSpPr>
          <p:grpSp>
            <p:nvGrpSpPr>
              <p:cNvPr id="155" name="Group 154">
                <a:extLst>
                  <a:ext uri="{FF2B5EF4-FFF2-40B4-BE49-F238E27FC236}">
                    <a16:creationId xmlns:a16="http://schemas.microsoft.com/office/drawing/2014/main" id="{AB04132D-582B-456C-97BD-AB6AC9EF5E2D}"/>
                  </a:ext>
                </a:extLst>
              </p:cNvPr>
              <p:cNvGrpSpPr>
                <a:grpSpLocks noChangeAspect="1"/>
              </p:cNvGrpSpPr>
              <p:nvPr/>
            </p:nvGrpSpPr>
            <p:grpSpPr>
              <a:xfrm>
                <a:off x="10129764" y="745508"/>
                <a:ext cx="221963" cy="310748"/>
                <a:chOff x="1373325" y="5272742"/>
                <a:chExt cx="428625" cy="600075"/>
              </a:xfrm>
            </p:grpSpPr>
            <p:sp>
              <p:nvSpPr>
                <p:cNvPr id="157" name="Rectangle 156">
                  <a:extLst>
                    <a:ext uri="{FF2B5EF4-FFF2-40B4-BE49-F238E27FC236}">
                      <a16:creationId xmlns:a16="http://schemas.microsoft.com/office/drawing/2014/main" id="{AF3B19EE-C25B-4A40-8C3B-98598394F64C}"/>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58" name="Graphic 157">
                  <a:extLst>
                    <a:ext uri="{FF2B5EF4-FFF2-40B4-BE49-F238E27FC236}">
                      <a16:creationId xmlns:a16="http://schemas.microsoft.com/office/drawing/2014/main" id="{9F0A2D41-25D9-4E10-A79E-57845B958E8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56" name="TextBox 155">
                <a:extLst>
                  <a:ext uri="{FF2B5EF4-FFF2-40B4-BE49-F238E27FC236}">
                    <a16:creationId xmlns:a16="http://schemas.microsoft.com/office/drawing/2014/main" id="{CBD1325B-6511-42B6-ABD5-C080FEEEE799}"/>
                  </a:ext>
                </a:extLst>
              </p:cNvPr>
              <p:cNvSpPr txBox="1"/>
              <p:nvPr/>
            </p:nvSpPr>
            <p:spPr bwMode="auto">
              <a:xfrm>
                <a:off x="10129764" y="760261"/>
                <a:ext cx="76979" cy="233807"/>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152" name="Straight Arrow Connector 151">
              <a:extLst>
                <a:ext uri="{FF2B5EF4-FFF2-40B4-BE49-F238E27FC236}">
                  <a16:creationId xmlns:a16="http://schemas.microsoft.com/office/drawing/2014/main" id="{EF66751D-E894-4F7C-9C7B-2D47E6F5F3A9}"/>
                </a:ext>
              </a:extLst>
            </p:cNvPr>
            <p:cNvCxnSpPr/>
            <p:nvPr/>
          </p:nvCxnSpPr>
          <p:spPr bwMode="auto">
            <a:xfrm flipH="1" flipV="1">
              <a:off x="1702970" y="6147503"/>
              <a:ext cx="180470"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153" name="Straight Arrow Connector 152">
              <a:extLst>
                <a:ext uri="{FF2B5EF4-FFF2-40B4-BE49-F238E27FC236}">
                  <a16:creationId xmlns:a16="http://schemas.microsoft.com/office/drawing/2014/main" id="{DE498421-99E3-4D17-BBD1-D39986D9E894}"/>
                </a:ext>
              </a:extLst>
            </p:cNvPr>
            <p:cNvCxnSpPr>
              <a:cxnSpLocks/>
              <a:stCxn id="158" idx="0"/>
            </p:cNvCxnSpPr>
            <p:nvPr/>
          </p:nvCxnSpPr>
          <p:spPr bwMode="auto">
            <a:xfrm flipH="1" flipV="1">
              <a:off x="5254533" y="6147503"/>
              <a:ext cx="128391"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154" name="Straight Arrow Connector 153">
              <a:extLst>
                <a:ext uri="{FF2B5EF4-FFF2-40B4-BE49-F238E27FC236}">
                  <a16:creationId xmlns:a16="http://schemas.microsoft.com/office/drawing/2014/main" id="{88514049-595C-4E46-83DE-68D4D7ACE768}"/>
                </a:ext>
              </a:extLst>
            </p:cNvPr>
            <p:cNvCxnSpPr>
              <a:cxnSpLocks/>
              <a:stCxn id="158" idx="0"/>
            </p:cNvCxnSpPr>
            <p:nvPr/>
          </p:nvCxnSpPr>
          <p:spPr bwMode="auto">
            <a:xfrm flipV="1">
              <a:off x="5382924" y="6127220"/>
              <a:ext cx="86906" cy="11804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163" name="Straight Connector 162">
              <a:extLst>
                <a:ext uri="{FF2B5EF4-FFF2-40B4-BE49-F238E27FC236}">
                  <a16:creationId xmlns:a16="http://schemas.microsoft.com/office/drawing/2014/main" id="{007A070E-E470-4E22-87FD-698BEB76340B}"/>
                </a:ext>
              </a:extLst>
            </p:cNvPr>
            <p:cNvCxnSpPr>
              <a:cxnSpLocks/>
              <a:stCxn id="131" idx="3"/>
              <a:endCxn id="149" idx="0"/>
            </p:cNvCxnSpPr>
            <p:nvPr/>
          </p:nvCxnSpPr>
          <p:spPr bwMode="auto">
            <a:xfrm>
              <a:off x="3674467" y="5227946"/>
              <a:ext cx="2034040" cy="578397"/>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96" name="TextBox 195">
              <a:extLst>
                <a:ext uri="{FF2B5EF4-FFF2-40B4-BE49-F238E27FC236}">
                  <a16:creationId xmlns:a16="http://schemas.microsoft.com/office/drawing/2014/main" id="{5E8CB771-E02D-4239-B140-2ED0DB97AFC9}"/>
                </a:ext>
              </a:extLst>
            </p:cNvPr>
            <p:cNvSpPr txBox="1"/>
            <p:nvPr/>
          </p:nvSpPr>
          <p:spPr bwMode="auto">
            <a:xfrm>
              <a:off x="1812923" y="541516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1c</a:t>
              </a:r>
            </a:p>
          </p:txBody>
        </p:sp>
        <p:sp>
          <p:nvSpPr>
            <p:cNvPr id="197" name="TextBox 196">
              <a:extLst>
                <a:ext uri="{FF2B5EF4-FFF2-40B4-BE49-F238E27FC236}">
                  <a16:creationId xmlns:a16="http://schemas.microsoft.com/office/drawing/2014/main" id="{A5F584B1-FCEB-479F-9796-49A2A2910F89}"/>
                </a:ext>
              </a:extLst>
            </p:cNvPr>
            <p:cNvSpPr txBox="1"/>
            <p:nvPr/>
          </p:nvSpPr>
          <p:spPr bwMode="auto">
            <a:xfrm>
              <a:off x="1135678" y="5594619"/>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1-MME</a:t>
              </a:r>
            </a:p>
          </p:txBody>
        </p:sp>
        <p:sp>
          <p:nvSpPr>
            <p:cNvPr id="198" name="TextBox 197">
              <a:extLst>
                <a:ext uri="{FF2B5EF4-FFF2-40B4-BE49-F238E27FC236}">
                  <a16:creationId xmlns:a16="http://schemas.microsoft.com/office/drawing/2014/main" id="{5E5E0799-4D45-4A0F-96D8-BB481BD42AC8}"/>
                </a:ext>
              </a:extLst>
            </p:cNvPr>
            <p:cNvSpPr txBox="1"/>
            <p:nvPr/>
          </p:nvSpPr>
          <p:spPr bwMode="auto">
            <a:xfrm>
              <a:off x="2657744" y="4682599"/>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5-C</a:t>
              </a:r>
            </a:p>
          </p:txBody>
        </p:sp>
        <p:sp>
          <p:nvSpPr>
            <p:cNvPr id="199" name="TextBox 198">
              <a:extLst>
                <a:ext uri="{FF2B5EF4-FFF2-40B4-BE49-F238E27FC236}">
                  <a16:creationId xmlns:a16="http://schemas.microsoft.com/office/drawing/2014/main" id="{2778A868-CC3F-410D-8C68-C6446C412AC9}"/>
                </a:ext>
              </a:extLst>
            </p:cNvPr>
            <p:cNvSpPr txBox="1"/>
            <p:nvPr/>
          </p:nvSpPr>
          <p:spPr bwMode="auto">
            <a:xfrm>
              <a:off x="2874964" y="4982737"/>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5-U</a:t>
              </a:r>
            </a:p>
          </p:txBody>
        </p:sp>
        <p:sp>
          <p:nvSpPr>
            <p:cNvPr id="201" name="TextBox 200">
              <a:extLst>
                <a:ext uri="{FF2B5EF4-FFF2-40B4-BE49-F238E27FC236}">
                  <a16:creationId xmlns:a16="http://schemas.microsoft.com/office/drawing/2014/main" id="{94072E17-7C6F-47C4-BB8B-446D72CBA0DE}"/>
                </a:ext>
              </a:extLst>
            </p:cNvPr>
            <p:cNvSpPr txBox="1"/>
            <p:nvPr/>
          </p:nvSpPr>
          <p:spPr bwMode="auto">
            <a:xfrm>
              <a:off x="2856138" y="377521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0</a:t>
              </a:r>
            </a:p>
          </p:txBody>
        </p:sp>
        <p:sp>
          <p:nvSpPr>
            <p:cNvPr id="202" name="TextBox 201">
              <a:extLst>
                <a:ext uri="{FF2B5EF4-FFF2-40B4-BE49-F238E27FC236}">
                  <a16:creationId xmlns:a16="http://schemas.microsoft.com/office/drawing/2014/main" id="{4197CECF-F2EC-4D93-A171-7780FE87E1D5}"/>
                </a:ext>
              </a:extLst>
            </p:cNvPr>
            <p:cNvSpPr txBox="1"/>
            <p:nvPr/>
          </p:nvSpPr>
          <p:spPr bwMode="auto">
            <a:xfrm>
              <a:off x="5473077" y="377521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8</a:t>
              </a:r>
            </a:p>
          </p:txBody>
        </p:sp>
        <p:sp>
          <p:nvSpPr>
            <p:cNvPr id="203" name="TextBox 202">
              <a:extLst>
                <a:ext uri="{FF2B5EF4-FFF2-40B4-BE49-F238E27FC236}">
                  <a16:creationId xmlns:a16="http://schemas.microsoft.com/office/drawing/2014/main" id="{A80F6ACD-0028-486E-B8DF-6E429F5B5DDE}"/>
                </a:ext>
              </a:extLst>
            </p:cNvPr>
            <p:cNvSpPr txBox="1"/>
            <p:nvPr/>
          </p:nvSpPr>
          <p:spPr bwMode="auto">
            <a:xfrm>
              <a:off x="4313972" y="43357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5</a:t>
              </a:r>
            </a:p>
          </p:txBody>
        </p:sp>
        <p:sp>
          <p:nvSpPr>
            <p:cNvPr id="204" name="TextBox 203">
              <a:extLst>
                <a:ext uri="{FF2B5EF4-FFF2-40B4-BE49-F238E27FC236}">
                  <a16:creationId xmlns:a16="http://schemas.microsoft.com/office/drawing/2014/main" id="{B4531193-B4E9-4D33-91D2-225D49E30DC2}"/>
                </a:ext>
              </a:extLst>
            </p:cNvPr>
            <p:cNvSpPr txBox="1"/>
            <p:nvPr/>
          </p:nvSpPr>
          <p:spPr bwMode="auto">
            <a:xfrm>
              <a:off x="4313972" y="4727296"/>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1</a:t>
              </a:r>
            </a:p>
          </p:txBody>
        </p:sp>
        <p:sp>
          <p:nvSpPr>
            <p:cNvPr id="205" name="TextBox 204">
              <a:extLst>
                <a:ext uri="{FF2B5EF4-FFF2-40B4-BE49-F238E27FC236}">
                  <a16:creationId xmlns:a16="http://schemas.microsoft.com/office/drawing/2014/main" id="{0F4424A2-6DA0-4455-8EC6-7B7FA0DB70E9}"/>
                </a:ext>
              </a:extLst>
            </p:cNvPr>
            <p:cNvSpPr txBox="1"/>
            <p:nvPr/>
          </p:nvSpPr>
          <p:spPr bwMode="auto">
            <a:xfrm>
              <a:off x="3826667" y="514575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3</a:t>
              </a:r>
            </a:p>
          </p:txBody>
        </p:sp>
        <p:sp>
          <p:nvSpPr>
            <p:cNvPr id="206" name="TextBox 205">
              <a:extLst>
                <a:ext uri="{FF2B5EF4-FFF2-40B4-BE49-F238E27FC236}">
                  <a16:creationId xmlns:a16="http://schemas.microsoft.com/office/drawing/2014/main" id="{47D238A5-8668-4E8B-BD0C-2A8061FD999E}"/>
                </a:ext>
              </a:extLst>
            </p:cNvPr>
            <p:cNvSpPr txBox="1"/>
            <p:nvPr/>
          </p:nvSpPr>
          <p:spPr bwMode="auto">
            <a:xfrm>
              <a:off x="5258053" y="603295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or</a:t>
              </a:r>
            </a:p>
          </p:txBody>
        </p:sp>
        <p:sp>
          <p:nvSpPr>
            <p:cNvPr id="207" name="TextBox 206">
              <a:extLst>
                <a:ext uri="{FF2B5EF4-FFF2-40B4-BE49-F238E27FC236}">
                  <a16:creationId xmlns:a16="http://schemas.microsoft.com/office/drawing/2014/main" id="{7752092B-73E2-4698-AF1C-A9EDB4C6FB87}"/>
                </a:ext>
              </a:extLst>
            </p:cNvPr>
            <p:cNvSpPr txBox="1"/>
            <p:nvPr/>
          </p:nvSpPr>
          <p:spPr bwMode="auto">
            <a:xfrm>
              <a:off x="3666138" y="4832019"/>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4</a:t>
              </a:r>
            </a:p>
          </p:txBody>
        </p:sp>
        <p:sp>
          <p:nvSpPr>
            <p:cNvPr id="208" name="TextBox 207">
              <a:extLst>
                <a:ext uri="{FF2B5EF4-FFF2-40B4-BE49-F238E27FC236}">
                  <a16:creationId xmlns:a16="http://schemas.microsoft.com/office/drawing/2014/main" id="{AAFFC04A-C6DD-47A3-83C0-01DD6A823949}"/>
                </a:ext>
              </a:extLst>
            </p:cNvPr>
            <p:cNvSpPr txBox="1"/>
            <p:nvPr/>
          </p:nvSpPr>
          <p:spPr bwMode="auto">
            <a:xfrm>
              <a:off x="5156204" y="54558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2</a:t>
              </a:r>
            </a:p>
          </p:txBody>
        </p:sp>
        <p:sp>
          <p:nvSpPr>
            <p:cNvPr id="209" name="TextBox 208">
              <a:extLst>
                <a:ext uri="{FF2B5EF4-FFF2-40B4-BE49-F238E27FC236}">
                  <a16:creationId xmlns:a16="http://schemas.microsoft.com/office/drawing/2014/main" id="{F5101FE2-6634-4478-B5BB-907165B00E3A}"/>
                </a:ext>
              </a:extLst>
            </p:cNvPr>
            <p:cNvSpPr txBox="1"/>
            <p:nvPr/>
          </p:nvSpPr>
          <p:spPr bwMode="auto">
            <a:xfrm>
              <a:off x="3666138" y="417797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7</a:t>
              </a:r>
            </a:p>
          </p:txBody>
        </p:sp>
        <p:sp>
          <p:nvSpPr>
            <p:cNvPr id="213" name="TextBox 212">
              <a:extLst>
                <a:ext uri="{FF2B5EF4-FFF2-40B4-BE49-F238E27FC236}">
                  <a16:creationId xmlns:a16="http://schemas.microsoft.com/office/drawing/2014/main" id="{707E369E-2333-408E-A8FC-E647899D674B}"/>
                </a:ext>
              </a:extLst>
            </p:cNvPr>
            <p:cNvSpPr txBox="1"/>
            <p:nvPr/>
          </p:nvSpPr>
          <p:spPr bwMode="auto">
            <a:xfrm>
              <a:off x="1475417" y="448777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6a</a:t>
              </a:r>
            </a:p>
          </p:txBody>
        </p:sp>
        <p:sp>
          <p:nvSpPr>
            <p:cNvPr id="214" name="TextBox 213">
              <a:extLst>
                <a:ext uri="{FF2B5EF4-FFF2-40B4-BE49-F238E27FC236}">
                  <a16:creationId xmlns:a16="http://schemas.microsoft.com/office/drawing/2014/main" id="{280CA3E7-4E24-46AB-837E-E0B199E2F9C3}"/>
                </a:ext>
              </a:extLst>
            </p:cNvPr>
            <p:cNvSpPr txBox="1"/>
            <p:nvPr/>
          </p:nvSpPr>
          <p:spPr bwMode="auto">
            <a:xfrm>
              <a:off x="5841608" y="5698376"/>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2</a:t>
              </a:r>
            </a:p>
          </p:txBody>
        </p:sp>
        <p:sp>
          <p:nvSpPr>
            <p:cNvPr id="215" name="TextBox 214">
              <a:extLst>
                <a:ext uri="{FF2B5EF4-FFF2-40B4-BE49-F238E27FC236}">
                  <a16:creationId xmlns:a16="http://schemas.microsoft.com/office/drawing/2014/main" id="{4F646C2C-6238-4F34-B480-5B20F5D23DE0}"/>
                </a:ext>
              </a:extLst>
            </p:cNvPr>
            <p:cNvSpPr txBox="1"/>
            <p:nvPr/>
          </p:nvSpPr>
          <p:spPr bwMode="auto">
            <a:xfrm>
              <a:off x="1737399" y="497864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11</a:t>
              </a:r>
            </a:p>
          </p:txBody>
        </p:sp>
      </p:grpSp>
    </p:spTree>
    <p:extLst>
      <p:ext uri="{BB962C8B-B14F-4D97-AF65-F5344CB8AC3E}">
        <p14:creationId xmlns:p14="http://schemas.microsoft.com/office/powerpoint/2010/main" val="8704689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EC885-CCC0-451E-B18E-07ADE4C09983}"/>
              </a:ext>
            </a:extLst>
          </p:cNvPr>
          <p:cNvSpPr>
            <a:spLocks noGrp="1"/>
          </p:cNvSpPr>
          <p:nvPr>
            <p:ph type="title"/>
          </p:nvPr>
        </p:nvSpPr>
        <p:spPr>
          <a:xfrm>
            <a:off x="479424" y="476250"/>
            <a:ext cx="10855520" cy="1081088"/>
          </a:xfrm>
        </p:spPr>
        <p:txBody>
          <a:bodyPr/>
          <a:lstStyle/>
          <a:p>
            <a:r>
              <a:rPr lang="en-US" sz="3200"/>
              <a:t>High Level Interworking Architecture for </a:t>
            </a:r>
            <a:r>
              <a:rPr lang="en-US" sz="3200" err="1"/>
              <a:t>ePDG</a:t>
            </a:r>
            <a:r>
              <a:rPr lang="en-US" sz="3200"/>
              <a:t> integrated with 5GC</a:t>
            </a:r>
            <a:br>
              <a:rPr lang="en-US" sz="3600"/>
            </a:br>
            <a:endParaRPr lang="en-US" sz="3600"/>
          </a:p>
        </p:txBody>
      </p:sp>
      <p:sp>
        <p:nvSpPr>
          <p:cNvPr id="7" name="Content Placeholder 2">
            <a:extLst>
              <a:ext uri="{FF2B5EF4-FFF2-40B4-BE49-F238E27FC236}">
                <a16:creationId xmlns:a16="http://schemas.microsoft.com/office/drawing/2014/main" id="{8719F067-1AC7-4282-AE58-A0E6242F9B25}"/>
              </a:ext>
            </a:extLst>
          </p:cNvPr>
          <p:cNvSpPr>
            <a:spLocks noGrp="1"/>
          </p:cNvSpPr>
          <p:nvPr>
            <p:ph sz="quarter" idx="4294967295"/>
          </p:nvPr>
        </p:nvSpPr>
        <p:spPr>
          <a:xfrm>
            <a:off x="681662" y="4378325"/>
            <a:ext cx="5685092" cy="2003425"/>
          </a:xfrm>
        </p:spPr>
        <p:txBody>
          <a:bodyPr/>
          <a:lstStyle/>
          <a:p>
            <a:pPr marL="0" indent="0">
              <a:buNone/>
            </a:pPr>
            <a:r>
              <a:rPr lang="en-US" sz="1400" b="1"/>
              <a:t>Common impacts  for both options</a:t>
            </a:r>
          </a:p>
          <a:p>
            <a:r>
              <a:rPr lang="en-US" sz="1400" err="1"/>
              <a:t>ePDG</a:t>
            </a:r>
            <a:r>
              <a:rPr lang="en-US" sz="1400"/>
              <a:t> connected to the Combined PGW-C+SMF </a:t>
            </a:r>
          </a:p>
          <a:p>
            <a:r>
              <a:rPr lang="en-US" sz="1400">
                <a:cs typeface="Calibri" panose="020F0502020204030204" pitchFamily="34" charset="0"/>
              </a:rPr>
              <a:t>N7 PCC for </a:t>
            </a:r>
            <a:r>
              <a:rPr lang="en-US" altLang="zh-CN" sz="1400">
                <a:cs typeface="Calibri" panose="020F0502020204030204" pitchFamily="34" charset="0"/>
              </a:rPr>
              <a:t>non-3GPP access integration in PGW-C+SMF</a:t>
            </a:r>
            <a:endParaRPr lang="en-US" sz="1400">
              <a:cs typeface="Calibri" panose="020F0502020204030204" pitchFamily="34" charset="0"/>
            </a:endParaRPr>
          </a:p>
          <a:p>
            <a:r>
              <a:rPr lang="en-US" sz="1400">
                <a:cs typeface="Calibri" panose="020F0502020204030204" pitchFamily="34" charset="0"/>
              </a:rPr>
              <a:t>PDU/PDN session transfer between </a:t>
            </a:r>
            <a:r>
              <a:rPr lang="en-US" sz="1400" err="1">
                <a:cs typeface="Calibri" panose="020F0502020204030204" pitchFamily="34" charset="0"/>
              </a:rPr>
              <a:t>ePDG</a:t>
            </a:r>
            <a:r>
              <a:rPr lang="en-US" sz="1400">
                <a:cs typeface="Calibri" panose="020F0502020204030204" pitchFamily="34" charset="0"/>
              </a:rPr>
              <a:t>/non-3GPP and 5GC/3GPP</a:t>
            </a:r>
          </a:p>
          <a:p>
            <a:r>
              <a:rPr lang="en-US" sz="1400">
                <a:cs typeface="Calibri" panose="020F0502020204030204" pitchFamily="34" charset="0"/>
              </a:rPr>
              <a:t>The interaction between  HSS and UDM for the synchronization of PGW-C FQDN</a:t>
            </a:r>
          </a:p>
        </p:txBody>
      </p:sp>
      <p:sp>
        <p:nvSpPr>
          <p:cNvPr id="130" name="Rectangle 2">
            <a:extLst>
              <a:ext uri="{FF2B5EF4-FFF2-40B4-BE49-F238E27FC236}">
                <a16:creationId xmlns:a16="http://schemas.microsoft.com/office/drawing/2014/main" id="{C1B5909A-8CC3-4FA3-AB9D-DA173BCA31ED}"/>
              </a:ext>
            </a:extLst>
          </p:cNvPr>
          <p:cNvSpPr>
            <a:spLocks noChangeArrowheads="1"/>
          </p:cNvSpPr>
          <p:nvPr/>
        </p:nvSpPr>
        <p:spPr bwMode="auto">
          <a:xfrm>
            <a:off x="5372100" y="173313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42" name="Rectangle 141">
            <a:extLst>
              <a:ext uri="{FF2B5EF4-FFF2-40B4-BE49-F238E27FC236}">
                <a16:creationId xmlns:a16="http://schemas.microsoft.com/office/drawing/2014/main" id="{09A01650-0B2D-4EB0-AEE3-897493337614}"/>
              </a:ext>
            </a:extLst>
          </p:cNvPr>
          <p:cNvSpPr/>
          <p:nvPr/>
        </p:nvSpPr>
        <p:spPr>
          <a:xfrm>
            <a:off x="162371" y="3981681"/>
            <a:ext cx="6096000" cy="276999"/>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zh-CN" sz="1200" b="1" i="0" u="none" strike="noStrike" kern="1200" cap="none" spc="0" normalizeH="0" baseline="0" noProof="0">
                <a:ln>
                  <a:noFill/>
                </a:ln>
                <a:solidFill>
                  <a:srgbClr val="181818"/>
                </a:solidFill>
                <a:effectLst/>
                <a:highlight>
                  <a:srgbClr val="FFFF00"/>
                </a:highlight>
                <a:uLnTx/>
                <a:uFillTx/>
                <a:latin typeface="Calibri" panose="020F0502020204030204" pitchFamily="34" charset="0"/>
                <a:ea typeface="Times New Roman" panose="02020603050405020304" pitchFamily="18" charset="0"/>
                <a:cs typeface="Times New Roman" panose="02020603050405020304" pitchFamily="18" charset="0"/>
              </a:rPr>
              <a:t>Option1a.</a:t>
            </a:r>
            <a:r>
              <a:rPr kumimoji="0" lang="en-US" altLang="zh-CN" sz="1200" b="1" i="0" u="none" strike="noStrike" kern="1200" cap="none" spc="0" normalizeH="0" baseline="0" noProof="0">
                <a:ln>
                  <a:noFill/>
                </a:ln>
                <a:solidFill>
                  <a:srgbClr val="181818"/>
                </a:solidFill>
                <a:effectLst/>
                <a:uLnTx/>
                <a:uFillTx/>
                <a:latin typeface="Calibri" panose="020F0502020204030204" pitchFamily="34" charset="0"/>
                <a:ea typeface="Times New Roman" panose="02020603050405020304" pitchFamily="18" charset="0"/>
                <a:cs typeface="Times New Roman" panose="02020603050405020304" pitchFamily="18" charset="0"/>
              </a:rPr>
              <a:t> S6b for Non-3GPP access</a:t>
            </a:r>
            <a:endParaRPr kumimoji="0" lang="en-US" sz="1200" b="1" i="0" u="none" strike="noStrike" kern="1200" cap="none" spc="0" normalizeH="0" baseline="0" noProof="0">
              <a:ln>
                <a:noFill/>
              </a:ln>
              <a:solidFill>
                <a:srgbClr val="181818"/>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
        <p:nvSpPr>
          <p:cNvPr id="3" name="Oval 2">
            <a:extLst>
              <a:ext uri="{FF2B5EF4-FFF2-40B4-BE49-F238E27FC236}">
                <a16:creationId xmlns:a16="http://schemas.microsoft.com/office/drawing/2014/main" id="{C3641708-D3A4-4881-90A6-A3B96B61F1F2}"/>
              </a:ext>
            </a:extLst>
          </p:cNvPr>
          <p:cNvSpPr/>
          <p:nvPr/>
        </p:nvSpPr>
        <p:spPr bwMode="auto">
          <a:xfrm flipH="1">
            <a:off x="1856881" y="2276418"/>
            <a:ext cx="500856" cy="379167"/>
          </a:xfrm>
          <a:prstGeom prst="ellipse">
            <a:avLst/>
          </a:prstGeom>
          <a:noFill/>
          <a:ln w="3810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4" name="Rectangle 13">
            <a:extLst>
              <a:ext uri="{FF2B5EF4-FFF2-40B4-BE49-F238E27FC236}">
                <a16:creationId xmlns:a16="http://schemas.microsoft.com/office/drawing/2014/main" id="{DCD04169-C425-4541-A1AE-548A13A7A2E0}"/>
              </a:ext>
            </a:extLst>
          </p:cNvPr>
          <p:cNvSpPr/>
          <p:nvPr/>
        </p:nvSpPr>
        <p:spPr>
          <a:xfrm>
            <a:off x="5912487" y="3981681"/>
            <a:ext cx="6096000" cy="276999"/>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altLang="zh-CN" sz="1200" b="1" i="0" u="none" strike="noStrike" kern="1200" cap="none" spc="0" normalizeH="0" baseline="0" noProof="0">
                <a:ln>
                  <a:noFill/>
                </a:ln>
                <a:solidFill>
                  <a:srgbClr val="181818"/>
                </a:solidFill>
                <a:effectLst/>
                <a:highlight>
                  <a:srgbClr val="00FF00"/>
                </a:highlight>
                <a:uLnTx/>
                <a:uFillTx/>
                <a:latin typeface="Calibri" panose="020F0502020204030204" pitchFamily="34" charset="0"/>
                <a:ea typeface="Times New Roman" panose="02020603050405020304" pitchFamily="18" charset="0"/>
                <a:cs typeface="Times New Roman" panose="02020603050405020304" pitchFamily="18" charset="0"/>
              </a:rPr>
              <a:t>Option1b</a:t>
            </a:r>
            <a:r>
              <a:rPr kumimoji="0" lang="en-US" altLang="zh-CN" sz="1200" b="1" i="0" u="none" strike="noStrike" kern="1200" cap="none" spc="0" normalizeH="0" baseline="0" noProof="0">
                <a:ln>
                  <a:noFill/>
                </a:ln>
                <a:solidFill>
                  <a:srgbClr val="181818"/>
                </a:solidFill>
                <a:effectLst/>
                <a:uLnTx/>
                <a:uFillTx/>
                <a:latin typeface="Calibri" panose="020F0502020204030204" pitchFamily="34" charset="0"/>
                <a:ea typeface="Times New Roman" panose="02020603050405020304" pitchFamily="18" charset="0"/>
                <a:cs typeface="Times New Roman" panose="02020603050405020304" pitchFamily="18" charset="0"/>
              </a:rPr>
              <a:t>. N10 for Non-3GPP access</a:t>
            </a:r>
            <a:endParaRPr kumimoji="0" lang="en-US" sz="1200" b="1" i="0" u="none" strike="noStrike" kern="1200" cap="none" spc="0" normalizeH="0" baseline="0" noProof="0">
              <a:ln>
                <a:noFill/>
              </a:ln>
              <a:solidFill>
                <a:srgbClr val="181818"/>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
        <p:nvSpPr>
          <p:cNvPr id="10" name="Content Placeholder 2">
            <a:extLst>
              <a:ext uri="{FF2B5EF4-FFF2-40B4-BE49-F238E27FC236}">
                <a16:creationId xmlns:a16="http://schemas.microsoft.com/office/drawing/2014/main" id="{2F9E9EA8-4B60-4106-AA85-0A169499CF96}"/>
              </a:ext>
            </a:extLst>
          </p:cNvPr>
          <p:cNvSpPr txBox="1">
            <a:spLocks/>
          </p:cNvSpPr>
          <p:nvPr/>
        </p:nvSpPr>
        <p:spPr bwMode="auto">
          <a:xfrm>
            <a:off x="6572208" y="4377234"/>
            <a:ext cx="5299042" cy="2004516"/>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6858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0287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indent="0">
              <a:buFont typeface="Ericsson Hilda Light" panose="00000400000000000000" pitchFamily="2" charset="0"/>
              <a:buNone/>
            </a:pPr>
            <a:r>
              <a:rPr lang="en-US" sz="1400" b="1"/>
              <a:t>Specific impacts for Option1b</a:t>
            </a:r>
          </a:p>
          <a:p>
            <a:pPr lvl="1"/>
            <a:r>
              <a:rPr lang="en-US" sz="1400"/>
              <a:t>PGW-C+SMF connects to UDM via N10 without connecting to 3GPP AAA server via S6b.</a:t>
            </a:r>
          </a:p>
          <a:p>
            <a:pPr lvl="1"/>
            <a:r>
              <a:rPr lang="en-US" sz="1400">
                <a:cs typeface="Calibri" panose="020F0502020204030204" pitchFamily="34" charset="0"/>
              </a:rPr>
              <a:t>The HO between WLAN and LTE also requires interaction between HSS and UDM for PGW Info sync -&gt; Legacy impact</a:t>
            </a:r>
          </a:p>
        </p:txBody>
      </p:sp>
      <p:grpSp>
        <p:nvGrpSpPr>
          <p:cNvPr id="12" name="Group 11">
            <a:extLst>
              <a:ext uri="{FF2B5EF4-FFF2-40B4-BE49-F238E27FC236}">
                <a16:creationId xmlns:a16="http://schemas.microsoft.com/office/drawing/2014/main" id="{02E26467-6E14-4057-8E65-7CCF23885D34}"/>
              </a:ext>
            </a:extLst>
          </p:cNvPr>
          <p:cNvGrpSpPr/>
          <p:nvPr/>
        </p:nvGrpSpPr>
        <p:grpSpPr>
          <a:xfrm>
            <a:off x="1178398" y="935843"/>
            <a:ext cx="4586430" cy="3551467"/>
            <a:chOff x="6740801" y="2996279"/>
            <a:chExt cx="4586430" cy="3551467"/>
          </a:xfrm>
        </p:grpSpPr>
        <p:sp>
          <p:nvSpPr>
            <p:cNvPr id="13" name="TextBox 12">
              <a:extLst>
                <a:ext uri="{FF2B5EF4-FFF2-40B4-BE49-F238E27FC236}">
                  <a16:creationId xmlns:a16="http://schemas.microsoft.com/office/drawing/2014/main" id="{54292F4D-59C4-4BAA-82CD-1FFA82FE9D8F}"/>
                </a:ext>
              </a:extLst>
            </p:cNvPr>
            <p:cNvSpPr txBox="1"/>
            <p:nvPr/>
          </p:nvSpPr>
          <p:spPr bwMode="auto">
            <a:xfrm>
              <a:off x="10967231" y="515447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15" name="TextBox 14">
              <a:extLst>
                <a:ext uri="{FF2B5EF4-FFF2-40B4-BE49-F238E27FC236}">
                  <a16:creationId xmlns:a16="http://schemas.microsoft.com/office/drawing/2014/main" id="{86AEA9B4-33E9-4141-8684-90509A8424D6}"/>
                </a:ext>
              </a:extLst>
            </p:cNvPr>
            <p:cNvSpPr txBox="1"/>
            <p:nvPr/>
          </p:nvSpPr>
          <p:spPr bwMode="auto">
            <a:xfrm>
              <a:off x="8760074"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C</a:t>
              </a:r>
            </a:p>
          </p:txBody>
        </p:sp>
        <p:sp>
          <p:nvSpPr>
            <p:cNvPr id="16" name="TextBox 15">
              <a:extLst>
                <a:ext uri="{FF2B5EF4-FFF2-40B4-BE49-F238E27FC236}">
                  <a16:creationId xmlns:a16="http://schemas.microsoft.com/office/drawing/2014/main" id="{68FB8BC1-A114-44F8-AC00-FB8230A77326}"/>
                </a:ext>
              </a:extLst>
            </p:cNvPr>
            <p:cNvSpPr txBox="1"/>
            <p:nvPr/>
          </p:nvSpPr>
          <p:spPr bwMode="auto">
            <a:xfrm>
              <a:off x="8760074" y="364588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17" name="TextBox 16">
              <a:extLst>
                <a:ext uri="{FF2B5EF4-FFF2-40B4-BE49-F238E27FC236}">
                  <a16:creationId xmlns:a16="http://schemas.microsoft.com/office/drawing/2014/main" id="{8235504C-2575-480C-9D54-1C3B8BB4625E}"/>
                </a:ext>
              </a:extLst>
            </p:cNvPr>
            <p:cNvSpPr txBox="1"/>
            <p:nvPr/>
          </p:nvSpPr>
          <p:spPr bwMode="auto">
            <a:xfrm>
              <a:off x="8760074" y="299627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HSS</a:t>
              </a:r>
            </a:p>
          </p:txBody>
        </p:sp>
        <p:sp>
          <p:nvSpPr>
            <p:cNvPr id="18" name="TextBox 17">
              <a:extLst>
                <a:ext uri="{FF2B5EF4-FFF2-40B4-BE49-F238E27FC236}">
                  <a16:creationId xmlns:a16="http://schemas.microsoft.com/office/drawing/2014/main" id="{099FBEFD-CDA2-4B1A-A957-B7C6172AB77A}"/>
                </a:ext>
              </a:extLst>
            </p:cNvPr>
            <p:cNvSpPr txBox="1"/>
            <p:nvPr/>
          </p:nvSpPr>
          <p:spPr bwMode="auto">
            <a:xfrm>
              <a:off x="8760074" y="494891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U</a:t>
              </a:r>
            </a:p>
          </p:txBody>
        </p:sp>
        <p:sp>
          <p:nvSpPr>
            <p:cNvPr id="19" name="TextBox 18">
              <a:extLst>
                <a:ext uri="{FF2B5EF4-FFF2-40B4-BE49-F238E27FC236}">
                  <a16:creationId xmlns:a16="http://schemas.microsoft.com/office/drawing/2014/main" id="{D16CDB20-FD10-4EC2-90A7-EEB6C9CA7F38}"/>
                </a:ext>
              </a:extLst>
            </p:cNvPr>
            <p:cNvSpPr txBox="1"/>
            <p:nvPr/>
          </p:nvSpPr>
          <p:spPr bwMode="auto">
            <a:xfrm>
              <a:off x="6755418"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3GPP AAA</a:t>
              </a:r>
            </a:p>
          </p:txBody>
        </p:sp>
        <p:cxnSp>
          <p:nvCxnSpPr>
            <p:cNvPr id="20" name="Straight Connector 19">
              <a:extLst>
                <a:ext uri="{FF2B5EF4-FFF2-40B4-BE49-F238E27FC236}">
                  <a16:creationId xmlns:a16="http://schemas.microsoft.com/office/drawing/2014/main" id="{10F2CCA1-8CD5-4174-9A57-DA4FC3896776}"/>
                </a:ext>
              </a:extLst>
            </p:cNvPr>
            <p:cNvCxnSpPr>
              <a:cxnSpLocks/>
              <a:stCxn id="15" idx="1"/>
              <a:endCxn id="19" idx="3"/>
            </p:cNvCxnSpPr>
            <p:nvPr/>
          </p:nvCxnSpPr>
          <p:spPr bwMode="auto">
            <a:xfrm flipH="1">
              <a:off x="7115418" y="4582300"/>
              <a:ext cx="1644656"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1" name="Straight Connector 20">
              <a:extLst>
                <a:ext uri="{FF2B5EF4-FFF2-40B4-BE49-F238E27FC236}">
                  <a16:creationId xmlns:a16="http://schemas.microsoft.com/office/drawing/2014/main" id="{24218B66-5B50-4FAC-895B-BC19CEBE820E}"/>
                </a:ext>
              </a:extLst>
            </p:cNvPr>
            <p:cNvCxnSpPr>
              <a:cxnSpLocks/>
              <a:stCxn id="19" idx="2"/>
              <a:endCxn id="38" idx="0"/>
            </p:cNvCxnSpPr>
            <p:nvPr/>
          </p:nvCxnSpPr>
          <p:spPr bwMode="auto">
            <a:xfrm flipH="1">
              <a:off x="6920801" y="4870046"/>
              <a:ext cx="14617" cy="92464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2" name="Straight Connector 21">
              <a:extLst>
                <a:ext uri="{FF2B5EF4-FFF2-40B4-BE49-F238E27FC236}">
                  <a16:creationId xmlns:a16="http://schemas.microsoft.com/office/drawing/2014/main" id="{F6EC5614-3CC6-4593-98EC-C0F8684CE133}"/>
                </a:ext>
              </a:extLst>
            </p:cNvPr>
            <p:cNvCxnSpPr>
              <a:cxnSpLocks/>
              <a:stCxn id="38" idx="0"/>
              <a:endCxn id="18" idx="1"/>
            </p:cNvCxnSpPr>
            <p:nvPr/>
          </p:nvCxnSpPr>
          <p:spPr bwMode="auto">
            <a:xfrm flipV="1">
              <a:off x="6920801" y="5236663"/>
              <a:ext cx="1839273" cy="558029"/>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3" name="Straight Connector 22">
              <a:extLst>
                <a:ext uri="{FF2B5EF4-FFF2-40B4-BE49-F238E27FC236}">
                  <a16:creationId xmlns:a16="http://schemas.microsoft.com/office/drawing/2014/main" id="{1ACD460B-FE9D-4B38-A39A-EAAE7F60EBEA}"/>
                </a:ext>
              </a:extLst>
            </p:cNvPr>
            <p:cNvCxnSpPr>
              <a:cxnSpLocks/>
              <a:stCxn id="38" idx="0"/>
              <a:endCxn id="15" idx="1"/>
            </p:cNvCxnSpPr>
            <p:nvPr/>
          </p:nvCxnSpPr>
          <p:spPr bwMode="auto">
            <a:xfrm flipV="1">
              <a:off x="6920801" y="4582300"/>
              <a:ext cx="1839273" cy="121239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4" name="Straight Connector 32">
              <a:extLst>
                <a:ext uri="{FF2B5EF4-FFF2-40B4-BE49-F238E27FC236}">
                  <a16:creationId xmlns:a16="http://schemas.microsoft.com/office/drawing/2014/main" id="{FAB1C503-A3AE-4AD9-86E6-1040A0F54AF7}"/>
                </a:ext>
              </a:extLst>
            </p:cNvPr>
            <p:cNvCxnSpPr>
              <a:cxnSpLocks/>
              <a:endCxn id="15" idx="1"/>
            </p:cNvCxnSpPr>
            <p:nvPr/>
          </p:nvCxnSpPr>
          <p:spPr bwMode="auto">
            <a:xfrm rot="5400000">
              <a:off x="8178563" y="3988088"/>
              <a:ext cx="1175724" cy="12701"/>
            </a:xfrm>
            <a:prstGeom prst="bentConnector4">
              <a:avLst>
                <a:gd name="adj1" fmla="val 881"/>
                <a:gd name="adj2" fmla="val 1899858"/>
              </a:avLst>
            </a:prstGeom>
            <a:solidFill>
              <a:schemeClr val="accent1"/>
            </a:solidFill>
            <a:ln w="12700" cap="flat" cmpd="sng" algn="ctr">
              <a:solidFill>
                <a:schemeClr val="tx1"/>
              </a:solidFill>
              <a:prstDash val="solid"/>
              <a:round/>
              <a:headEnd type="none" w="med" len="med"/>
              <a:tailEnd type="none"/>
            </a:ln>
            <a:effectLst/>
          </p:spPr>
        </p:cxnSp>
        <p:cxnSp>
          <p:nvCxnSpPr>
            <p:cNvPr id="25" name="Straight Connector 24">
              <a:extLst>
                <a:ext uri="{FF2B5EF4-FFF2-40B4-BE49-F238E27FC236}">
                  <a16:creationId xmlns:a16="http://schemas.microsoft.com/office/drawing/2014/main" id="{F40BD3AE-B3F9-4B7F-BEA5-B73F3F4E2B17}"/>
                </a:ext>
              </a:extLst>
            </p:cNvPr>
            <p:cNvCxnSpPr>
              <a:cxnSpLocks/>
              <a:stCxn id="15" idx="0"/>
              <a:endCxn id="16" idx="2"/>
            </p:cNvCxnSpPr>
            <p:nvPr/>
          </p:nvCxnSpPr>
          <p:spPr bwMode="auto">
            <a:xfrm flipV="1">
              <a:off x="8940074" y="4221380"/>
              <a:ext cx="0" cy="7317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6" name="Straight Connector 25">
              <a:extLst>
                <a:ext uri="{FF2B5EF4-FFF2-40B4-BE49-F238E27FC236}">
                  <a16:creationId xmlns:a16="http://schemas.microsoft.com/office/drawing/2014/main" id="{19115A69-AB4D-4489-8108-8195A54EE315}"/>
                </a:ext>
              </a:extLst>
            </p:cNvPr>
            <p:cNvCxnSpPr>
              <a:cxnSpLocks/>
              <a:stCxn id="18" idx="0"/>
              <a:endCxn id="15" idx="2"/>
            </p:cNvCxnSpPr>
            <p:nvPr/>
          </p:nvCxnSpPr>
          <p:spPr bwMode="auto">
            <a:xfrm flipV="1">
              <a:off x="8940074" y="4870046"/>
              <a:ext cx="0" cy="7887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7" name="Straight Connector 32">
              <a:extLst>
                <a:ext uri="{FF2B5EF4-FFF2-40B4-BE49-F238E27FC236}">
                  <a16:creationId xmlns:a16="http://schemas.microsoft.com/office/drawing/2014/main" id="{ACD8A5C9-A0F9-4FB0-AA83-43BB34572F16}"/>
                </a:ext>
              </a:extLst>
            </p:cNvPr>
            <p:cNvCxnSpPr>
              <a:cxnSpLocks/>
              <a:stCxn id="17" idx="1"/>
              <a:endCxn id="19" idx="0"/>
            </p:cNvCxnSpPr>
            <p:nvPr/>
          </p:nvCxnSpPr>
          <p:spPr bwMode="auto">
            <a:xfrm rot="10800000" flipV="1">
              <a:off x="6935418" y="3284025"/>
              <a:ext cx="1824656" cy="1010527"/>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28" name="Straight Connector 32">
              <a:extLst>
                <a:ext uri="{FF2B5EF4-FFF2-40B4-BE49-F238E27FC236}">
                  <a16:creationId xmlns:a16="http://schemas.microsoft.com/office/drawing/2014/main" id="{DCC03D0E-4176-47F5-9E0F-A7A4123442F2}"/>
                </a:ext>
              </a:extLst>
            </p:cNvPr>
            <p:cNvCxnSpPr>
              <a:cxnSpLocks/>
              <a:stCxn id="17" idx="3"/>
              <a:endCxn id="13" idx="0"/>
            </p:cNvCxnSpPr>
            <p:nvPr/>
          </p:nvCxnSpPr>
          <p:spPr bwMode="auto">
            <a:xfrm>
              <a:off x="9120074" y="3284026"/>
              <a:ext cx="2027157" cy="1870445"/>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29" name="Straight Connector 28">
              <a:extLst>
                <a:ext uri="{FF2B5EF4-FFF2-40B4-BE49-F238E27FC236}">
                  <a16:creationId xmlns:a16="http://schemas.microsoft.com/office/drawing/2014/main" id="{99344E04-7883-4932-AA2E-9E9F0D22A754}"/>
                </a:ext>
              </a:extLst>
            </p:cNvPr>
            <p:cNvCxnSpPr>
              <a:cxnSpLocks/>
              <a:stCxn id="16" idx="3"/>
              <a:endCxn id="13" idx="1"/>
            </p:cNvCxnSpPr>
            <p:nvPr/>
          </p:nvCxnSpPr>
          <p:spPr bwMode="auto">
            <a:xfrm>
              <a:off x="9120074" y="3933634"/>
              <a:ext cx="1847157" cy="150858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0" name="Straight Connector 29">
              <a:extLst>
                <a:ext uri="{FF2B5EF4-FFF2-40B4-BE49-F238E27FC236}">
                  <a16:creationId xmlns:a16="http://schemas.microsoft.com/office/drawing/2014/main" id="{0A72F2F9-F10D-4671-AFE5-591B97236E77}"/>
                </a:ext>
              </a:extLst>
            </p:cNvPr>
            <p:cNvCxnSpPr>
              <a:cxnSpLocks/>
              <a:stCxn id="15" idx="3"/>
              <a:endCxn id="13" idx="1"/>
            </p:cNvCxnSpPr>
            <p:nvPr/>
          </p:nvCxnSpPr>
          <p:spPr bwMode="auto">
            <a:xfrm>
              <a:off x="9120074" y="4582300"/>
              <a:ext cx="1847157" cy="8599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1" name="Straight Connector 30">
              <a:extLst>
                <a:ext uri="{FF2B5EF4-FFF2-40B4-BE49-F238E27FC236}">
                  <a16:creationId xmlns:a16="http://schemas.microsoft.com/office/drawing/2014/main" id="{BD0811E8-692B-4AD4-AB63-B6679F302B6B}"/>
                </a:ext>
              </a:extLst>
            </p:cNvPr>
            <p:cNvCxnSpPr>
              <a:cxnSpLocks/>
              <a:stCxn id="13" idx="1"/>
              <a:endCxn id="37" idx="0"/>
            </p:cNvCxnSpPr>
            <p:nvPr/>
          </p:nvCxnSpPr>
          <p:spPr bwMode="auto">
            <a:xfrm flipH="1">
              <a:off x="10474506" y="5442218"/>
              <a:ext cx="492725" cy="37284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2" name="Straight Connector 31">
              <a:extLst>
                <a:ext uri="{FF2B5EF4-FFF2-40B4-BE49-F238E27FC236}">
                  <a16:creationId xmlns:a16="http://schemas.microsoft.com/office/drawing/2014/main" id="{ABDBDCB0-989C-41E6-AE19-C6B5AADDD76E}"/>
                </a:ext>
              </a:extLst>
            </p:cNvPr>
            <p:cNvCxnSpPr>
              <a:cxnSpLocks/>
              <a:stCxn id="18" idx="3"/>
              <a:endCxn id="37" idx="0"/>
            </p:cNvCxnSpPr>
            <p:nvPr/>
          </p:nvCxnSpPr>
          <p:spPr bwMode="auto">
            <a:xfrm>
              <a:off x="9120074" y="5236663"/>
              <a:ext cx="1354432" cy="578397"/>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33" name="Group 32">
              <a:extLst>
                <a:ext uri="{FF2B5EF4-FFF2-40B4-BE49-F238E27FC236}">
                  <a16:creationId xmlns:a16="http://schemas.microsoft.com/office/drawing/2014/main" id="{9BE8B081-5A7C-4538-9D38-E65C4FF08898}"/>
                </a:ext>
              </a:extLst>
            </p:cNvPr>
            <p:cNvGrpSpPr>
              <a:grpSpLocks noChangeAspect="1"/>
            </p:cNvGrpSpPr>
            <p:nvPr/>
          </p:nvGrpSpPr>
          <p:grpSpPr>
            <a:xfrm>
              <a:off x="7224136" y="6161529"/>
              <a:ext cx="209822" cy="386217"/>
              <a:chOff x="10129764" y="647713"/>
              <a:chExt cx="221963" cy="408569"/>
            </a:xfrm>
          </p:grpSpPr>
          <p:grpSp>
            <p:nvGrpSpPr>
              <p:cNvPr id="58" name="Group 57">
                <a:extLst>
                  <a:ext uri="{FF2B5EF4-FFF2-40B4-BE49-F238E27FC236}">
                    <a16:creationId xmlns:a16="http://schemas.microsoft.com/office/drawing/2014/main" id="{C7E721BC-8530-4A32-8DFC-6DB423372FFA}"/>
                  </a:ext>
                </a:extLst>
              </p:cNvPr>
              <p:cNvGrpSpPr>
                <a:grpSpLocks noChangeAspect="1"/>
              </p:cNvGrpSpPr>
              <p:nvPr/>
            </p:nvGrpSpPr>
            <p:grpSpPr>
              <a:xfrm>
                <a:off x="10129764" y="647713"/>
                <a:ext cx="221963" cy="408569"/>
                <a:chOff x="1373325" y="5083850"/>
                <a:chExt cx="428625" cy="788967"/>
              </a:xfrm>
            </p:grpSpPr>
            <p:sp>
              <p:nvSpPr>
                <p:cNvPr id="60" name="Rectangle 59">
                  <a:extLst>
                    <a:ext uri="{FF2B5EF4-FFF2-40B4-BE49-F238E27FC236}">
                      <a16:creationId xmlns:a16="http://schemas.microsoft.com/office/drawing/2014/main" id="{8C71ABF6-CDEB-48B2-A6A0-88F5470ABEEC}"/>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61" name="Graphic 60">
                  <a:extLst>
                    <a:ext uri="{FF2B5EF4-FFF2-40B4-BE49-F238E27FC236}">
                      <a16:creationId xmlns:a16="http://schemas.microsoft.com/office/drawing/2014/main" id="{213293CF-C81A-4B0A-B0B1-AB4FEBE3B81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083850"/>
                  <a:ext cx="428625" cy="600077"/>
                </a:xfrm>
                <a:prstGeom prst="rect">
                  <a:avLst/>
                </a:prstGeom>
              </p:spPr>
            </p:pic>
          </p:grpSp>
          <p:sp>
            <p:nvSpPr>
              <p:cNvPr id="59" name="TextBox 58">
                <a:extLst>
                  <a:ext uri="{FF2B5EF4-FFF2-40B4-BE49-F238E27FC236}">
                    <a16:creationId xmlns:a16="http://schemas.microsoft.com/office/drawing/2014/main" id="{A1BDAA23-E9E9-4FDA-A4B6-950742E35341}"/>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34" name="Group 33">
              <a:extLst>
                <a:ext uri="{FF2B5EF4-FFF2-40B4-BE49-F238E27FC236}">
                  <a16:creationId xmlns:a16="http://schemas.microsoft.com/office/drawing/2014/main" id="{E528312B-FBF3-48BB-BE68-3E16F7CC96BB}"/>
                </a:ext>
              </a:extLst>
            </p:cNvPr>
            <p:cNvGrpSpPr>
              <a:grpSpLocks noChangeAspect="1"/>
            </p:cNvGrpSpPr>
            <p:nvPr/>
          </p:nvGrpSpPr>
          <p:grpSpPr>
            <a:xfrm>
              <a:off x="10723620" y="6161529"/>
              <a:ext cx="209822" cy="386217"/>
              <a:chOff x="10129764" y="647713"/>
              <a:chExt cx="221963" cy="408569"/>
            </a:xfrm>
          </p:grpSpPr>
          <p:grpSp>
            <p:nvGrpSpPr>
              <p:cNvPr id="54" name="Group 53">
                <a:extLst>
                  <a:ext uri="{FF2B5EF4-FFF2-40B4-BE49-F238E27FC236}">
                    <a16:creationId xmlns:a16="http://schemas.microsoft.com/office/drawing/2014/main" id="{C4739E06-FB1B-4B19-B0B2-45D0E78F740B}"/>
                  </a:ext>
                </a:extLst>
              </p:cNvPr>
              <p:cNvGrpSpPr>
                <a:grpSpLocks noChangeAspect="1"/>
              </p:cNvGrpSpPr>
              <p:nvPr/>
            </p:nvGrpSpPr>
            <p:grpSpPr>
              <a:xfrm>
                <a:off x="10129764" y="647713"/>
                <a:ext cx="221963" cy="408569"/>
                <a:chOff x="1373325" y="5083850"/>
                <a:chExt cx="428625" cy="788967"/>
              </a:xfrm>
            </p:grpSpPr>
            <p:sp>
              <p:nvSpPr>
                <p:cNvPr id="56" name="Rectangle 55">
                  <a:extLst>
                    <a:ext uri="{FF2B5EF4-FFF2-40B4-BE49-F238E27FC236}">
                      <a16:creationId xmlns:a16="http://schemas.microsoft.com/office/drawing/2014/main" id="{02DDA450-727E-48F8-9725-DD8F002B132C}"/>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57" name="Graphic 56">
                  <a:extLst>
                    <a:ext uri="{FF2B5EF4-FFF2-40B4-BE49-F238E27FC236}">
                      <a16:creationId xmlns:a16="http://schemas.microsoft.com/office/drawing/2014/main" id="{139F07B3-A40C-43A3-BFCB-9BDE87B1AAC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083850"/>
                  <a:ext cx="428625" cy="600077"/>
                </a:xfrm>
                <a:prstGeom prst="rect">
                  <a:avLst/>
                </a:prstGeom>
              </p:spPr>
            </p:pic>
          </p:grpSp>
          <p:sp>
            <p:nvSpPr>
              <p:cNvPr id="55" name="TextBox 54">
                <a:extLst>
                  <a:ext uri="{FF2B5EF4-FFF2-40B4-BE49-F238E27FC236}">
                    <a16:creationId xmlns:a16="http://schemas.microsoft.com/office/drawing/2014/main" id="{453CEC14-7DEB-4128-BC20-BFE974ACEBC7}"/>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35" name="Straight Arrow Connector 34">
              <a:extLst>
                <a:ext uri="{FF2B5EF4-FFF2-40B4-BE49-F238E27FC236}">
                  <a16:creationId xmlns:a16="http://schemas.microsoft.com/office/drawing/2014/main" id="{C72F4AD9-FC15-4FD3-83E5-0F3CFF629610}"/>
                </a:ext>
              </a:extLst>
            </p:cNvPr>
            <p:cNvCxnSpPr>
              <a:cxnSpLocks/>
              <a:stCxn id="61" idx="0"/>
            </p:cNvCxnSpPr>
            <p:nvPr/>
          </p:nvCxnSpPr>
          <p:spPr bwMode="auto">
            <a:xfrm flipH="1" flipV="1">
              <a:off x="7149729" y="6069223"/>
              <a:ext cx="179318" cy="92306"/>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36" name="Straight Arrow Connector 35">
              <a:extLst>
                <a:ext uri="{FF2B5EF4-FFF2-40B4-BE49-F238E27FC236}">
                  <a16:creationId xmlns:a16="http://schemas.microsoft.com/office/drawing/2014/main" id="{7A657029-06B4-4519-92A7-1EBD84959A89}"/>
                </a:ext>
              </a:extLst>
            </p:cNvPr>
            <p:cNvCxnSpPr>
              <a:cxnSpLocks/>
              <a:stCxn id="57" idx="0"/>
            </p:cNvCxnSpPr>
            <p:nvPr/>
          </p:nvCxnSpPr>
          <p:spPr bwMode="auto">
            <a:xfrm flipH="1" flipV="1">
              <a:off x="10700140" y="6063754"/>
              <a:ext cx="128391"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37" name="TextBox 36">
              <a:extLst>
                <a:ext uri="{FF2B5EF4-FFF2-40B4-BE49-F238E27FC236}">
                  <a16:creationId xmlns:a16="http://schemas.microsoft.com/office/drawing/2014/main" id="{020DCA26-FA8A-47AC-9331-DD73DAB29036}"/>
                </a:ext>
              </a:extLst>
            </p:cNvPr>
            <p:cNvSpPr txBox="1"/>
            <p:nvPr/>
          </p:nvSpPr>
          <p:spPr bwMode="auto">
            <a:xfrm>
              <a:off x="10294506" y="5815060"/>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800">
                  <a:solidFill>
                    <a:srgbClr val="181818"/>
                  </a:solidFill>
                  <a:latin typeface="Ericsson Hilda"/>
                </a:rPr>
                <a:t>NG</a:t>
              </a:r>
              <a:r>
                <a:rPr kumimoji="0" lang="en-US" sz="800" b="0" i="0" u="none" strike="noStrike" kern="1200" cap="none" spc="0" normalizeH="0" baseline="0" noProof="0">
                  <a:ln>
                    <a:noFill/>
                  </a:ln>
                  <a:solidFill>
                    <a:srgbClr val="181818"/>
                  </a:solidFill>
                  <a:effectLst/>
                  <a:uLnTx/>
                  <a:uFillTx/>
                  <a:latin typeface="Ericsson Hilda"/>
                  <a:ea typeface="+mn-ea"/>
                  <a:cs typeface="+mn-cs"/>
                </a:rPr>
                <a:t>-UTRAN</a:t>
              </a:r>
            </a:p>
          </p:txBody>
        </p:sp>
        <p:sp>
          <p:nvSpPr>
            <p:cNvPr id="38" name="TextBox 37">
              <a:extLst>
                <a:ext uri="{FF2B5EF4-FFF2-40B4-BE49-F238E27FC236}">
                  <a16:creationId xmlns:a16="http://schemas.microsoft.com/office/drawing/2014/main" id="{1FE87C3D-7667-4362-BDC0-556142AE546B}"/>
                </a:ext>
              </a:extLst>
            </p:cNvPr>
            <p:cNvSpPr txBox="1"/>
            <p:nvPr/>
          </p:nvSpPr>
          <p:spPr bwMode="auto">
            <a:xfrm>
              <a:off x="6740801" y="579469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err="1">
                  <a:ln>
                    <a:noFill/>
                  </a:ln>
                  <a:solidFill>
                    <a:srgbClr val="181818"/>
                  </a:solidFill>
                  <a:effectLst/>
                  <a:uLnTx/>
                  <a:uFillTx/>
                  <a:latin typeface="Ericsson Hilda"/>
                  <a:ea typeface="+mn-ea"/>
                  <a:cs typeface="+mn-cs"/>
                </a:rPr>
                <a:t>ePDG</a:t>
              </a:r>
              <a:endParaRPr kumimoji="0" lang="en-US" sz="800" i="0" u="none" strike="noStrike" kern="1200" cap="none" spc="0" normalizeH="0" baseline="0" noProof="0">
                <a:ln>
                  <a:noFill/>
                </a:ln>
                <a:solidFill>
                  <a:srgbClr val="181818"/>
                </a:solidFill>
                <a:effectLst/>
                <a:uLnTx/>
                <a:uFillTx/>
                <a:latin typeface="Ericsson Hilda"/>
                <a:ea typeface="+mn-ea"/>
                <a:cs typeface="+mn-cs"/>
              </a:endParaRPr>
            </a:p>
          </p:txBody>
        </p:sp>
        <p:sp>
          <p:nvSpPr>
            <p:cNvPr id="39" name="TextBox 38">
              <a:extLst>
                <a:ext uri="{FF2B5EF4-FFF2-40B4-BE49-F238E27FC236}">
                  <a16:creationId xmlns:a16="http://schemas.microsoft.com/office/drawing/2014/main" id="{BDC75485-B929-4002-B691-A2117AE03D03}"/>
                </a:ext>
              </a:extLst>
            </p:cNvPr>
            <p:cNvSpPr txBox="1"/>
            <p:nvPr/>
          </p:nvSpPr>
          <p:spPr bwMode="auto">
            <a:xfrm>
              <a:off x="7573351" y="443813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6b</a:t>
              </a:r>
            </a:p>
          </p:txBody>
        </p:sp>
        <p:sp>
          <p:nvSpPr>
            <p:cNvPr id="40" name="TextBox 39">
              <a:extLst>
                <a:ext uri="{FF2B5EF4-FFF2-40B4-BE49-F238E27FC236}">
                  <a16:creationId xmlns:a16="http://schemas.microsoft.com/office/drawing/2014/main" id="{0269B8ED-9575-452E-A96D-08203D1CAD84}"/>
                </a:ext>
              </a:extLst>
            </p:cNvPr>
            <p:cNvSpPr txBox="1"/>
            <p:nvPr/>
          </p:nvSpPr>
          <p:spPr bwMode="auto">
            <a:xfrm>
              <a:off x="6970048" y="508829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m</a:t>
              </a:r>
            </a:p>
          </p:txBody>
        </p:sp>
        <p:sp>
          <p:nvSpPr>
            <p:cNvPr id="41" name="TextBox 40">
              <a:extLst>
                <a:ext uri="{FF2B5EF4-FFF2-40B4-BE49-F238E27FC236}">
                  <a16:creationId xmlns:a16="http://schemas.microsoft.com/office/drawing/2014/main" id="{A4DFC981-E8B6-4E9A-8A72-18C6590BCEF7}"/>
                </a:ext>
              </a:extLst>
            </p:cNvPr>
            <p:cNvSpPr txBox="1"/>
            <p:nvPr/>
          </p:nvSpPr>
          <p:spPr bwMode="auto">
            <a:xfrm>
              <a:off x="7725546" y="4938123"/>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C</a:t>
              </a:r>
            </a:p>
          </p:txBody>
        </p:sp>
        <p:sp>
          <p:nvSpPr>
            <p:cNvPr id="42" name="TextBox 41">
              <a:extLst>
                <a:ext uri="{FF2B5EF4-FFF2-40B4-BE49-F238E27FC236}">
                  <a16:creationId xmlns:a16="http://schemas.microsoft.com/office/drawing/2014/main" id="{52AA2976-EA07-456A-9030-63B761C2EB11}"/>
                </a:ext>
              </a:extLst>
            </p:cNvPr>
            <p:cNvSpPr txBox="1"/>
            <p:nvPr/>
          </p:nvSpPr>
          <p:spPr bwMode="auto">
            <a:xfrm>
              <a:off x="7712481" y="5356707"/>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U</a:t>
              </a:r>
            </a:p>
          </p:txBody>
        </p:sp>
        <p:sp>
          <p:nvSpPr>
            <p:cNvPr id="43" name="TextBox 42">
              <a:extLst>
                <a:ext uri="{FF2B5EF4-FFF2-40B4-BE49-F238E27FC236}">
                  <a16:creationId xmlns:a16="http://schemas.microsoft.com/office/drawing/2014/main" id="{92604EBE-B4DD-4AF6-8C69-650DFDD8583D}"/>
                </a:ext>
              </a:extLst>
            </p:cNvPr>
            <p:cNvSpPr txBox="1"/>
            <p:nvPr/>
          </p:nvSpPr>
          <p:spPr bwMode="auto">
            <a:xfrm>
              <a:off x="7033686" y="3140562"/>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x</a:t>
              </a:r>
            </a:p>
          </p:txBody>
        </p:sp>
        <p:sp>
          <p:nvSpPr>
            <p:cNvPr id="44" name="TextBox 43">
              <a:extLst>
                <a:ext uri="{FF2B5EF4-FFF2-40B4-BE49-F238E27FC236}">
                  <a16:creationId xmlns:a16="http://schemas.microsoft.com/office/drawing/2014/main" id="{03429A5D-80B1-459A-9F5D-15639BC63C9F}"/>
                </a:ext>
              </a:extLst>
            </p:cNvPr>
            <p:cNvSpPr txBox="1"/>
            <p:nvPr/>
          </p:nvSpPr>
          <p:spPr bwMode="auto">
            <a:xfrm>
              <a:off x="8285183"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0</a:t>
              </a:r>
            </a:p>
          </p:txBody>
        </p:sp>
        <p:sp>
          <p:nvSpPr>
            <p:cNvPr id="45" name="TextBox 44">
              <a:extLst>
                <a:ext uri="{FF2B5EF4-FFF2-40B4-BE49-F238E27FC236}">
                  <a16:creationId xmlns:a16="http://schemas.microsoft.com/office/drawing/2014/main" id="{2CA52FC4-9A43-47D7-9E8F-13A89C3C626B}"/>
                </a:ext>
              </a:extLst>
            </p:cNvPr>
            <p:cNvSpPr txBox="1"/>
            <p:nvPr/>
          </p:nvSpPr>
          <p:spPr bwMode="auto">
            <a:xfrm>
              <a:off x="10902122"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8</a:t>
              </a:r>
            </a:p>
          </p:txBody>
        </p:sp>
        <p:sp>
          <p:nvSpPr>
            <p:cNvPr id="46" name="TextBox 45">
              <a:extLst>
                <a:ext uri="{FF2B5EF4-FFF2-40B4-BE49-F238E27FC236}">
                  <a16:creationId xmlns:a16="http://schemas.microsoft.com/office/drawing/2014/main" id="{AF233C50-01BF-47C5-B187-5F911B6AC237}"/>
                </a:ext>
              </a:extLst>
            </p:cNvPr>
            <p:cNvSpPr txBox="1"/>
            <p:nvPr/>
          </p:nvSpPr>
          <p:spPr bwMode="auto">
            <a:xfrm>
              <a:off x="9743017" y="43427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5</a:t>
              </a:r>
            </a:p>
          </p:txBody>
        </p:sp>
        <p:sp>
          <p:nvSpPr>
            <p:cNvPr id="47" name="TextBox 46">
              <a:extLst>
                <a:ext uri="{FF2B5EF4-FFF2-40B4-BE49-F238E27FC236}">
                  <a16:creationId xmlns:a16="http://schemas.microsoft.com/office/drawing/2014/main" id="{361082A7-BA1D-49BF-B558-2A52F2E8F9F0}"/>
                </a:ext>
              </a:extLst>
            </p:cNvPr>
            <p:cNvSpPr txBox="1"/>
            <p:nvPr/>
          </p:nvSpPr>
          <p:spPr bwMode="auto">
            <a:xfrm>
              <a:off x="9743017" y="4734261"/>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1</a:t>
              </a:r>
            </a:p>
          </p:txBody>
        </p:sp>
        <p:sp>
          <p:nvSpPr>
            <p:cNvPr id="48" name="TextBox 47">
              <a:extLst>
                <a:ext uri="{FF2B5EF4-FFF2-40B4-BE49-F238E27FC236}">
                  <a16:creationId xmlns:a16="http://schemas.microsoft.com/office/drawing/2014/main" id="{BFD50385-2A1A-45AB-9D8C-EE0B85F7F8BC}"/>
                </a:ext>
              </a:extLst>
            </p:cNvPr>
            <p:cNvSpPr txBox="1"/>
            <p:nvPr/>
          </p:nvSpPr>
          <p:spPr bwMode="auto">
            <a:xfrm>
              <a:off x="9743017" y="538181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3</a:t>
              </a:r>
            </a:p>
          </p:txBody>
        </p:sp>
        <p:cxnSp>
          <p:nvCxnSpPr>
            <p:cNvPr id="49" name="Straight Connector 48">
              <a:extLst>
                <a:ext uri="{FF2B5EF4-FFF2-40B4-BE49-F238E27FC236}">
                  <a16:creationId xmlns:a16="http://schemas.microsoft.com/office/drawing/2014/main" id="{70F73415-3CCB-4664-87A5-9C8C48192170}"/>
                </a:ext>
              </a:extLst>
            </p:cNvPr>
            <p:cNvCxnSpPr>
              <a:cxnSpLocks/>
              <a:stCxn id="13" idx="2"/>
              <a:endCxn id="57" idx="0"/>
            </p:cNvCxnSpPr>
            <p:nvPr/>
          </p:nvCxnSpPr>
          <p:spPr bwMode="auto">
            <a:xfrm flipH="1">
              <a:off x="10828531" y="5729964"/>
              <a:ext cx="318700" cy="431565"/>
            </a:xfrm>
            <a:prstGeom prst="line">
              <a:avLst/>
            </a:prstGeom>
            <a:solidFill>
              <a:schemeClr val="accent1"/>
            </a:solidFill>
            <a:ln w="12700" cap="flat" cmpd="sng" algn="ctr">
              <a:solidFill>
                <a:schemeClr val="tx1"/>
              </a:solidFill>
              <a:prstDash val="sysDash"/>
              <a:round/>
              <a:headEnd type="none" w="med" len="med"/>
              <a:tailEnd type="none"/>
            </a:ln>
            <a:effectLst/>
          </p:spPr>
        </p:cxnSp>
        <p:sp>
          <p:nvSpPr>
            <p:cNvPr id="50" name="TextBox 49">
              <a:extLst>
                <a:ext uri="{FF2B5EF4-FFF2-40B4-BE49-F238E27FC236}">
                  <a16:creationId xmlns:a16="http://schemas.microsoft.com/office/drawing/2014/main" id="{CA2FEEA8-0620-4EF1-917A-DA3FDE41489D}"/>
                </a:ext>
              </a:extLst>
            </p:cNvPr>
            <p:cNvSpPr txBox="1"/>
            <p:nvPr/>
          </p:nvSpPr>
          <p:spPr bwMode="auto">
            <a:xfrm>
              <a:off x="11022360" y="5923706"/>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a:t>
              </a:r>
            </a:p>
          </p:txBody>
        </p:sp>
        <p:sp>
          <p:nvSpPr>
            <p:cNvPr id="51" name="TextBox 50">
              <a:extLst>
                <a:ext uri="{FF2B5EF4-FFF2-40B4-BE49-F238E27FC236}">
                  <a16:creationId xmlns:a16="http://schemas.microsoft.com/office/drawing/2014/main" id="{AE477A08-EE2F-4963-91DD-ECCF4FBFCEAD}"/>
                </a:ext>
              </a:extLst>
            </p:cNvPr>
            <p:cNvSpPr txBox="1"/>
            <p:nvPr/>
          </p:nvSpPr>
          <p:spPr bwMode="auto">
            <a:xfrm>
              <a:off x="9095183" y="483898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4</a:t>
              </a:r>
            </a:p>
          </p:txBody>
        </p:sp>
        <p:sp>
          <p:nvSpPr>
            <p:cNvPr id="52" name="TextBox 51">
              <a:extLst>
                <a:ext uri="{FF2B5EF4-FFF2-40B4-BE49-F238E27FC236}">
                  <a16:creationId xmlns:a16="http://schemas.microsoft.com/office/drawing/2014/main" id="{B6B0634A-91D0-4C64-895F-62E5958569BE}"/>
                </a:ext>
              </a:extLst>
            </p:cNvPr>
            <p:cNvSpPr txBox="1"/>
            <p:nvPr/>
          </p:nvSpPr>
          <p:spPr bwMode="auto">
            <a:xfrm>
              <a:off x="10585249" y="54628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2</a:t>
              </a:r>
            </a:p>
          </p:txBody>
        </p:sp>
        <p:sp>
          <p:nvSpPr>
            <p:cNvPr id="53" name="TextBox 52">
              <a:extLst>
                <a:ext uri="{FF2B5EF4-FFF2-40B4-BE49-F238E27FC236}">
                  <a16:creationId xmlns:a16="http://schemas.microsoft.com/office/drawing/2014/main" id="{E1CB87B9-F60C-415F-B67C-96EA5E948431}"/>
                </a:ext>
              </a:extLst>
            </p:cNvPr>
            <p:cNvSpPr txBox="1"/>
            <p:nvPr/>
          </p:nvSpPr>
          <p:spPr bwMode="auto">
            <a:xfrm>
              <a:off x="9095183" y="418493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7</a:t>
              </a:r>
            </a:p>
          </p:txBody>
        </p:sp>
      </p:grpSp>
      <p:grpSp>
        <p:nvGrpSpPr>
          <p:cNvPr id="62" name="Group 61">
            <a:extLst>
              <a:ext uri="{FF2B5EF4-FFF2-40B4-BE49-F238E27FC236}">
                <a16:creationId xmlns:a16="http://schemas.microsoft.com/office/drawing/2014/main" id="{0F61CF4A-1A69-4B32-9FF6-EE570E98D9B3}"/>
              </a:ext>
            </a:extLst>
          </p:cNvPr>
          <p:cNvGrpSpPr/>
          <p:nvPr/>
        </p:nvGrpSpPr>
        <p:grpSpPr>
          <a:xfrm>
            <a:off x="6928514" y="935843"/>
            <a:ext cx="4586430" cy="3551467"/>
            <a:chOff x="6740801" y="2996279"/>
            <a:chExt cx="4586430" cy="3551467"/>
          </a:xfrm>
        </p:grpSpPr>
        <p:sp>
          <p:nvSpPr>
            <p:cNvPr id="63" name="TextBox 62">
              <a:extLst>
                <a:ext uri="{FF2B5EF4-FFF2-40B4-BE49-F238E27FC236}">
                  <a16:creationId xmlns:a16="http://schemas.microsoft.com/office/drawing/2014/main" id="{39EF1816-44FA-448D-B5FB-F3A404127515}"/>
                </a:ext>
              </a:extLst>
            </p:cNvPr>
            <p:cNvSpPr txBox="1"/>
            <p:nvPr/>
          </p:nvSpPr>
          <p:spPr bwMode="auto">
            <a:xfrm>
              <a:off x="10967231" y="515447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64" name="TextBox 63">
              <a:extLst>
                <a:ext uri="{FF2B5EF4-FFF2-40B4-BE49-F238E27FC236}">
                  <a16:creationId xmlns:a16="http://schemas.microsoft.com/office/drawing/2014/main" id="{8CC0F302-8947-458C-BFE9-D662EBF2C139}"/>
                </a:ext>
              </a:extLst>
            </p:cNvPr>
            <p:cNvSpPr txBox="1"/>
            <p:nvPr/>
          </p:nvSpPr>
          <p:spPr bwMode="auto">
            <a:xfrm>
              <a:off x="8760074"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C</a:t>
              </a:r>
            </a:p>
          </p:txBody>
        </p:sp>
        <p:sp>
          <p:nvSpPr>
            <p:cNvPr id="65" name="TextBox 64">
              <a:extLst>
                <a:ext uri="{FF2B5EF4-FFF2-40B4-BE49-F238E27FC236}">
                  <a16:creationId xmlns:a16="http://schemas.microsoft.com/office/drawing/2014/main" id="{FFF8C820-F0A2-463F-BB8F-0E1AD7760CF6}"/>
                </a:ext>
              </a:extLst>
            </p:cNvPr>
            <p:cNvSpPr txBox="1"/>
            <p:nvPr/>
          </p:nvSpPr>
          <p:spPr bwMode="auto">
            <a:xfrm>
              <a:off x="8760074" y="364588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66" name="TextBox 65">
              <a:extLst>
                <a:ext uri="{FF2B5EF4-FFF2-40B4-BE49-F238E27FC236}">
                  <a16:creationId xmlns:a16="http://schemas.microsoft.com/office/drawing/2014/main" id="{A7F93209-1AC1-47E7-A2F5-FF49A5E16048}"/>
                </a:ext>
              </a:extLst>
            </p:cNvPr>
            <p:cNvSpPr txBox="1"/>
            <p:nvPr/>
          </p:nvSpPr>
          <p:spPr bwMode="auto">
            <a:xfrm>
              <a:off x="8760074" y="299627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HSS</a:t>
              </a:r>
            </a:p>
          </p:txBody>
        </p:sp>
        <p:sp>
          <p:nvSpPr>
            <p:cNvPr id="67" name="TextBox 66">
              <a:extLst>
                <a:ext uri="{FF2B5EF4-FFF2-40B4-BE49-F238E27FC236}">
                  <a16:creationId xmlns:a16="http://schemas.microsoft.com/office/drawing/2014/main" id="{C0E17DF8-20FF-4D9A-BFE6-0FDD20D7C646}"/>
                </a:ext>
              </a:extLst>
            </p:cNvPr>
            <p:cNvSpPr txBox="1"/>
            <p:nvPr/>
          </p:nvSpPr>
          <p:spPr bwMode="auto">
            <a:xfrm>
              <a:off x="8760074" y="494891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br>
                <a:rPr kumimoji="0" lang="en-US" sz="800" b="0" i="0" u="none" strike="noStrike" kern="1200" cap="none" spc="0" normalizeH="0" baseline="0" noProof="0">
                  <a:ln>
                    <a:noFill/>
                  </a:ln>
                  <a:solidFill>
                    <a:srgbClr val="181818"/>
                  </a:solidFill>
                  <a:effectLst/>
                  <a:uLnTx/>
                  <a:uFillTx/>
                  <a:latin typeface="Ericsson Hilda"/>
                  <a:ea typeface="+mn-ea"/>
                  <a:cs typeface="+mn-cs"/>
                </a:rPr>
              </a:br>
              <a:r>
                <a:rPr kumimoji="0" lang="en-US" sz="800" b="0" i="0" u="none" strike="noStrike" kern="1200" cap="none" spc="0" normalizeH="0" baseline="0" noProof="0">
                  <a:ln>
                    <a:noFill/>
                  </a:ln>
                  <a:solidFill>
                    <a:srgbClr val="181818"/>
                  </a:solidFill>
                  <a:effectLst/>
                  <a:uLnTx/>
                  <a:uFillTx/>
                  <a:latin typeface="Ericsson Hilda"/>
                  <a:ea typeface="+mn-ea"/>
                  <a:cs typeface="+mn-cs"/>
                </a:rPr>
                <a:t>PGW-U</a:t>
              </a:r>
            </a:p>
          </p:txBody>
        </p:sp>
        <p:sp>
          <p:nvSpPr>
            <p:cNvPr id="68" name="TextBox 67">
              <a:extLst>
                <a:ext uri="{FF2B5EF4-FFF2-40B4-BE49-F238E27FC236}">
                  <a16:creationId xmlns:a16="http://schemas.microsoft.com/office/drawing/2014/main" id="{FCDDFD3D-4FF8-483C-8DF0-9550011A555A}"/>
                </a:ext>
              </a:extLst>
            </p:cNvPr>
            <p:cNvSpPr txBox="1"/>
            <p:nvPr/>
          </p:nvSpPr>
          <p:spPr bwMode="auto">
            <a:xfrm>
              <a:off x="6755418" y="42945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3GPP AAA</a:t>
              </a:r>
            </a:p>
          </p:txBody>
        </p:sp>
        <p:cxnSp>
          <p:nvCxnSpPr>
            <p:cNvPr id="70" name="Straight Connector 69">
              <a:extLst>
                <a:ext uri="{FF2B5EF4-FFF2-40B4-BE49-F238E27FC236}">
                  <a16:creationId xmlns:a16="http://schemas.microsoft.com/office/drawing/2014/main" id="{EB9B4D4E-4AB9-4C50-BA23-433677E6C0DC}"/>
                </a:ext>
              </a:extLst>
            </p:cNvPr>
            <p:cNvCxnSpPr>
              <a:cxnSpLocks/>
              <a:stCxn id="68" idx="2"/>
              <a:endCxn id="87" idx="0"/>
            </p:cNvCxnSpPr>
            <p:nvPr/>
          </p:nvCxnSpPr>
          <p:spPr bwMode="auto">
            <a:xfrm flipH="1">
              <a:off x="6920801" y="4870046"/>
              <a:ext cx="14617" cy="92464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1" name="Straight Connector 70">
              <a:extLst>
                <a:ext uri="{FF2B5EF4-FFF2-40B4-BE49-F238E27FC236}">
                  <a16:creationId xmlns:a16="http://schemas.microsoft.com/office/drawing/2014/main" id="{5BFAB217-B59B-4E1B-87F9-604847F5C547}"/>
                </a:ext>
              </a:extLst>
            </p:cNvPr>
            <p:cNvCxnSpPr>
              <a:cxnSpLocks/>
              <a:stCxn id="87" idx="0"/>
              <a:endCxn id="67" idx="1"/>
            </p:cNvCxnSpPr>
            <p:nvPr/>
          </p:nvCxnSpPr>
          <p:spPr bwMode="auto">
            <a:xfrm flipV="1">
              <a:off x="6920801" y="5236663"/>
              <a:ext cx="1839273" cy="558029"/>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2" name="Straight Connector 71">
              <a:extLst>
                <a:ext uri="{FF2B5EF4-FFF2-40B4-BE49-F238E27FC236}">
                  <a16:creationId xmlns:a16="http://schemas.microsoft.com/office/drawing/2014/main" id="{65B04B54-CC71-4BF1-BB00-64CCD1BA2376}"/>
                </a:ext>
              </a:extLst>
            </p:cNvPr>
            <p:cNvCxnSpPr>
              <a:cxnSpLocks/>
              <a:stCxn id="87" idx="0"/>
              <a:endCxn id="64" idx="1"/>
            </p:cNvCxnSpPr>
            <p:nvPr/>
          </p:nvCxnSpPr>
          <p:spPr bwMode="auto">
            <a:xfrm flipV="1">
              <a:off x="6920801" y="4582300"/>
              <a:ext cx="1839273" cy="121239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3" name="Straight Connector 32">
              <a:extLst>
                <a:ext uri="{FF2B5EF4-FFF2-40B4-BE49-F238E27FC236}">
                  <a16:creationId xmlns:a16="http://schemas.microsoft.com/office/drawing/2014/main" id="{DFCAAA9D-758B-489D-8DF5-4CED2A2F1E2F}"/>
                </a:ext>
              </a:extLst>
            </p:cNvPr>
            <p:cNvCxnSpPr>
              <a:cxnSpLocks/>
              <a:endCxn id="64" idx="1"/>
            </p:cNvCxnSpPr>
            <p:nvPr/>
          </p:nvCxnSpPr>
          <p:spPr bwMode="auto">
            <a:xfrm rot="5400000">
              <a:off x="8169136" y="3978661"/>
              <a:ext cx="1194578" cy="12701"/>
            </a:xfrm>
            <a:prstGeom prst="bentConnector4">
              <a:avLst>
                <a:gd name="adj1" fmla="val 78"/>
                <a:gd name="adj2" fmla="val 1899858"/>
              </a:avLst>
            </a:prstGeom>
            <a:solidFill>
              <a:schemeClr val="accent1"/>
            </a:solidFill>
            <a:ln w="12700" cap="flat" cmpd="sng" algn="ctr">
              <a:solidFill>
                <a:schemeClr val="tx1"/>
              </a:solidFill>
              <a:prstDash val="solid"/>
              <a:round/>
              <a:headEnd type="none" w="med" len="med"/>
              <a:tailEnd type="none"/>
            </a:ln>
            <a:effectLst/>
          </p:spPr>
        </p:cxnSp>
        <p:cxnSp>
          <p:nvCxnSpPr>
            <p:cNvPr id="74" name="Straight Connector 73">
              <a:extLst>
                <a:ext uri="{FF2B5EF4-FFF2-40B4-BE49-F238E27FC236}">
                  <a16:creationId xmlns:a16="http://schemas.microsoft.com/office/drawing/2014/main" id="{9364352F-838F-4CA0-914A-EF86A7FD0C04}"/>
                </a:ext>
              </a:extLst>
            </p:cNvPr>
            <p:cNvCxnSpPr>
              <a:cxnSpLocks/>
              <a:stCxn id="64" idx="0"/>
              <a:endCxn id="65" idx="2"/>
            </p:cNvCxnSpPr>
            <p:nvPr/>
          </p:nvCxnSpPr>
          <p:spPr bwMode="auto">
            <a:xfrm flipV="1">
              <a:off x="8940074" y="4221380"/>
              <a:ext cx="0" cy="7317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5" name="Straight Connector 74">
              <a:extLst>
                <a:ext uri="{FF2B5EF4-FFF2-40B4-BE49-F238E27FC236}">
                  <a16:creationId xmlns:a16="http://schemas.microsoft.com/office/drawing/2014/main" id="{1D7B6EE2-A865-44C3-B15E-177DBD0091FC}"/>
                </a:ext>
              </a:extLst>
            </p:cNvPr>
            <p:cNvCxnSpPr>
              <a:cxnSpLocks/>
              <a:stCxn id="67" idx="0"/>
              <a:endCxn id="64" idx="2"/>
            </p:cNvCxnSpPr>
            <p:nvPr/>
          </p:nvCxnSpPr>
          <p:spPr bwMode="auto">
            <a:xfrm flipV="1">
              <a:off x="8940074" y="4870046"/>
              <a:ext cx="0" cy="7887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6" name="Straight Connector 32">
              <a:extLst>
                <a:ext uri="{FF2B5EF4-FFF2-40B4-BE49-F238E27FC236}">
                  <a16:creationId xmlns:a16="http://schemas.microsoft.com/office/drawing/2014/main" id="{FCA2E127-8C9E-4D6D-AA9A-6C51955655BC}"/>
                </a:ext>
              </a:extLst>
            </p:cNvPr>
            <p:cNvCxnSpPr>
              <a:cxnSpLocks/>
              <a:stCxn id="66" idx="1"/>
              <a:endCxn id="68" idx="0"/>
            </p:cNvCxnSpPr>
            <p:nvPr/>
          </p:nvCxnSpPr>
          <p:spPr bwMode="auto">
            <a:xfrm rot="10800000" flipV="1">
              <a:off x="6935418" y="3284025"/>
              <a:ext cx="1824656" cy="1010527"/>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77" name="Straight Connector 32">
              <a:extLst>
                <a:ext uri="{FF2B5EF4-FFF2-40B4-BE49-F238E27FC236}">
                  <a16:creationId xmlns:a16="http://schemas.microsoft.com/office/drawing/2014/main" id="{9476380A-65E6-4605-98D8-50EC7F6AAEE6}"/>
                </a:ext>
              </a:extLst>
            </p:cNvPr>
            <p:cNvCxnSpPr>
              <a:cxnSpLocks/>
              <a:stCxn id="66" idx="3"/>
              <a:endCxn id="63" idx="0"/>
            </p:cNvCxnSpPr>
            <p:nvPr/>
          </p:nvCxnSpPr>
          <p:spPr bwMode="auto">
            <a:xfrm>
              <a:off x="9120074" y="3284026"/>
              <a:ext cx="2027157" cy="1870445"/>
            </a:xfrm>
            <a:prstGeom prst="bentConnector2">
              <a:avLst/>
            </a:prstGeom>
            <a:solidFill>
              <a:schemeClr val="accent1"/>
            </a:solidFill>
            <a:ln w="12700" cap="flat" cmpd="sng" algn="ctr">
              <a:solidFill>
                <a:schemeClr val="tx1"/>
              </a:solidFill>
              <a:prstDash val="solid"/>
              <a:round/>
              <a:headEnd type="none" w="med" len="med"/>
              <a:tailEnd type="none"/>
            </a:ln>
            <a:effectLst/>
          </p:spPr>
        </p:cxnSp>
        <p:cxnSp>
          <p:nvCxnSpPr>
            <p:cNvPr id="78" name="Straight Connector 77">
              <a:extLst>
                <a:ext uri="{FF2B5EF4-FFF2-40B4-BE49-F238E27FC236}">
                  <a16:creationId xmlns:a16="http://schemas.microsoft.com/office/drawing/2014/main" id="{B224C147-76EF-41DC-9DB8-D3A648F14478}"/>
                </a:ext>
              </a:extLst>
            </p:cNvPr>
            <p:cNvCxnSpPr>
              <a:cxnSpLocks/>
              <a:stCxn id="65" idx="3"/>
              <a:endCxn id="63" idx="1"/>
            </p:cNvCxnSpPr>
            <p:nvPr/>
          </p:nvCxnSpPr>
          <p:spPr bwMode="auto">
            <a:xfrm>
              <a:off x="9120074" y="3933634"/>
              <a:ext cx="1847157" cy="150858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9" name="Straight Connector 78">
              <a:extLst>
                <a:ext uri="{FF2B5EF4-FFF2-40B4-BE49-F238E27FC236}">
                  <a16:creationId xmlns:a16="http://schemas.microsoft.com/office/drawing/2014/main" id="{B5FE0AFB-02C3-4732-92D7-28FA8E676E2F}"/>
                </a:ext>
              </a:extLst>
            </p:cNvPr>
            <p:cNvCxnSpPr>
              <a:cxnSpLocks/>
              <a:stCxn id="64" idx="3"/>
              <a:endCxn id="63" idx="1"/>
            </p:cNvCxnSpPr>
            <p:nvPr/>
          </p:nvCxnSpPr>
          <p:spPr bwMode="auto">
            <a:xfrm>
              <a:off x="9120074" y="4582300"/>
              <a:ext cx="1847157" cy="8599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80" name="Straight Connector 79">
              <a:extLst>
                <a:ext uri="{FF2B5EF4-FFF2-40B4-BE49-F238E27FC236}">
                  <a16:creationId xmlns:a16="http://schemas.microsoft.com/office/drawing/2014/main" id="{71F9ADF4-6D46-47F4-A1E1-D725AFF62444}"/>
                </a:ext>
              </a:extLst>
            </p:cNvPr>
            <p:cNvCxnSpPr>
              <a:cxnSpLocks/>
              <a:stCxn id="63" idx="1"/>
              <a:endCxn id="86" idx="0"/>
            </p:cNvCxnSpPr>
            <p:nvPr/>
          </p:nvCxnSpPr>
          <p:spPr bwMode="auto">
            <a:xfrm flipH="1">
              <a:off x="10474506" y="5442218"/>
              <a:ext cx="492725" cy="372842"/>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81" name="Straight Connector 80">
              <a:extLst>
                <a:ext uri="{FF2B5EF4-FFF2-40B4-BE49-F238E27FC236}">
                  <a16:creationId xmlns:a16="http://schemas.microsoft.com/office/drawing/2014/main" id="{71148E3E-5286-4CEF-9705-D926943DB7D8}"/>
                </a:ext>
              </a:extLst>
            </p:cNvPr>
            <p:cNvCxnSpPr>
              <a:cxnSpLocks/>
              <a:stCxn id="67" idx="3"/>
              <a:endCxn id="86" idx="0"/>
            </p:cNvCxnSpPr>
            <p:nvPr/>
          </p:nvCxnSpPr>
          <p:spPr bwMode="auto">
            <a:xfrm>
              <a:off x="9120074" y="5236663"/>
              <a:ext cx="1354432" cy="578397"/>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82" name="Group 81">
              <a:extLst>
                <a:ext uri="{FF2B5EF4-FFF2-40B4-BE49-F238E27FC236}">
                  <a16:creationId xmlns:a16="http://schemas.microsoft.com/office/drawing/2014/main" id="{984DB1FD-603D-4FA7-AD5D-3140D91096EF}"/>
                </a:ext>
              </a:extLst>
            </p:cNvPr>
            <p:cNvGrpSpPr>
              <a:grpSpLocks noChangeAspect="1"/>
            </p:cNvGrpSpPr>
            <p:nvPr/>
          </p:nvGrpSpPr>
          <p:grpSpPr>
            <a:xfrm>
              <a:off x="7224136" y="6161529"/>
              <a:ext cx="209822" cy="386217"/>
              <a:chOff x="10129764" y="647713"/>
              <a:chExt cx="221963" cy="408569"/>
            </a:xfrm>
          </p:grpSpPr>
          <p:grpSp>
            <p:nvGrpSpPr>
              <p:cNvPr id="107" name="Group 106">
                <a:extLst>
                  <a:ext uri="{FF2B5EF4-FFF2-40B4-BE49-F238E27FC236}">
                    <a16:creationId xmlns:a16="http://schemas.microsoft.com/office/drawing/2014/main" id="{0AD347C9-6B00-42C6-A39C-1281ABF9CC6A}"/>
                  </a:ext>
                </a:extLst>
              </p:cNvPr>
              <p:cNvGrpSpPr>
                <a:grpSpLocks noChangeAspect="1"/>
              </p:cNvGrpSpPr>
              <p:nvPr/>
            </p:nvGrpSpPr>
            <p:grpSpPr>
              <a:xfrm>
                <a:off x="10129764" y="647713"/>
                <a:ext cx="221963" cy="408569"/>
                <a:chOff x="1373325" y="5083850"/>
                <a:chExt cx="428625" cy="788967"/>
              </a:xfrm>
            </p:grpSpPr>
            <p:sp>
              <p:nvSpPr>
                <p:cNvPr id="109" name="Rectangle 108">
                  <a:extLst>
                    <a:ext uri="{FF2B5EF4-FFF2-40B4-BE49-F238E27FC236}">
                      <a16:creationId xmlns:a16="http://schemas.microsoft.com/office/drawing/2014/main" id="{05EF6A99-17D0-4759-85A4-91A18B086C6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0" name="Graphic 109">
                  <a:extLst>
                    <a:ext uri="{FF2B5EF4-FFF2-40B4-BE49-F238E27FC236}">
                      <a16:creationId xmlns:a16="http://schemas.microsoft.com/office/drawing/2014/main" id="{13F03B64-812A-4F4F-BA38-1C07BC3B98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083850"/>
                  <a:ext cx="428625" cy="600077"/>
                </a:xfrm>
                <a:prstGeom prst="rect">
                  <a:avLst/>
                </a:prstGeom>
              </p:spPr>
            </p:pic>
          </p:grpSp>
          <p:sp>
            <p:nvSpPr>
              <p:cNvPr id="108" name="TextBox 107">
                <a:extLst>
                  <a:ext uri="{FF2B5EF4-FFF2-40B4-BE49-F238E27FC236}">
                    <a16:creationId xmlns:a16="http://schemas.microsoft.com/office/drawing/2014/main" id="{7DEA99BA-27E8-4BFA-A1B0-92FFE0FE039D}"/>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83" name="Group 82">
              <a:extLst>
                <a:ext uri="{FF2B5EF4-FFF2-40B4-BE49-F238E27FC236}">
                  <a16:creationId xmlns:a16="http://schemas.microsoft.com/office/drawing/2014/main" id="{F80F3251-7878-4205-9169-07215CBF1631}"/>
                </a:ext>
              </a:extLst>
            </p:cNvPr>
            <p:cNvGrpSpPr>
              <a:grpSpLocks noChangeAspect="1"/>
            </p:cNvGrpSpPr>
            <p:nvPr/>
          </p:nvGrpSpPr>
          <p:grpSpPr>
            <a:xfrm>
              <a:off x="10723620" y="6161529"/>
              <a:ext cx="209822" cy="386217"/>
              <a:chOff x="10129764" y="647713"/>
              <a:chExt cx="221963" cy="408569"/>
            </a:xfrm>
          </p:grpSpPr>
          <p:grpSp>
            <p:nvGrpSpPr>
              <p:cNvPr id="103" name="Group 102">
                <a:extLst>
                  <a:ext uri="{FF2B5EF4-FFF2-40B4-BE49-F238E27FC236}">
                    <a16:creationId xmlns:a16="http://schemas.microsoft.com/office/drawing/2014/main" id="{86A4876B-2ACD-4B42-AC9B-3138FF739434}"/>
                  </a:ext>
                </a:extLst>
              </p:cNvPr>
              <p:cNvGrpSpPr>
                <a:grpSpLocks noChangeAspect="1"/>
              </p:cNvGrpSpPr>
              <p:nvPr/>
            </p:nvGrpSpPr>
            <p:grpSpPr>
              <a:xfrm>
                <a:off x="10129764" y="647713"/>
                <a:ext cx="221963" cy="408569"/>
                <a:chOff x="1373325" y="5083850"/>
                <a:chExt cx="428625" cy="788967"/>
              </a:xfrm>
            </p:grpSpPr>
            <p:sp>
              <p:nvSpPr>
                <p:cNvPr id="105" name="Rectangle 104">
                  <a:extLst>
                    <a:ext uri="{FF2B5EF4-FFF2-40B4-BE49-F238E27FC236}">
                      <a16:creationId xmlns:a16="http://schemas.microsoft.com/office/drawing/2014/main" id="{31FA5AD4-48C8-4435-B0D9-774F741A073E}"/>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06" name="Graphic 105">
                  <a:extLst>
                    <a:ext uri="{FF2B5EF4-FFF2-40B4-BE49-F238E27FC236}">
                      <a16:creationId xmlns:a16="http://schemas.microsoft.com/office/drawing/2014/main" id="{BE914192-6956-4271-A579-7BFFC93DFBF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083850"/>
                  <a:ext cx="428625" cy="600077"/>
                </a:xfrm>
                <a:prstGeom prst="rect">
                  <a:avLst/>
                </a:prstGeom>
              </p:spPr>
            </p:pic>
          </p:grpSp>
          <p:sp>
            <p:nvSpPr>
              <p:cNvPr id="104" name="TextBox 103">
                <a:extLst>
                  <a:ext uri="{FF2B5EF4-FFF2-40B4-BE49-F238E27FC236}">
                    <a16:creationId xmlns:a16="http://schemas.microsoft.com/office/drawing/2014/main" id="{AB3175AD-2703-4792-BB9A-1C4DE453BFF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84" name="Straight Arrow Connector 83">
              <a:extLst>
                <a:ext uri="{FF2B5EF4-FFF2-40B4-BE49-F238E27FC236}">
                  <a16:creationId xmlns:a16="http://schemas.microsoft.com/office/drawing/2014/main" id="{C116C059-B5D8-41FE-9A1C-60A29D6173B5}"/>
                </a:ext>
              </a:extLst>
            </p:cNvPr>
            <p:cNvCxnSpPr>
              <a:cxnSpLocks/>
              <a:stCxn id="110" idx="0"/>
            </p:cNvCxnSpPr>
            <p:nvPr/>
          </p:nvCxnSpPr>
          <p:spPr bwMode="auto">
            <a:xfrm flipH="1" flipV="1">
              <a:off x="7146435" y="6062963"/>
              <a:ext cx="182612" cy="98566"/>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85" name="Straight Arrow Connector 84">
              <a:extLst>
                <a:ext uri="{FF2B5EF4-FFF2-40B4-BE49-F238E27FC236}">
                  <a16:creationId xmlns:a16="http://schemas.microsoft.com/office/drawing/2014/main" id="{EEE9C56C-4250-478B-85A6-2F166904E29B}"/>
                </a:ext>
              </a:extLst>
            </p:cNvPr>
            <p:cNvCxnSpPr>
              <a:cxnSpLocks/>
              <a:stCxn id="106" idx="0"/>
            </p:cNvCxnSpPr>
            <p:nvPr/>
          </p:nvCxnSpPr>
          <p:spPr bwMode="auto">
            <a:xfrm flipH="1" flipV="1">
              <a:off x="10700140" y="6063754"/>
              <a:ext cx="128391" cy="9776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86" name="TextBox 85">
              <a:extLst>
                <a:ext uri="{FF2B5EF4-FFF2-40B4-BE49-F238E27FC236}">
                  <a16:creationId xmlns:a16="http://schemas.microsoft.com/office/drawing/2014/main" id="{A377AD9E-A451-49A1-BC04-6A8AA4689BE5}"/>
                </a:ext>
              </a:extLst>
            </p:cNvPr>
            <p:cNvSpPr txBox="1"/>
            <p:nvPr/>
          </p:nvSpPr>
          <p:spPr bwMode="auto">
            <a:xfrm>
              <a:off x="10294506" y="5815060"/>
              <a:ext cx="360000" cy="575493"/>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800">
                  <a:solidFill>
                    <a:srgbClr val="181818"/>
                  </a:solidFill>
                  <a:latin typeface="Ericsson Hilda"/>
                </a:rPr>
                <a:t>NG</a:t>
              </a:r>
              <a:r>
                <a:rPr kumimoji="0" lang="en-US" sz="800" b="0" i="0" u="none" strike="noStrike" kern="1200" cap="none" spc="0" normalizeH="0" baseline="0" noProof="0">
                  <a:ln>
                    <a:noFill/>
                  </a:ln>
                  <a:solidFill>
                    <a:srgbClr val="181818"/>
                  </a:solidFill>
                  <a:effectLst/>
                  <a:uLnTx/>
                  <a:uFillTx/>
                  <a:latin typeface="Ericsson Hilda"/>
                  <a:ea typeface="+mn-ea"/>
                  <a:cs typeface="+mn-cs"/>
                </a:rPr>
                <a:t>-UTRAN</a:t>
              </a:r>
            </a:p>
          </p:txBody>
        </p:sp>
        <p:sp>
          <p:nvSpPr>
            <p:cNvPr id="87" name="TextBox 86">
              <a:extLst>
                <a:ext uri="{FF2B5EF4-FFF2-40B4-BE49-F238E27FC236}">
                  <a16:creationId xmlns:a16="http://schemas.microsoft.com/office/drawing/2014/main" id="{82DBFBD7-140B-4215-9D33-EEAC81B0D0E0}"/>
                </a:ext>
              </a:extLst>
            </p:cNvPr>
            <p:cNvSpPr txBox="1"/>
            <p:nvPr/>
          </p:nvSpPr>
          <p:spPr bwMode="auto">
            <a:xfrm>
              <a:off x="6740801" y="579469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200">
                  <a:solidFill>
                    <a:srgbClr val="181818"/>
                  </a:solidFill>
                  <a:latin typeface="Ericsson Technical Icons" panose="00000500000000000000" pitchFamily="2" charset="0"/>
                </a:rPr>
                <a:t>S</a:t>
              </a:r>
              <a:endParaRPr lang="en-US" sz="12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20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i="0" u="none" strike="noStrike" kern="1200" cap="none" spc="0" normalizeH="0" baseline="0" noProof="0" err="1">
                  <a:ln>
                    <a:noFill/>
                  </a:ln>
                  <a:solidFill>
                    <a:srgbClr val="181818"/>
                  </a:solidFill>
                  <a:effectLst/>
                  <a:uLnTx/>
                  <a:uFillTx/>
                  <a:latin typeface="Ericsson Hilda"/>
                  <a:ea typeface="+mn-ea"/>
                  <a:cs typeface="+mn-cs"/>
                </a:rPr>
                <a:t>ePDG</a:t>
              </a:r>
              <a:endParaRPr kumimoji="0" lang="en-US" sz="800" i="0" u="none" strike="noStrike" kern="1200" cap="none" spc="0" normalizeH="0" baseline="0" noProof="0">
                <a:ln>
                  <a:noFill/>
                </a:ln>
                <a:solidFill>
                  <a:srgbClr val="181818"/>
                </a:solidFill>
                <a:effectLst/>
                <a:uLnTx/>
                <a:uFillTx/>
                <a:latin typeface="Ericsson Hilda"/>
                <a:ea typeface="+mn-ea"/>
                <a:cs typeface="+mn-cs"/>
              </a:endParaRPr>
            </a:p>
          </p:txBody>
        </p:sp>
        <p:sp>
          <p:nvSpPr>
            <p:cNvPr id="89" name="TextBox 88">
              <a:extLst>
                <a:ext uri="{FF2B5EF4-FFF2-40B4-BE49-F238E27FC236}">
                  <a16:creationId xmlns:a16="http://schemas.microsoft.com/office/drawing/2014/main" id="{96923E0E-9FD4-4774-BB7F-9750E39762F3}"/>
                </a:ext>
              </a:extLst>
            </p:cNvPr>
            <p:cNvSpPr txBox="1"/>
            <p:nvPr/>
          </p:nvSpPr>
          <p:spPr bwMode="auto">
            <a:xfrm>
              <a:off x="6970048" y="508829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m</a:t>
              </a:r>
            </a:p>
          </p:txBody>
        </p:sp>
        <p:sp>
          <p:nvSpPr>
            <p:cNvPr id="90" name="TextBox 89">
              <a:extLst>
                <a:ext uri="{FF2B5EF4-FFF2-40B4-BE49-F238E27FC236}">
                  <a16:creationId xmlns:a16="http://schemas.microsoft.com/office/drawing/2014/main" id="{10253163-DA96-4257-A335-27D4B5D8048D}"/>
                </a:ext>
              </a:extLst>
            </p:cNvPr>
            <p:cNvSpPr txBox="1"/>
            <p:nvPr/>
          </p:nvSpPr>
          <p:spPr bwMode="auto">
            <a:xfrm>
              <a:off x="7725546" y="4938123"/>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C</a:t>
              </a:r>
            </a:p>
          </p:txBody>
        </p:sp>
        <p:sp>
          <p:nvSpPr>
            <p:cNvPr id="91" name="TextBox 90">
              <a:extLst>
                <a:ext uri="{FF2B5EF4-FFF2-40B4-BE49-F238E27FC236}">
                  <a16:creationId xmlns:a16="http://schemas.microsoft.com/office/drawing/2014/main" id="{823592D3-A06F-49D5-AD4F-86E0DD36DCCF}"/>
                </a:ext>
              </a:extLst>
            </p:cNvPr>
            <p:cNvSpPr txBox="1"/>
            <p:nvPr/>
          </p:nvSpPr>
          <p:spPr bwMode="auto">
            <a:xfrm>
              <a:off x="7712481" y="5356707"/>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2b-U</a:t>
              </a:r>
            </a:p>
          </p:txBody>
        </p:sp>
        <p:sp>
          <p:nvSpPr>
            <p:cNvPr id="92" name="TextBox 91">
              <a:extLst>
                <a:ext uri="{FF2B5EF4-FFF2-40B4-BE49-F238E27FC236}">
                  <a16:creationId xmlns:a16="http://schemas.microsoft.com/office/drawing/2014/main" id="{A31DA8E8-051F-4E1B-80E2-144D90142704}"/>
                </a:ext>
              </a:extLst>
            </p:cNvPr>
            <p:cNvSpPr txBox="1"/>
            <p:nvPr/>
          </p:nvSpPr>
          <p:spPr bwMode="auto">
            <a:xfrm>
              <a:off x="7033686" y="3140562"/>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SWx</a:t>
              </a:r>
            </a:p>
          </p:txBody>
        </p:sp>
        <p:sp>
          <p:nvSpPr>
            <p:cNvPr id="93" name="TextBox 92">
              <a:extLst>
                <a:ext uri="{FF2B5EF4-FFF2-40B4-BE49-F238E27FC236}">
                  <a16:creationId xmlns:a16="http://schemas.microsoft.com/office/drawing/2014/main" id="{3084CBC8-FC51-4404-862D-89EC217C0853}"/>
                </a:ext>
              </a:extLst>
            </p:cNvPr>
            <p:cNvSpPr txBox="1"/>
            <p:nvPr/>
          </p:nvSpPr>
          <p:spPr bwMode="auto">
            <a:xfrm>
              <a:off x="8285183"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0</a:t>
              </a:r>
            </a:p>
          </p:txBody>
        </p:sp>
        <p:sp>
          <p:nvSpPr>
            <p:cNvPr id="94" name="TextBox 93">
              <a:extLst>
                <a:ext uri="{FF2B5EF4-FFF2-40B4-BE49-F238E27FC236}">
                  <a16:creationId xmlns:a16="http://schemas.microsoft.com/office/drawing/2014/main" id="{C66FA4CD-59A4-4777-AF59-E425E9089B4C}"/>
                </a:ext>
              </a:extLst>
            </p:cNvPr>
            <p:cNvSpPr txBox="1"/>
            <p:nvPr/>
          </p:nvSpPr>
          <p:spPr bwMode="auto">
            <a:xfrm>
              <a:off x="10902122" y="378217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8</a:t>
              </a:r>
            </a:p>
          </p:txBody>
        </p:sp>
        <p:sp>
          <p:nvSpPr>
            <p:cNvPr id="95" name="TextBox 94">
              <a:extLst>
                <a:ext uri="{FF2B5EF4-FFF2-40B4-BE49-F238E27FC236}">
                  <a16:creationId xmlns:a16="http://schemas.microsoft.com/office/drawing/2014/main" id="{D937DAA0-B7CB-45BF-96F5-5EA7A56A3E02}"/>
                </a:ext>
              </a:extLst>
            </p:cNvPr>
            <p:cNvSpPr txBox="1"/>
            <p:nvPr/>
          </p:nvSpPr>
          <p:spPr bwMode="auto">
            <a:xfrm>
              <a:off x="9743017" y="43427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5</a:t>
              </a:r>
            </a:p>
          </p:txBody>
        </p:sp>
        <p:sp>
          <p:nvSpPr>
            <p:cNvPr id="96" name="TextBox 95">
              <a:extLst>
                <a:ext uri="{FF2B5EF4-FFF2-40B4-BE49-F238E27FC236}">
                  <a16:creationId xmlns:a16="http://schemas.microsoft.com/office/drawing/2014/main" id="{155C1A7C-7DCA-48EE-992D-D6845D44F8FA}"/>
                </a:ext>
              </a:extLst>
            </p:cNvPr>
            <p:cNvSpPr txBox="1"/>
            <p:nvPr/>
          </p:nvSpPr>
          <p:spPr bwMode="auto">
            <a:xfrm>
              <a:off x="9743017" y="4734261"/>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1</a:t>
              </a:r>
            </a:p>
          </p:txBody>
        </p:sp>
        <p:sp>
          <p:nvSpPr>
            <p:cNvPr id="97" name="TextBox 96">
              <a:extLst>
                <a:ext uri="{FF2B5EF4-FFF2-40B4-BE49-F238E27FC236}">
                  <a16:creationId xmlns:a16="http://schemas.microsoft.com/office/drawing/2014/main" id="{477D6F9E-47F0-4654-82E4-BCC62A3AAF15}"/>
                </a:ext>
              </a:extLst>
            </p:cNvPr>
            <p:cNvSpPr txBox="1"/>
            <p:nvPr/>
          </p:nvSpPr>
          <p:spPr bwMode="auto">
            <a:xfrm>
              <a:off x="9743017" y="5381818"/>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3</a:t>
              </a:r>
            </a:p>
          </p:txBody>
        </p:sp>
        <p:cxnSp>
          <p:nvCxnSpPr>
            <p:cNvPr id="98" name="Straight Connector 97">
              <a:extLst>
                <a:ext uri="{FF2B5EF4-FFF2-40B4-BE49-F238E27FC236}">
                  <a16:creationId xmlns:a16="http://schemas.microsoft.com/office/drawing/2014/main" id="{250092FE-B0DE-4668-B362-FBFBAD857EDC}"/>
                </a:ext>
              </a:extLst>
            </p:cNvPr>
            <p:cNvCxnSpPr>
              <a:cxnSpLocks/>
              <a:stCxn id="63" idx="2"/>
              <a:endCxn id="106" idx="0"/>
            </p:cNvCxnSpPr>
            <p:nvPr/>
          </p:nvCxnSpPr>
          <p:spPr bwMode="auto">
            <a:xfrm flipH="1">
              <a:off x="10828531" y="5729964"/>
              <a:ext cx="318700" cy="431565"/>
            </a:xfrm>
            <a:prstGeom prst="line">
              <a:avLst/>
            </a:prstGeom>
            <a:solidFill>
              <a:schemeClr val="accent1"/>
            </a:solidFill>
            <a:ln w="12700" cap="flat" cmpd="sng" algn="ctr">
              <a:solidFill>
                <a:schemeClr val="tx1"/>
              </a:solidFill>
              <a:prstDash val="sysDash"/>
              <a:round/>
              <a:headEnd type="none" w="med" len="med"/>
              <a:tailEnd type="none"/>
            </a:ln>
            <a:effectLst/>
          </p:spPr>
        </p:cxnSp>
        <p:sp>
          <p:nvSpPr>
            <p:cNvPr id="99" name="TextBox 98">
              <a:extLst>
                <a:ext uri="{FF2B5EF4-FFF2-40B4-BE49-F238E27FC236}">
                  <a16:creationId xmlns:a16="http://schemas.microsoft.com/office/drawing/2014/main" id="{AC30E7F2-4D86-4727-A85A-7EC8E64233E5}"/>
                </a:ext>
              </a:extLst>
            </p:cNvPr>
            <p:cNvSpPr txBox="1"/>
            <p:nvPr/>
          </p:nvSpPr>
          <p:spPr bwMode="auto">
            <a:xfrm>
              <a:off x="11022360" y="5923706"/>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1</a:t>
              </a:r>
            </a:p>
          </p:txBody>
        </p:sp>
        <p:sp>
          <p:nvSpPr>
            <p:cNvPr id="100" name="TextBox 99">
              <a:extLst>
                <a:ext uri="{FF2B5EF4-FFF2-40B4-BE49-F238E27FC236}">
                  <a16:creationId xmlns:a16="http://schemas.microsoft.com/office/drawing/2014/main" id="{E16C8089-7809-4D1B-9785-15E401225288}"/>
                </a:ext>
              </a:extLst>
            </p:cNvPr>
            <p:cNvSpPr txBox="1"/>
            <p:nvPr/>
          </p:nvSpPr>
          <p:spPr bwMode="auto">
            <a:xfrm>
              <a:off x="9095183" y="4838984"/>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4</a:t>
              </a:r>
            </a:p>
          </p:txBody>
        </p:sp>
        <p:sp>
          <p:nvSpPr>
            <p:cNvPr id="101" name="TextBox 100">
              <a:extLst>
                <a:ext uri="{FF2B5EF4-FFF2-40B4-BE49-F238E27FC236}">
                  <a16:creationId xmlns:a16="http://schemas.microsoft.com/office/drawing/2014/main" id="{B39A8CBA-C66C-4DB7-82C4-5A0174AF7B1E}"/>
                </a:ext>
              </a:extLst>
            </p:cNvPr>
            <p:cNvSpPr txBox="1"/>
            <p:nvPr/>
          </p:nvSpPr>
          <p:spPr bwMode="auto">
            <a:xfrm>
              <a:off x="10585249" y="5462840"/>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2</a:t>
              </a:r>
            </a:p>
          </p:txBody>
        </p:sp>
        <p:sp>
          <p:nvSpPr>
            <p:cNvPr id="102" name="TextBox 101">
              <a:extLst>
                <a:ext uri="{FF2B5EF4-FFF2-40B4-BE49-F238E27FC236}">
                  <a16:creationId xmlns:a16="http://schemas.microsoft.com/office/drawing/2014/main" id="{398EDB24-4120-4C04-A42F-9486CA8A3B67}"/>
                </a:ext>
              </a:extLst>
            </p:cNvPr>
            <p:cNvSpPr txBox="1"/>
            <p:nvPr/>
          </p:nvSpPr>
          <p:spPr bwMode="auto">
            <a:xfrm>
              <a:off x="9095183" y="4184935"/>
              <a:ext cx="229782" cy="130837"/>
            </a:xfrm>
            <a:prstGeom prst="rect">
              <a:avLst/>
            </a:prstGeom>
            <a:noFill/>
            <a:ln w="12700">
              <a:noFill/>
              <a:miter lim="800000"/>
              <a:headEnd/>
              <a:tailEnd/>
            </a:ln>
          </p:spPr>
          <p:txBody>
            <a:bodyPr vert="horz" wrap="none" lIns="0" tIns="0" rIns="0" bIns="0" numCol="1" rtlCol="0" anchor="ctr" anchorCtr="0" compatLnSpc="1">
              <a:prstTxWarp prst="textNoShape">
                <a:avLst/>
              </a:prstTxWarp>
              <a:noAutofit/>
            </a:bodyPr>
            <a:lstStyle/>
            <a:p>
              <a:pPr algn="ctr">
                <a:buClr>
                  <a:schemeClr val="tx1"/>
                </a:buClr>
              </a:pPr>
              <a:r>
                <a:rPr lang="sv-SE" sz="800"/>
                <a:t>N7</a:t>
              </a:r>
            </a:p>
          </p:txBody>
        </p:sp>
      </p:grpSp>
    </p:spTree>
    <p:extLst>
      <p:ext uri="{BB962C8B-B14F-4D97-AF65-F5344CB8AC3E}">
        <p14:creationId xmlns:p14="http://schemas.microsoft.com/office/powerpoint/2010/main" val="327201077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79425" y="1382827"/>
            <a:ext cx="5409399" cy="4854461"/>
          </a:xfrm>
        </p:spPr>
        <p:txBody>
          <a:bodyPr>
            <a:noAutofit/>
          </a:bodyPr>
          <a:lstStyle/>
          <a:p>
            <a:r>
              <a:rPr lang="en-US" sz="1600" err="1"/>
              <a:t>WiFi</a:t>
            </a:r>
            <a:r>
              <a:rPr lang="en-US" sz="1600"/>
              <a:t> Interworking with 5GC defined in 3GPP standard rel-15</a:t>
            </a:r>
          </a:p>
          <a:p>
            <a:pPr lvl="1"/>
            <a:r>
              <a:rPr lang="en-US" sz="1400"/>
              <a:t>Between </a:t>
            </a:r>
            <a:r>
              <a:rPr lang="en-US" sz="1400" err="1"/>
              <a:t>ePDG</a:t>
            </a:r>
            <a:r>
              <a:rPr lang="en-US" sz="1400"/>
              <a:t>/EPC and 5GC/3GPP</a:t>
            </a:r>
          </a:p>
          <a:p>
            <a:pPr lvl="1"/>
            <a:r>
              <a:rPr lang="en-US" sz="1400"/>
              <a:t>Between N3IWF/non-3GPP and 5GC/3GPP</a:t>
            </a:r>
          </a:p>
          <a:p>
            <a:pPr lvl="1"/>
            <a:r>
              <a:rPr lang="en-US" sz="1400"/>
              <a:t>Between N3IWF/non-3GPP and EPC/3GPP</a:t>
            </a:r>
          </a:p>
          <a:p>
            <a:pPr lvl="1"/>
            <a:endParaRPr lang="en-US" sz="1600"/>
          </a:p>
          <a:p>
            <a:r>
              <a:rPr lang="en-US" sz="1600"/>
              <a:t>Wi-Fi calling can still go through </a:t>
            </a:r>
            <a:r>
              <a:rPr lang="en-US" sz="1600" err="1"/>
              <a:t>ePDG</a:t>
            </a:r>
            <a:r>
              <a:rPr lang="en-US" sz="1600"/>
              <a:t>/EPC in the early 5G launch. </a:t>
            </a:r>
          </a:p>
          <a:p>
            <a:endParaRPr lang="en-US" sz="1600"/>
          </a:p>
          <a:p>
            <a:r>
              <a:rPr lang="en-US" sz="1600"/>
              <a:t>The voice handover between </a:t>
            </a:r>
            <a:r>
              <a:rPr lang="en-US" sz="1600" err="1"/>
              <a:t>ePDG</a:t>
            </a:r>
            <a:r>
              <a:rPr lang="en-US" sz="1600"/>
              <a:t>/EPC and 3GPP/5GC can be supported by the further enhancement on </a:t>
            </a:r>
            <a:r>
              <a:rPr lang="en-US" sz="1600" err="1"/>
              <a:t>ePDG</a:t>
            </a:r>
            <a:r>
              <a:rPr lang="en-US" sz="1600"/>
              <a:t> and 5GC when VoNR in place. </a:t>
            </a:r>
          </a:p>
          <a:p>
            <a:endParaRPr lang="en-US" sz="1600"/>
          </a:p>
          <a:p>
            <a:r>
              <a:rPr lang="en-US" sz="1600"/>
              <a:t>N3IWF doesn’t introduce new end user services than </a:t>
            </a:r>
            <a:r>
              <a:rPr lang="en-US" sz="1600" err="1"/>
              <a:t>ePDG</a:t>
            </a:r>
            <a:r>
              <a:rPr lang="en-US" sz="1600"/>
              <a:t>. Recommended to evolve </a:t>
            </a:r>
            <a:r>
              <a:rPr lang="en-US" sz="1600" err="1"/>
              <a:t>ePDG</a:t>
            </a:r>
            <a:r>
              <a:rPr lang="en-US" sz="1600"/>
              <a:t>/EPC to support 5GS interworking, no urgent need for 5GC/N3IWF. </a:t>
            </a:r>
          </a:p>
          <a:p>
            <a:endParaRPr lang="en-US" sz="1600"/>
          </a:p>
          <a:p>
            <a:r>
              <a:rPr lang="en-US" sz="1600"/>
              <a:t>N3IWF and 5GC interworking depends on UE vendors and 5G ecosystem.</a:t>
            </a:r>
          </a:p>
        </p:txBody>
      </p:sp>
      <p:sp>
        <p:nvSpPr>
          <p:cNvPr id="3" name="Title 2"/>
          <p:cNvSpPr>
            <a:spLocks noGrp="1"/>
          </p:cNvSpPr>
          <p:nvPr>
            <p:ph type="title"/>
          </p:nvPr>
        </p:nvSpPr>
        <p:spPr>
          <a:xfrm>
            <a:off x="479425" y="476250"/>
            <a:ext cx="10390110" cy="1081088"/>
          </a:xfrm>
        </p:spPr>
        <p:txBody>
          <a:bodyPr>
            <a:normAutofit/>
          </a:bodyPr>
          <a:lstStyle/>
          <a:p>
            <a:pPr lvl="1">
              <a:lnSpc>
                <a:spcPct val="75000"/>
              </a:lnSpc>
            </a:pPr>
            <a:r>
              <a:rPr lang="en-US">
                <a:latin typeface="+mj-lt"/>
              </a:rPr>
              <a:t>EPC/5GC Interworking for </a:t>
            </a:r>
            <a:r>
              <a:rPr lang="en-US" err="1">
                <a:latin typeface="+mj-lt"/>
              </a:rPr>
              <a:t>WiFi</a:t>
            </a:r>
            <a:r>
              <a:rPr lang="en-US">
                <a:latin typeface="+mj-lt"/>
              </a:rPr>
              <a:t> integration</a:t>
            </a:r>
            <a:r>
              <a:rPr lang="en-US" sz="2800">
                <a:latin typeface="+mj-lt"/>
              </a:rPr>
              <a:t> </a:t>
            </a:r>
            <a:r>
              <a:rPr lang="en-US" sz="2800" kern="1400" spc="-160">
                <a:latin typeface="+mj-lt"/>
                <a:ea typeface="+mj-ea"/>
                <a:cs typeface="+mj-cs"/>
              </a:rPr>
              <a:t>Recommended evolution path</a:t>
            </a:r>
          </a:p>
        </p:txBody>
      </p:sp>
      <p:sp>
        <p:nvSpPr>
          <p:cNvPr id="172" name="Rectangle 171">
            <a:extLst>
              <a:ext uri="{FF2B5EF4-FFF2-40B4-BE49-F238E27FC236}">
                <a16:creationId xmlns:a16="http://schemas.microsoft.com/office/drawing/2014/main" id="{98DC7694-FE58-4F5E-927A-5614AC7254FF}"/>
              </a:ext>
            </a:extLst>
          </p:cNvPr>
          <p:cNvSpPr/>
          <p:nvPr/>
        </p:nvSpPr>
        <p:spPr bwMode="auto">
          <a:xfrm>
            <a:off x="5887014" y="993338"/>
            <a:ext cx="6253655" cy="99803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indent="0">
              <a:buNone/>
            </a:pPr>
            <a:endParaRPr kumimoji="0" lang="en-US" sz="2000" b="0" i="0" u="none" strike="noStrike" cap="none" normalizeH="0" baseline="0">
              <a:ln>
                <a:noFill/>
              </a:ln>
              <a:solidFill>
                <a:schemeClr val="bg1"/>
              </a:solidFill>
              <a:effectLst/>
              <a:latin typeface="+mn-lt"/>
            </a:endParaRPr>
          </a:p>
        </p:txBody>
      </p:sp>
      <p:sp>
        <p:nvSpPr>
          <p:cNvPr id="173" name="Freeform 6">
            <a:extLst>
              <a:ext uri="{FF2B5EF4-FFF2-40B4-BE49-F238E27FC236}">
                <a16:creationId xmlns:a16="http://schemas.microsoft.com/office/drawing/2014/main" id="{AD52760B-6633-4922-AC71-02B52475E1ED}"/>
              </a:ext>
            </a:extLst>
          </p:cNvPr>
          <p:cNvSpPr>
            <a:spLocks noChangeAspect="1" noEditPoints="1"/>
          </p:cNvSpPr>
          <p:nvPr/>
        </p:nvSpPr>
        <p:spPr bwMode="auto">
          <a:xfrm>
            <a:off x="6111835" y="2762351"/>
            <a:ext cx="239298" cy="42930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solidFill>
              <a:schemeClr val="tx1"/>
            </a:solidFill>
          </a:ln>
        </p:spPr>
        <p:txBody>
          <a:bodyPr/>
          <a:lstStyle/>
          <a:p>
            <a:pPr marL="0" indent="0">
              <a:buNone/>
            </a:pPr>
            <a:endParaRPr lang="en-US"/>
          </a:p>
        </p:txBody>
      </p:sp>
      <p:cxnSp>
        <p:nvCxnSpPr>
          <p:cNvPr id="174" name="Straight Connector 173">
            <a:extLst>
              <a:ext uri="{FF2B5EF4-FFF2-40B4-BE49-F238E27FC236}">
                <a16:creationId xmlns:a16="http://schemas.microsoft.com/office/drawing/2014/main" id="{E6577D2D-3852-4D29-8E6B-62D3D98C9A8F}"/>
              </a:ext>
            </a:extLst>
          </p:cNvPr>
          <p:cNvCxnSpPr>
            <a:cxnSpLocks/>
          </p:cNvCxnSpPr>
          <p:nvPr/>
        </p:nvCxnSpPr>
        <p:spPr bwMode="auto">
          <a:xfrm>
            <a:off x="11581440" y="4562220"/>
            <a:ext cx="213401" cy="0"/>
          </a:xfrm>
          <a:prstGeom prst="line">
            <a:avLst/>
          </a:prstGeom>
          <a:solidFill>
            <a:schemeClr val="accent1"/>
          </a:solidFill>
          <a:ln w="12700" cap="flat" cmpd="sng" algn="ctr">
            <a:solidFill>
              <a:schemeClr val="accent2">
                <a:lumMod val="75000"/>
              </a:schemeClr>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8A92C2A5-173B-48E6-AEF7-05166AD7E027}"/>
              </a:ext>
            </a:extLst>
          </p:cNvPr>
          <p:cNvCxnSpPr>
            <a:cxnSpLocks/>
            <a:stCxn id="195" idx="2"/>
          </p:cNvCxnSpPr>
          <p:nvPr/>
        </p:nvCxnSpPr>
        <p:spPr bwMode="auto">
          <a:xfrm>
            <a:off x="8157842" y="2767398"/>
            <a:ext cx="0" cy="1392535"/>
          </a:xfrm>
          <a:prstGeom prst="line">
            <a:avLst/>
          </a:prstGeom>
          <a:noFill/>
          <a:ln w="3175" cap="flat" cmpd="sng" algn="ctr">
            <a:solidFill>
              <a:schemeClr val="tx1"/>
            </a:solidFill>
            <a:prstDash val="dash"/>
            <a:round/>
            <a:headEnd type="none" w="med" len="med"/>
            <a:tailEnd type="none" w="med" len="med"/>
          </a:ln>
          <a:effectLst/>
        </p:spPr>
      </p:cxnSp>
      <p:cxnSp>
        <p:nvCxnSpPr>
          <p:cNvPr id="176" name="Straight Connector 175">
            <a:extLst>
              <a:ext uri="{FF2B5EF4-FFF2-40B4-BE49-F238E27FC236}">
                <a16:creationId xmlns:a16="http://schemas.microsoft.com/office/drawing/2014/main" id="{EBD4AA10-49E5-4C39-82C5-D39301540866}"/>
              </a:ext>
            </a:extLst>
          </p:cNvPr>
          <p:cNvCxnSpPr>
            <a:cxnSpLocks/>
          </p:cNvCxnSpPr>
          <p:nvPr/>
        </p:nvCxnSpPr>
        <p:spPr bwMode="auto">
          <a:xfrm>
            <a:off x="7696906" y="4732903"/>
            <a:ext cx="2059833" cy="0"/>
          </a:xfrm>
          <a:prstGeom prst="line">
            <a:avLst/>
          </a:prstGeom>
          <a:solidFill>
            <a:schemeClr val="accent1"/>
          </a:solidFill>
          <a:ln w="12700" cap="flat" cmpd="sng" algn="ctr">
            <a:solidFill>
              <a:srgbClr val="00285F"/>
            </a:solidFill>
            <a:prstDash val="solid"/>
            <a:round/>
            <a:headEnd type="none" w="med" len="med"/>
            <a:tailEnd type="none" w="med" len="med"/>
          </a:ln>
          <a:effectLst/>
        </p:spPr>
      </p:cxnSp>
      <p:sp>
        <p:nvSpPr>
          <p:cNvPr id="177" name="TextBox 176">
            <a:extLst>
              <a:ext uri="{FF2B5EF4-FFF2-40B4-BE49-F238E27FC236}">
                <a16:creationId xmlns:a16="http://schemas.microsoft.com/office/drawing/2014/main" id="{88C97AD6-03FC-42F5-ACCB-A3E5FAA9A26C}"/>
              </a:ext>
            </a:extLst>
          </p:cNvPr>
          <p:cNvSpPr txBox="1"/>
          <p:nvPr/>
        </p:nvSpPr>
        <p:spPr bwMode="auto">
          <a:xfrm>
            <a:off x="7222866" y="2487346"/>
            <a:ext cx="480486" cy="780790"/>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1800">
                <a:solidFill>
                  <a:schemeClr val="accent2">
                    <a:lumMod val="75000"/>
                  </a:schemeClr>
                </a:solidFill>
                <a:latin typeface="Ericsson Technical Icons" panose="00000500000000000000" pitchFamily="2" charset="0"/>
              </a:rPr>
              <a:t>B</a:t>
            </a:r>
            <a:endParaRPr lang="en-US" sz="1800">
              <a:solidFill>
                <a:schemeClr val="accent2">
                  <a:lumMod val="75000"/>
                </a:schemeClr>
              </a:solidFill>
            </a:endParaRPr>
          </a:p>
          <a:p>
            <a:pPr marL="0" indent="0" algn="ctr">
              <a:spcBef>
                <a:spcPts val="0"/>
              </a:spcBef>
              <a:buClr>
                <a:srgbClr val="181818"/>
              </a:buClr>
              <a:buNone/>
            </a:pPr>
            <a:br>
              <a:rPr lang="en-US" sz="900">
                <a:solidFill>
                  <a:schemeClr val="accent2">
                    <a:lumMod val="75000"/>
                  </a:schemeClr>
                </a:solidFill>
              </a:rPr>
            </a:br>
            <a:br>
              <a:rPr lang="en-US" sz="800">
                <a:solidFill>
                  <a:schemeClr val="accent2">
                    <a:lumMod val="75000"/>
                  </a:schemeClr>
                </a:solidFill>
              </a:rPr>
            </a:br>
            <a:r>
              <a:rPr lang="en-US" sz="800">
                <a:solidFill>
                  <a:schemeClr val="accent2">
                    <a:lumMod val="75000"/>
                  </a:schemeClr>
                </a:solidFill>
              </a:rPr>
              <a:t>E-UTRAN</a:t>
            </a:r>
            <a:endParaRPr lang="en-US" sz="900">
              <a:solidFill>
                <a:schemeClr val="accent2">
                  <a:lumMod val="75000"/>
                </a:schemeClr>
              </a:solidFill>
            </a:endParaRPr>
          </a:p>
        </p:txBody>
      </p:sp>
      <p:sp>
        <p:nvSpPr>
          <p:cNvPr id="178" name="TextBox 177">
            <a:extLst>
              <a:ext uri="{FF2B5EF4-FFF2-40B4-BE49-F238E27FC236}">
                <a16:creationId xmlns:a16="http://schemas.microsoft.com/office/drawing/2014/main" id="{A2B95F49-195E-4255-9DA9-61A4B4880A0F}"/>
              </a:ext>
            </a:extLst>
          </p:cNvPr>
          <p:cNvSpPr txBox="1"/>
          <p:nvPr/>
        </p:nvSpPr>
        <p:spPr bwMode="auto">
          <a:xfrm>
            <a:off x="11100953" y="4170987"/>
            <a:ext cx="480486" cy="779165"/>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marL="0" indent="0" algn="ctr">
              <a:lnSpc>
                <a:spcPct val="90000"/>
              </a:lnSpc>
              <a:spcBef>
                <a:spcPts val="0"/>
              </a:spcBef>
              <a:buClr>
                <a:schemeClr val="tx1"/>
              </a:buClr>
              <a:buNone/>
            </a:pPr>
            <a:br>
              <a:rPr lang="en-US" sz="1100">
                <a:solidFill>
                  <a:schemeClr val="accent2">
                    <a:lumMod val="75000"/>
                  </a:schemeClr>
                </a:solidFill>
              </a:rPr>
            </a:br>
            <a:r>
              <a:rPr lang="en-US" sz="1100">
                <a:solidFill>
                  <a:schemeClr val="accent2">
                    <a:lumMod val="75000"/>
                  </a:schemeClr>
                </a:solidFill>
              </a:rPr>
              <a:t>IMS</a:t>
            </a:r>
            <a:endParaRPr lang="en-US" sz="1050">
              <a:solidFill>
                <a:schemeClr val="accent2">
                  <a:lumMod val="75000"/>
                </a:schemeClr>
              </a:solidFill>
            </a:endParaRPr>
          </a:p>
        </p:txBody>
      </p:sp>
      <p:sp>
        <p:nvSpPr>
          <p:cNvPr id="179" name="TextBox 178">
            <a:extLst>
              <a:ext uri="{FF2B5EF4-FFF2-40B4-BE49-F238E27FC236}">
                <a16:creationId xmlns:a16="http://schemas.microsoft.com/office/drawing/2014/main" id="{1797EB5C-1A92-4896-AF2B-A4CDB30F8007}"/>
              </a:ext>
            </a:extLst>
          </p:cNvPr>
          <p:cNvSpPr txBox="1"/>
          <p:nvPr/>
        </p:nvSpPr>
        <p:spPr bwMode="auto">
          <a:xfrm>
            <a:off x="8898289" y="2483522"/>
            <a:ext cx="480486" cy="779165"/>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marL="0" indent="0" algn="ctr">
              <a:lnSpc>
                <a:spcPct val="90000"/>
              </a:lnSpc>
              <a:spcBef>
                <a:spcPts val="0"/>
              </a:spcBef>
              <a:buClr>
                <a:schemeClr val="tx1"/>
              </a:buClr>
              <a:buNone/>
            </a:pPr>
            <a:br>
              <a:rPr lang="en-US" sz="1000">
                <a:solidFill>
                  <a:schemeClr val="accent2">
                    <a:lumMod val="75000"/>
                  </a:schemeClr>
                </a:solidFill>
              </a:rPr>
            </a:br>
            <a:r>
              <a:rPr lang="en-US" sz="1000" err="1">
                <a:solidFill>
                  <a:schemeClr val="accent2">
                    <a:lumMod val="75000"/>
                  </a:schemeClr>
                </a:solidFill>
              </a:rPr>
              <a:t>SGw</a:t>
            </a:r>
            <a:br>
              <a:rPr lang="en-US" sz="1050">
                <a:solidFill>
                  <a:schemeClr val="accent2">
                    <a:lumMod val="75000"/>
                  </a:schemeClr>
                </a:solidFill>
              </a:rPr>
            </a:br>
            <a:endParaRPr lang="en-US" sz="1050">
              <a:solidFill>
                <a:schemeClr val="accent2">
                  <a:lumMod val="75000"/>
                </a:schemeClr>
              </a:solidFill>
            </a:endParaRPr>
          </a:p>
        </p:txBody>
      </p:sp>
      <p:sp>
        <p:nvSpPr>
          <p:cNvPr id="180" name="TextBox 179">
            <a:extLst>
              <a:ext uri="{FF2B5EF4-FFF2-40B4-BE49-F238E27FC236}">
                <a16:creationId xmlns:a16="http://schemas.microsoft.com/office/drawing/2014/main" id="{D864B583-C703-4B6D-871D-D284E1F7DA0B}"/>
              </a:ext>
            </a:extLst>
          </p:cNvPr>
          <p:cNvSpPr txBox="1"/>
          <p:nvPr/>
        </p:nvSpPr>
        <p:spPr bwMode="auto">
          <a:xfrm>
            <a:off x="7224867" y="4169362"/>
            <a:ext cx="480486" cy="780790"/>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1800">
                <a:solidFill>
                  <a:schemeClr val="accent1"/>
                </a:solidFill>
                <a:latin typeface="Ericsson Technical Icons" panose="00000500000000000000" pitchFamily="2" charset="0"/>
              </a:rPr>
              <a:t>B</a:t>
            </a:r>
            <a:endParaRPr lang="en-US" sz="1800">
              <a:solidFill>
                <a:schemeClr val="accent1"/>
              </a:solidFill>
            </a:endParaRPr>
          </a:p>
          <a:p>
            <a:pPr marL="0" indent="0" algn="ctr">
              <a:buClr>
                <a:schemeClr val="tx1"/>
              </a:buClr>
              <a:buNone/>
            </a:pPr>
            <a:r>
              <a:rPr lang="en-US" sz="1050">
                <a:solidFill>
                  <a:schemeClr val="accent1"/>
                </a:solidFill>
              </a:rPr>
              <a:t>NG-</a:t>
            </a:r>
            <a:br>
              <a:rPr lang="en-US" sz="1050">
                <a:solidFill>
                  <a:schemeClr val="accent1"/>
                </a:solidFill>
              </a:rPr>
            </a:br>
            <a:r>
              <a:rPr lang="en-US" sz="1050">
                <a:solidFill>
                  <a:schemeClr val="accent1"/>
                </a:solidFill>
              </a:rPr>
              <a:t>RAN</a:t>
            </a:r>
          </a:p>
        </p:txBody>
      </p:sp>
      <p:sp>
        <p:nvSpPr>
          <p:cNvPr id="181" name="TextBox 180">
            <a:extLst>
              <a:ext uri="{FF2B5EF4-FFF2-40B4-BE49-F238E27FC236}">
                <a16:creationId xmlns:a16="http://schemas.microsoft.com/office/drawing/2014/main" id="{B2E7DFC8-027A-421A-AE1E-4BE0ABFCBD7C}"/>
              </a:ext>
            </a:extLst>
          </p:cNvPr>
          <p:cNvSpPr txBox="1"/>
          <p:nvPr/>
        </p:nvSpPr>
        <p:spPr bwMode="auto">
          <a:xfrm>
            <a:off x="8158142" y="3720498"/>
            <a:ext cx="480486" cy="779165"/>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600">
                <a:solidFill>
                  <a:schemeClr val="accent1"/>
                </a:solidFill>
                <a:latin typeface="Ericsson Technical Icons" panose="00000500000000000000" pitchFamily="2" charset="0"/>
              </a:rPr>
              <a:t>s</a:t>
            </a:r>
          </a:p>
          <a:p>
            <a:pPr marL="0" indent="0" algn="ctr">
              <a:lnSpc>
                <a:spcPct val="90000"/>
              </a:lnSpc>
              <a:spcBef>
                <a:spcPts val="0"/>
              </a:spcBef>
              <a:buClr>
                <a:schemeClr val="tx1"/>
              </a:buClr>
              <a:buNone/>
            </a:pPr>
            <a:endParaRPr lang="en-US" sz="1100">
              <a:solidFill>
                <a:schemeClr val="accent1"/>
              </a:solidFill>
            </a:endParaRPr>
          </a:p>
          <a:p>
            <a:pPr marL="0" indent="0" algn="ctr">
              <a:lnSpc>
                <a:spcPct val="90000"/>
              </a:lnSpc>
              <a:spcBef>
                <a:spcPts val="0"/>
              </a:spcBef>
              <a:buClr>
                <a:schemeClr val="tx1"/>
              </a:buClr>
              <a:buNone/>
            </a:pPr>
            <a:r>
              <a:rPr lang="en-US" sz="1100">
                <a:solidFill>
                  <a:schemeClr val="accent1"/>
                </a:solidFill>
              </a:rPr>
              <a:t>AMF</a:t>
            </a:r>
            <a:br>
              <a:rPr lang="en-US" sz="1050">
                <a:solidFill>
                  <a:schemeClr val="accent1"/>
                </a:solidFill>
              </a:rPr>
            </a:br>
            <a:endParaRPr lang="en-US" sz="1050">
              <a:solidFill>
                <a:schemeClr val="accent1"/>
              </a:solidFill>
            </a:endParaRPr>
          </a:p>
        </p:txBody>
      </p:sp>
      <p:sp>
        <p:nvSpPr>
          <p:cNvPr id="182" name="Freeform: Shape 181">
            <a:extLst>
              <a:ext uri="{FF2B5EF4-FFF2-40B4-BE49-F238E27FC236}">
                <a16:creationId xmlns:a16="http://schemas.microsoft.com/office/drawing/2014/main" id="{F8E1AABE-838B-42D4-8606-78E0D2607A93}"/>
              </a:ext>
            </a:extLst>
          </p:cNvPr>
          <p:cNvSpPr/>
          <p:nvPr/>
        </p:nvSpPr>
        <p:spPr bwMode="auto">
          <a:xfrm>
            <a:off x="9013842" y="3183082"/>
            <a:ext cx="292683" cy="252032"/>
          </a:xfrm>
          <a:custGeom>
            <a:avLst/>
            <a:gdLst>
              <a:gd name="connsiteX0" fmla="*/ 0 w 335902"/>
              <a:gd name="connsiteY0" fmla="*/ 0 h 289249"/>
              <a:gd name="connsiteX1" fmla="*/ 102637 w 335902"/>
              <a:gd name="connsiteY1" fmla="*/ 0 h 289249"/>
              <a:gd name="connsiteX2" fmla="*/ 102637 w 335902"/>
              <a:gd name="connsiteY2" fmla="*/ 289249 h 289249"/>
              <a:gd name="connsiteX3" fmla="*/ 186613 w 335902"/>
              <a:gd name="connsiteY3" fmla="*/ 270587 h 289249"/>
              <a:gd name="connsiteX4" fmla="*/ 335902 w 335902"/>
              <a:gd name="connsiteY4" fmla="*/ 261257 h 289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02" h="289249">
                <a:moveTo>
                  <a:pt x="0" y="0"/>
                </a:moveTo>
                <a:lnTo>
                  <a:pt x="102637" y="0"/>
                </a:lnTo>
                <a:lnTo>
                  <a:pt x="102637" y="289249"/>
                </a:lnTo>
                <a:cubicBezTo>
                  <a:pt x="130629" y="283028"/>
                  <a:pt x="158160" y="274144"/>
                  <a:pt x="186613" y="270587"/>
                </a:cubicBezTo>
                <a:cubicBezTo>
                  <a:pt x="262908" y="261050"/>
                  <a:pt x="284256" y="261257"/>
                  <a:pt x="335902" y="261257"/>
                </a:cubicBezTo>
              </a:path>
            </a:pathLst>
          </a:custGeom>
          <a:noFill/>
          <a:ln w="3175" cap="flat" cmpd="sng" algn="ctr">
            <a:noFill/>
            <a:prstDash val="solid"/>
            <a:round/>
            <a:headEnd type="none" w="med" len="med"/>
            <a:tailEnd type="none" w="med" len="med"/>
          </a:ln>
          <a:effectLst/>
        </p:spPr>
        <p:txBody>
          <a:bodyPr rtlCol="0" anchor="ctr"/>
          <a:lstStyle/>
          <a:p>
            <a:pPr marL="0" indent="0" algn="ctr">
              <a:buNone/>
            </a:pPr>
            <a:endParaRPr lang="en-US" sz="1600"/>
          </a:p>
        </p:txBody>
      </p:sp>
      <p:sp>
        <p:nvSpPr>
          <p:cNvPr id="183" name="Freeform: Shape 182">
            <a:extLst>
              <a:ext uri="{FF2B5EF4-FFF2-40B4-BE49-F238E27FC236}">
                <a16:creationId xmlns:a16="http://schemas.microsoft.com/office/drawing/2014/main" id="{B64976DF-7733-4109-806F-7F144CC98335}"/>
              </a:ext>
            </a:extLst>
          </p:cNvPr>
          <p:cNvSpPr/>
          <p:nvPr/>
        </p:nvSpPr>
        <p:spPr bwMode="auto">
          <a:xfrm>
            <a:off x="9392979" y="3061371"/>
            <a:ext cx="383195" cy="1500849"/>
          </a:xfrm>
          <a:custGeom>
            <a:avLst/>
            <a:gdLst>
              <a:gd name="connsiteX0" fmla="*/ 382555 w 382555"/>
              <a:gd name="connsiteY0" fmla="*/ 335902 h 335902"/>
              <a:gd name="connsiteX1" fmla="*/ 177281 w 382555"/>
              <a:gd name="connsiteY1" fmla="*/ 335902 h 335902"/>
              <a:gd name="connsiteX2" fmla="*/ 177281 w 382555"/>
              <a:gd name="connsiteY2" fmla="*/ 0 h 335902"/>
              <a:gd name="connsiteX3" fmla="*/ 0 w 382555"/>
              <a:gd name="connsiteY3" fmla="*/ 0 h 335902"/>
              <a:gd name="connsiteX4" fmla="*/ 65314 w 382555"/>
              <a:gd name="connsiteY4" fmla="*/ 0 h 335902"/>
              <a:gd name="connsiteX0" fmla="*/ 317241 w 317241"/>
              <a:gd name="connsiteY0" fmla="*/ 335902 h 335902"/>
              <a:gd name="connsiteX1" fmla="*/ 111967 w 317241"/>
              <a:gd name="connsiteY1" fmla="*/ 335902 h 335902"/>
              <a:gd name="connsiteX2" fmla="*/ 111967 w 317241"/>
              <a:gd name="connsiteY2" fmla="*/ 0 h 335902"/>
              <a:gd name="connsiteX3" fmla="*/ 0 w 317241"/>
              <a:gd name="connsiteY3" fmla="*/ 0 h 335902"/>
              <a:gd name="connsiteX0" fmla="*/ 422182 w 422182"/>
              <a:gd name="connsiteY0" fmla="*/ 335902 h 335902"/>
              <a:gd name="connsiteX1" fmla="*/ 111967 w 422182"/>
              <a:gd name="connsiteY1" fmla="*/ 335902 h 335902"/>
              <a:gd name="connsiteX2" fmla="*/ 111967 w 422182"/>
              <a:gd name="connsiteY2" fmla="*/ 0 h 335902"/>
              <a:gd name="connsiteX3" fmla="*/ 0 w 422182"/>
              <a:gd name="connsiteY3" fmla="*/ 0 h 335902"/>
            </a:gdLst>
            <a:ahLst/>
            <a:cxnLst>
              <a:cxn ang="0">
                <a:pos x="connsiteX0" y="connsiteY0"/>
              </a:cxn>
              <a:cxn ang="0">
                <a:pos x="connsiteX1" y="connsiteY1"/>
              </a:cxn>
              <a:cxn ang="0">
                <a:pos x="connsiteX2" y="connsiteY2"/>
              </a:cxn>
              <a:cxn ang="0">
                <a:pos x="connsiteX3" y="connsiteY3"/>
              </a:cxn>
            </a:cxnLst>
            <a:rect l="l" t="t" r="r" b="b"/>
            <a:pathLst>
              <a:path w="422182" h="335902">
                <a:moveTo>
                  <a:pt x="422182" y="335902"/>
                </a:moveTo>
                <a:lnTo>
                  <a:pt x="111967" y="335902"/>
                </a:lnTo>
                <a:lnTo>
                  <a:pt x="111967" y="0"/>
                </a:lnTo>
                <a:lnTo>
                  <a:pt x="0" y="0"/>
                </a:lnTo>
              </a:path>
            </a:pathLst>
          </a:custGeom>
          <a:noFill/>
          <a:ln w="12700" cap="flat" cmpd="sng" algn="ctr">
            <a:solidFill>
              <a:schemeClr val="tx1"/>
            </a:solidFill>
            <a:prstDash val="solid"/>
            <a:round/>
            <a:headEnd type="none" w="med" len="med"/>
            <a:tailEnd type="none" w="med" len="med"/>
          </a:ln>
          <a:effectLst/>
        </p:spPr>
        <p:txBody>
          <a:bodyPr rtlCol="0" anchor="ctr"/>
          <a:lstStyle/>
          <a:p>
            <a:pPr marL="0" indent="0" algn="ctr">
              <a:buNone/>
            </a:pPr>
            <a:endParaRPr lang="en-US" sz="1600"/>
          </a:p>
        </p:txBody>
      </p:sp>
      <p:sp>
        <p:nvSpPr>
          <p:cNvPr id="184" name="TextBox 183">
            <a:extLst>
              <a:ext uri="{FF2B5EF4-FFF2-40B4-BE49-F238E27FC236}">
                <a16:creationId xmlns:a16="http://schemas.microsoft.com/office/drawing/2014/main" id="{48726792-35FB-467F-A5E7-C70F2753D422}"/>
              </a:ext>
            </a:extLst>
          </p:cNvPr>
          <p:cNvSpPr txBox="1"/>
          <p:nvPr/>
        </p:nvSpPr>
        <p:spPr bwMode="auto">
          <a:xfrm>
            <a:off x="9764079" y="4170987"/>
            <a:ext cx="480486" cy="779165"/>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600">
                <a:solidFill>
                  <a:schemeClr val="accent1"/>
                </a:solidFill>
                <a:latin typeface="Ericsson Technical Icons" panose="00000500000000000000" pitchFamily="2" charset="0"/>
              </a:rPr>
              <a:t>g</a:t>
            </a:r>
          </a:p>
          <a:p>
            <a:pPr marL="0" indent="0" algn="ctr">
              <a:lnSpc>
                <a:spcPct val="90000"/>
              </a:lnSpc>
              <a:spcBef>
                <a:spcPts val="0"/>
              </a:spcBef>
              <a:buClr>
                <a:schemeClr val="tx1"/>
              </a:buClr>
              <a:buNone/>
            </a:pPr>
            <a:endParaRPr lang="en-US" sz="1050">
              <a:solidFill>
                <a:schemeClr val="accent1"/>
              </a:solidFill>
            </a:endParaRPr>
          </a:p>
          <a:p>
            <a:pPr marL="0" indent="0" algn="ctr">
              <a:lnSpc>
                <a:spcPct val="90000"/>
              </a:lnSpc>
              <a:spcBef>
                <a:spcPts val="0"/>
              </a:spcBef>
              <a:buClr>
                <a:schemeClr val="tx1"/>
              </a:buClr>
              <a:buNone/>
            </a:pPr>
            <a:r>
              <a:rPr lang="en-US" sz="1000">
                <a:solidFill>
                  <a:schemeClr val="accent1"/>
                </a:solidFill>
              </a:rPr>
              <a:t>UPF</a:t>
            </a:r>
          </a:p>
        </p:txBody>
      </p:sp>
      <p:sp>
        <p:nvSpPr>
          <p:cNvPr id="185" name="TextBox 184">
            <a:extLst>
              <a:ext uri="{FF2B5EF4-FFF2-40B4-BE49-F238E27FC236}">
                <a16:creationId xmlns:a16="http://schemas.microsoft.com/office/drawing/2014/main" id="{4501FDD0-DE1D-4263-B595-CF9BCCCAF340}"/>
              </a:ext>
            </a:extLst>
          </p:cNvPr>
          <p:cNvSpPr txBox="1"/>
          <p:nvPr/>
        </p:nvSpPr>
        <p:spPr bwMode="auto">
          <a:xfrm>
            <a:off x="10555692" y="2099996"/>
            <a:ext cx="479607" cy="779362"/>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1800">
                <a:solidFill>
                  <a:schemeClr val="accent1"/>
                </a:solidFill>
                <a:latin typeface="Ericsson Technical Icons" panose="00000500000000000000" pitchFamily="2" charset="0"/>
              </a:rPr>
              <a:t>D</a:t>
            </a:r>
            <a:endParaRPr lang="en-US" sz="1800">
              <a:solidFill>
                <a:schemeClr val="accent1"/>
              </a:solidFill>
            </a:endParaRPr>
          </a:p>
          <a:p>
            <a:pPr marL="0" indent="0" algn="ctr">
              <a:buClr>
                <a:schemeClr val="tx1"/>
              </a:buClr>
              <a:buNone/>
            </a:pPr>
            <a:r>
              <a:rPr lang="en-US" sz="1050">
                <a:solidFill>
                  <a:schemeClr val="accent1"/>
                </a:solidFill>
              </a:rPr>
              <a:t>HSS/</a:t>
            </a:r>
            <a:br>
              <a:rPr lang="en-US" sz="1050">
                <a:solidFill>
                  <a:schemeClr val="accent1"/>
                </a:solidFill>
              </a:rPr>
            </a:br>
            <a:r>
              <a:rPr lang="en-US" sz="1050">
                <a:solidFill>
                  <a:schemeClr val="accent1"/>
                </a:solidFill>
              </a:rPr>
              <a:t>UDM</a:t>
            </a:r>
          </a:p>
        </p:txBody>
      </p:sp>
      <p:sp>
        <p:nvSpPr>
          <p:cNvPr id="186" name="Freeform: Shape 185">
            <a:extLst>
              <a:ext uri="{FF2B5EF4-FFF2-40B4-BE49-F238E27FC236}">
                <a16:creationId xmlns:a16="http://schemas.microsoft.com/office/drawing/2014/main" id="{3EF3F893-A4F1-4DFE-AB9C-EAFE2946D785}"/>
              </a:ext>
            </a:extLst>
          </p:cNvPr>
          <p:cNvSpPr/>
          <p:nvPr/>
        </p:nvSpPr>
        <p:spPr bwMode="auto">
          <a:xfrm>
            <a:off x="11035300" y="2487346"/>
            <a:ext cx="308654" cy="1682010"/>
          </a:xfrm>
          <a:custGeom>
            <a:avLst/>
            <a:gdLst>
              <a:gd name="connsiteX0" fmla="*/ 0 w 505521"/>
              <a:gd name="connsiteY0" fmla="*/ 0 h 1360448"/>
              <a:gd name="connsiteX1" fmla="*/ 505521 w 505521"/>
              <a:gd name="connsiteY1" fmla="*/ 0 h 1360448"/>
              <a:gd name="connsiteX2" fmla="*/ 505521 w 505521"/>
              <a:gd name="connsiteY2" fmla="*/ 1360448 h 1360448"/>
            </a:gdLst>
            <a:ahLst/>
            <a:cxnLst>
              <a:cxn ang="0">
                <a:pos x="connsiteX0" y="connsiteY0"/>
              </a:cxn>
              <a:cxn ang="0">
                <a:pos x="connsiteX1" y="connsiteY1"/>
              </a:cxn>
              <a:cxn ang="0">
                <a:pos x="connsiteX2" y="connsiteY2"/>
              </a:cxn>
            </a:cxnLst>
            <a:rect l="l" t="t" r="r" b="b"/>
            <a:pathLst>
              <a:path w="505521" h="1360448">
                <a:moveTo>
                  <a:pt x="0" y="0"/>
                </a:moveTo>
                <a:lnTo>
                  <a:pt x="505521" y="0"/>
                </a:lnTo>
                <a:lnTo>
                  <a:pt x="505521" y="1360448"/>
                </a:lnTo>
              </a:path>
            </a:pathLst>
          </a:custGeom>
          <a:noFill/>
          <a:ln w="3175" cap="flat" cmpd="sng" algn="ctr">
            <a:solidFill>
              <a:schemeClr val="tx1"/>
            </a:solidFill>
            <a:prstDash val="dash"/>
            <a:round/>
            <a:headEnd type="none" w="med" len="med"/>
            <a:tailEnd type="none" w="med" len="med"/>
          </a:ln>
          <a:effectLst/>
        </p:spPr>
        <p:txBody>
          <a:bodyPr rtlCol="0" anchor="ctr"/>
          <a:lstStyle/>
          <a:p>
            <a:pPr marL="0" indent="0" algn="ctr">
              <a:buNone/>
            </a:pPr>
            <a:endParaRPr lang="en-US" sz="1600"/>
          </a:p>
        </p:txBody>
      </p:sp>
      <p:sp>
        <p:nvSpPr>
          <p:cNvPr id="187" name="Freeform: Shape 186">
            <a:extLst>
              <a:ext uri="{FF2B5EF4-FFF2-40B4-BE49-F238E27FC236}">
                <a16:creationId xmlns:a16="http://schemas.microsoft.com/office/drawing/2014/main" id="{FFBE0940-9CA7-44F0-ABC8-E426627182F4}"/>
              </a:ext>
            </a:extLst>
          </p:cNvPr>
          <p:cNvSpPr/>
          <p:nvPr/>
        </p:nvSpPr>
        <p:spPr bwMode="auto">
          <a:xfrm>
            <a:off x="8518673" y="2396224"/>
            <a:ext cx="2033244" cy="1321659"/>
          </a:xfrm>
          <a:custGeom>
            <a:avLst/>
            <a:gdLst>
              <a:gd name="connsiteX0" fmla="*/ 0 w 1345581"/>
              <a:gd name="connsiteY0" fmla="*/ 498088 h 498088"/>
              <a:gd name="connsiteX1" fmla="*/ 0 w 1345581"/>
              <a:gd name="connsiteY1" fmla="*/ 260195 h 498088"/>
              <a:gd name="connsiteX2" fmla="*/ 698810 w 1345581"/>
              <a:gd name="connsiteY2" fmla="*/ 260195 h 498088"/>
              <a:gd name="connsiteX3" fmla="*/ 1345581 w 1345581"/>
              <a:gd name="connsiteY3" fmla="*/ 260195 h 498088"/>
              <a:gd name="connsiteX4" fmla="*/ 1345581 w 1345581"/>
              <a:gd name="connsiteY4" fmla="*/ 0 h 498088"/>
              <a:gd name="connsiteX0" fmla="*/ 0 w 1345581"/>
              <a:gd name="connsiteY0" fmla="*/ 237893 h 237893"/>
              <a:gd name="connsiteX1" fmla="*/ 0 w 1345581"/>
              <a:gd name="connsiteY1" fmla="*/ 0 h 237893"/>
              <a:gd name="connsiteX2" fmla="*/ 698810 w 1345581"/>
              <a:gd name="connsiteY2" fmla="*/ 0 h 237893"/>
              <a:gd name="connsiteX3" fmla="*/ 1345581 w 1345581"/>
              <a:gd name="connsiteY3" fmla="*/ 0 h 237893"/>
            </a:gdLst>
            <a:ahLst/>
            <a:cxnLst>
              <a:cxn ang="0">
                <a:pos x="connsiteX0" y="connsiteY0"/>
              </a:cxn>
              <a:cxn ang="0">
                <a:pos x="connsiteX1" y="connsiteY1"/>
              </a:cxn>
              <a:cxn ang="0">
                <a:pos x="connsiteX2" y="connsiteY2"/>
              </a:cxn>
              <a:cxn ang="0">
                <a:pos x="connsiteX3" y="connsiteY3"/>
              </a:cxn>
            </a:cxnLst>
            <a:rect l="l" t="t" r="r" b="b"/>
            <a:pathLst>
              <a:path w="1345581" h="237893">
                <a:moveTo>
                  <a:pt x="0" y="237893"/>
                </a:moveTo>
                <a:lnTo>
                  <a:pt x="0" y="0"/>
                </a:lnTo>
                <a:lnTo>
                  <a:pt x="698810" y="0"/>
                </a:lnTo>
                <a:lnTo>
                  <a:pt x="1345581" y="0"/>
                </a:lnTo>
              </a:path>
            </a:pathLst>
          </a:custGeom>
          <a:noFill/>
          <a:ln w="3175" cap="flat" cmpd="sng" algn="ctr">
            <a:solidFill>
              <a:schemeClr val="tx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endParaRPr lang="en-US" sz="1600"/>
          </a:p>
        </p:txBody>
      </p:sp>
      <p:cxnSp>
        <p:nvCxnSpPr>
          <p:cNvPr id="188" name="Straight Connector 187">
            <a:extLst>
              <a:ext uri="{FF2B5EF4-FFF2-40B4-BE49-F238E27FC236}">
                <a16:creationId xmlns:a16="http://schemas.microsoft.com/office/drawing/2014/main" id="{31801794-ACDE-4459-9620-1922C3E979E1}"/>
              </a:ext>
            </a:extLst>
          </p:cNvPr>
          <p:cNvCxnSpPr>
            <a:cxnSpLocks/>
          </p:cNvCxnSpPr>
          <p:nvPr/>
        </p:nvCxnSpPr>
        <p:spPr bwMode="auto">
          <a:xfrm>
            <a:off x="7719404" y="4362330"/>
            <a:ext cx="442510" cy="0"/>
          </a:xfrm>
          <a:prstGeom prst="line">
            <a:avLst/>
          </a:prstGeom>
          <a:noFill/>
          <a:ln w="3175" cap="flat" cmpd="sng" algn="ctr">
            <a:solidFill>
              <a:schemeClr val="tx1"/>
            </a:solidFill>
            <a:prstDash val="dash"/>
            <a:round/>
            <a:headEnd type="none" w="med" len="med"/>
            <a:tailEnd type="none" w="med" len="med"/>
          </a:ln>
          <a:effectLst/>
        </p:spPr>
      </p:cxnSp>
      <p:cxnSp>
        <p:nvCxnSpPr>
          <p:cNvPr id="189" name="Straight Connector 188">
            <a:extLst>
              <a:ext uri="{FF2B5EF4-FFF2-40B4-BE49-F238E27FC236}">
                <a16:creationId xmlns:a16="http://schemas.microsoft.com/office/drawing/2014/main" id="{4E4EE04D-6EC0-42DE-9C4C-59710357047B}"/>
              </a:ext>
            </a:extLst>
          </p:cNvPr>
          <p:cNvCxnSpPr>
            <a:cxnSpLocks/>
          </p:cNvCxnSpPr>
          <p:nvPr/>
        </p:nvCxnSpPr>
        <p:spPr bwMode="auto">
          <a:xfrm>
            <a:off x="8642400" y="3776735"/>
            <a:ext cx="1133774" cy="0"/>
          </a:xfrm>
          <a:prstGeom prst="line">
            <a:avLst/>
          </a:prstGeom>
          <a:noFill/>
          <a:ln w="3175" cap="flat" cmpd="sng" algn="ctr">
            <a:solidFill>
              <a:schemeClr val="tx1"/>
            </a:solidFill>
            <a:prstDash val="dash"/>
            <a:round/>
            <a:headEnd type="none" w="med" len="med"/>
            <a:tailEnd type="none" w="med" len="med"/>
          </a:ln>
          <a:effectLst/>
        </p:spPr>
      </p:cxnSp>
      <p:cxnSp>
        <p:nvCxnSpPr>
          <p:cNvPr id="190" name="Straight Connector 189">
            <a:extLst>
              <a:ext uri="{FF2B5EF4-FFF2-40B4-BE49-F238E27FC236}">
                <a16:creationId xmlns:a16="http://schemas.microsoft.com/office/drawing/2014/main" id="{85958FAB-F70B-48AF-936F-268489A267E6}"/>
              </a:ext>
            </a:extLst>
          </p:cNvPr>
          <p:cNvCxnSpPr>
            <a:cxnSpLocks/>
            <a:stCxn id="184" idx="3"/>
            <a:endCxn id="178" idx="1"/>
          </p:cNvCxnSpPr>
          <p:nvPr/>
        </p:nvCxnSpPr>
        <p:spPr bwMode="auto">
          <a:xfrm>
            <a:off x="10244565" y="4560570"/>
            <a:ext cx="856388" cy="0"/>
          </a:xfrm>
          <a:prstGeom prst="line">
            <a:avLst/>
          </a:prstGeom>
          <a:solidFill>
            <a:schemeClr val="accent1"/>
          </a:solidFill>
          <a:ln w="12700" cap="flat" cmpd="sng" algn="ctr">
            <a:solidFill>
              <a:srgbClr val="00285F"/>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7607048F-E87F-4D5C-B910-E1CC10703B78}"/>
              </a:ext>
            </a:extLst>
          </p:cNvPr>
          <p:cNvCxnSpPr>
            <a:cxnSpLocks/>
            <a:stCxn id="177" idx="3"/>
            <a:endCxn id="179" idx="1"/>
          </p:cNvCxnSpPr>
          <p:nvPr/>
        </p:nvCxnSpPr>
        <p:spPr bwMode="auto">
          <a:xfrm flipV="1">
            <a:off x="7703352" y="2873105"/>
            <a:ext cx="1194937" cy="4636"/>
          </a:xfrm>
          <a:prstGeom prst="line">
            <a:avLst/>
          </a:prstGeom>
          <a:solidFill>
            <a:schemeClr val="accent1"/>
          </a:solidFill>
          <a:ln w="12700" cap="flat" cmpd="sng" algn="ctr">
            <a:solidFill>
              <a:srgbClr val="00285F"/>
            </a:solidFill>
            <a:prstDash val="solid"/>
            <a:round/>
            <a:headEnd type="none" w="med" len="med"/>
            <a:tailEnd type="none" w="med" len="med"/>
          </a:ln>
          <a:effectLst/>
        </p:spPr>
      </p:cxnSp>
      <p:sp>
        <p:nvSpPr>
          <p:cNvPr id="192" name="Freeform: Shape 191">
            <a:extLst>
              <a:ext uri="{FF2B5EF4-FFF2-40B4-BE49-F238E27FC236}">
                <a16:creationId xmlns:a16="http://schemas.microsoft.com/office/drawing/2014/main" id="{6DCEC80D-1348-4006-9F7F-23D5710E60B5}"/>
              </a:ext>
            </a:extLst>
          </p:cNvPr>
          <p:cNvSpPr/>
          <p:nvPr/>
        </p:nvSpPr>
        <p:spPr bwMode="auto">
          <a:xfrm flipH="1">
            <a:off x="8398084" y="2017254"/>
            <a:ext cx="2396915" cy="94301"/>
          </a:xfrm>
          <a:custGeom>
            <a:avLst/>
            <a:gdLst>
              <a:gd name="connsiteX0" fmla="*/ 0 w 1345581"/>
              <a:gd name="connsiteY0" fmla="*/ 498088 h 498088"/>
              <a:gd name="connsiteX1" fmla="*/ 0 w 1345581"/>
              <a:gd name="connsiteY1" fmla="*/ 260195 h 498088"/>
              <a:gd name="connsiteX2" fmla="*/ 698810 w 1345581"/>
              <a:gd name="connsiteY2" fmla="*/ 260195 h 498088"/>
              <a:gd name="connsiteX3" fmla="*/ 1345581 w 1345581"/>
              <a:gd name="connsiteY3" fmla="*/ 260195 h 498088"/>
              <a:gd name="connsiteX4" fmla="*/ 1345581 w 1345581"/>
              <a:gd name="connsiteY4" fmla="*/ 0 h 498088"/>
              <a:gd name="connsiteX0" fmla="*/ 0 w 1345581"/>
              <a:gd name="connsiteY0" fmla="*/ 237893 h 237893"/>
              <a:gd name="connsiteX1" fmla="*/ 0 w 1345581"/>
              <a:gd name="connsiteY1" fmla="*/ 0 h 237893"/>
              <a:gd name="connsiteX2" fmla="*/ 698810 w 1345581"/>
              <a:gd name="connsiteY2" fmla="*/ 0 h 237893"/>
              <a:gd name="connsiteX3" fmla="*/ 1345581 w 1345581"/>
              <a:gd name="connsiteY3" fmla="*/ 0 h 237893"/>
            </a:gdLst>
            <a:ahLst/>
            <a:cxnLst>
              <a:cxn ang="0">
                <a:pos x="connsiteX0" y="connsiteY0"/>
              </a:cxn>
              <a:cxn ang="0">
                <a:pos x="connsiteX1" y="connsiteY1"/>
              </a:cxn>
              <a:cxn ang="0">
                <a:pos x="connsiteX2" y="connsiteY2"/>
              </a:cxn>
              <a:cxn ang="0">
                <a:pos x="connsiteX3" y="connsiteY3"/>
              </a:cxn>
            </a:cxnLst>
            <a:rect l="l" t="t" r="r" b="b"/>
            <a:pathLst>
              <a:path w="1345581" h="237893">
                <a:moveTo>
                  <a:pt x="0" y="237893"/>
                </a:moveTo>
                <a:lnTo>
                  <a:pt x="0" y="0"/>
                </a:lnTo>
                <a:lnTo>
                  <a:pt x="698810" y="0"/>
                </a:lnTo>
                <a:lnTo>
                  <a:pt x="1345581" y="0"/>
                </a:lnTo>
              </a:path>
            </a:pathLst>
          </a:custGeom>
          <a:noFill/>
          <a:ln w="3175" cap="flat" cmpd="sng" algn="ctr">
            <a:solidFill>
              <a:schemeClr val="tx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endParaRPr lang="en-US" sz="1600"/>
          </a:p>
        </p:txBody>
      </p:sp>
      <p:sp>
        <p:nvSpPr>
          <p:cNvPr id="193" name="TextBox 192">
            <a:extLst>
              <a:ext uri="{FF2B5EF4-FFF2-40B4-BE49-F238E27FC236}">
                <a16:creationId xmlns:a16="http://schemas.microsoft.com/office/drawing/2014/main" id="{1A52FA2D-6EED-4AB7-BF94-D47EA7B60569}"/>
              </a:ext>
            </a:extLst>
          </p:cNvPr>
          <p:cNvSpPr txBox="1"/>
          <p:nvPr/>
        </p:nvSpPr>
        <p:spPr bwMode="auto">
          <a:xfrm>
            <a:off x="10555692" y="3147122"/>
            <a:ext cx="471820" cy="76787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spcBef>
                <a:spcPts val="0"/>
              </a:spcBef>
              <a:buClr>
                <a:schemeClr val="tx1"/>
              </a:buClr>
              <a:buNone/>
            </a:pPr>
            <a:r>
              <a:rPr lang="en-US" sz="1050">
                <a:solidFill>
                  <a:schemeClr val="accent1"/>
                </a:solidFill>
                <a:latin typeface="Ericsson Technical Icons" panose="00000500000000000000" pitchFamily="2" charset="0"/>
              </a:rPr>
              <a:t>s</a:t>
            </a:r>
            <a:br>
              <a:rPr lang="en-US" sz="1050">
                <a:solidFill>
                  <a:schemeClr val="accent1"/>
                </a:solidFill>
                <a:latin typeface="Ericsson Technical Icons" panose="00000500000000000000" pitchFamily="2" charset="0"/>
              </a:rPr>
            </a:br>
            <a:r>
              <a:rPr lang="en-US" sz="1050">
                <a:solidFill>
                  <a:schemeClr val="accent1"/>
                </a:solidFill>
                <a:latin typeface="Ericsson Technical Icons" panose="00000500000000000000" pitchFamily="2" charset="0"/>
              </a:rPr>
              <a:t>d</a:t>
            </a:r>
          </a:p>
          <a:p>
            <a:pPr marL="0" indent="0" algn="ctr">
              <a:lnSpc>
                <a:spcPct val="90000"/>
              </a:lnSpc>
              <a:spcBef>
                <a:spcPts val="0"/>
              </a:spcBef>
              <a:buClr>
                <a:schemeClr val="tx1"/>
              </a:buClr>
              <a:buNone/>
            </a:pPr>
            <a:r>
              <a:rPr lang="en-US" sz="900">
                <a:solidFill>
                  <a:schemeClr val="accent1"/>
                </a:solidFill>
              </a:rPr>
              <a:t> </a:t>
            </a:r>
            <a:br>
              <a:rPr lang="en-US" sz="900">
                <a:solidFill>
                  <a:schemeClr val="accent1"/>
                </a:solidFill>
              </a:rPr>
            </a:br>
            <a:r>
              <a:rPr lang="en-US" sz="900">
                <a:solidFill>
                  <a:schemeClr val="accent1"/>
                </a:solidFill>
              </a:rPr>
              <a:t>PCF</a:t>
            </a:r>
            <a:br>
              <a:rPr lang="en-US" sz="1050">
                <a:solidFill>
                  <a:schemeClr val="accent1"/>
                </a:solidFill>
              </a:rPr>
            </a:br>
            <a:endParaRPr lang="en-US" sz="1050">
              <a:solidFill>
                <a:schemeClr val="accent1"/>
              </a:solidFill>
            </a:endParaRPr>
          </a:p>
        </p:txBody>
      </p:sp>
      <p:cxnSp>
        <p:nvCxnSpPr>
          <p:cNvPr id="194" name="Straight Connector 193">
            <a:extLst>
              <a:ext uri="{FF2B5EF4-FFF2-40B4-BE49-F238E27FC236}">
                <a16:creationId xmlns:a16="http://schemas.microsoft.com/office/drawing/2014/main" id="{63BE467C-E1B3-4EBD-912F-A5ECABD94B49}"/>
              </a:ext>
            </a:extLst>
          </p:cNvPr>
          <p:cNvCxnSpPr>
            <a:cxnSpLocks/>
          </p:cNvCxnSpPr>
          <p:nvPr/>
        </p:nvCxnSpPr>
        <p:spPr bwMode="auto">
          <a:xfrm>
            <a:off x="10251905" y="3622922"/>
            <a:ext cx="307798" cy="0"/>
          </a:xfrm>
          <a:prstGeom prst="line">
            <a:avLst/>
          </a:prstGeom>
          <a:noFill/>
          <a:ln w="3175" cap="flat" cmpd="sng" algn="ctr">
            <a:solidFill>
              <a:schemeClr val="tx1"/>
            </a:solidFill>
            <a:prstDash val="dash"/>
            <a:round/>
            <a:headEnd type="none" w="med" len="med"/>
            <a:tailEnd type="none" w="med" len="med"/>
          </a:ln>
          <a:effectLst/>
        </p:spPr>
      </p:cxnSp>
      <p:sp>
        <p:nvSpPr>
          <p:cNvPr id="195" name="TextBox 194">
            <a:extLst>
              <a:ext uri="{FF2B5EF4-FFF2-40B4-BE49-F238E27FC236}">
                <a16:creationId xmlns:a16="http://schemas.microsoft.com/office/drawing/2014/main" id="{8E0DD3D2-094A-463A-8608-090E21F0490A}"/>
              </a:ext>
            </a:extLst>
          </p:cNvPr>
          <p:cNvSpPr txBox="1"/>
          <p:nvPr/>
        </p:nvSpPr>
        <p:spPr bwMode="auto">
          <a:xfrm>
            <a:off x="7917599" y="1988233"/>
            <a:ext cx="480486" cy="779165"/>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6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endParaRPr lang="en-US" sz="1000">
              <a:solidFill>
                <a:schemeClr val="accent2">
                  <a:lumMod val="75000"/>
                </a:schemeClr>
              </a:solidFill>
            </a:endParaRPr>
          </a:p>
          <a:p>
            <a:pPr marL="0" indent="0" algn="ctr">
              <a:lnSpc>
                <a:spcPct val="90000"/>
              </a:lnSpc>
              <a:spcBef>
                <a:spcPts val="0"/>
              </a:spcBef>
              <a:buClr>
                <a:schemeClr val="tx1"/>
              </a:buClr>
              <a:buNone/>
            </a:pPr>
            <a:r>
              <a:rPr lang="en-US" sz="1000">
                <a:solidFill>
                  <a:schemeClr val="accent2">
                    <a:lumMod val="75000"/>
                  </a:schemeClr>
                </a:solidFill>
              </a:rPr>
              <a:t>MME</a:t>
            </a:r>
            <a:endParaRPr lang="en-US" sz="1050">
              <a:solidFill>
                <a:schemeClr val="accent2">
                  <a:lumMod val="75000"/>
                </a:schemeClr>
              </a:solidFill>
            </a:endParaRPr>
          </a:p>
        </p:txBody>
      </p:sp>
      <p:sp>
        <p:nvSpPr>
          <p:cNvPr id="196" name="Freeform: Shape 195">
            <a:extLst>
              <a:ext uri="{FF2B5EF4-FFF2-40B4-BE49-F238E27FC236}">
                <a16:creationId xmlns:a16="http://schemas.microsoft.com/office/drawing/2014/main" id="{80BAF783-A4A1-4C20-8A68-9533D1981D3F}"/>
              </a:ext>
            </a:extLst>
          </p:cNvPr>
          <p:cNvSpPr/>
          <p:nvPr/>
        </p:nvSpPr>
        <p:spPr bwMode="auto">
          <a:xfrm>
            <a:off x="9384410" y="2683554"/>
            <a:ext cx="482336" cy="579133"/>
          </a:xfrm>
          <a:custGeom>
            <a:avLst/>
            <a:gdLst>
              <a:gd name="connsiteX0" fmla="*/ 382555 w 382555"/>
              <a:gd name="connsiteY0" fmla="*/ 335902 h 335902"/>
              <a:gd name="connsiteX1" fmla="*/ 177281 w 382555"/>
              <a:gd name="connsiteY1" fmla="*/ 335902 h 335902"/>
              <a:gd name="connsiteX2" fmla="*/ 177281 w 382555"/>
              <a:gd name="connsiteY2" fmla="*/ 0 h 335902"/>
              <a:gd name="connsiteX3" fmla="*/ 0 w 382555"/>
              <a:gd name="connsiteY3" fmla="*/ 0 h 335902"/>
              <a:gd name="connsiteX4" fmla="*/ 65314 w 382555"/>
              <a:gd name="connsiteY4" fmla="*/ 0 h 335902"/>
              <a:gd name="connsiteX0" fmla="*/ 284610 w 284610"/>
              <a:gd name="connsiteY0" fmla="*/ 335902 h 335902"/>
              <a:gd name="connsiteX1" fmla="*/ 177281 w 284610"/>
              <a:gd name="connsiteY1" fmla="*/ 335902 h 335902"/>
              <a:gd name="connsiteX2" fmla="*/ 177281 w 284610"/>
              <a:gd name="connsiteY2" fmla="*/ 0 h 335902"/>
              <a:gd name="connsiteX3" fmla="*/ 0 w 284610"/>
              <a:gd name="connsiteY3" fmla="*/ 0 h 335902"/>
              <a:gd name="connsiteX4" fmla="*/ 65314 w 284610"/>
              <a:gd name="connsiteY4" fmla="*/ 0 h 33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10" h="335902">
                <a:moveTo>
                  <a:pt x="284610" y="335902"/>
                </a:moveTo>
                <a:lnTo>
                  <a:pt x="177281" y="335902"/>
                </a:lnTo>
                <a:lnTo>
                  <a:pt x="177281" y="0"/>
                </a:lnTo>
                <a:lnTo>
                  <a:pt x="0" y="0"/>
                </a:lnTo>
                <a:lnTo>
                  <a:pt x="65314" y="0"/>
                </a:lnTo>
              </a:path>
            </a:pathLst>
          </a:custGeom>
          <a:noFill/>
          <a:ln w="3175" cap="flat" cmpd="sng" algn="ctr">
            <a:solidFill>
              <a:schemeClr val="tx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endParaRPr lang="en-US" sz="1600"/>
          </a:p>
        </p:txBody>
      </p:sp>
      <p:sp>
        <p:nvSpPr>
          <p:cNvPr id="197" name="Freeform: Shape 196">
            <a:extLst>
              <a:ext uri="{FF2B5EF4-FFF2-40B4-BE49-F238E27FC236}">
                <a16:creationId xmlns:a16="http://schemas.microsoft.com/office/drawing/2014/main" id="{C05EAA26-F235-4BD8-81EC-54834CF5CF8D}"/>
              </a:ext>
            </a:extLst>
          </p:cNvPr>
          <p:cNvSpPr/>
          <p:nvPr/>
        </p:nvSpPr>
        <p:spPr bwMode="auto">
          <a:xfrm>
            <a:off x="10895653" y="3614864"/>
            <a:ext cx="300387" cy="556123"/>
          </a:xfrm>
          <a:custGeom>
            <a:avLst/>
            <a:gdLst>
              <a:gd name="connsiteX0" fmla="*/ 0 w 505521"/>
              <a:gd name="connsiteY0" fmla="*/ 0 h 1360448"/>
              <a:gd name="connsiteX1" fmla="*/ 505521 w 505521"/>
              <a:gd name="connsiteY1" fmla="*/ 0 h 1360448"/>
              <a:gd name="connsiteX2" fmla="*/ 505521 w 505521"/>
              <a:gd name="connsiteY2" fmla="*/ 1360448 h 1360448"/>
            </a:gdLst>
            <a:ahLst/>
            <a:cxnLst>
              <a:cxn ang="0">
                <a:pos x="connsiteX0" y="connsiteY0"/>
              </a:cxn>
              <a:cxn ang="0">
                <a:pos x="connsiteX1" y="connsiteY1"/>
              </a:cxn>
              <a:cxn ang="0">
                <a:pos x="connsiteX2" y="connsiteY2"/>
              </a:cxn>
            </a:cxnLst>
            <a:rect l="l" t="t" r="r" b="b"/>
            <a:pathLst>
              <a:path w="505521" h="1360448">
                <a:moveTo>
                  <a:pt x="0" y="0"/>
                </a:moveTo>
                <a:lnTo>
                  <a:pt x="505521" y="0"/>
                </a:lnTo>
                <a:lnTo>
                  <a:pt x="505521" y="1360448"/>
                </a:lnTo>
              </a:path>
            </a:pathLst>
          </a:custGeom>
          <a:noFill/>
          <a:ln w="3175" cap="flat" cmpd="sng" algn="ctr">
            <a:solidFill>
              <a:schemeClr val="tx1"/>
            </a:solidFill>
            <a:prstDash val="dash"/>
            <a:round/>
            <a:headEnd type="none" w="med" len="med"/>
            <a:tailEnd type="none" w="med" len="med"/>
          </a:ln>
          <a:effectLst/>
        </p:spPr>
        <p:txBody>
          <a:bodyPr rtlCol="0" anchor="ctr"/>
          <a:lstStyle/>
          <a:p>
            <a:pPr marL="0" indent="0" algn="ctr">
              <a:buNone/>
            </a:pPr>
            <a:endParaRPr lang="en-US" sz="1600"/>
          </a:p>
        </p:txBody>
      </p:sp>
      <p:cxnSp>
        <p:nvCxnSpPr>
          <p:cNvPr id="198" name="Straight Connector 197">
            <a:extLst>
              <a:ext uri="{FF2B5EF4-FFF2-40B4-BE49-F238E27FC236}">
                <a16:creationId xmlns:a16="http://schemas.microsoft.com/office/drawing/2014/main" id="{EF3DD078-7FC9-4860-BE28-317C1E702A46}"/>
              </a:ext>
            </a:extLst>
          </p:cNvPr>
          <p:cNvCxnSpPr>
            <a:cxnSpLocks/>
            <a:stCxn id="195" idx="3"/>
            <a:endCxn id="179" idx="0"/>
          </p:cNvCxnSpPr>
          <p:nvPr/>
        </p:nvCxnSpPr>
        <p:spPr bwMode="auto">
          <a:xfrm>
            <a:off x="8398085" y="2377816"/>
            <a:ext cx="740447" cy="105706"/>
          </a:xfrm>
          <a:prstGeom prst="line">
            <a:avLst/>
          </a:prstGeom>
          <a:noFill/>
          <a:ln w="3175" cap="flat" cmpd="sng" algn="ctr">
            <a:solidFill>
              <a:schemeClr val="tx1"/>
            </a:solidFill>
            <a:prstDash val="dash"/>
            <a:round/>
            <a:headEnd type="none" w="med" len="med"/>
            <a:tailEnd type="none" w="med" len="med"/>
          </a:ln>
          <a:effectLst/>
        </p:spPr>
      </p:cxnSp>
      <p:cxnSp>
        <p:nvCxnSpPr>
          <p:cNvPr id="199" name="Straight Connector 198">
            <a:extLst>
              <a:ext uri="{FF2B5EF4-FFF2-40B4-BE49-F238E27FC236}">
                <a16:creationId xmlns:a16="http://schemas.microsoft.com/office/drawing/2014/main" id="{57D6ED3F-5600-461E-96AF-086C807E373C}"/>
              </a:ext>
            </a:extLst>
          </p:cNvPr>
          <p:cNvCxnSpPr>
            <a:cxnSpLocks/>
            <a:stCxn id="195" idx="1"/>
          </p:cNvCxnSpPr>
          <p:nvPr/>
        </p:nvCxnSpPr>
        <p:spPr bwMode="auto">
          <a:xfrm flipH="1">
            <a:off x="7724152" y="2377816"/>
            <a:ext cx="193447" cy="321579"/>
          </a:xfrm>
          <a:prstGeom prst="line">
            <a:avLst/>
          </a:prstGeom>
          <a:noFill/>
          <a:ln w="3175" cap="flat" cmpd="sng" algn="ctr">
            <a:solidFill>
              <a:schemeClr val="tx1"/>
            </a:solidFill>
            <a:prstDash val="dash"/>
            <a:round/>
            <a:headEnd type="none" w="med" len="med"/>
            <a:tailEnd type="none" w="med" len="med"/>
          </a:ln>
          <a:effectLst/>
        </p:spPr>
      </p:cxnSp>
      <p:cxnSp>
        <p:nvCxnSpPr>
          <p:cNvPr id="200" name="Straight Connector 199">
            <a:extLst>
              <a:ext uri="{FF2B5EF4-FFF2-40B4-BE49-F238E27FC236}">
                <a16:creationId xmlns:a16="http://schemas.microsoft.com/office/drawing/2014/main" id="{ED98CA56-22F8-4AAB-BEA6-CB90C9AB62DC}"/>
              </a:ext>
            </a:extLst>
          </p:cNvPr>
          <p:cNvCxnSpPr>
            <a:cxnSpLocks/>
            <a:stCxn id="184" idx="0"/>
            <a:endCxn id="214" idx="2"/>
          </p:cNvCxnSpPr>
          <p:nvPr/>
        </p:nvCxnSpPr>
        <p:spPr bwMode="auto">
          <a:xfrm flipV="1">
            <a:off x="10004322" y="3913639"/>
            <a:ext cx="0" cy="257348"/>
          </a:xfrm>
          <a:prstGeom prst="line">
            <a:avLst/>
          </a:prstGeom>
          <a:noFill/>
          <a:ln w="3175" cap="flat" cmpd="sng" algn="ctr">
            <a:solidFill>
              <a:schemeClr val="tx1"/>
            </a:solidFill>
            <a:prstDash val="dash"/>
            <a:round/>
            <a:headEnd type="none" w="med" len="med"/>
            <a:tailEnd type="none" w="med" len="med"/>
          </a:ln>
          <a:effectLst/>
        </p:spPr>
      </p:cxnSp>
      <p:sp>
        <p:nvSpPr>
          <p:cNvPr id="201" name="Freeform: Shape 200">
            <a:extLst>
              <a:ext uri="{FF2B5EF4-FFF2-40B4-BE49-F238E27FC236}">
                <a16:creationId xmlns:a16="http://schemas.microsoft.com/office/drawing/2014/main" id="{67A9E24D-7AB6-4DA4-BB51-D6DC37342050}"/>
              </a:ext>
            </a:extLst>
          </p:cNvPr>
          <p:cNvSpPr/>
          <p:nvPr/>
        </p:nvSpPr>
        <p:spPr bwMode="auto">
          <a:xfrm>
            <a:off x="10004321" y="2607902"/>
            <a:ext cx="555381" cy="526572"/>
          </a:xfrm>
          <a:custGeom>
            <a:avLst/>
            <a:gdLst>
              <a:gd name="connsiteX0" fmla="*/ 0 w 1345581"/>
              <a:gd name="connsiteY0" fmla="*/ 498088 h 498088"/>
              <a:gd name="connsiteX1" fmla="*/ 0 w 1345581"/>
              <a:gd name="connsiteY1" fmla="*/ 260195 h 498088"/>
              <a:gd name="connsiteX2" fmla="*/ 698810 w 1345581"/>
              <a:gd name="connsiteY2" fmla="*/ 260195 h 498088"/>
              <a:gd name="connsiteX3" fmla="*/ 1345581 w 1345581"/>
              <a:gd name="connsiteY3" fmla="*/ 260195 h 498088"/>
              <a:gd name="connsiteX4" fmla="*/ 1345581 w 1345581"/>
              <a:gd name="connsiteY4" fmla="*/ 0 h 498088"/>
              <a:gd name="connsiteX0" fmla="*/ 0 w 1345581"/>
              <a:gd name="connsiteY0" fmla="*/ 237893 h 237893"/>
              <a:gd name="connsiteX1" fmla="*/ 0 w 1345581"/>
              <a:gd name="connsiteY1" fmla="*/ 0 h 237893"/>
              <a:gd name="connsiteX2" fmla="*/ 698810 w 1345581"/>
              <a:gd name="connsiteY2" fmla="*/ 0 h 237893"/>
              <a:gd name="connsiteX3" fmla="*/ 1345581 w 1345581"/>
              <a:gd name="connsiteY3" fmla="*/ 0 h 237893"/>
            </a:gdLst>
            <a:ahLst/>
            <a:cxnLst>
              <a:cxn ang="0">
                <a:pos x="connsiteX0" y="connsiteY0"/>
              </a:cxn>
              <a:cxn ang="0">
                <a:pos x="connsiteX1" y="connsiteY1"/>
              </a:cxn>
              <a:cxn ang="0">
                <a:pos x="connsiteX2" y="connsiteY2"/>
              </a:cxn>
              <a:cxn ang="0">
                <a:pos x="connsiteX3" y="connsiteY3"/>
              </a:cxn>
            </a:cxnLst>
            <a:rect l="l" t="t" r="r" b="b"/>
            <a:pathLst>
              <a:path w="1345581" h="237893">
                <a:moveTo>
                  <a:pt x="0" y="237893"/>
                </a:moveTo>
                <a:lnTo>
                  <a:pt x="0" y="0"/>
                </a:lnTo>
                <a:lnTo>
                  <a:pt x="698810" y="0"/>
                </a:lnTo>
                <a:lnTo>
                  <a:pt x="1345581" y="0"/>
                </a:lnTo>
              </a:path>
            </a:pathLst>
          </a:custGeom>
          <a:noFill/>
          <a:ln w="3175" cap="flat" cmpd="sng" algn="ctr">
            <a:solidFill>
              <a:schemeClr val="tx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endParaRPr lang="en-US" sz="1600"/>
          </a:p>
        </p:txBody>
      </p:sp>
      <p:grpSp>
        <p:nvGrpSpPr>
          <p:cNvPr id="202" name="Group 201">
            <a:extLst>
              <a:ext uri="{FF2B5EF4-FFF2-40B4-BE49-F238E27FC236}">
                <a16:creationId xmlns:a16="http://schemas.microsoft.com/office/drawing/2014/main" id="{2044C062-C46A-4566-9B6A-3DF90EA84BD2}"/>
              </a:ext>
            </a:extLst>
          </p:cNvPr>
          <p:cNvGrpSpPr/>
          <p:nvPr/>
        </p:nvGrpSpPr>
        <p:grpSpPr>
          <a:xfrm>
            <a:off x="5887013" y="2703447"/>
            <a:ext cx="6306800" cy="3453602"/>
            <a:chOff x="5887013" y="2703447"/>
            <a:chExt cx="6306800" cy="3453602"/>
          </a:xfrm>
        </p:grpSpPr>
        <p:sp>
          <p:nvSpPr>
            <p:cNvPr id="203" name="Rectangle 202">
              <a:extLst>
                <a:ext uri="{FF2B5EF4-FFF2-40B4-BE49-F238E27FC236}">
                  <a16:creationId xmlns:a16="http://schemas.microsoft.com/office/drawing/2014/main" id="{941F9328-191D-4F99-9D56-A96D521AA94B}"/>
                </a:ext>
              </a:extLst>
            </p:cNvPr>
            <p:cNvSpPr/>
            <p:nvPr/>
          </p:nvSpPr>
          <p:spPr bwMode="auto">
            <a:xfrm>
              <a:off x="5887013" y="5106795"/>
              <a:ext cx="6253655" cy="1050253"/>
            </a:xfrm>
            <a:prstGeom prst="rect">
              <a:avLst/>
            </a:prstGeom>
            <a:gradFill flip="none" rotWithShape="1">
              <a:gsLst>
                <a:gs pos="0">
                  <a:schemeClr val="tx1">
                    <a:lumMod val="25000"/>
                    <a:lumOff val="75000"/>
                    <a:tint val="66000"/>
                    <a:satMod val="160000"/>
                  </a:schemeClr>
                </a:gs>
                <a:gs pos="50000">
                  <a:schemeClr val="tx1">
                    <a:lumMod val="25000"/>
                    <a:lumOff val="75000"/>
                    <a:tint val="44500"/>
                    <a:satMod val="160000"/>
                  </a:schemeClr>
                </a:gs>
                <a:gs pos="100000">
                  <a:schemeClr val="tx1">
                    <a:lumMod val="25000"/>
                    <a:lumOff val="75000"/>
                    <a:tint val="23500"/>
                    <a:satMod val="160000"/>
                  </a:schemeClr>
                </a:gs>
              </a:gsLst>
              <a:lin ang="16200000" scaled="1"/>
              <a:tileRect/>
            </a:gra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indent="0">
                <a:buNone/>
              </a:pPr>
              <a:endParaRPr kumimoji="0" lang="en-US" sz="2000" b="0" i="0" u="none" strike="noStrike" cap="none" normalizeH="0" baseline="0" err="1">
                <a:ln>
                  <a:noFill/>
                </a:ln>
                <a:solidFill>
                  <a:schemeClr val="bg1"/>
                </a:solidFill>
                <a:effectLst/>
                <a:latin typeface="+mn-lt"/>
              </a:endParaRPr>
            </a:p>
          </p:txBody>
        </p:sp>
        <p:grpSp>
          <p:nvGrpSpPr>
            <p:cNvPr id="204" name="Group 203">
              <a:extLst>
                <a:ext uri="{FF2B5EF4-FFF2-40B4-BE49-F238E27FC236}">
                  <a16:creationId xmlns:a16="http://schemas.microsoft.com/office/drawing/2014/main" id="{A8875639-B696-40B1-BAC3-FCB97B59DCCE}"/>
                </a:ext>
              </a:extLst>
            </p:cNvPr>
            <p:cNvGrpSpPr/>
            <p:nvPr/>
          </p:nvGrpSpPr>
          <p:grpSpPr>
            <a:xfrm>
              <a:off x="5999910" y="2703447"/>
              <a:ext cx="6193903" cy="3453602"/>
              <a:chOff x="5999910" y="2703447"/>
              <a:chExt cx="6193903" cy="3453602"/>
            </a:xfrm>
          </p:grpSpPr>
          <p:sp>
            <p:nvSpPr>
              <p:cNvPr id="205" name="TextBox 204">
                <a:extLst>
                  <a:ext uri="{FF2B5EF4-FFF2-40B4-BE49-F238E27FC236}">
                    <a16:creationId xmlns:a16="http://schemas.microsoft.com/office/drawing/2014/main" id="{D0EE63B6-F2FB-43FA-8410-17A2B05BCEB9}"/>
                  </a:ext>
                </a:extLst>
              </p:cNvPr>
              <p:cNvSpPr txBox="1"/>
              <p:nvPr/>
            </p:nvSpPr>
            <p:spPr>
              <a:xfrm>
                <a:off x="10343779" y="5572274"/>
                <a:ext cx="1850034" cy="584775"/>
              </a:xfrm>
              <a:prstGeom prst="rect">
                <a:avLst/>
              </a:prstGeom>
              <a:noFill/>
            </p:spPr>
            <p:txBody>
              <a:bodyPr wrap="square" rtlCol="0">
                <a:spAutoFit/>
              </a:bodyPr>
              <a:lstStyle/>
              <a:p>
                <a:pPr marL="0" indent="0">
                  <a:buNone/>
                </a:pPr>
                <a:r>
                  <a:rPr lang="en-US" sz="1600">
                    <a:solidFill>
                      <a:srgbClr val="00285F"/>
                    </a:solidFill>
                  </a:rPr>
                  <a:t>5GC integrated </a:t>
                </a:r>
                <a:br>
                  <a:rPr lang="en-US" sz="1600">
                    <a:solidFill>
                      <a:srgbClr val="00285F"/>
                    </a:solidFill>
                  </a:rPr>
                </a:br>
                <a:r>
                  <a:rPr lang="en-US" sz="1600">
                    <a:solidFill>
                      <a:srgbClr val="00285F"/>
                    </a:solidFill>
                  </a:rPr>
                  <a:t>untrusted WLAN</a:t>
                </a:r>
              </a:p>
            </p:txBody>
          </p:sp>
          <p:cxnSp>
            <p:nvCxnSpPr>
              <p:cNvPr id="206" name="Straight Connector 123">
                <a:extLst>
                  <a:ext uri="{FF2B5EF4-FFF2-40B4-BE49-F238E27FC236}">
                    <a16:creationId xmlns:a16="http://schemas.microsoft.com/office/drawing/2014/main" id="{3BF5F69F-9343-4496-BD33-CE38C657472D}"/>
                  </a:ext>
                </a:extLst>
              </p:cNvPr>
              <p:cNvCxnSpPr>
                <a:cxnSpLocks/>
                <a:stCxn id="213" idx="3"/>
                <a:endCxn id="207" idx="1"/>
              </p:cNvCxnSpPr>
              <p:nvPr/>
            </p:nvCxnSpPr>
            <p:spPr bwMode="auto">
              <a:xfrm>
                <a:off x="7730574" y="5585081"/>
                <a:ext cx="449261" cy="5032"/>
              </a:xfrm>
              <a:prstGeom prst="bentConnector3">
                <a:avLst>
                  <a:gd name="adj1" fmla="val 50000"/>
                </a:avLst>
              </a:prstGeom>
              <a:solidFill>
                <a:schemeClr val="accent1"/>
              </a:solidFill>
              <a:ln w="12700" cap="flat" cmpd="sng" algn="ctr">
                <a:solidFill>
                  <a:srgbClr val="00285F"/>
                </a:solidFill>
                <a:prstDash val="solid"/>
                <a:round/>
                <a:headEnd type="none" w="med" len="med"/>
                <a:tailEnd type="none" w="med" len="med"/>
              </a:ln>
              <a:effectLst/>
            </p:spPr>
          </p:cxnSp>
          <p:sp>
            <p:nvSpPr>
              <p:cNvPr id="207" name="TextBox 206">
                <a:extLst>
                  <a:ext uri="{FF2B5EF4-FFF2-40B4-BE49-F238E27FC236}">
                    <a16:creationId xmlns:a16="http://schemas.microsoft.com/office/drawing/2014/main" id="{01EDC1F3-9A50-44F0-B4FE-9DD9C0B40CB0}"/>
                  </a:ext>
                </a:extLst>
              </p:cNvPr>
              <p:cNvSpPr txBox="1"/>
              <p:nvPr/>
            </p:nvSpPr>
            <p:spPr bwMode="auto">
              <a:xfrm>
                <a:off x="8179835" y="5226804"/>
                <a:ext cx="462565" cy="726617"/>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600">
                    <a:solidFill>
                      <a:schemeClr val="accent1"/>
                    </a:solidFill>
                    <a:latin typeface="Ericsson Technical Icons" panose="00000500000000000000" pitchFamily="2" charset="0"/>
                  </a:rPr>
                  <a:t>s</a:t>
                </a:r>
                <a:br>
                  <a:rPr lang="en-US" sz="1600">
                    <a:solidFill>
                      <a:schemeClr val="accent1"/>
                    </a:solidFill>
                    <a:latin typeface="Ericsson Technical Icons" panose="00000500000000000000" pitchFamily="2" charset="0"/>
                  </a:rPr>
                </a:br>
                <a:r>
                  <a:rPr lang="en-US" sz="1600">
                    <a:solidFill>
                      <a:schemeClr val="accent1"/>
                    </a:solidFill>
                    <a:latin typeface="Ericsson Technical Icons" panose="00000500000000000000" pitchFamily="2" charset="0"/>
                  </a:rPr>
                  <a:t>g</a:t>
                </a:r>
              </a:p>
              <a:p>
                <a:pPr marL="0" indent="0" algn="ctr">
                  <a:lnSpc>
                    <a:spcPct val="90000"/>
                  </a:lnSpc>
                  <a:spcBef>
                    <a:spcPts val="0"/>
                  </a:spcBef>
                  <a:buClr>
                    <a:schemeClr val="tx1"/>
                  </a:buClr>
                  <a:buNone/>
                </a:pPr>
                <a:r>
                  <a:rPr lang="en-US" sz="1100">
                    <a:solidFill>
                      <a:schemeClr val="accent1"/>
                    </a:solidFill>
                  </a:rPr>
                  <a:t>N3IWF</a:t>
                </a:r>
                <a:br>
                  <a:rPr lang="en-US" sz="1200"/>
                </a:br>
                <a:endParaRPr lang="en-US" sz="1200"/>
              </a:p>
            </p:txBody>
          </p:sp>
          <p:cxnSp>
            <p:nvCxnSpPr>
              <p:cNvPr id="208" name="Straight Connector 123">
                <a:extLst>
                  <a:ext uri="{FF2B5EF4-FFF2-40B4-BE49-F238E27FC236}">
                    <a16:creationId xmlns:a16="http://schemas.microsoft.com/office/drawing/2014/main" id="{92FA6EEA-EB8A-4C96-BC8D-5C0B141704B5}"/>
                  </a:ext>
                </a:extLst>
              </p:cNvPr>
              <p:cNvCxnSpPr>
                <a:cxnSpLocks/>
                <a:stCxn id="207" idx="3"/>
                <a:endCxn id="184" idx="2"/>
              </p:cNvCxnSpPr>
              <p:nvPr/>
            </p:nvCxnSpPr>
            <p:spPr bwMode="auto">
              <a:xfrm flipV="1">
                <a:off x="8642400" y="4950152"/>
                <a:ext cx="1361922" cy="639961"/>
              </a:xfrm>
              <a:prstGeom prst="bentConnector2">
                <a:avLst/>
              </a:prstGeom>
              <a:solidFill>
                <a:schemeClr val="accent1"/>
              </a:solidFill>
              <a:ln w="12700" cap="flat" cmpd="sng" algn="ctr">
                <a:solidFill>
                  <a:srgbClr val="00285F"/>
                </a:solidFill>
                <a:prstDash val="solid"/>
                <a:round/>
                <a:headEnd type="none" w="med" len="med"/>
                <a:tailEnd type="none" w="med" len="med"/>
              </a:ln>
              <a:effectLst/>
            </p:spPr>
          </p:cxnSp>
          <p:sp>
            <p:nvSpPr>
              <p:cNvPr id="209" name="Arc 208">
                <a:extLst>
                  <a:ext uri="{FF2B5EF4-FFF2-40B4-BE49-F238E27FC236}">
                    <a16:creationId xmlns:a16="http://schemas.microsoft.com/office/drawing/2014/main" id="{C5952466-48CD-401F-9E38-FD50341AFF3A}"/>
                  </a:ext>
                </a:extLst>
              </p:cNvPr>
              <p:cNvSpPr/>
              <p:nvPr/>
            </p:nvSpPr>
            <p:spPr bwMode="auto">
              <a:xfrm flipH="1">
                <a:off x="6902917" y="4542566"/>
                <a:ext cx="582371" cy="1184073"/>
              </a:xfrm>
              <a:prstGeom prst="arc">
                <a:avLst>
                  <a:gd name="adj1" fmla="val 16598236"/>
                  <a:gd name="adj2" fmla="val 4948829"/>
                </a:avLst>
              </a:prstGeom>
              <a:noFill/>
              <a:ln w="12700" cap="flat" cmpd="sng" algn="ctr">
                <a:solidFill>
                  <a:schemeClr val="tx1"/>
                </a:solidFill>
                <a:prstDash val="dash"/>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indent="0">
                  <a:spcBef>
                    <a:spcPct val="50000"/>
                  </a:spcBef>
                  <a:buNone/>
                </a:pPr>
                <a:endParaRPr kumimoji="0" lang="en-US" sz="2000" b="0" i="0" u="none" strike="noStrike" cap="none" normalizeH="0" baseline="0">
                  <a:ln>
                    <a:noFill/>
                  </a:ln>
                  <a:solidFill>
                    <a:schemeClr val="tx1"/>
                  </a:solidFill>
                  <a:effectLst/>
                  <a:latin typeface="Arial" charset="0"/>
                </a:endParaRPr>
              </a:p>
            </p:txBody>
          </p:sp>
          <p:sp>
            <p:nvSpPr>
              <p:cNvPr id="210" name="Arc 209">
                <a:extLst>
                  <a:ext uri="{FF2B5EF4-FFF2-40B4-BE49-F238E27FC236}">
                    <a16:creationId xmlns:a16="http://schemas.microsoft.com/office/drawing/2014/main" id="{D9D865E5-57C2-4BA6-998B-7FF6D6BDE418}"/>
                  </a:ext>
                </a:extLst>
              </p:cNvPr>
              <p:cNvSpPr/>
              <p:nvPr/>
            </p:nvSpPr>
            <p:spPr bwMode="auto">
              <a:xfrm flipH="1">
                <a:off x="6723512" y="2703447"/>
                <a:ext cx="765243" cy="3129388"/>
              </a:xfrm>
              <a:prstGeom prst="arc">
                <a:avLst>
                  <a:gd name="adj1" fmla="val 16234623"/>
                  <a:gd name="adj2" fmla="val 5327024"/>
                </a:avLst>
              </a:prstGeom>
              <a:noFill/>
              <a:ln w="12700" cap="flat" cmpd="sng" algn="ctr">
                <a:solidFill>
                  <a:schemeClr val="tx2"/>
                </a:solidFill>
                <a:prstDash val="dash"/>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indent="0">
                  <a:spcBef>
                    <a:spcPct val="50000"/>
                  </a:spcBef>
                  <a:buNone/>
                </a:pPr>
                <a:endParaRPr kumimoji="0" lang="en-US" sz="2000" b="0" i="0" u="none" strike="noStrike" cap="none" normalizeH="0" baseline="0">
                  <a:ln>
                    <a:noFill/>
                  </a:ln>
                  <a:solidFill>
                    <a:schemeClr val="tx1"/>
                  </a:solidFill>
                  <a:effectLst/>
                  <a:latin typeface="Arial" charset="0"/>
                </a:endParaRPr>
              </a:p>
            </p:txBody>
          </p:sp>
          <p:sp>
            <p:nvSpPr>
              <p:cNvPr id="211" name="Text Box 1179">
                <a:extLst>
                  <a:ext uri="{FF2B5EF4-FFF2-40B4-BE49-F238E27FC236}">
                    <a16:creationId xmlns:a16="http://schemas.microsoft.com/office/drawing/2014/main" id="{FEFCE40A-D4AC-4D22-88F9-0FDA78A72601}"/>
                  </a:ext>
                </a:extLst>
              </p:cNvPr>
              <p:cNvSpPr txBox="1">
                <a:spLocks noChangeArrowheads="1"/>
              </p:cNvSpPr>
              <p:nvPr/>
            </p:nvSpPr>
            <p:spPr bwMode="auto">
              <a:xfrm>
                <a:off x="5999910" y="5790498"/>
                <a:ext cx="92493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indent="0" eaLnBrk="1" hangingPunct="1">
                  <a:buNone/>
                </a:pPr>
                <a:r>
                  <a:rPr lang="en-US" sz="800">
                    <a:latin typeface="+mn-lt"/>
                  </a:rPr>
                  <a:t>Handover to/from</a:t>
                </a:r>
                <a:br>
                  <a:rPr lang="en-US" sz="800">
                    <a:latin typeface="+mn-lt"/>
                  </a:rPr>
                </a:br>
                <a:r>
                  <a:rPr lang="en-US" sz="800">
                    <a:latin typeface="+mn-lt"/>
                  </a:rPr>
                  <a:t> 5GC integrated WLAN</a:t>
                </a:r>
              </a:p>
            </p:txBody>
          </p:sp>
          <p:cxnSp>
            <p:nvCxnSpPr>
              <p:cNvPr id="212" name="Straight Connector 211">
                <a:extLst>
                  <a:ext uri="{FF2B5EF4-FFF2-40B4-BE49-F238E27FC236}">
                    <a16:creationId xmlns:a16="http://schemas.microsoft.com/office/drawing/2014/main" id="{02C6B122-5926-452E-87E9-5898A745EA7C}"/>
                  </a:ext>
                </a:extLst>
              </p:cNvPr>
              <p:cNvCxnSpPr>
                <a:cxnSpLocks/>
                <a:stCxn id="181" idx="2"/>
                <a:endCxn id="207" idx="0"/>
              </p:cNvCxnSpPr>
              <p:nvPr/>
            </p:nvCxnSpPr>
            <p:spPr bwMode="auto">
              <a:xfrm>
                <a:off x="8398385" y="4499663"/>
                <a:ext cx="12733" cy="727141"/>
              </a:xfrm>
              <a:prstGeom prst="line">
                <a:avLst/>
              </a:prstGeom>
              <a:noFill/>
              <a:ln w="3175" cap="flat" cmpd="sng" algn="ctr">
                <a:solidFill>
                  <a:schemeClr val="tx1"/>
                </a:solidFill>
                <a:prstDash val="dash"/>
                <a:round/>
                <a:headEnd type="none" w="med" len="med"/>
                <a:tailEnd type="none" w="med" len="med"/>
              </a:ln>
              <a:effectLst/>
            </p:spPr>
          </p:cxnSp>
          <p:sp>
            <p:nvSpPr>
              <p:cNvPr id="213" name="TextBox 212">
                <a:extLst>
                  <a:ext uri="{FF2B5EF4-FFF2-40B4-BE49-F238E27FC236}">
                    <a16:creationId xmlns:a16="http://schemas.microsoft.com/office/drawing/2014/main" id="{9D52F2E7-E0C0-44DF-B3CC-B722635D2E30}"/>
                  </a:ext>
                </a:extLst>
              </p:cNvPr>
              <p:cNvSpPr txBox="1"/>
              <p:nvPr/>
            </p:nvSpPr>
            <p:spPr bwMode="auto">
              <a:xfrm>
                <a:off x="7271945" y="5242846"/>
                <a:ext cx="458629" cy="684469"/>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H</a:t>
                </a:r>
                <a:endParaRPr lang="en-US" sz="2400"/>
              </a:p>
              <a:p>
                <a:pPr marL="0" indent="0" algn="ctr">
                  <a:buClr>
                    <a:schemeClr val="tx1"/>
                  </a:buClr>
                  <a:buNone/>
                </a:pPr>
                <a:r>
                  <a:rPr lang="en-US" sz="1100"/>
                  <a:t>WLAN</a:t>
                </a:r>
              </a:p>
            </p:txBody>
          </p:sp>
        </p:grpSp>
      </p:grpSp>
      <p:sp>
        <p:nvSpPr>
          <p:cNvPr id="214" name="TextBox 213">
            <a:extLst>
              <a:ext uri="{FF2B5EF4-FFF2-40B4-BE49-F238E27FC236}">
                <a16:creationId xmlns:a16="http://schemas.microsoft.com/office/drawing/2014/main" id="{AAEA5421-B9BE-4E3B-AB5E-22582B2210EC}"/>
              </a:ext>
            </a:extLst>
          </p:cNvPr>
          <p:cNvSpPr txBox="1"/>
          <p:nvPr/>
        </p:nvSpPr>
        <p:spPr bwMode="auto">
          <a:xfrm>
            <a:off x="9764079" y="3134474"/>
            <a:ext cx="480486" cy="779165"/>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buClr>
                <a:schemeClr val="tx1"/>
              </a:buClr>
              <a:buNone/>
            </a:pPr>
            <a:r>
              <a:rPr lang="en-US" sz="1600">
                <a:solidFill>
                  <a:schemeClr val="accent1"/>
                </a:solidFill>
                <a:latin typeface="Ericsson Technical Icons" panose="00000500000000000000" pitchFamily="2" charset="0"/>
              </a:rPr>
              <a:t>s</a:t>
            </a:r>
          </a:p>
          <a:p>
            <a:pPr marL="0" indent="0" algn="ctr">
              <a:lnSpc>
                <a:spcPct val="90000"/>
              </a:lnSpc>
              <a:spcBef>
                <a:spcPts val="0"/>
              </a:spcBef>
              <a:buClr>
                <a:schemeClr val="tx1"/>
              </a:buClr>
              <a:buNone/>
            </a:pPr>
            <a:endParaRPr lang="en-US" sz="1100">
              <a:solidFill>
                <a:schemeClr val="accent1"/>
              </a:solidFill>
            </a:endParaRPr>
          </a:p>
          <a:p>
            <a:pPr marL="0" indent="0" algn="ctr">
              <a:lnSpc>
                <a:spcPct val="90000"/>
              </a:lnSpc>
              <a:spcBef>
                <a:spcPts val="0"/>
              </a:spcBef>
              <a:buClr>
                <a:schemeClr val="tx1"/>
              </a:buClr>
              <a:buNone/>
            </a:pPr>
            <a:r>
              <a:rPr lang="en-US" sz="1000">
                <a:solidFill>
                  <a:schemeClr val="accent1"/>
                </a:solidFill>
              </a:rPr>
              <a:t>SMF</a:t>
            </a:r>
            <a:br>
              <a:rPr lang="en-US" sz="1000">
                <a:solidFill>
                  <a:schemeClr val="accent1"/>
                </a:solidFill>
              </a:rPr>
            </a:br>
            <a:r>
              <a:rPr lang="en-US" sz="1000">
                <a:solidFill>
                  <a:schemeClr val="accent1"/>
                </a:solidFill>
              </a:rPr>
              <a:t>PGW-C</a:t>
            </a:r>
            <a:br>
              <a:rPr lang="en-US" sz="1050">
                <a:solidFill>
                  <a:schemeClr val="accent1"/>
                </a:solidFill>
              </a:rPr>
            </a:br>
            <a:endParaRPr lang="en-US" sz="1050">
              <a:solidFill>
                <a:schemeClr val="accent1"/>
              </a:solidFill>
            </a:endParaRPr>
          </a:p>
        </p:txBody>
      </p:sp>
      <p:sp>
        <p:nvSpPr>
          <p:cNvPr id="215" name="Freeform: Shape 214">
            <a:extLst>
              <a:ext uri="{FF2B5EF4-FFF2-40B4-BE49-F238E27FC236}">
                <a16:creationId xmlns:a16="http://schemas.microsoft.com/office/drawing/2014/main" id="{E8966AED-B3D5-440A-81AF-75E54E1DF697}"/>
              </a:ext>
            </a:extLst>
          </p:cNvPr>
          <p:cNvSpPr/>
          <p:nvPr/>
        </p:nvSpPr>
        <p:spPr bwMode="auto">
          <a:xfrm>
            <a:off x="9568233" y="1776549"/>
            <a:ext cx="141824" cy="2037805"/>
          </a:xfrm>
          <a:custGeom>
            <a:avLst/>
            <a:gdLst>
              <a:gd name="connsiteX0" fmla="*/ 115698 w 141824"/>
              <a:gd name="connsiteY0" fmla="*/ 0 h 2037805"/>
              <a:gd name="connsiteX1" fmla="*/ 115698 w 141824"/>
              <a:gd name="connsiteY1" fmla="*/ 0 h 2037805"/>
              <a:gd name="connsiteX2" fmla="*/ 106990 w 141824"/>
              <a:gd name="connsiteY2" fmla="*/ 670560 h 2037805"/>
              <a:gd name="connsiteX3" fmla="*/ 80864 w 141824"/>
              <a:gd name="connsiteY3" fmla="*/ 775062 h 2037805"/>
              <a:gd name="connsiteX4" fmla="*/ 63447 w 141824"/>
              <a:gd name="connsiteY4" fmla="*/ 862148 h 2037805"/>
              <a:gd name="connsiteX5" fmla="*/ 54738 w 141824"/>
              <a:gd name="connsiteY5" fmla="*/ 888274 h 2037805"/>
              <a:gd name="connsiteX6" fmla="*/ 37321 w 141824"/>
              <a:gd name="connsiteY6" fmla="*/ 975360 h 2037805"/>
              <a:gd name="connsiteX7" fmla="*/ 28613 w 141824"/>
              <a:gd name="connsiteY7" fmla="*/ 1018902 h 2037805"/>
              <a:gd name="connsiteX8" fmla="*/ 19904 w 141824"/>
              <a:gd name="connsiteY8" fmla="*/ 1219200 h 2037805"/>
              <a:gd name="connsiteX9" fmla="*/ 2487 w 141824"/>
              <a:gd name="connsiteY9" fmla="*/ 1262742 h 2037805"/>
              <a:gd name="connsiteX10" fmla="*/ 28613 w 141824"/>
              <a:gd name="connsiteY10" fmla="*/ 1428205 h 2037805"/>
              <a:gd name="connsiteX11" fmla="*/ 46030 w 141824"/>
              <a:gd name="connsiteY11" fmla="*/ 1524000 h 2037805"/>
              <a:gd name="connsiteX12" fmla="*/ 54738 w 141824"/>
              <a:gd name="connsiteY12" fmla="*/ 1550125 h 2037805"/>
              <a:gd name="connsiteX13" fmla="*/ 63447 w 141824"/>
              <a:gd name="connsiteY13" fmla="*/ 1593668 h 2037805"/>
              <a:gd name="connsiteX14" fmla="*/ 72156 w 141824"/>
              <a:gd name="connsiteY14" fmla="*/ 1767840 h 2037805"/>
              <a:gd name="connsiteX15" fmla="*/ 98281 w 141824"/>
              <a:gd name="connsiteY15" fmla="*/ 1793965 h 2037805"/>
              <a:gd name="connsiteX16" fmla="*/ 115698 w 141824"/>
              <a:gd name="connsiteY16" fmla="*/ 1846217 h 2037805"/>
              <a:gd name="connsiteX17" fmla="*/ 124407 w 141824"/>
              <a:gd name="connsiteY17" fmla="*/ 1872342 h 2037805"/>
              <a:gd name="connsiteX18" fmla="*/ 133116 w 141824"/>
              <a:gd name="connsiteY18" fmla="*/ 1898468 h 2037805"/>
              <a:gd name="connsiteX19" fmla="*/ 141824 w 141824"/>
              <a:gd name="connsiteY19" fmla="*/ 1924594 h 2037805"/>
              <a:gd name="connsiteX20" fmla="*/ 115698 w 141824"/>
              <a:gd name="connsiteY20" fmla="*/ 2002971 h 2037805"/>
              <a:gd name="connsiteX21" fmla="*/ 106990 w 141824"/>
              <a:gd name="connsiteY21" fmla="*/ 2037805 h 203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824" h="2037805">
                <a:moveTo>
                  <a:pt x="115698" y="0"/>
                </a:moveTo>
                <a:lnTo>
                  <a:pt x="115698" y="0"/>
                </a:lnTo>
                <a:cubicBezTo>
                  <a:pt x="112795" y="223520"/>
                  <a:pt x="117026" y="447247"/>
                  <a:pt x="106990" y="670560"/>
                </a:cubicBezTo>
                <a:cubicBezTo>
                  <a:pt x="105378" y="706430"/>
                  <a:pt x="86766" y="739644"/>
                  <a:pt x="80864" y="775062"/>
                </a:cubicBezTo>
                <a:cubicBezTo>
                  <a:pt x="74020" y="816126"/>
                  <a:pt x="73841" y="825769"/>
                  <a:pt x="63447" y="862148"/>
                </a:cubicBezTo>
                <a:cubicBezTo>
                  <a:pt x="60925" y="870975"/>
                  <a:pt x="56802" y="879329"/>
                  <a:pt x="54738" y="888274"/>
                </a:cubicBezTo>
                <a:cubicBezTo>
                  <a:pt x="48081" y="917119"/>
                  <a:pt x="43127" y="946331"/>
                  <a:pt x="37321" y="975360"/>
                </a:cubicBezTo>
                <a:lnTo>
                  <a:pt x="28613" y="1018902"/>
                </a:lnTo>
                <a:cubicBezTo>
                  <a:pt x="25710" y="1085668"/>
                  <a:pt x="27024" y="1152751"/>
                  <a:pt x="19904" y="1219200"/>
                </a:cubicBezTo>
                <a:cubicBezTo>
                  <a:pt x="18239" y="1234743"/>
                  <a:pt x="3309" y="1247132"/>
                  <a:pt x="2487" y="1262742"/>
                </a:cubicBezTo>
                <a:cubicBezTo>
                  <a:pt x="-4352" y="1392691"/>
                  <a:pt x="2457" y="1349734"/>
                  <a:pt x="28613" y="1428205"/>
                </a:cubicBezTo>
                <a:cubicBezTo>
                  <a:pt x="41519" y="1466923"/>
                  <a:pt x="36967" y="1478683"/>
                  <a:pt x="46030" y="1524000"/>
                </a:cubicBezTo>
                <a:cubicBezTo>
                  <a:pt x="47830" y="1533001"/>
                  <a:pt x="52512" y="1541220"/>
                  <a:pt x="54738" y="1550125"/>
                </a:cubicBezTo>
                <a:cubicBezTo>
                  <a:pt x="58328" y="1564485"/>
                  <a:pt x="60544" y="1579154"/>
                  <a:pt x="63447" y="1593668"/>
                </a:cubicBezTo>
                <a:cubicBezTo>
                  <a:pt x="66350" y="1651725"/>
                  <a:pt x="62196" y="1710570"/>
                  <a:pt x="72156" y="1767840"/>
                </a:cubicBezTo>
                <a:cubicBezTo>
                  <a:pt x="74266" y="1779973"/>
                  <a:pt x="92300" y="1783199"/>
                  <a:pt x="98281" y="1793965"/>
                </a:cubicBezTo>
                <a:cubicBezTo>
                  <a:pt x="107197" y="1810014"/>
                  <a:pt x="109892" y="1828800"/>
                  <a:pt x="115698" y="1846217"/>
                </a:cubicBezTo>
                <a:lnTo>
                  <a:pt x="124407" y="1872342"/>
                </a:lnTo>
                <a:lnTo>
                  <a:pt x="133116" y="1898468"/>
                </a:lnTo>
                <a:lnTo>
                  <a:pt x="141824" y="1924594"/>
                </a:lnTo>
                <a:lnTo>
                  <a:pt x="115698" y="2002971"/>
                </a:lnTo>
                <a:cubicBezTo>
                  <a:pt x="106072" y="2031849"/>
                  <a:pt x="106990" y="2019918"/>
                  <a:pt x="106990" y="2037805"/>
                </a:cubicBezTo>
              </a:path>
            </a:pathLst>
          </a:custGeom>
          <a:noFill/>
          <a:ln w="3175" cap="flat" cmpd="sng" algn="ctr">
            <a:noFill/>
            <a:prstDash val="solid"/>
            <a:round/>
            <a:headEnd type="none" w="med" len="med"/>
            <a:tailEnd type="none" w="med" len="med"/>
          </a:ln>
          <a:effectLst/>
        </p:spPr>
        <p:txBody>
          <a:bodyPr rtlCol="0" anchor="ctr"/>
          <a:lstStyle/>
          <a:p>
            <a:pPr marL="0" indent="0" algn="ctr">
              <a:buNone/>
            </a:pPr>
            <a:endParaRPr lang="en-US"/>
          </a:p>
        </p:txBody>
      </p:sp>
      <p:grpSp>
        <p:nvGrpSpPr>
          <p:cNvPr id="216" name="Group 215">
            <a:extLst>
              <a:ext uri="{FF2B5EF4-FFF2-40B4-BE49-F238E27FC236}">
                <a16:creationId xmlns:a16="http://schemas.microsoft.com/office/drawing/2014/main" id="{A9ADC965-EE2C-488C-AC6C-CDA9040C0516}"/>
              </a:ext>
            </a:extLst>
          </p:cNvPr>
          <p:cNvGrpSpPr/>
          <p:nvPr/>
        </p:nvGrpSpPr>
        <p:grpSpPr>
          <a:xfrm>
            <a:off x="5947381" y="1056836"/>
            <a:ext cx="7614319" cy="3554328"/>
            <a:chOff x="5947381" y="1056836"/>
            <a:chExt cx="7614319" cy="3554328"/>
          </a:xfrm>
        </p:grpSpPr>
        <p:grpSp>
          <p:nvGrpSpPr>
            <p:cNvPr id="217" name="Group 216">
              <a:extLst>
                <a:ext uri="{FF2B5EF4-FFF2-40B4-BE49-F238E27FC236}">
                  <a16:creationId xmlns:a16="http://schemas.microsoft.com/office/drawing/2014/main" id="{6298D344-98F1-48B9-8B94-E7BED8543A8B}"/>
                </a:ext>
              </a:extLst>
            </p:cNvPr>
            <p:cNvGrpSpPr/>
            <p:nvPr/>
          </p:nvGrpSpPr>
          <p:grpSpPr>
            <a:xfrm>
              <a:off x="5947381" y="1056836"/>
              <a:ext cx="7614319" cy="3554328"/>
              <a:chOff x="5947381" y="1056836"/>
              <a:chExt cx="7614319" cy="3554328"/>
            </a:xfrm>
          </p:grpSpPr>
          <p:sp>
            <p:nvSpPr>
              <p:cNvPr id="219" name="TextBox 218">
                <a:extLst>
                  <a:ext uri="{FF2B5EF4-FFF2-40B4-BE49-F238E27FC236}">
                    <a16:creationId xmlns:a16="http://schemas.microsoft.com/office/drawing/2014/main" id="{0DCECCB4-1C3C-4EBE-B2E1-984BDAAFED79}"/>
                  </a:ext>
                </a:extLst>
              </p:cNvPr>
              <p:cNvSpPr txBox="1"/>
              <p:nvPr/>
            </p:nvSpPr>
            <p:spPr>
              <a:xfrm>
                <a:off x="10258550" y="1136251"/>
                <a:ext cx="3303150" cy="584775"/>
              </a:xfrm>
              <a:prstGeom prst="rect">
                <a:avLst/>
              </a:prstGeom>
              <a:noFill/>
            </p:spPr>
            <p:txBody>
              <a:bodyPr wrap="square" rtlCol="0">
                <a:spAutoFit/>
              </a:bodyPr>
              <a:lstStyle/>
              <a:p>
                <a:pPr marL="0" indent="0">
                  <a:buNone/>
                </a:pPr>
                <a:r>
                  <a:rPr lang="en-US" sz="1600">
                    <a:solidFill>
                      <a:srgbClr val="00285F"/>
                    </a:solidFill>
                  </a:rPr>
                  <a:t>EPC integrated </a:t>
                </a:r>
                <a:br>
                  <a:rPr lang="en-US" sz="1600">
                    <a:solidFill>
                      <a:srgbClr val="00285F"/>
                    </a:solidFill>
                  </a:rPr>
                </a:br>
                <a:r>
                  <a:rPr lang="en-US" sz="1600">
                    <a:solidFill>
                      <a:srgbClr val="00285F"/>
                    </a:solidFill>
                  </a:rPr>
                  <a:t>untrusted WLAN</a:t>
                </a:r>
              </a:p>
            </p:txBody>
          </p:sp>
          <p:grpSp>
            <p:nvGrpSpPr>
              <p:cNvPr id="220" name="Group 219">
                <a:extLst>
                  <a:ext uri="{FF2B5EF4-FFF2-40B4-BE49-F238E27FC236}">
                    <a16:creationId xmlns:a16="http://schemas.microsoft.com/office/drawing/2014/main" id="{067E501E-838D-4C27-B80C-4544F6C3AFFF}"/>
                  </a:ext>
                </a:extLst>
              </p:cNvPr>
              <p:cNvGrpSpPr/>
              <p:nvPr/>
            </p:nvGrpSpPr>
            <p:grpSpPr>
              <a:xfrm>
                <a:off x="5947381" y="1056836"/>
                <a:ext cx="4077425" cy="3554328"/>
                <a:chOff x="5947381" y="1056836"/>
                <a:chExt cx="4077425" cy="3554328"/>
              </a:xfrm>
            </p:grpSpPr>
            <p:cxnSp>
              <p:nvCxnSpPr>
                <p:cNvPr id="221" name="Straight Connector 123">
                  <a:extLst>
                    <a:ext uri="{FF2B5EF4-FFF2-40B4-BE49-F238E27FC236}">
                      <a16:creationId xmlns:a16="http://schemas.microsoft.com/office/drawing/2014/main" id="{E4D28DDA-8EAA-44E4-9486-F862D769D9DD}"/>
                    </a:ext>
                  </a:extLst>
                </p:cNvPr>
                <p:cNvCxnSpPr>
                  <a:cxnSpLocks/>
                  <a:stCxn id="222" idx="3"/>
                  <a:endCxn id="223" idx="1"/>
                </p:cNvCxnSpPr>
                <p:nvPr/>
              </p:nvCxnSpPr>
              <p:spPr bwMode="auto">
                <a:xfrm flipV="1">
                  <a:off x="7660567" y="1406703"/>
                  <a:ext cx="1923125" cy="1071"/>
                </a:xfrm>
                <a:prstGeom prst="bentConnector3">
                  <a:avLst>
                    <a:gd name="adj1" fmla="val 50000"/>
                  </a:avLst>
                </a:prstGeom>
                <a:solidFill>
                  <a:schemeClr val="accent1"/>
                </a:solidFill>
                <a:ln w="12700" cap="flat" cmpd="sng" algn="ctr">
                  <a:solidFill>
                    <a:srgbClr val="00285F"/>
                  </a:solidFill>
                  <a:prstDash val="solid"/>
                  <a:round/>
                  <a:headEnd type="none" w="med" len="med"/>
                  <a:tailEnd type="none" w="med" len="med"/>
                </a:ln>
                <a:effectLst/>
              </p:spPr>
            </p:cxnSp>
            <p:sp>
              <p:nvSpPr>
                <p:cNvPr id="222" name="TextBox 221">
                  <a:extLst>
                    <a:ext uri="{FF2B5EF4-FFF2-40B4-BE49-F238E27FC236}">
                      <a16:creationId xmlns:a16="http://schemas.microsoft.com/office/drawing/2014/main" id="{B8436FEB-EB32-4250-B236-1C89C899D213}"/>
                    </a:ext>
                  </a:extLst>
                </p:cNvPr>
                <p:cNvSpPr txBox="1"/>
                <p:nvPr/>
              </p:nvSpPr>
              <p:spPr bwMode="auto">
                <a:xfrm>
                  <a:off x="7201938" y="1065539"/>
                  <a:ext cx="458629" cy="684469"/>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H</a:t>
                  </a:r>
                  <a:endParaRPr lang="en-US" sz="2400"/>
                </a:p>
                <a:p>
                  <a:pPr marL="0" indent="0" algn="ctr">
                    <a:buClr>
                      <a:schemeClr val="tx1"/>
                    </a:buClr>
                    <a:buNone/>
                  </a:pPr>
                  <a:r>
                    <a:rPr lang="en-US" sz="1100"/>
                    <a:t>WLAN</a:t>
                  </a:r>
                </a:p>
              </p:txBody>
            </p:sp>
            <p:sp>
              <p:nvSpPr>
                <p:cNvPr id="223" name="TextBox 222">
                  <a:extLst>
                    <a:ext uri="{FF2B5EF4-FFF2-40B4-BE49-F238E27FC236}">
                      <a16:creationId xmlns:a16="http://schemas.microsoft.com/office/drawing/2014/main" id="{62F26C1C-6DE1-4DFE-BEA0-7A068D97A092}"/>
                    </a:ext>
                  </a:extLst>
                </p:cNvPr>
                <p:cNvSpPr txBox="1"/>
                <p:nvPr/>
              </p:nvSpPr>
              <p:spPr bwMode="auto">
                <a:xfrm>
                  <a:off x="9583692" y="1056836"/>
                  <a:ext cx="441114" cy="699733"/>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indent="0" algn="ctr">
                    <a:lnSpc>
                      <a:spcPct val="90000"/>
                    </a:lnSpc>
                    <a:spcBef>
                      <a:spcPts val="300"/>
                    </a:spcBef>
                    <a:buClr>
                      <a:schemeClr val="tx1"/>
                    </a:buClr>
                    <a:buNone/>
                  </a:pPr>
                  <a:r>
                    <a:rPr lang="en-US" sz="1400">
                      <a:solidFill>
                        <a:schemeClr val="accent2">
                          <a:lumMod val="75000"/>
                        </a:schemeClr>
                      </a:solidFill>
                      <a:latin typeface="Ericsson Technical Icons" panose="00000500000000000000" pitchFamily="2" charset="0"/>
                    </a:rPr>
                    <a:t>s</a:t>
                  </a:r>
                  <a:br>
                    <a:rPr lang="en-US" sz="1400">
                      <a:solidFill>
                        <a:schemeClr val="accent2">
                          <a:lumMod val="75000"/>
                        </a:schemeClr>
                      </a:solidFill>
                      <a:latin typeface="Ericsson Technical Icons" panose="00000500000000000000" pitchFamily="2" charset="0"/>
                    </a:rPr>
                  </a:br>
                  <a:r>
                    <a:rPr lang="en-US" sz="1400">
                      <a:solidFill>
                        <a:schemeClr val="accent2">
                          <a:lumMod val="75000"/>
                        </a:schemeClr>
                      </a:solidFill>
                      <a:latin typeface="Ericsson Technical Icons" panose="00000500000000000000" pitchFamily="2" charset="0"/>
                    </a:rPr>
                    <a:t>g</a:t>
                  </a:r>
                </a:p>
                <a:p>
                  <a:pPr marL="0" indent="0" algn="ctr">
                    <a:lnSpc>
                      <a:spcPct val="90000"/>
                    </a:lnSpc>
                    <a:spcBef>
                      <a:spcPts val="0"/>
                    </a:spcBef>
                    <a:buClr>
                      <a:schemeClr val="tx1"/>
                    </a:buClr>
                    <a:buNone/>
                  </a:pPr>
                  <a:r>
                    <a:rPr lang="en-US" sz="1200" err="1">
                      <a:solidFill>
                        <a:schemeClr val="accent2">
                          <a:lumMod val="75000"/>
                        </a:schemeClr>
                      </a:solidFill>
                    </a:rPr>
                    <a:t>ePDG</a:t>
                  </a:r>
                  <a:br>
                    <a:rPr lang="en-US" sz="1100"/>
                  </a:br>
                  <a:endParaRPr lang="en-US" sz="1100"/>
                </a:p>
              </p:txBody>
            </p:sp>
            <p:sp>
              <p:nvSpPr>
                <p:cNvPr id="224" name="Text Box 1179">
                  <a:extLst>
                    <a:ext uri="{FF2B5EF4-FFF2-40B4-BE49-F238E27FC236}">
                      <a16:creationId xmlns:a16="http://schemas.microsoft.com/office/drawing/2014/main" id="{C6ABAB60-CB82-4C3F-87BA-84A6EBD23482}"/>
                    </a:ext>
                  </a:extLst>
                </p:cNvPr>
                <p:cNvSpPr txBox="1">
                  <a:spLocks noChangeArrowheads="1"/>
                </p:cNvSpPr>
                <p:nvPr/>
              </p:nvSpPr>
              <p:spPr bwMode="auto">
                <a:xfrm>
                  <a:off x="5947381" y="1120859"/>
                  <a:ext cx="90313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indent="0" eaLnBrk="1" hangingPunct="1">
                    <a:buNone/>
                  </a:pPr>
                  <a:r>
                    <a:rPr lang="en-US" sz="800">
                      <a:solidFill>
                        <a:schemeClr val="accent3">
                          <a:lumMod val="75000"/>
                        </a:schemeClr>
                      </a:solidFill>
                      <a:latin typeface="+mn-lt"/>
                    </a:rPr>
                    <a:t>Handover to/from </a:t>
                  </a:r>
                  <a:br>
                    <a:rPr lang="en-US" sz="800">
                      <a:solidFill>
                        <a:schemeClr val="accent3">
                          <a:lumMod val="75000"/>
                        </a:schemeClr>
                      </a:solidFill>
                      <a:latin typeface="+mn-lt"/>
                    </a:rPr>
                  </a:br>
                  <a:r>
                    <a:rPr lang="en-US" sz="800">
                      <a:solidFill>
                        <a:schemeClr val="accent3">
                          <a:lumMod val="75000"/>
                        </a:schemeClr>
                      </a:solidFill>
                      <a:latin typeface="+mn-lt"/>
                    </a:rPr>
                    <a:t>EPC integrated WLAN</a:t>
                  </a:r>
                </a:p>
              </p:txBody>
            </p:sp>
            <p:sp>
              <p:nvSpPr>
                <p:cNvPr id="225" name="Arc 224">
                  <a:extLst>
                    <a:ext uri="{FF2B5EF4-FFF2-40B4-BE49-F238E27FC236}">
                      <a16:creationId xmlns:a16="http://schemas.microsoft.com/office/drawing/2014/main" id="{5EF337CB-B733-49E7-B4CB-84DB1EE9C0EA}"/>
                    </a:ext>
                  </a:extLst>
                </p:cNvPr>
                <p:cNvSpPr/>
                <p:nvPr/>
              </p:nvSpPr>
              <p:spPr bwMode="auto">
                <a:xfrm flipH="1">
                  <a:off x="6893403" y="1423829"/>
                  <a:ext cx="582371" cy="1184073"/>
                </a:xfrm>
                <a:prstGeom prst="arc">
                  <a:avLst>
                    <a:gd name="adj1" fmla="val 16598236"/>
                    <a:gd name="adj2" fmla="val 4948829"/>
                  </a:avLst>
                </a:prstGeom>
                <a:noFill/>
                <a:ln w="12700" cap="flat" cmpd="sng" algn="ctr">
                  <a:solidFill>
                    <a:schemeClr val="accent3">
                      <a:lumMod val="75000"/>
                    </a:schemeClr>
                  </a:solidFill>
                  <a:prstDash val="solid"/>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26" name="Arc 225">
                  <a:extLst>
                    <a:ext uri="{FF2B5EF4-FFF2-40B4-BE49-F238E27FC236}">
                      <a16:creationId xmlns:a16="http://schemas.microsoft.com/office/drawing/2014/main" id="{23B789F4-22AE-48DA-A00A-8B23061D8DF2}"/>
                    </a:ext>
                  </a:extLst>
                </p:cNvPr>
                <p:cNvSpPr/>
                <p:nvPr/>
              </p:nvSpPr>
              <p:spPr bwMode="auto">
                <a:xfrm flipH="1">
                  <a:off x="6637898" y="1481776"/>
                  <a:ext cx="765243" cy="3129388"/>
                </a:xfrm>
                <a:prstGeom prst="arc">
                  <a:avLst>
                    <a:gd name="adj1" fmla="val 16234623"/>
                    <a:gd name="adj2" fmla="val 5327024"/>
                  </a:avLst>
                </a:prstGeom>
                <a:noFill/>
                <a:ln w="12700" cap="flat" cmpd="sng" algn="ctr">
                  <a:solidFill>
                    <a:schemeClr val="accent3">
                      <a:lumMod val="75000"/>
                    </a:schemeClr>
                  </a:solidFill>
                  <a:prstDash val="solid"/>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27" name="Freeform: Shape 226">
                  <a:extLst>
                    <a:ext uri="{FF2B5EF4-FFF2-40B4-BE49-F238E27FC236}">
                      <a16:creationId xmlns:a16="http://schemas.microsoft.com/office/drawing/2014/main" id="{CA44102A-2F12-48AD-9DFE-1E6460880942}"/>
                    </a:ext>
                  </a:extLst>
                </p:cNvPr>
                <p:cNvSpPr/>
                <p:nvPr/>
              </p:nvSpPr>
              <p:spPr bwMode="auto">
                <a:xfrm flipH="1">
                  <a:off x="9866746" y="1750050"/>
                  <a:ext cx="16042" cy="1387564"/>
                </a:xfrm>
                <a:custGeom>
                  <a:avLst/>
                  <a:gdLst>
                    <a:gd name="connsiteX0" fmla="*/ 0 w 1345581"/>
                    <a:gd name="connsiteY0" fmla="*/ 498088 h 498088"/>
                    <a:gd name="connsiteX1" fmla="*/ 0 w 1345581"/>
                    <a:gd name="connsiteY1" fmla="*/ 260195 h 498088"/>
                    <a:gd name="connsiteX2" fmla="*/ 698810 w 1345581"/>
                    <a:gd name="connsiteY2" fmla="*/ 260195 h 498088"/>
                    <a:gd name="connsiteX3" fmla="*/ 1345581 w 1345581"/>
                    <a:gd name="connsiteY3" fmla="*/ 260195 h 498088"/>
                    <a:gd name="connsiteX4" fmla="*/ 1345581 w 1345581"/>
                    <a:gd name="connsiteY4" fmla="*/ 0 h 498088"/>
                    <a:gd name="connsiteX0" fmla="*/ 0 w 1345581"/>
                    <a:gd name="connsiteY0" fmla="*/ 237893 h 237893"/>
                    <a:gd name="connsiteX1" fmla="*/ 0 w 1345581"/>
                    <a:gd name="connsiteY1" fmla="*/ 0 h 237893"/>
                    <a:gd name="connsiteX2" fmla="*/ 698810 w 1345581"/>
                    <a:gd name="connsiteY2" fmla="*/ 0 h 237893"/>
                    <a:gd name="connsiteX3" fmla="*/ 1345581 w 1345581"/>
                    <a:gd name="connsiteY3" fmla="*/ 0 h 237893"/>
                    <a:gd name="connsiteX0" fmla="*/ 0 w 1355782"/>
                    <a:gd name="connsiteY0" fmla="*/ 612342 h 612342"/>
                    <a:gd name="connsiteX1" fmla="*/ 10201 w 1355782"/>
                    <a:gd name="connsiteY1" fmla="*/ 0 h 612342"/>
                    <a:gd name="connsiteX2" fmla="*/ 709011 w 1355782"/>
                    <a:gd name="connsiteY2" fmla="*/ 0 h 612342"/>
                    <a:gd name="connsiteX3" fmla="*/ 1355782 w 1355782"/>
                    <a:gd name="connsiteY3" fmla="*/ 0 h 612342"/>
                    <a:gd name="connsiteX0" fmla="*/ 0 w 1355782"/>
                    <a:gd name="connsiteY0" fmla="*/ 612342 h 612342"/>
                    <a:gd name="connsiteX1" fmla="*/ 10201 w 1355782"/>
                    <a:gd name="connsiteY1" fmla="*/ 0 h 612342"/>
                    <a:gd name="connsiteX2" fmla="*/ 1355782 w 1355782"/>
                    <a:gd name="connsiteY2" fmla="*/ 0 h 612342"/>
                    <a:gd name="connsiteX0" fmla="*/ 0 w 10201"/>
                    <a:gd name="connsiteY0" fmla="*/ 612342 h 612342"/>
                    <a:gd name="connsiteX1" fmla="*/ 10201 w 10201"/>
                    <a:gd name="connsiteY1" fmla="*/ 0 h 612342"/>
                    <a:gd name="connsiteX0" fmla="*/ 0 w 20402"/>
                    <a:gd name="connsiteY0" fmla="*/ 674750 h 674750"/>
                    <a:gd name="connsiteX1" fmla="*/ 20402 w 20402"/>
                    <a:gd name="connsiteY1" fmla="*/ 0 h 674750"/>
                  </a:gdLst>
                  <a:ahLst/>
                  <a:cxnLst>
                    <a:cxn ang="0">
                      <a:pos x="connsiteX0" y="connsiteY0"/>
                    </a:cxn>
                    <a:cxn ang="0">
                      <a:pos x="connsiteX1" y="connsiteY1"/>
                    </a:cxn>
                  </a:cxnLst>
                  <a:rect l="l" t="t" r="r" b="b"/>
                  <a:pathLst>
                    <a:path w="20402" h="674750">
                      <a:moveTo>
                        <a:pt x="0" y="674750"/>
                      </a:moveTo>
                      <a:lnTo>
                        <a:pt x="20402" y="0"/>
                      </a:lnTo>
                    </a:path>
                  </a:pathLst>
                </a:custGeom>
                <a:noFill/>
                <a:ln w="3175" cap="flat" cmpd="sng" algn="ctr">
                  <a:solidFill>
                    <a:schemeClr val="tx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grpSp>
        <p:cxnSp>
          <p:nvCxnSpPr>
            <p:cNvPr id="218" name="Straight Connector 123">
              <a:extLst>
                <a:ext uri="{FF2B5EF4-FFF2-40B4-BE49-F238E27FC236}">
                  <a16:creationId xmlns:a16="http://schemas.microsoft.com/office/drawing/2014/main" id="{C87DB49E-5F41-4D7F-B94A-0518E19620A2}"/>
                </a:ext>
              </a:extLst>
            </p:cNvPr>
            <p:cNvCxnSpPr>
              <a:cxnSpLocks/>
            </p:cNvCxnSpPr>
            <p:nvPr/>
          </p:nvCxnSpPr>
          <p:spPr bwMode="auto">
            <a:xfrm rot="16200000" flipV="1">
              <a:off x="8398345" y="3003936"/>
              <a:ext cx="2605761" cy="111028"/>
            </a:xfrm>
            <a:prstGeom prst="bentConnector3">
              <a:avLst>
                <a:gd name="adj1" fmla="val 538"/>
              </a:avLst>
            </a:prstGeom>
            <a:solidFill>
              <a:schemeClr val="accent1"/>
            </a:solidFill>
            <a:ln w="12700" cap="flat" cmpd="sng" algn="ctr">
              <a:solidFill>
                <a:srgbClr val="00285F"/>
              </a:solidFill>
              <a:prstDash val="solid"/>
              <a:round/>
              <a:headEnd type="none" w="med" len="med"/>
              <a:tailEnd type="none" w="med" len="med"/>
            </a:ln>
            <a:effectLst/>
          </p:spPr>
        </p:cxnSp>
      </p:grpSp>
    </p:spTree>
    <p:extLst>
      <p:ext uri="{BB962C8B-B14F-4D97-AF65-F5344CB8AC3E}">
        <p14:creationId xmlns:p14="http://schemas.microsoft.com/office/powerpoint/2010/main" val="697514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dirty="0"/>
              <a:t>5GC and EPC interworking</a:t>
            </a:r>
          </a:p>
          <a:p>
            <a:pPr lvl="1"/>
            <a:r>
              <a:rPr lang="en-US" sz="1800" b="1" dirty="0"/>
              <a:t>5G EPC &amp; Option 3/3a/3x</a:t>
            </a:r>
            <a:endParaRPr lang="en-US" b="1"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dirty="0"/>
              <a:t>The 5G Core System</a:t>
            </a:r>
          </a:p>
          <a:p>
            <a:r>
              <a:rPr lang="en-US" b="1" dirty="0"/>
              <a:t>Core Network Architecture &amp; Technology</a:t>
            </a:r>
          </a:p>
          <a:p>
            <a:pPr lvl="1"/>
            <a:r>
              <a:rPr lang="en-US" sz="1800" dirty="0"/>
              <a:t>Overall 5G Core Network Architecture</a:t>
            </a:r>
          </a:p>
          <a:p>
            <a:pPr lvl="1"/>
            <a:r>
              <a:rPr lang="en-US" sz="1800" dirty="0"/>
              <a:t>SBA and Service Framework</a:t>
            </a:r>
          </a:p>
          <a:p>
            <a:pPr lvl="1"/>
            <a:r>
              <a:rPr lang="en-US" sz="1800"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25281055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086A0C-4F24-4E96-9124-D192DA9A2521}"/>
              </a:ext>
            </a:extLst>
          </p:cNvPr>
          <p:cNvSpPr>
            <a:spLocks noGrp="1"/>
          </p:cNvSpPr>
          <p:nvPr>
            <p:ph sz="quarter" idx="10"/>
          </p:nvPr>
        </p:nvSpPr>
        <p:spPr>
          <a:xfrm>
            <a:off x="479425" y="1749790"/>
            <a:ext cx="5472113" cy="2591858"/>
          </a:xfrm>
        </p:spPr>
        <p:txBody>
          <a:bodyPr/>
          <a:lstStyle/>
          <a:p>
            <a:r>
              <a:rPr lang="en-US" sz="1800"/>
              <a:t>UE anchored to network over LTE/EPC control plane</a:t>
            </a:r>
          </a:p>
          <a:p>
            <a:r>
              <a:rPr lang="en-US" sz="1800"/>
              <a:t>Wide area coverage through LTE with NR as capacity boost</a:t>
            </a:r>
          </a:p>
          <a:p>
            <a:r>
              <a:rPr lang="en-US" sz="1800"/>
              <a:t>Minor functional impacts on EPC</a:t>
            </a:r>
          </a:p>
          <a:p>
            <a:pPr lvl="1"/>
            <a:r>
              <a:rPr lang="en-US" sz="1600"/>
              <a:t>NR access restriction in subscription data </a:t>
            </a:r>
          </a:p>
          <a:p>
            <a:pPr lvl="1"/>
            <a:r>
              <a:rPr lang="en-US" sz="1600"/>
              <a:t>Minor S1 impacts</a:t>
            </a:r>
          </a:p>
          <a:p>
            <a:pPr lvl="1"/>
            <a:r>
              <a:rPr lang="en-US" sz="1600"/>
              <a:t>NR volume usage reporting</a:t>
            </a:r>
          </a:p>
          <a:p>
            <a:pPr lvl="1"/>
            <a:r>
              <a:rPr lang="en-US" sz="1600"/>
              <a:t>5G data rate support</a:t>
            </a:r>
          </a:p>
          <a:p>
            <a:endParaRPr lang="en-US" sz="1800"/>
          </a:p>
        </p:txBody>
      </p:sp>
      <p:sp>
        <p:nvSpPr>
          <p:cNvPr id="3" name="Title 2">
            <a:extLst>
              <a:ext uri="{FF2B5EF4-FFF2-40B4-BE49-F238E27FC236}">
                <a16:creationId xmlns:a16="http://schemas.microsoft.com/office/drawing/2014/main" id="{1A896D4C-D708-4940-89EC-62D755C2285D}"/>
              </a:ext>
            </a:extLst>
          </p:cNvPr>
          <p:cNvSpPr>
            <a:spLocks noGrp="1"/>
          </p:cNvSpPr>
          <p:nvPr>
            <p:ph type="title"/>
          </p:nvPr>
        </p:nvSpPr>
        <p:spPr>
          <a:xfrm>
            <a:off x="479424" y="476250"/>
            <a:ext cx="9318203" cy="1081088"/>
          </a:xfrm>
        </p:spPr>
        <p:txBody>
          <a:bodyPr/>
          <a:lstStyle/>
          <a:p>
            <a:r>
              <a:rPr lang="en-US"/>
              <a:t>Rel. 15 EPC for EN-DC (aka NR NSA, Option 3)</a:t>
            </a:r>
            <a:br>
              <a:rPr lang="en-US"/>
            </a:br>
            <a:r>
              <a:rPr lang="en-US" sz="2800"/>
              <a:t>Functional  architecture – impacted NFs</a:t>
            </a:r>
            <a:endParaRPr lang="en-US"/>
          </a:p>
        </p:txBody>
      </p:sp>
      <p:grpSp>
        <p:nvGrpSpPr>
          <p:cNvPr id="5" name="Group 4">
            <a:extLst>
              <a:ext uri="{FF2B5EF4-FFF2-40B4-BE49-F238E27FC236}">
                <a16:creationId xmlns:a16="http://schemas.microsoft.com/office/drawing/2014/main" id="{5BBBC2F4-CA6C-4148-888E-F4E446435734}"/>
              </a:ext>
            </a:extLst>
          </p:cNvPr>
          <p:cNvGrpSpPr/>
          <p:nvPr/>
        </p:nvGrpSpPr>
        <p:grpSpPr>
          <a:xfrm>
            <a:off x="9873351" y="5065816"/>
            <a:ext cx="2250397" cy="1719278"/>
            <a:chOff x="9315422" y="5130211"/>
            <a:chExt cx="2250397" cy="1719278"/>
          </a:xfrm>
        </p:grpSpPr>
        <p:sp>
          <p:nvSpPr>
            <p:cNvPr id="6" name="Freeform 34">
              <a:extLst>
                <a:ext uri="{FF2B5EF4-FFF2-40B4-BE49-F238E27FC236}">
                  <a16:creationId xmlns:a16="http://schemas.microsoft.com/office/drawing/2014/main" id="{A487E29C-B672-4517-82B1-5F9623F7C56B}"/>
                </a:ext>
              </a:extLst>
            </p:cNvPr>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Ericsson Hilda"/>
                <a:ea typeface="+mn-ea"/>
                <a:cs typeface="+mn-cs"/>
              </a:endParaRPr>
            </a:p>
          </p:txBody>
        </p:sp>
        <p:sp>
          <p:nvSpPr>
            <p:cNvPr id="7" name="Text Box 35">
              <a:extLst>
                <a:ext uri="{FF2B5EF4-FFF2-40B4-BE49-F238E27FC236}">
                  <a16:creationId xmlns:a16="http://schemas.microsoft.com/office/drawing/2014/main" id="{2317082B-DFDC-4270-9378-F02F7B30B631}"/>
                </a:ext>
              </a:extLst>
            </p:cNvPr>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0" cap="none" spc="0" normalizeH="0" baseline="0" noProof="0">
                  <a:ln>
                    <a:noFill/>
                  </a:ln>
                  <a:solidFill>
                    <a:srgbClr val="58585A"/>
                  </a:solidFill>
                  <a:effectLst/>
                  <a:uLnTx/>
                  <a:uFillTx/>
                  <a:latin typeface="Ericsson Hilda"/>
                  <a:ea typeface="MS PGothic" pitchFamily="34" charset="-128"/>
                  <a:cs typeface="+mn-cs"/>
                </a:rPr>
                <a:t>Data Network </a:t>
              </a:r>
              <a:endParaRPr kumimoji="0" lang="en-US" altLang="en-US" sz="2000" b="0" i="0" u="none" strike="noStrike" kern="0" cap="none" spc="0" normalizeH="0" baseline="0" noProof="0">
                <a:ln>
                  <a:noFill/>
                </a:ln>
                <a:solidFill>
                  <a:srgbClr val="58585A"/>
                </a:solidFill>
                <a:effectLst/>
                <a:uLnTx/>
                <a:uFillTx/>
                <a:latin typeface="Ericsson Hilda"/>
                <a:ea typeface="MS PGothic"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pitchFamily="34" charset="-128"/>
                  <a:cs typeface="+mn-cs"/>
                </a:rPr>
                <a:t>or Internet)</a:t>
              </a:r>
            </a:p>
          </p:txBody>
        </p:sp>
      </p:grpSp>
      <p:cxnSp>
        <p:nvCxnSpPr>
          <p:cNvPr id="8" name="Elbow Connector 59">
            <a:extLst>
              <a:ext uri="{FF2B5EF4-FFF2-40B4-BE49-F238E27FC236}">
                <a16:creationId xmlns:a16="http://schemas.microsoft.com/office/drawing/2014/main" id="{44B13E90-CE6E-4CD7-A0F5-CF6074A4DEDD}"/>
              </a:ext>
            </a:extLst>
          </p:cNvPr>
          <p:cNvCxnSpPr>
            <a:cxnSpLocks/>
            <a:stCxn id="82" idx="0"/>
          </p:cNvCxnSpPr>
          <p:nvPr/>
        </p:nvCxnSpPr>
        <p:spPr bwMode="auto">
          <a:xfrm rot="5400000" flipH="1" flipV="1">
            <a:off x="4174628" y="2495850"/>
            <a:ext cx="781400" cy="4539158"/>
          </a:xfrm>
          <a:prstGeom prst="bentConnector2">
            <a:avLst/>
          </a:prstGeom>
          <a:noFill/>
          <a:ln w="19050">
            <a:solidFill>
              <a:schemeClr val="accent4">
                <a:lumMod val="50000"/>
              </a:schemeClr>
            </a:solidFill>
            <a:prstDash val="dash"/>
            <a:round/>
            <a:headEnd/>
            <a:tailEnd/>
          </a:ln>
        </p:spPr>
      </p:cxnSp>
      <p:sp>
        <p:nvSpPr>
          <p:cNvPr id="10" name="Freeform 88">
            <a:extLst>
              <a:ext uri="{FF2B5EF4-FFF2-40B4-BE49-F238E27FC236}">
                <a16:creationId xmlns:a16="http://schemas.microsoft.com/office/drawing/2014/main" id="{99FA11A3-C17F-4BED-8766-F1E95B9F0748}"/>
              </a:ext>
            </a:extLst>
          </p:cNvPr>
          <p:cNvSpPr>
            <a:spLocks/>
          </p:cNvSpPr>
          <p:nvPr/>
        </p:nvSpPr>
        <p:spPr bwMode="auto">
          <a:xfrm rot="2583056" flipH="1">
            <a:off x="2736023" y="533042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0" cap="none" spc="0" normalizeH="0" baseline="0" noProof="0">
              <a:ln>
                <a:noFill/>
              </a:ln>
              <a:solidFill>
                <a:sysClr val="windowText" lastClr="000000"/>
              </a:solidFill>
              <a:effectLst/>
              <a:uLnTx/>
              <a:uFillTx/>
              <a:latin typeface="Ericsson Hilda"/>
              <a:ea typeface="+mn-ea"/>
              <a:cs typeface="+mn-cs"/>
            </a:endParaRPr>
          </a:p>
        </p:txBody>
      </p:sp>
      <p:sp>
        <p:nvSpPr>
          <p:cNvPr id="11" name="Text Box 144">
            <a:extLst>
              <a:ext uri="{FF2B5EF4-FFF2-40B4-BE49-F238E27FC236}">
                <a16:creationId xmlns:a16="http://schemas.microsoft.com/office/drawing/2014/main" id="{85D6F468-9201-4976-A524-43742248EA1C}"/>
              </a:ext>
            </a:extLst>
          </p:cNvPr>
          <p:cNvSpPr txBox="1">
            <a:spLocks noChangeAspect="1" noChangeArrowheads="1"/>
          </p:cNvSpPr>
          <p:nvPr/>
        </p:nvSpPr>
        <p:spPr bwMode="auto">
          <a:xfrm>
            <a:off x="1593688" y="5816062"/>
            <a:ext cx="1363539"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LTE/NR EPC UE</a:t>
            </a:r>
            <a:b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b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EN-DC)</a:t>
            </a:r>
          </a:p>
        </p:txBody>
      </p:sp>
      <p:sp>
        <p:nvSpPr>
          <p:cNvPr id="12" name="Text Box 144">
            <a:extLst>
              <a:ext uri="{FF2B5EF4-FFF2-40B4-BE49-F238E27FC236}">
                <a16:creationId xmlns:a16="http://schemas.microsoft.com/office/drawing/2014/main" id="{60D64500-34A3-4C35-BB0D-5CEEDD9CFE4C}"/>
              </a:ext>
            </a:extLst>
          </p:cNvPr>
          <p:cNvSpPr txBox="1">
            <a:spLocks noChangeAspect="1" noChangeArrowheads="1"/>
          </p:cNvSpPr>
          <p:nvPr/>
        </p:nvSpPr>
        <p:spPr bwMode="auto">
          <a:xfrm>
            <a:off x="4927751" y="483940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S1-MME</a:t>
            </a:r>
          </a:p>
        </p:txBody>
      </p:sp>
      <p:sp>
        <p:nvSpPr>
          <p:cNvPr id="13" name="Text Box 144">
            <a:extLst>
              <a:ext uri="{FF2B5EF4-FFF2-40B4-BE49-F238E27FC236}">
                <a16:creationId xmlns:a16="http://schemas.microsoft.com/office/drawing/2014/main" id="{9A2A21E9-5839-489E-8728-7236ACE82A1D}"/>
              </a:ext>
            </a:extLst>
          </p:cNvPr>
          <p:cNvSpPr txBox="1">
            <a:spLocks noChangeAspect="1" noChangeArrowheads="1"/>
          </p:cNvSpPr>
          <p:nvPr/>
        </p:nvSpPr>
        <p:spPr bwMode="auto">
          <a:xfrm>
            <a:off x="6053836" y="580247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S1-U</a:t>
            </a:r>
          </a:p>
        </p:txBody>
      </p:sp>
      <p:sp>
        <p:nvSpPr>
          <p:cNvPr id="14" name="Text Box 144">
            <a:extLst>
              <a:ext uri="{FF2B5EF4-FFF2-40B4-BE49-F238E27FC236}">
                <a16:creationId xmlns:a16="http://schemas.microsoft.com/office/drawing/2014/main" id="{757F57A9-CB50-42CF-A1B5-D29B1145AA1F}"/>
              </a:ext>
            </a:extLst>
          </p:cNvPr>
          <p:cNvSpPr txBox="1">
            <a:spLocks noChangeAspect="1" noChangeArrowheads="1"/>
          </p:cNvSpPr>
          <p:nvPr/>
        </p:nvSpPr>
        <p:spPr bwMode="auto">
          <a:xfrm>
            <a:off x="8805277" y="580458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err="1">
                <a:ln>
                  <a:noFill/>
                </a:ln>
                <a:solidFill>
                  <a:srgbClr val="58585A"/>
                </a:solidFill>
                <a:effectLst/>
                <a:uLnTx/>
                <a:uFillTx/>
                <a:latin typeface="Ericsson Hilda"/>
                <a:ea typeface="MS PGothic" charset="-128"/>
                <a:cs typeface="+mn-cs"/>
              </a:rPr>
              <a:t>SGi</a:t>
            </a:r>
            <a:endPar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endParaRPr>
          </a:p>
        </p:txBody>
      </p:sp>
      <p:sp>
        <p:nvSpPr>
          <p:cNvPr id="15" name="Text Box 144">
            <a:extLst>
              <a:ext uri="{FF2B5EF4-FFF2-40B4-BE49-F238E27FC236}">
                <a16:creationId xmlns:a16="http://schemas.microsoft.com/office/drawing/2014/main" id="{A5769569-BC1B-44F6-9D9D-39C07A13AF84}"/>
              </a:ext>
            </a:extLst>
          </p:cNvPr>
          <p:cNvSpPr txBox="1">
            <a:spLocks noChangeAspect="1" noChangeArrowheads="1"/>
          </p:cNvSpPr>
          <p:nvPr/>
        </p:nvSpPr>
        <p:spPr bwMode="auto">
          <a:xfrm>
            <a:off x="8436972" y="291071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err="1">
                <a:ln>
                  <a:noFill/>
                </a:ln>
                <a:solidFill>
                  <a:srgbClr val="58585A"/>
                </a:solidFill>
                <a:effectLst/>
                <a:uLnTx/>
                <a:uFillTx/>
                <a:latin typeface="Ericsson Hilda"/>
                <a:ea typeface="MS PGothic" charset="-128"/>
                <a:cs typeface="+mn-cs"/>
              </a:rPr>
              <a:t>Gx</a:t>
            </a:r>
            <a:endPar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endParaRPr>
          </a:p>
        </p:txBody>
      </p:sp>
      <p:sp>
        <p:nvSpPr>
          <p:cNvPr id="17" name="Text Box 144">
            <a:extLst>
              <a:ext uri="{FF2B5EF4-FFF2-40B4-BE49-F238E27FC236}">
                <a16:creationId xmlns:a16="http://schemas.microsoft.com/office/drawing/2014/main" id="{5DB750D1-ACB1-4CAB-8652-8F97A8FC720F}"/>
              </a:ext>
            </a:extLst>
          </p:cNvPr>
          <p:cNvSpPr txBox="1">
            <a:spLocks noChangeAspect="1" noChangeArrowheads="1"/>
          </p:cNvSpPr>
          <p:nvPr/>
        </p:nvSpPr>
        <p:spPr bwMode="auto">
          <a:xfrm>
            <a:off x="8206019" y="484679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err="1">
                <a:ln>
                  <a:noFill/>
                </a:ln>
                <a:solidFill>
                  <a:srgbClr val="58585A"/>
                </a:solidFill>
                <a:effectLst/>
                <a:uLnTx/>
                <a:uFillTx/>
                <a:latin typeface="Ericsson Hilda"/>
                <a:ea typeface="MS PGothic" charset="-128"/>
                <a:cs typeface="+mn-cs"/>
              </a:rPr>
              <a:t>Sx</a:t>
            </a:r>
            <a:endPar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endParaRPr>
          </a:p>
        </p:txBody>
      </p:sp>
      <p:sp>
        <p:nvSpPr>
          <p:cNvPr id="24" name="Line 30">
            <a:extLst>
              <a:ext uri="{FF2B5EF4-FFF2-40B4-BE49-F238E27FC236}">
                <a16:creationId xmlns:a16="http://schemas.microsoft.com/office/drawing/2014/main" id="{032B0576-41ED-401D-B4BC-881F9EE056B4}"/>
              </a:ext>
            </a:extLst>
          </p:cNvPr>
          <p:cNvSpPr>
            <a:spLocks noChangeShapeType="1"/>
          </p:cNvSpPr>
          <p:nvPr/>
        </p:nvSpPr>
        <p:spPr bwMode="auto">
          <a:xfrm>
            <a:off x="4702272" y="5995577"/>
            <a:ext cx="5171080"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0" cap="none" spc="0" normalizeH="0" baseline="0" noProof="0">
              <a:ln>
                <a:noFill/>
              </a:ln>
              <a:solidFill>
                <a:sysClr val="windowText" lastClr="000000"/>
              </a:solidFill>
              <a:effectLst/>
              <a:uLnTx/>
              <a:uFillTx/>
              <a:latin typeface="Ericsson Hilda"/>
              <a:ea typeface="ＭＳ Ｐゴシック" charset="0"/>
              <a:cs typeface="Arial" charset="0"/>
            </a:endParaRPr>
          </a:p>
        </p:txBody>
      </p:sp>
      <p:cxnSp>
        <p:nvCxnSpPr>
          <p:cNvPr id="48" name="Straight Connector 47">
            <a:extLst>
              <a:ext uri="{FF2B5EF4-FFF2-40B4-BE49-F238E27FC236}">
                <a16:creationId xmlns:a16="http://schemas.microsoft.com/office/drawing/2014/main" id="{BB2A0279-247E-4646-A9F2-FC92AA383A90}"/>
              </a:ext>
            </a:extLst>
          </p:cNvPr>
          <p:cNvCxnSpPr>
            <a:cxnSpLocks/>
            <a:stCxn id="90" idx="2"/>
          </p:cNvCxnSpPr>
          <p:nvPr/>
        </p:nvCxnSpPr>
        <p:spPr bwMode="auto">
          <a:xfrm flipH="1">
            <a:off x="4683558" y="4559597"/>
            <a:ext cx="2473086" cy="976465"/>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49" name="Text Box 144">
            <a:extLst>
              <a:ext uri="{FF2B5EF4-FFF2-40B4-BE49-F238E27FC236}">
                <a16:creationId xmlns:a16="http://schemas.microsoft.com/office/drawing/2014/main" id="{5B03FC68-3C90-4F3F-90E9-FF7D5F3B2C67}"/>
              </a:ext>
            </a:extLst>
          </p:cNvPr>
          <p:cNvSpPr txBox="1">
            <a:spLocks noChangeAspect="1" noChangeArrowheads="1"/>
          </p:cNvSpPr>
          <p:nvPr/>
        </p:nvSpPr>
        <p:spPr bwMode="auto">
          <a:xfrm>
            <a:off x="3531981" y="444064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EPC NAS</a:t>
            </a:r>
          </a:p>
        </p:txBody>
      </p:sp>
      <p:cxnSp>
        <p:nvCxnSpPr>
          <p:cNvPr id="50" name="Straight Connector 49">
            <a:extLst>
              <a:ext uri="{FF2B5EF4-FFF2-40B4-BE49-F238E27FC236}">
                <a16:creationId xmlns:a16="http://schemas.microsoft.com/office/drawing/2014/main" id="{8059B446-5C9D-4385-9C10-E7B886876532}"/>
              </a:ext>
            </a:extLst>
          </p:cNvPr>
          <p:cNvCxnSpPr>
            <a:cxnSpLocks/>
            <a:stCxn id="86" idx="2"/>
            <a:endCxn id="84" idx="0"/>
          </p:cNvCxnSpPr>
          <p:nvPr/>
        </p:nvCxnSpPr>
        <p:spPr bwMode="auto">
          <a:xfrm>
            <a:off x="8552495" y="4567686"/>
            <a:ext cx="2458" cy="75402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51" name="Straight Connector 50">
            <a:extLst>
              <a:ext uri="{FF2B5EF4-FFF2-40B4-BE49-F238E27FC236}">
                <a16:creationId xmlns:a16="http://schemas.microsoft.com/office/drawing/2014/main" id="{C25134F6-344F-485D-84FD-2C721CE854E8}"/>
              </a:ext>
            </a:extLst>
          </p:cNvPr>
          <p:cNvCxnSpPr>
            <a:cxnSpLocks/>
            <a:stCxn id="86" idx="1"/>
            <a:endCxn id="90" idx="3"/>
          </p:cNvCxnSpPr>
          <p:nvPr/>
        </p:nvCxnSpPr>
        <p:spPr bwMode="auto">
          <a:xfrm flipH="1" flipV="1">
            <a:off x="7444644" y="4091597"/>
            <a:ext cx="819851" cy="808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52" name="Text Box 144">
            <a:extLst>
              <a:ext uri="{FF2B5EF4-FFF2-40B4-BE49-F238E27FC236}">
                <a16:creationId xmlns:a16="http://schemas.microsoft.com/office/drawing/2014/main" id="{7D1BD309-B9E6-4A24-804B-D3ECE4848455}"/>
              </a:ext>
            </a:extLst>
          </p:cNvPr>
          <p:cNvSpPr txBox="1">
            <a:spLocks noChangeAspect="1" noChangeArrowheads="1"/>
          </p:cNvSpPr>
          <p:nvPr/>
        </p:nvSpPr>
        <p:spPr bwMode="auto">
          <a:xfrm>
            <a:off x="7341437" y="386610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S11</a:t>
            </a:r>
          </a:p>
        </p:txBody>
      </p:sp>
      <p:cxnSp>
        <p:nvCxnSpPr>
          <p:cNvPr id="62" name="Straight Connector 61">
            <a:extLst>
              <a:ext uri="{FF2B5EF4-FFF2-40B4-BE49-F238E27FC236}">
                <a16:creationId xmlns:a16="http://schemas.microsoft.com/office/drawing/2014/main" id="{1E77561E-4DBA-44F8-A348-FCA44C8D933A}"/>
              </a:ext>
            </a:extLst>
          </p:cNvPr>
          <p:cNvCxnSpPr>
            <a:cxnSpLocks/>
            <a:stCxn id="99" idx="2"/>
            <a:endCxn id="90" idx="0"/>
          </p:cNvCxnSpPr>
          <p:nvPr/>
        </p:nvCxnSpPr>
        <p:spPr bwMode="auto">
          <a:xfrm flipH="1">
            <a:off x="7156644" y="2815538"/>
            <a:ext cx="702809" cy="80805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63" name="Text Box 144">
            <a:extLst>
              <a:ext uri="{FF2B5EF4-FFF2-40B4-BE49-F238E27FC236}">
                <a16:creationId xmlns:a16="http://schemas.microsoft.com/office/drawing/2014/main" id="{7A8FA73A-D88A-40B0-8416-C834D80A264A}"/>
              </a:ext>
            </a:extLst>
          </p:cNvPr>
          <p:cNvSpPr txBox="1">
            <a:spLocks noChangeAspect="1" noChangeArrowheads="1"/>
          </p:cNvSpPr>
          <p:nvPr/>
        </p:nvSpPr>
        <p:spPr bwMode="auto">
          <a:xfrm>
            <a:off x="6784510" y="292033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S6a</a:t>
            </a:r>
          </a:p>
        </p:txBody>
      </p:sp>
      <p:cxnSp>
        <p:nvCxnSpPr>
          <p:cNvPr id="64" name="Straight Connector 63">
            <a:extLst>
              <a:ext uri="{FF2B5EF4-FFF2-40B4-BE49-F238E27FC236}">
                <a16:creationId xmlns:a16="http://schemas.microsoft.com/office/drawing/2014/main" id="{1772E3EA-5C70-4868-BBDB-22027F935639}"/>
              </a:ext>
            </a:extLst>
          </p:cNvPr>
          <p:cNvCxnSpPr>
            <a:cxnSpLocks/>
            <a:stCxn id="101" idx="2"/>
            <a:endCxn id="86" idx="0"/>
          </p:cNvCxnSpPr>
          <p:nvPr/>
        </p:nvCxnSpPr>
        <p:spPr bwMode="auto">
          <a:xfrm flipH="1">
            <a:off x="8552495" y="2785028"/>
            <a:ext cx="815898" cy="8466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75" name="Text Box 144">
            <a:extLst>
              <a:ext uri="{FF2B5EF4-FFF2-40B4-BE49-F238E27FC236}">
                <a16:creationId xmlns:a16="http://schemas.microsoft.com/office/drawing/2014/main" id="{512F23F4-BA55-4A10-A838-8919AD547B4A}"/>
              </a:ext>
            </a:extLst>
          </p:cNvPr>
          <p:cNvSpPr txBox="1">
            <a:spLocks noChangeAspect="1" noChangeArrowheads="1"/>
          </p:cNvSpPr>
          <p:nvPr/>
        </p:nvSpPr>
        <p:spPr bwMode="auto">
          <a:xfrm>
            <a:off x="2857153" y="4927951"/>
            <a:ext cx="992350"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LTE RRC</a:t>
            </a:r>
            <a:b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b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LTE PDCP</a:t>
            </a:r>
            <a:b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br>
            <a:r>
              <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rPr>
              <a:t>LTE </a:t>
            </a:r>
            <a:r>
              <a:rPr kumimoji="0" lang="en-US" altLang="en-US" sz="1400" b="0" i="0" u="none" strike="noStrike" kern="0" cap="none" spc="0" normalizeH="0" baseline="0" noProof="0" err="1">
                <a:ln>
                  <a:noFill/>
                </a:ln>
                <a:solidFill>
                  <a:srgbClr val="58585A"/>
                </a:solidFill>
                <a:effectLst/>
                <a:uLnTx/>
                <a:uFillTx/>
                <a:latin typeface="Ericsson Hilda"/>
                <a:ea typeface="MS PGothic" charset="-128"/>
                <a:cs typeface="+mn-cs"/>
              </a:rPr>
              <a:t>Uu</a:t>
            </a:r>
            <a:endParaRPr kumimoji="0" lang="en-US" altLang="en-US" sz="1400" b="0" i="0" u="none" strike="noStrike" kern="0" cap="none" spc="0" normalizeH="0" baseline="0" noProof="0">
              <a:ln>
                <a:noFill/>
              </a:ln>
              <a:solidFill>
                <a:srgbClr val="58585A"/>
              </a:solidFill>
              <a:effectLst/>
              <a:uLnTx/>
              <a:uFillTx/>
              <a:latin typeface="Ericsson Hilda"/>
              <a:ea typeface="MS PGothic" charset="-128"/>
              <a:cs typeface="+mn-cs"/>
            </a:endParaRPr>
          </a:p>
        </p:txBody>
      </p:sp>
      <p:sp>
        <p:nvSpPr>
          <p:cNvPr id="77" name="TextBox 76">
            <a:extLst>
              <a:ext uri="{FF2B5EF4-FFF2-40B4-BE49-F238E27FC236}">
                <a16:creationId xmlns:a16="http://schemas.microsoft.com/office/drawing/2014/main" id="{8E1261B5-EF0A-4915-83B6-20F8915AC724}"/>
              </a:ext>
            </a:extLst>
          </p:cNvPr>
          <p:cNvSpPr txBox="1"/>
          <p:nvPr/>
        </p:nvSpPr>
        <p:spPr bwMode="auto">
          <a:xfrm>
            <a:off x="4134109" y="5348062"/>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LTE + NR</a:t>
            </a:r>
          </a:p>
        </p:txBody>
      </p:sp>
      <p:grpSp>
        <p:nvGrpSpPr>
          <p:cNvPr id="78" name="Group 77">
            <a:extLst>
              <a:ext uri="{FF2B5EF4-FFF2-40B4-BE49-F238E27FC236}">
                <a16:creationId xmlns:a16="http://schemas.microsoft.com/office/drawing/2014/main" id="{AA982ACC-7217-4636-B66A-D0F2F305C33C}"/>
              </a:ext>
            </a:extLst>
          </p:cNvPr>
          <p:cNvGrpSpPr>
            <a:grpSpLocks noChangeAspect="1"/>
          </p:cNvGrpSpPr>
          <p:nvPr/>
        </p:nvGrpSpPr>
        <p:grpSpPr>
          <a:xfrm>
            <a:off x="2069470" y="5156129"/>
            <a:ext cx="452558" cy="633581"/>
            <a:chOff x="10129764" y="745508"/>
            <a:chExt cx="221963" cy="310748"/>
          </a:xfrm>
        </p:grpSpPr>
        <p:grpSp>
          <p:nvGrpSpPr>
            <p:cNvPr id="79" name="Group 78">
              <a:extLst>
                <a:ext uri="{FF2B5EF4-FFF2-40B4-BE49-F238E27FC236}">
                  <a16:creationId xmlns:a16="http://schemas.microsoft.com/office/drawing/2014/main" id="{8C9A2323-22A4-4C53-AC30-E13AB3839C8A}"/>
                </a:ext>
              </a:extLst>
            </p:cNvPr>
            <p:cNvGrpSpPr>
              <a:grpSpLocks noChangeAspect="1"/>
            </p:cNvGrpSpPr>
            <p:nvPr/>
          </p:nvGrpSpPr>
          <p:grpSpPr>
            <a:xfrm>
              <a:off x="10129764" y="745508"/>
              <a:ext cx="221963" cy="310748"/>
              <a:chOff x="1373325" y="5272742"/>
              <a:chExt cx="428625" cy="600075"/>
            </a:xfrm>
          </p:grpSpPr>
          <p:sp>
            <p:nvSpPr>
              <p:cNvPr id="81" name="Rectangle 80">
                <a:extLst>
                  <a:ext uri="{FF2B5EF4-FFF2-40B4-BE49-F238E27FC236}">
                    <a16:creationId xmlns:a16="http://schemas.microsoft.com/office/drawing/2014/main" id="{271638DE-9412-46D5-B88E-E715965914F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82" name="Graphic 81">
                <a:extLst>
                  <a:ext uri="{FF2B5EF4-FFF2-40B4-BE49-F238E27FC236}">
                    <a16:creationId xmlns:a16="http://schemas.microsoft.com/office/drawing/2014/main" id="{D1CAD064-11D5-4844-ADB6-E4B16858E63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80" name="TextBox 79">
              <a:extLst>
                <a:ext uri="{FF2B5EF4-FFF2-40B4-BE49-F238E27FC236}">
                  <a16:creationId xmlns:a16="http://schemas.microsoft.com/office/drawing/2014/main" id="{20A5D785-1EEE-4CE0-993B-586147C8C843}"/>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84" name="TextBox 83">
            <a:extLst>
              <a:ext uri="{FF2B5EF4-FFF2-40B4-BE49-F238E27FC236}">
                <a16:creationId xmlns:a16="http://schemas.microsoft.com/office/drawing/2014/main" id="{5B6FBFF6-CEDD-48FE-9DC4-8960BC13AE89}"/>
              </a:ext>
            </a:extLst>
          </p:cNvPr>
          <p:cNvSpPr txBox="1"/>
          <p:nvPr/>
        </p:nvSpPr>
        <p:spPr bwMode="auto">
          <a:xfrm>
            <a:off x="8266953" y="5321710"/>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SGW/</a:t>
            </a:r>
            <a:b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b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PGW UP</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6" name="TextBox 85">
            <a:extLst>
              <a:ext uri="{FF2B5EF4-FFF2-40B4-BE49-F238E27FC236}">
                <a16:creationId xmlns:a16="http://schemas.microsoft.com/office/drawing/2014/main" id="{2B071790-0BA8-4ACC-9661-96B197F65E8F}"/>
              </a:ext>
            </a:extLst>
          </p:cNvPr>
          <p:cNvSpPr txBox="1"/>
          <p:nvPr/>
        </p:nvSpPr>
        <p:spPr bwMode="auto">
          <a:xfrm>
            <a:off x="8264495" y="3631686"/>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SGW/</a:t>
            </a:r>
            <a:b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b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PGW CP</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90" name="TextBox 89">
            <a:extLst>
              <a:ext uri="{FF2B5EF4-FFF2-40B4-BE49-F238E27FC236}">
                <a16:creationId xmlns:a16="http://schemas.microsoft.com/office/drawing/2014/main" id="{C0A5CC9C-811F-4BA8-AE51-4B87B96CD3B0}"/>
              </a:ext>
            </a:extLst>
          </p:cNvPr>
          <p:cNvSpPr txBox="1"/>
          <p:nvPr/>
        </p:nvSpPr>
        <p:spPr bwMode="auto">
          <a:xfrm>
            <a:off x="6868644" y="3623597"/>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MME</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99" name="TextBox 98">
            <a:extLst>
              <a:ext uri="{FF2B5EF4-FFF2-40B4-BE49-F238E27FC236}">
                <a16:creationId xmlns:a16="http://schemas.microsoft.com/office/drawing/2014/main" id="{3CB43CAA-1BC0-49CE-9391-93C87472E550}"/>
              </a:ext>
            </a:extLst>
          </p:cNvPr>
          <p:cNvSpPr txBox="1"/>
          <p:nvPr/>
        </p:nvSpPr>
        <p:spPr bwMode="auto">
          <a:xfrm>
            <a:off x="7571453" y="1879538"/>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altLang="en-US" sz="600" b="0" i="0" u="none" strike="noStrike" kern="0" cap="none" spc="0" normalizeH="0" baseline="0" noProof="0">
              <a:ln>
                <a:noFill/>
              </a:ln>
              <a:solidFill>
                <a:srgbClr val="58585A"/>
              </a:solidFill>
              <a:effectLst/>
              <a:uLnTx/>
              <a:uFillTx/>
              <a:latin typeface="Ericsson Hilda"/>
              <a:ea typeface="MS PGothic" charset="-128"/>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HSS</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01" name="TextBox 100">
            <a:extLst>
              <a:ext uri="{FF2B5EF4-FFF2-40B4-BE49-F238E27FC236}">
                <a16:creationId xmlns:a16="http://schemas.microsoft.com/office/drawing/2014/main" id="{4282509A-B66C-4FD3-965F-A8CE551BB783}"/>
              </a:ext>
            </a:extLst>
          </p:cNvPr>
          <p:cNvSpPr txBox="1"/>
          <p:nvPr/>
        </p:nvSpPr>
        <p:spPr bwMode="auto">
          <a:xfrm>
            <a:off x="9080393" y="1849028"/>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altLang="en-US" sz="600" b="0" i="0" u="none" strike="noStrike" kern="0" cap="none" spc="0" normalizeH="0" baseline="0" noProof="0">
              <a:ln>
                <a:noFill/>
              </a:ln>
              <a:solidFill>
                <a:srgbClr val="58585A"/>
              </a:solidFill>
              <a:effectLst/>
              <a:uLnTx/>
              <a:uFillTx/>
              <a:latin typeface="Ericsson Hilda"/>
              <a:ea typeface="MS PGothic" charset="-128"/>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PCRF</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Tree>
    <p:extLst>
      <p:ext uri="{BB962C8B-B14F-4D97-AF65-F5344CB8AC3E}">
        <p14:creationId xmlns:p14="http://schemas.microsoft.com/office/powerpoint/2010/main" val="117128653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7593DA3-E58F-49A7-92F0-5E32C3C9C116}"/>
              </a:ext>
            </a:extLst>
          </p:cNvPr>
          <p:cNvSpPr>
            <a:spLocks noGrp="1"/>
          </p:cNvSpPr>
          <p:nvPr>
            <p:ph type="title"/>
          </p:nvPr>
        </p:nvSpPr>
        <p:spPr>
          <a:xfrm>
            <a:off x="479424" y="476250"/>
            <a:ext cx="8353425" cy="1081088"/>
          </a:xfrm>
        </p:spPr>
        <p:txBody>
          <a:bodyPr/>
          <a:lstStyle/>
          <a:p>
            <a:r>
              <a:rPr lang="en-US"/>
              <a:t>5G EPC functions</a:t>
            </a:r>
          </a:p>
        </p:txBody>
      </p:sp>
      <p:sp>
        <p:nvSpPr>
          <p:cNvPr id="8" name="Content Placeholder 2">
            <a:extLst>
              <a:ext uri="{FF2B5EF4-FFF2-40B4-BE49-F238E27FC236}">
                <a16:creationId xmlns:a16="http://schemas.microsoft.com/office/drawing/2014/main" id="{AA03FB4F-0B11-4616-876B-0AD394ED7E7E}"/>
              </a:ext>
            </a:extLst>
          </p:cNvPr>
          <p:cNvSpPr txBox="1">
            <a:spLocks/>
          </p:cNvSpPr>
          <p:nvPr/>
        </p:nvSpPr>
        <p:spPr>
          <a:xfrm>
            <a:off x="527050" y="1742539"/>
            <a:ext cx="4456838" cy="4209530"/>
          </a:xfrm>
          <a:prstGeom prst="rect">
            <a:avLst/>
          </a:prstGeom>
          <a:solidFill>
            <a:schemeClr val="accent1"/>
          </a:solidFill>
        </p:spPr>
        <p:txBody>
          <a:bodyPr lIns="180000" tIns="133200"/>
          <a:lstStyle>
            <a:lvl1pPr marL="342891" indent="-342891" algn="l" rtl="0" eaLnBrk="1" fontAlgn="base" hangingPunct="1">
              <a:spcBef>
                <a:spcPts val="300"/>
              </a:spcBef>
              <a:spcAft>
                <a:spcPct val="0"/>
              </a:spcAft>
              <a:buClr>
                <a:schemeClr val="tx1"/>
              </a:buClr>
              <a:buFont typeface="Ericsson Hilda Light" panose="00000400000000000000" pitchFamily="2" charset="0"/>
              <a:buChar char="—"/>
              <a:defRPr sz="2000" kern="1000" spc="-31">
                <a:solidFill>
                  <a:schemeClr val="tx1"/>
                </a:solidFill>
                <a:latin typeface="+mn-lt"/>
                <a:ea typeface="+mn-ea"/>
                <a:cs typeface="+mn-cs"/>
              </a:defRPr>
            </a:lvl1pPr>
            <a:lvl2pPr marL="712770" indent="-342891" algn="l" rtl="0" eaLnBrk="1" fontAlgn="base" hangingPunct="1">
              <a:spcBef>
                <a:spcPts val="300"/>
              </a:spcBef>
              <a:spcAft>
                <a:spcPct val="0"/>
              </a:spcAft>
              <a:buClr>
                <a:schemeClr val="tx1"/>
              </a:buClr>
              <a:buFont typeface="Ericsson Hilda Light" panose="00000400000000000000" pitchFamily="2" charset="0"/>
              <a:buChar char="—"/>
              <a:defRPr sz="2000" kern="1000" spc="-31">
                <a:solidFill>
                  <a:schemeClr val="tx1"/>
                </a:solidFill>
                <a:latin typeface="+mn-lt"/>
              </a:defRPr>
            </a:lvl2pPr>
            <a:lvl3pPr marL="1079473" indent="-342891" algn="l" rtl="0" eaLnBrk="1" fontAlgn="base" hangingPunct="1">
              <a:spcBef>
                <a:spcPts val="300"/>
              </a:spcBef>
              <a:spcAft>
                <a:spcPct val="0"/>
              </a:spcAft>
              <a:buClr>
                <a:schemeClr val="tx1"/>
              </a:buClr>
              <a:buFont typeface="Ericsson Hilda Light" panose="00000400000000000000" pitchFamily="2" charset="0"/>
              <a:buChar char="—"/>
              <a:defRPr sz="2000" kern="1000" spc="-31">
                <a:solidFill>
                  <a:schemeClr val="tx1"/>
                </a:solidFill>
                <a:latin typeface="+mn-lt"/>
              </a:defRPr>
            </a:lvl3pPr>
            <a:lvl4pPr marL="1435064" indent="-342891" algn="l" rtl="0" eaLnBrk="1" fontAlgn="base" hangingPunct="1">
              <a:spcBef>
                <a:spcPts val="300"/>
              </a:spcBef>
              <a:spcAft>
                <a:spcPct val="0"/>
              </a:spcAft>
              <a:buClr>
                <a:schemeClr val="tx1"/>
              </a:buClr>
              <a:buFont typeface="Ericsson Hilda Light" panose="00000400000000000000" pitchFamily="2" charset="0"/>
              <a:buChar char="—"/>
              <a:defRPr sz="2000" kern="1000" spc="-31">
                <a:solidFill>
                  <a:schemeClr val="tx1"/>
                </a:solidFill>
                <a:latin typeface="+mn-lt"/>
              </a:defRPr>
            </a:lvl4pPr>
            <a:lvl5pPr marL="1371566" indent="-342891" algn="l" rtl="0" eaLnBrk="1" fontAlgn="base" hangingPunct="1">
              <a:spcBef>
                <a:spcPts val="300"/>
              </a:spcBef>
              <a:spcAft>
                <a:spcPct val="0"/>
              </a:spcAft>
              <a:buClr>
                <a:schemeClr val="tx1"/>
              </a:buClr>
              <a:buFont typeface="Ericsson Hilda Light" panose="00000400000000000000" pitchFamily="2" charset="0"/>
              <a:buChar char="—"/>
              <a:defRPr sz="2000" kern="1000" spc="-31">
                <a:solidFill>
                  <a:schemeClr val="tx1"/>
                </a:solidFill>
                <a:latin typeface="+mn-lt"/>
              </a:defRPr>
            </a:lvl5pPr>
            <a:lvl6pPr marL="2071636" indent="-180970"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25" indent="-180970"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13" indent="-180970"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02" indent="-180970"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342000" marR="0" lvl="0" indent="-342000" algn="l" defTabSz="914400" rtl="0" eaLnBrk="1" fontAlgn="base" latinLnBrk="0" hangingPunct="1">
              <a:lnSpc>
                <a:spcPct val="100000"/>
              </a:lnSpc>
              <a:spcBef>
                <a:spcPts val="300"/>
              </a:spcBef>
              <a:spcAft>
                <a:spcPct val="0"/>
              </a:spcAft>
              <a:buClr>
                <a:srgbClr val="181818"/>
              </a:buClr>
              <a:buSzTx/>
              <a:buFont typeface="Ericsson Hilda Light" panose="00000400000000000000" pitchFamily="2" charset="0"/>
              <a:buNone/>
              <a:tabLst/>
              <a:defRPr/>
            </a:pPr>
            <a:r>
              <a:rPr kumimoji="0" lang="en-US" altLang="en-US" sz="1800" b="0" i="0" u="none" strike="noStrike" kern="1000" cap="none" spc="-31" normalizeH="0" baseline="0" noProof="0">
                <a:ln>
                  <a:noFill/>
                </a:ln>
                <a:solidFill>
                  <a:srgbClr val="FFFFFF"/>
                </a:solidFill>
                <a:effectLst/>
                <a:uLnTx/>
                <a:uFillTx/>
                <a:latin typeface="Ericsson Hilda"/>
                <a:ea typeface="+mn-ea"/>
                <a:cs typeface="+mn-cs"/>
              </a:rPr>
              <a:t>5G Enabled SGW/PGW</a:t>
            </a:r>
          </a:p>
          <a:p>
            <a:pPr marL="342891" marR="0" lvl="0" indent="-342891" algn="l" defTabSz="914400" rtl="0" eaLnBrk="1" fontAlgn="base" latinLnBrk="0" hangingPunct="1">
              <a:lnSpc>
                <a:spcPct val="100000"/>
              </a:lnSpc>
              <a:spcBef>
                <a:spcPts val="300"/>
              </a:spcBef>
              <a:spcAft>
                <a:spcPct val="0"/>
              </a:spcAft>
              <a:buClr>
                <a:srgbClr val="FFFFFF"/>
              </a:buClr>
              <a:buSzTx/>
              <a:buFont typeface="Lucida Grande"/>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Separation of  Control and User  planes (CUPS)</a:t>
            </a:r>
          </a:p>
          <a:p>
            <a:pPr marL="342891" marR="0" lvl="0" indent="-342891" algn="l" defTabSz="914400" rtl="0" eaLnBrk="1" fontAlgn="base" latinLnBrk="0" hangingPunct="1">
              <a:lnSpc>
                <a:spcPct val="100000"/>
              </a:lnSpc>
              <a:spcBef>
                <a:spcPts val="300"/>
              </a:spcBef>
              <a:spcAft>
                <a:spcPct val="0"/>
              </a:spcAft>
              <a:buClr>
                <a:srgbClr val="FFFFFF"/>
              </a:buClr>
              <a:buSzTx/>
              <a:buFont typeface="Lucida Grande"/>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Support for individual high data rates for 5G</a:t>
            </a:r>
          </a:p>
          <a:p>
            <a:pPr marL="342000" marR="0" lvl="1" indent="-342000" algn="l" defTabSz="914400" rtl="0" eaLnBrk="1" fontAlgn="base" latinLnBrk="0" hangingPunct="1">
              <a:lnSpc>
                <a:spcPct val="100000"/>
              </a:lnSpc>
              <a:spcBef>
                <a:spcPts val="300"/>
              </a:spcBef>
              <a:spcAft>
                <a:spcPct val="0"/>
              </a:spcAft>
              <a:buClr>
                <a:srgbClr val="181818"/>
              </a:buClr>
              <a:buSzTx/>
              <a:buFont typeface="Ericsson Hilda Light" panose="00000400000000000000" pitchFamily="2" charset="0"/>
              <a:buChar char="—"/>
              <a:tabLst/>
              <a:defRPr/>
            </a:pPr>
            <a:endParaRPr kumimoji="0" lang="en-US" altLang="en-US" sz="16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endParaRPr>
          </a:p>
          <a:p>
            <a:pPr marL="342000" marR="0" lvl="0" indent="-342000" algn="l" defTabSz="914400" rtl="0" eaLnBrk="1" fontAlgn="base" latinLnBrk="0" hangingPunct="1">
              <a:lnSpc>
                <a:spcPct val="100000"/>
              </a:lnSpc>
              <a:spcBef>
                <a:spcPts val="300"/>
              </a:spcBef>
              <a:spcAft>
                <a:spcPct val="0"/>
              </a:spcAft>
              <a:buClr>
                <a:srgbClr val="181818"/>
              </a:buClr>
              <a:buSzTx/>
              <a:buFont typeface="Ericsson Hilda Light" panose="00000400000000000000" pitchFamily="2" charset="0"/>
              <a:buNone/>
              <a:tabLst/>
              <a:defRPr/>
            </a:pPr>
            <a:r>
              <a:rPr kumimoji="0" lang="en-US" altLang="en-US" sz="1800" b="0" i="0" u="none" strike="noStrike" kern="1000" cap="none" spc="-31" normalizeH="0" baseline="0" noProof="0">
                <a:ln>
                  <a:noFill/>
                </a:ln>
                <a:solidFill>
                  <a:srgbClr val="FFFFFF"/>
                </a:solidFill>
                <a:effectLst/>
                <a:uLnTx/>
                <a:uFillTx/>
                <a:latin typeface="Ericsson Hilda"/>
                <a:ea typeface="+mn-ea"/>
                <a:cs typeface="+mn-cs"/>
              </a:rPr>
              <a:t>5G Enabled MME and HSS</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5G data rate support</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5G subscription control</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Network slicing – DECOR, 5G GW selections</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sz="1400" b="0" i="0" u="none" strike="noStrike" kern="1000" cap="none" spc="-31" normalizeH="0" baseline="0" noProof="0">
                <a:ln>
                  <a:noFill/>
                </a:ln>
                <a:solidFill>
                  <a:srgbClr val="FFFFFF"/>
                </a:solidFill>
                <a:effectLst/>
                <a:uLnTx/>
                <a:uFillTx/>
                <a:latin typeface="Ericsson Hilda"/>
                <a:ea typeface="+mn-ea"/>
              </a:rPr>
              <a:t>RAN volume reporting of Secondary RAT use</a:t>
            </a:r>
            <a:br>
              <a:rPr kumimoji="0" lang="en-US" sz="1400" b="0" i="0" u="none" strike="noStrike" kern="1000" cap="none" spc="-31" normalizeH="0" baseline="0" noProof="0">
                <a:ln>
                  <a:noFill/>
                </a:ln>
                <a:solidFill>
                  <a:srgbClr val="FFFFFF"/>
                </a:solidFill>
                <a:effectLst/>
                <a:uLnTx/>
                <a:uFillTx/>
                <a:latin typeface="Ericsson Hilda"/>
                <a:ea typeface="+mn-ea"/>
              </a:rPr>
            </a:br>
            <a:endParaRPr kumimoji="0" lang="en-US" sz="1400" b="0" i="0" u="none" strike="noStrike" kern="1000" cap="none" spc="-31" normalizeH="0" baseline="0" noProof="0">
              <a:ln>
                <a:noFill/>
              </a:ln>
              <a:solidFill>
                <a:srgbClr val="FFFFFF"/>
              </a:solidFill>
              <a:effectLst/>
              <a:uLnTx/>
              <a:uFillTx/>
              <a:latin typeface="Ericsson Hilda"/>
              <a:ea typeface="+mn-ea"/>
            </a:endParaRPr>
          </a:p>
          <a:p>
            <a:pPr marL="0" marR="0" lvl="1" indent="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None/>
              <a:tabLst/>
              <a:defRPr/>
            </a:pPr>
            <a:r>
              <a:rPr kumimoji="0" lang="en-US" sz="1800" b="0" i="0" u="none" strike="noStrike" kern="1000" cap="none" spc="-31" normalizeH="0" baseline="0" noProof="0">
                <a:ln>
                  <a:noFill/>
                </a:ln>
                <a:solidFill>
                  <a:srgbClr val="FFFFFF"/>
                </a:solidFill>
                <a:effectLst/>
                <a:uLnTx/>
                <a:uFillTx/>
                <a:latin typeface="Ericsson Hilda"/>
                <a:ea typeface="+mn-ea"/>
                <a:cs typeface="+mn-cs"/>
              </a:rPr>
              <a:t>Ericsson added benefits</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CUPS with independent capacity scaling of control and user planes  and hybrid support (PNF/VNF)</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Slicing database </a:t>
            </a:r>
          </a:p>
          <a:p>
            <a:pPr marL="342000" marR="0" lvl="1" indent="-342000" algn="l" defTabSz="914400" rtl="0" eaLnBrk="1" fontAlgn="base" latinLnBrk="0" hangingPunct="1">
              <a:lnSpc>
                <a:spcPct val="100000"/>
              </a:lnSpc>
              <a:spcBef>
                <a:spcPts val="300"/>
              </a:spcBef>
              <a:spcAft>
                <a:spcPct val="0"/>
              </a:spcAft>
              <a:buClr>
                <a:srgbClr val="FFFFFF"/>
              </a:buClr>
              <a:buSzTx/>
              <a:buFont typeface="Ericsson Hilda Light" panose="00000400000000000000" pitchFamily="2" charset="0"/>
              <a:buChar char="—"/>
              <a:tabLst/>
              <a:defRPr/>
            </a:pPr>
            <a:r>
              <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t>Service-based network slice selection</a:t>
            </a:r>
            <a:br>
              <a:rPr kumimoji="0" lang="en-US" altLang="en-US" sz="16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rPr>
            </a:br>
            <a:endParaRPr kumimoji="0" lang="en-US" altLang="en-US" sz="1400" b="0" i="0" u="none" strike="noStrike" kern="1000" cap="none" spc="-31" normalizeH="0" baseline="0" noProof="0">
              <a:ln>
                <a:noFill/>
              </a:ln>
              <a:solidFill>
                <a:srgbClr val="FFFFFF"/>
              </a:solidFill>
              <a:effectLst/>
              <a:uLnTx/>
              <a:uFillTx/>
              <a:latin typeface="Ericsson Hilda"/>
              <a:ea typeface="+mn-ea"/>
              <a:cs typeface="Arial" panose="020B0604020202020204" pitchFamily="34" charset="0"/>
            </a:endParaRPr>
          </a:p>
        </p:txBody>
      </p:sp>
      <p:sp>
        <p:nvSpPr>
          <p:cNvPr id="95" name="Text Box 144">
            <a:extLst>
              <a:ext uri="{FF2B5EF4-FFF2-40B4-BE49-F238E27FC236}">
                <a16:creationId xmlns:a16="http://schemas.microsoft.com/office/drawing/2014/main" id="{BCD7618E-5762-4C92-9ADE-6408C9E0EC93}"/>
              </a:ext>
            </a:extLst>
          </p:cNvPr>
          <p:cNvSpPr txBox="1">
            <a:spLocks noChangeAspect="1" noChangeArrowheads="1"/>
          </p:cNvSpPr>
          <p:nvPr/>
        </p:nvSpPr>
        <p:spPr bwMode="auto">
          <a:xfrm>
            <a:off x="9186507" y="3623965"/>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S5</a:t>
            </a:r>
          </a:p>
        </p:txBody>
      </p:sp>
      <p:sp>
        <p:nvSpPr>
          <p:cNvPr id="96" name="Text Box 144">
            <a:extLst>
              <a:ext uri="{FF2B5EF4-FFF2-40B4-BE49-F238E27FC236}">
                <a16:creationId xmlns:a16="http://schemas.microsoft.com/office/drawing/2014/main" id="{5629035E-0F0F-4501-A430-A2FB455C91CE}"/>
              </a:ext>
            </a:extLst>
          </p:cNvPr>
          <p:cNvSpPr txBox="1">
            <a:spLocks noChangeAspect="1" noChangeArrowheads="1"/>
          </p:cNvSpPr>
          <p:nvPr/>
        </p:nvSpPr>
        <p:spPr bwMode="auto">
          <a:xfrm>
            <a:off x="6570778" y="3623965"/>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S10</a:t>
            </a:r>
          </a:p>
        </p:txBody>
      </p:sp>
      <p:cxnSp>
        <p:nvCxnSpPr>
          <p:cNvPr id="97" name="Straight Connector 96">
            <a:extLst>
              <a:ext uri="{FF2B5EF4-FFF2-40B4-BE49-F238E27FC236}">
                <a16:creationId xmlns:a16="http://schemas.microsoft.com/office/drawing/2014/main" id="{9CB9D1DF-5145-4050-ADC8-0292F3D7938A}"/>
              </a:ext>
            </a:extLst>
          </p:cNvPr>
          <p:cNvCxnSpPr/>
          <p:nvPr/>
        </p:nvCxnSpPr>
        <p:spPr bwMode="auto">
          <a:xfrm>
            <a:off x="7294881" y="3763820"/>
            <a:ext cx="2200776" cy="0"/>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98" name="Text Box 144">
            <a:extLst>
              <a:ext uri="{FF2B5EF4-FFF2-40B4-BE49-F238E27FC236}">
                <a16:creationId xmlns:a16="http://schemas.microsoft.com/office/drawing/2014/main" id="{16AF344B-7A92-4698-8071-47D345A37F53}"/>
              </a:ext>
            </a:extLst>
          </p:cNvPr>
          <p:cNvSpPr txBox="1">
            <a:spLocks noChangeAspect="1" noChangeArrowheads="1"/>
          </p:cNvSpPr>
          <p:nvPr/>
        </p:nvSpPr>
        <p:spPr bwMode="auto">
          <a:xfrm>
            <a:off x="8658646" y="4152624"/>
            <a:ext cx="992188" cy="14927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err="1">
                <a:ln>
                  <a:noFill/>
                </a:ln>
                <a:solidFill>
                  <a:srgbClr val="FFFFFF"/>
                </a:solidFill>
                <a:effectLst/>
                <a:uLnTx/>
                <a:uFillTx/>
                <a:latin typeface="Ericsson Hilda Regular"/>
                <a:ea typeface="MS PGothic" panose="020B0600070205080204" pitchFamily="34" charset="-128"/>
                <a:cs typeface="Ericsson Hilda Regular"/>
              </a:rPr>
              <a:t>Sx</a:t>
            </a:r>
            <a:endPar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endParaRPr>
          </a:p>
        </p:txBody>
      </p:sp>
      <p:cxnSp>
        <p:nvCxnSpPr>
          <p:cNvPr id="99" name="Straight Connector 98">
            <a:extLst>
              <a:ext uri="{FF2B5EF4-FFF2-40B4-BE49-F238E27FC236}">
                <a16:creationId xmlns:a16="http://schemas.microsoft.com/office/drawing/2014/main" id="{7893277F-8F51-41EF-9A0F-1D55B15584A2}"/>
              </a:ext>
            </a:extLst>
          </p:cNvPr>
          <p:cNvCxnSpPr/>
          <p:nvPr/>
        </p:nvCxnSpPr>
        <p:spPr bwMode="auto">
          <a:xfrm flipV="1">
            <a:off x="8978570" y="3885362"/>
            <a:ext cx="0" cy="705612"/>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01" name="Straight Connector 100">
            <a:extLst>
              <a:ext uri="{FF2B5EF4-FFF2-40B4-BE49-F238E27FC236}">
                <a16:creationId xmlns:a16="http://schemas.microsoft.com/office/drawing/2014/main" id="{882D33C3-A30C-4456-94F4-F329FBA1D822}"/>
              </a:ext>
            </a:extLst>
          </p:cNvPr>
          <p:cNvCxnSpPr/>
          <p:nvPr/>
        </p:nvCxnSpPr>
        <p:spPr bwMode="auto">
          <a:xfrm flipH="1" flipV="1">
            <a:off x="6792816" y="3925018"/>
            <a:ext cx="652111" cy="3190"/>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02" name="Straight Connector 101">
            <a:extLst>
              <a:ext uri="{FF2B5EF4-FFF2-40B4-BE49-F238E27FC236}">
                <a16:creationId xmlns:a16="http://schemas.microsoft.com/office/drawing/2014/main" id="{0D0EFCB8-B73C-41C0-9FBE-79DB92AB8DF3}"/>
              </a:ext>
            </a:extLst>
          </p:cNvPr>
          <p:cNvCxnSpPr/>
          <p:nvPr/>
        </p:nvCxnSpPr>
        <p:spPr bwMode="auto">
          <a:xfrm>
            <a:off x="6792816" y="3925018"/>
            <a:ext cx="0" cy="371673"/>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103" name="Text Box 144">
            <a:extLst>
              <a:ext uri="{FF2B5EF4-FFF2-40B4-BE49-F238E27FC236}">
                <a16:creationId xmlns:a16="http://schemas.microsoft.com/office/drawing/2014/main" id="{847A1383-E56D-4744-8CD3-49653B81ABD2}"/>
              </a:ext>
            </a:extLst>
          </p:cNvPr>
          <p:cNvSpPr txBox="1">
            <a:spLocks noChangeAspect="1" noChangeArrowheads="1"/>
          </p:cNvSpPr>
          <p:nvPr/>
        </p:nvSpPr>
        <p:spPr bwMode="auto">
          <a:xfrm>
            <a:off x="5918238" y="4018703"/>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S1-MME</a:t>
            </a:r>
          </a:p>
        </p:txBody>
      </p:sp>
      <p:sp>
        <p:nvSpPr>
          <p:cNvPr id="105" name="Text Box 144">
            <a:extLst>
              <a:ext uri="{FF2B5EF4-FFF2-40B4-BE49-F238E27FC236}">
                <a16:creationId xmlns:a16="http://schemas.microsoft.com/office/drawing/2014/main" id="{148A1FC0-600B-40EF-8B28-421F1E541D8C}"/>
              </a:ext>
            </a:extLst>
          </p:cNvPr>
          <p:cNvSpPr txBox="1">
            <a:spLocks noChangeAspect="1" noChangeArrowheads="1"/>
          </p:cNvSpPr>
          <p:nvPr/>
        </p:nvSpPr>
        <p:spPr bwMode="auto">
          <a:xfrm>
            <a:off x="8308851" y="2732991"/>
            <a:ext cx="992188" cy="14927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err="1">
                <a:ln>
                  <a:noFill/>
                </a:ln>
                <a:solidFill>
                  <a:srgbClr val="FFFFFF"/>
                </a:solidFill>
                <a:effectLst/>
                <a:uLnTx/>
                <a:uFillTx/>
                <a:latin typeface="Ericsson Hilda Regular"/>
                <a:ea typeface="MS PGothic" panose="020B0600070205080204" pitchFamily="34" charset="-128"/>
                <a:cs typeface="Ericsson Hilda Regular"/>
              </a:rPr>
              <a:t>Gx</a:t>
            </a:r>
            <a:endPar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endParaRPr>
          </a:p>
        </p:txBody>
      </p:sp>
      <p:cxnSp>
        <p:nvCxnSpPr>
          <p:cNvPr id="114" name="Straight Connector 113">
            <a:extLst>
              <a:ext uri="{FF2B5EF4-FFF2-40B4-BE49-F238E27FC236}">
                <a16:creationId xmlns:a16="http://schemas.microsoft.com/office/drawing/2014/main" id="{3A415AC7-3596-48E9-A9F7-F17267440A6B}"/>
              </a:ext>
            </a:extLst>
          </p:cNvPr>
          <p:cNvCxnSpPr>
            <a:cxnSpLocks/>
          </p:cNvCxnSpPr>
          <p:nvPr/>
        </p:nvCxnSpPr>
        <p:spPr bwMode="auto">
          <a:xfrm>
            <a:off x="7026033" y="4692905"/>
            <a:ext cx="2957103" cy="17592"/>
          </a:xfrm>
          <a:prstGeom prst="line">
            <a:avLst/>
          </a:prstGeom>
          <a:solidFill>
            <a:schemeClr val="accent1"/>
          </a:solidFill>
          <a:ln w="38100" cap="flat" cmpd="sng" algn="ctr">
            <a:solidFill>
              <a:schemeClr val="bg1"/>
            </a:solidFill>
            <a:prstDash val="solid"/>
            <a:round/>
            <a:headEnd type="none" w="med" len="med"/>
            <a:tailEnd type="none"/>
          </a:ln>
          <a:effectLst/>
        </p:spPr>
      </p:cxnSp>
      <p:sp>
        <p:nvSpPr>
          <p:cNvPr id="115" name="Text Box 144">
            <a:extLst>
              <a:ext uri="{FF2B5EF4-FFF2-40B4-BE49-F238E27FC236}">
                <a16:creationId xmlns:a16="http://schemas.microsoft.com/office/drawing/2014/main" id="{434FF090-AAA7-454B-A975-71234B48D1E2}"/>
              </a:ext>
            </a:extLst>
          </p:cNvPr>
          <p:cNvSpPr txBox="1">
            <a:spLocks noChangeAspect="1" noChangeArrowheads="1"/>
          </p:cNvSpPr>
          <p:nvPr/>
        </p:nvSpPr>
        <p:spPr bwMode="auto">
          <a:xfrm>
            <a:off x="9286514" y="4421761"/>
            <a:ext cx="992187" cy="14927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err="1">
                <a:ln>
                  <a:noFill/>
                </a:ln>
                <a:solidFill>
                  <a:srgbClr val="FFFFFF"/>
                </a:solidFill>
                <a:effectLst/>
                <a:uLnTx/>
                <a:uFillTx/>
                <a:latin typeface="Ericsson Hilda Regular"/>
                <a:ea typeface="MS PGothic" charset="-128"/>
                <a:cs typeface="Ericsson Hilda Regular"/>
              </a:rPr>
              <a:t>SGi</a:t>
            </a:r>
            <a:endParaRPr kumimoji="0" lang="en-US" altLang="en-US" sz="1200" b="0" i="0" u="none" strike="noStrike" kern="0" cap="none" spc="0" normalizeH="0" baseline="0" noProof="0">
              <a:ln>
                <a:noFill/>
              </a:ln>
              <a:solidFill>
                <a:srgbClr val="FFFFFF"/>
              </a:solidFill>
              <a:effectLst/>
              <a:uLnTx/>
              <a:uFillTx/>
              <a:latin typeface="Ericsson Hilda Regular"/>
              <a:ea typeface="MS PGothic" charset="-128"/>
              <a:cs typeface="Ericsson Hilda Regular"/>
            </a:endParaRPr>
          </a:p>
        </p:txBody>
      </p:sp>
      <p:sp>
        <p:nvSpPr>
          <p:cNvPr id="117" name="Text Box 144">
            <a:extLst>
              <a:ext uri="{FF2B5EF4-FFF2-40B4-BE49-F238E27FC236}">
                <a16:creationId xmlns:a16="http://schemas.microsoft.com/office/drawing/2014/main" id="{D3B8FFD0-1D48-40FF-96B1-88E53AACA4E5}"/>
              </a:ext>
            </a:extLst>
          </p:cNvPr>
          <p:cNvSpPr txBox="1">
            <a:spLocks noChangeAspect="1" noChangeArrowheads="1"/>
          </p:cNvSpPr>
          <p:nvPr/>
        </p:nvSpPr>
        <p:spPr bwMode="auto">
          <a:xfrm>
            <a:off x="7420934" y="4422530"/>
            <a:ext cx="992187"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Ericsson Hilda Regular"/>
                <a:ea typeface="MS PGothic" charset="-128"/>
                <a:cs typeface="Ericsson Hilda Regular"/>
              </a:rPr>
              <a:t>S1-U</a:t>
            </a:r>
          </a:p>
        </p:txBody>
      </p:sp>
      <p:cxnSp>
        <p:nvCxnSpPr>
          <p:cNvPr id="121" name="Straight Connector 120">
            <a:extLst>
              <a:ext uri="{FF2B5EF4-FFF2-40B4-BE49-F238E27FC236}">
                <a16:creationId xmlns:a16="http://schemas.microsoft.com/office/drawing/2014/main" id="{5A278A2F-FE33-40AA-828A-DCB88C7E130A}"/>
              </a:ext>
            </a:extLst>
          </p:cNvPr>
          <p:cNvCxnSpPr>
            <a:cxnSpLocks/>
          </p:cNvCxnSpPr>
          <p:nvPr/>
        </p:nvCxnSpPr>
        <p:spPr bwMode="auto">
          <a:xfrm flipV="1">
            <a:off x="5844261" y="4662598"/>
            <a:ext cx="669155" cy="7580"/>
          </a:xfrm>
          <a:prstGeom prst="line">
            <a:avLst/>
          </a:prstGeom>
          <a:solidFill>
            <a:schemeClr val="accent1"/>
          </a:solidFill>
          <a:ln w="19050" cap="flat" cmpd="sng" algn="ctr">
            <a:solidFill>
              <a:schemeClr val="bg1"/>
            </a:solidFill>
            <a:prstDash val="solid"/>
            <a:round/>
            <a:headEnd type="none" w="med" len="med"/>
            <a:tailEnd type="none"/>
          </a:ln>
          <a:effectLst/>
        </p:spPr>
      </p:cxnSp>
      <p:sp>
        <p:nvSpPr>
          <p:cNvPr id="122" name="Rectangle 121">
            <a:extLst>
              <a:ext uri="{FF2B5EF4-FFF2-40B4-BE49-F238E27FC236}">
                <a16:creationId xmlns:a16="http://schemas.microsoft.com/office/drawing/2014/main" id="{F06C3796-DDB2-46A5-ADC8-B0A22FAF79D1}"/>
              </a:ext>
            </a:extLst>
          </p:cNvPr>
          <p:cNvSpPr/>
          <p:nvPr/>
        </p:nvSpPr>
        <p:spPr bwMode="auto">
          <a:xfrm>
            <a:off x="8543415" y="3051622"/>
            <a:ext cx="828019" cy="2609685"/>
          </a:xfrm>
          <a:prstGeom prst="rect">
            <a:avLst/>
          </a:prstGeom>
          <a:noFill/>
          <a:ln w="12700" cap="flat" cmpd="sng" algn="ctr">
            <a:solidFill>
              <a:schemeClr val="bg1"/>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cxnSp>
        <p:nvCxnSpPr>
          <p:cNvPr id="123" name="Straight Connector 122">
            <a:extLst>
              <a:ext uri="{FF2B5EF4-FFF2-40B4-BE49-F238E27FC236}">
                <a16:creationId xmlns:a16="http://schemas.microsoft.com/office/drawing/2014/main" id="{89648163-645D-4F51-A2F0-C822733CC6EE}"/>
              </a:ext>
            </a:extLst>
          </p:cNvPr>
          <p:cNvCxnSpPr>
            <a:cxnSpLocks/>
          </p:cNvCxnSpPr>
          <p:nvPr/>
        </p:nvCxnSpPr>
        <p:spPr bwMode="auto">
          <a:xfrm flipH="1">
            <a:off x="7717978" y="2530350"/>
            <a:ext cx="269668" cy="0"/>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24" name="Straight Connector 123">
            <a:extLst>
              <a:ext uri="{FF2B5EF4-FFF2-40B4-BE49-F238E27FC236}">
                <a16:creationId xmlns:a16="http://schemas.microsoft.com/office/drawing/2014/main" id="{DD7F720E-C685-420B-BC35-125D1241A424}"/>
              </a:ext>
            </a:extLst>
          </p:cNvPr>
          <p:cNvCxnSpPr>
            <a:cxnSpLocks/>
          </p:cNvCxnSpPr>
          <p:nvPr/>
        </p:nvCxnSpPr>
        <p:spPr bwMode="auto">
          <a:xfrm>
            <a:off x="7717977" y="2530350"/>
            <a:ext cx="1" cy="790623"/>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26" name="Straight Connector 125">
            <a:extLst>
              <a:ext uri="{FF2B5EF4-FFF2-40B4-BE49-F238E27FC236}">
                <a16:creationId xmlns:a16="http://schemas.microsoft.com/office/drawing/2014/main" id="{708C05C6-54C8-47B0-AE76-E5832B63C490}"/>
              </a:ext>
            </a:extLst>
          </p:cNvPr>
          <p:cNvCxnSpPr>
            <a:cxnSpLocks/>
            <a:stCxn id="197" idx="0"/>
          </p:cNvCxnSpPr>
          <p:nvPr/>
        </p:nvCxnSpPr>
        <p:spPr bwMode="auto">
          <a:xfrm flipV="1">
            <a:off x="8965578" y="2510738"/>
            <a:ext cx="0" cy="807543"/>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27" name="Straight Connector 126">
            <a:extLst>
              <a:ext uri="{FF2B5EF4-FFF2-40B4-BE49-F238E27FC236}">
                <a16:creationId xmlns:a16="http://schemas.microsoft.com/office/drawing/2014/main" id="{2DD97133-9E1C-4E12-B4C1-BBAD842FE74D}"/>
              </a:ext>
            </a:extLst>
          </p:cNvPr>
          <p:cNvCxnSpPr>
            <a:cxnSpLocks/>
          </p:cNvCxnSpPr>
          <p:nvPr/>
        </p:nvCxnSpPr>
        <p:spPr bwMode="auto">
          <a:xfrm>
            <a:off x="8965578" y="2510738"/>
            <a:ext cx="1627501" cy="5734"/>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28" name="Straight Connector 127">
            <a:extLst>
              <a:ext uri="{FF2B5EF4-FFF2-40B4-BE49-F238E27FC236}">
                <a16:creationId xmlns:a16="http://schemas.microsoft.com/office/drawing/2014/main" id="{C1CA3B9E-D2FE-4697-B35E-DE6B64678295}"/>
              </a:ext>
            </a:extLst>
          </p:cNvPr>
          <p:cNvCxnSpPr>
            <a:cxnSpLocks/>
          </p:cNvCxnSpPr>
          <p:nvPr/>
        </p:nvCxnSpPr>
        <p:spPr bwMode="auto">
          <a:xfrm flipH="1">
            <a:off x="10591605" y="2510738"/>
            <a:ext cx="1475" cy="1637162"/>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129" name="Text Box 144">
            <a:extLst>
              <a:ext uri="{FF2B5EF4-FFF2-40B4-BE49-F238E27FC236}">
                <a16:creationId xmlns:a16="http://schemas.microsoft.com/office/drawing/2014/main" id="{CD198A95-FB7F-45EB-BE37-C32D182E552E}"/>
              </a:ext>
            </a:extLst>
          </p:cNvPr>
          <p:cNvSpPr txBox="1">
            <a:spLocks noChangeAspect="1" noChangeArrowheads="1"/>
          </p:cNvSpPr>
          <p:nvPr/>
        </p:nvSpPr>
        <p:spPr bwMode="auto">
          <a:xfrm>
            <a:off x="9599417" y="2282983"/>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Rx</a:t>
            </a:r>
          </a:p>
        </p:txBody>
      </p:sp>
      <p:sp>
        <p:nvSpPr>
          <p:cNvPr id="132" name="Text Box 144">
            <a:extLst>
              <a:ext uri="{FF2B5EF4-FFF2-40B4-BE49-F238E27FC236}">
                <a16:creationId xmlns:a16="http://schemas.microsoft.com/office/drawing/2014/main" id="{794C9621-68F9-4731-B13D-819450ECAFCA}"/>
              </a:ext>
            </a:extLst>
          </p:cNvPr>
          <p:cNvSpPr txBox="1">
            <a:spLocks noChangeAspect="1" noChangeArrowheads="1"/>
          </p:cNvSpPr>
          <p:nvPr/>
        </p:nvSpPr>
        <p:spPr bwMode="auto">
          <a:xfrm>
            <a:off x="7006578" y="2733760"/>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S6a</a:t>
            </a:r>
          </a:p>
        </p:txBody>
      </p:sp>
      <p:cxnSp>
        <p:nvCxnSpPr>
          <p:cNvPr id="134" name="Straight Connector 133">
            <a:extLst>
              <a:ext uri="{FF2B5EF4-FFF2-40B4-BE49-F238E27FC236}">
                <a16:creationId xmlns:a16="http://schemas.microsoft.com/office/drawing/2014/main" id="{A24AC269-8C57-4B03-B115-8291ABCE4A7D}"/>
              </a:ext>
            </a:extLst>
          </p:cNvPr>
          <p:cNvCxnSpPr/>
          <p:nvPr/>
        </p:nvCxnSpPr>
        <p:spPr bwMode="auto">
          <a:xfrm flipH="1">
            <a:off x="5629949" y="3497590"/>
            <a:ext cx="1808628" cy="0"/>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35" name="Straight Connector 134">
            <a:extLst>
              <a:ext uri="{FF2B5EF4-FFF2-40B4-BE49-F238E27FC236}">
                <a16:creationId xmlns:a16="http://schemas.microsoft.com/office/drawing/2014/main" id="{5353F0B9-B924-4A30-97AB-0B22DCA44D7C}"/>
              </a:ext>
            </a:extLst>
          </p:cNvPr>
          <p:cNvCxnSpPr>
            <a:cxnSpLocks/>
          </p:cNvCxnSpPr>
          <p:nvPr/>
        </p:nvCxnSpPr>
        <p:spPr bwMode="auto">
          <a:xfrm>
            <a:off x="5629949" y="3497590"/>
            <a:ext cx="0" cy="872550"/>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136" name="Text Box 144">
            <a:extLst>
              <a:ext uri="{FF2B5EF4-FFF2-40B4-BE49-F238E27FC236}">
                <a16:creationId xmlns:a16="http://schemas.microsoft.com/office/drawing/2014/main" id="{11341256-D022-4211-AEC4-4D128EAA9D59}"/>
              </a:ext>
            </a:extLst>
          </p:cNvPr>
          <p:cNvSpPr txBox="1">
            <a:spLocks noChangeAspect="1" noChangeArrowheads="1"/>
          </p:cNvSpPr>
          <p:nvPr/>
        </p:nvSpPr>
        <p:spPr bwMode="auto">
          <a:xfrm>
            <a:off x="5918238" y="3320973"/>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EPC NAS</a:t>
            </a:r>
          </a:p>
        </p:txBody>
      </p:sp>
      <p:sp>
        <p:nvSpPr>
          <p:cNvPr id="138" name="Text Box 144">
            <a:extLst>
              <a:ext uri="{FF2B5EF4-FFF2-40B4-BE49-F238E27FC236}">
                <a16:creationId xmlns:a16="http://schemas.microsoft.com/office/drawing/2014/main" id="{E773756B-CAE5-4CD2-972B-E98F35D47454}"/>
              </a:ext>
            </a:extLst>
          </p:cNvPr>
          <p:cNvSpPr txBox="1">
            <a:spLocks noChangeAspect="1" noChangeArrowheads="1"/>
          </p:cNvSpPr>
          <p:nvPr/>
        </p:nvSpPr>
        <p:spPr bwMode="auto">
          <a:xfrm>
            <a:off x="8312407" y="5300075"/>
            <a:ext cx="1316438" cy="295466"/>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Ericsson Hilda Regular"/>
                <a:ea typeface="MS PGothic" charset="-128"/>
                <a:cs typeface="Ericsson Hilda Regular"/>
              </a:rPr>
              <a:t>CP/UP </a:t>
            </a:r>
            <a:br>
              <a:rPr kumimoji="0" lang="en-US" altLang="en-US" sz="1200" b="0" i="0" u="none" strike="noStrike" kern="0" cap="none" spc="0" normalizeH="0" baseline="0" noProof="0">
                <a:ln>
                  <a:noFill/>
                </a:ln>
                <a:solidFill>
                  <a:srgbClr val="FFFFFF"/>
                </a:solidFill>
                <a:effectLst/>
                <a:uLnTx/>
                <a:uFillTx/>
                <a:latin typeface="Ericsson Hilda Regular"/>
                <a:ea typeface="MS PGothic" charset="-128"/>
                <a:cs typeface="Ericsson Hilda Regular"/>
              </a:rPr>
            </a:br>
            <a:r>
              <a:rPr kumimoji="0" lang="en-US" altLang="en-US" sz="1200" b="0" i="0" u="none" strike="noStrike" kern="0" cap="none" spc="0" normalizeH="0" baseline="0" noProof="0">
                <a:ln>
                  <a:noFill/>
                </a:ln>
                <a:solidFill>
                  <a:srgbClr val="FFFFFF"/>
                </a:solidFill>
                <a:effectLst/>
                <a:uLnTx/>
                <a:uFillTx/>
                <a:latin typeface="Ericsson Hilda Regular"/>
                <a:ea typeface="MS PGothic" charset="-128"/>
                <a:cs typeface="Ericsson Hilda Regular"/>
              </a:rPr>
              <a:t>separation</a:t>
            </a:r>
          </a:p>
        </p:txBody>
      </p:sp>
      <p:cxnSp>
        <p:nvCxnSpPr>
          <p:cNvPr id="141" name="Straight Connector 140">
            <a:extLst>
              <a:ext uri="{FF2B5EF4-FFF2-40B4-BE49-F238E27FC236}">
                <a16:creationId xmlns:a16="http://schemas.microsoft.com/office/drawing/2014/main" id="{CFD37834-817B-4785-BF89-BBC68EE9476B}"/>
              </a:ext>
            </a:extLst>
          </p:cNvPr>
          <p:cNvCxnSpPr>
            <a:cxnSpLocks/>
          </p:cNvCxnSpPr>
          <p:nvPr/>
        </p:nvCxnSpPr>
        <p:spPr bwMode="auto">
          <a:xfrm flipH="1">
            <a:off x="7294881" y="3636136"/>
            <a:ext cx="143696" cy="2862"/>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42" name="Straight Connector 141">
            <a:extLst>
              <a:ext uri="{FF2B5EF4-FFF2-40B4-BE49-F238E27FC236}">
                <a16:creationId xmlns:a16="http://schemas.microsoft.com/office/drawing/2014/main" id="{31F3828D-6DB8-419F-801C-4D56FF1E9749}"/>
              </a:ext>
            </a:extLst>
          </p:cNvPr>
          <p:cNvCxnSpPr/>
          <p:nvPr/>
        </p:nvCxnSpPr>
        <p:spPr bwMode="auto">
          <a:xfrm>
            <a:off x="7294881" y="3636136"/>
            <a:ext cx="0" cy="127684"/>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43" name="Straight Connector 142">
            <a:extLst>
              <a:ext uri="{FF2B5EF4-FFF2-40B4-BE49-F238E27FC236}">
                <a16:creationId xmlns:a16="http://schemas.microsoft.com/office/drawing/2014/main" id="{D997BD58-1D9B-485E-AC66-D037E97FA161}"/>
              </a:ext>
            </a:extLst>
          </p:cNvPr>
          <p:cNvCxnSpPr>
            <a:cxnSpLocks/>
          </p:cNvCxnSpPr>
          <p:nvPr/>
        </p:nvCxnSpPr>
        <p:spPr bwMode="auto">
          <a:xfrm flipH="1">
            <a:off x="9257970" y="3636136"/>
            <a:ext cx="231076" cy="0"/>
          </a:xfrm>
          <a:prstGeom prst="line">
            <a:avLst/>
          </a:prstGeom>
          <a:solidFill>
            <a:schemeClr val="accent1"/>
          </a:solidFill>
          <a:ln w="12700" cap="flat" cmpd="sng" algn="ctr">
            <a:solidFill>
              <a:schemeClr val="bg1"/>
            </a:solidFill>
            <a:prstDash val="solid"/>
            <a:round/>
            <a:headEnd type="none" w="med" len="med"/>
            <a:tailEnd type="none"/>
          </a:ln>
          <a:effectLst/>
        </p:spPr>
      </p:cxnSp>
      <p:cxnSp>
        <p:nvCxnSpPr>
          <p:cNvPr id="144" name="Straight Connector 143">
            <a:extLst>
              <a:ext uri="{FF2B5EF4-FFF2-40B4-BE49-F238E27FC236}">
                <a16:creationId xmlns:a16="http://schemas.microsoft.com/office/drawing/2014/main" id="{96B07DFC-1F10-4797-A6E8-A5BA337D5EA1}"/>
              </a:ext>
            </a:extLst>
          </p:cNvPr>
          <p:cNvCxnSpPr/>
          <p:nvPr/>
        </p:nvCxnSpPr>
        <p:spPr bwMode="auto">
          <a:xfrm>
            <a:off x="9495657" y="3636136"/>
            <a:ext cx="0" cy="127684"/>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147" name="Text Box 144">
            <a:extLst>
              <a:ext uri="{FF2B5EF4-FFF2-40B4-BE49-F238E27FC236}">
                <a16:creationId xmlns:a16="http://schemas.microsoft.com/office/drawing/2014/main" id="{C7E20D97-DEB4-4871-B73B-D89973177D48}"/>
              </a:ext>
            </a:extLst>
          </p:cNvPr>
          <p:cNvSpPr txBox="1">
            <a:spLocks noChangeAspect="1" noChangeArrowheads="1"/>
          </p:cNvSpPr>
          <p:nvPr/>
        </p:nvSpPr>
        <p:spPr bwMode="auto">
          <a:xfrm>
            <a:off x="7812757" y="3537019"/>
            <a:ext cx="992188" cy="14773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S11</a:t>
            </a:r>
          </a:p>
        </p:txBody>
      </p:sp>
      <p:sp>
        <p:nvSpPr>
          <p:cNvPr id="157" name="Rectangle 62">
            <a:extLst>
              <a:ext uri="{FF2B5EF4-FFF2-40B4-BE49-F238E27FC236}">
                <a16:creationId xmlns:a16="http://schemas.microsoft.com/office/drawing/2014/main" id="{B1223F25-08BC-488A-BF48-3E0A74562EE6}"/>
              </a:ext>
            </a:extLst>
          </p:cNvPr>
          <p:cNvSpPr>
            <a:spLocks noChangeArrowheads="1"/>
          </p:cNvSpPr>
          <p:nvPr/>
        </p:nvSpPr>
        <p:spPr bwMode="auto">
          <a:xfrm>
            <a:off x="10160048" y="5661310"/>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sp>
        <p:nvSpPr>
          <p:cNvPr id="158" name="Rectangle: Rounded Corners 14">
            <a:extLst>
              <a:ext uri="{FF2B5EF4-FFF2-40B4-BE49-F238E27FC236}">
                <a16:creationId xmlns:a16="http://schemas.microsoft.com/office/drawing/2014/main" id="{F11F49A3-DB37-4A5B-B34B-08BBB80652ED}"/>
              </a:ext>
            </a:extLst>
          </p:cNvPr>
          <p:cNvSpPr/>
          <p:nvPr/>
        </p:nvSpPr>
        <p:spPr bwMode="auto">
          <a:xfrm>
            <a:off x="10040815" y="5644181"/>
            <a:ext cx="1469322" cy="317004"/>
          </a:xfrm>
          <a:prstGeom prst="roundRect">
            <a:avLst>
              <a:gd name="adj" fmla="val 0"/>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357188" marR="0" lvl="0" indent="11113" algn="l" defTabSz="914400" rtl="0" eaLnBrk="1" fontAlgn="base" latinLnBrk="0" hangingPunct="1">
              <a:lnSpc>
                <a:spcPct val="100000"/>
              </a:lnSpc>
              <a:spcBef>
                <a:spcPts val="180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Regular"/>
                <a:ea typeface="+mn-ea"/>
                <a:cs typeface="Ericsson Hilda Regular"/>
              </a:rPr>
              <a:t> </a:t>
            </a:r>
            <a:r>
              <a:rPr kumimoji="0" lang="en-US" sz="1200" b="0" i="0" u="none" strike="noStrike" kern="1200" cap="none" spc="0" normalizeH="0" baseline="0" noProof="0">
                <a:ln>
                  <a:noFill/>
                </a:ln>
                <a:solidFill>
                  <a:srgbClr val="FFFFFF"/>
                </a:solidFill>
                <a:effectLst/>
                <a:uLnTx/>
                <a:uFillTx/>
                <a:latin typeface="Ericsson Hilda Regular"/>
                <a:ea typeface="+mn-ea"/>
                <a:cs typeface="Ericsson Hilda Regular"/>
              </a:rPr>
              <a:t>= SW upgrade</a:t>
            </a:r>
          </a:p>
          <a:p>
            <a:pPr marL="357188" marR="0" lvl="0" indent="11113" algn="r" defTabSz="914400" rtl="0" eaLnBrk="1" fontAlgn="base" latinLnBrk="0" hangingPunct="1">
              <a:lnSpc>
                <a:spcPct val="100000"/>
              </a:lnSpc>
              <a:spcAft>
                <a:spcPct val="0"/>
              </a:spcAft>
              <a:buClrTx/>
              <a:buSzTx/>
              <a:buFontTx/>
              <a:buNone/>
              <a:tabLst/>
              <a:defRPr/>
            </a:pPr>
            <a:r>
              <a:rPr lang="en-US" sz="1200">
                <a:solidFill>
                  <a:srgbClr val="FFFFFF"/>
                </a:solidFill>
                <a:latin typeface="Ericsson Hilda Regular"/>
                <a:cs typeface="Ericsson Hilda Regular"/>
              </a:rPr>
              <a:t>5G-EPC VP’s</a:t>
            </a:r>
            <a:endParaRPr kumimoji="0" lang="en-US" sz="1200" b="0" i="0" u="none" strike="noStrike" kern="1200" cap="none" spc="0" normalizeH="0" baseline="0" noProof="0">
              <a:ln>
                <a:noFill/>
              </a:ln>
              <a:solidFill>
                <a:srgbClr val="FFFFFF"/>
              </a:solidFill>
              <a:effectLst/>
              <a:uLnTx/>
              <a:uFillTx/>
              <a:latin typeface="Ericsson Hilda Regular"/>
              <a:ea typeface="+mn-ea"/>
              <a:cs typeface="Ericsson Hilda Regular"/>
            </a:endParaRPr>
          </a:p>
        </p:txBody>
      </p:sp>
      <p:sp>
        <p:nvSpPr>
          <p:cNvPr id="155" name="Text Box 144">
            <a:extLst>
              <a:ext uri="{FF2B5EF4-FFF2-40B4-BE49-F238E27FC236}">
                <a16:creationId xmlns:a16="http://schemas.microsoft.com/office/drawing/2014/main" id="{670D7A64-13E6-45E7-BD5D-0B38774439DA}"/>
              </a:ext>
            </a:extLst>
          </p:cNvPr>
          <p:cNvSpPr txBox="1">
            <a:spLocks noChangeAspect="1" noChangeArrowheads="1"/>
          </p:cNvSpPr>
          <p:nvPr/>
        </p:nvSpPr>
        <p:spPr bwMode="auto">
          <a:xfrm>
            <a:off x="5123200" y="5222736"/>
            <a:ext cx="992188" cy="25853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LTE/EPC</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NR/EPC</a:t>
            </a:r>
          </a:p>
        </p:txBody>
      </p:sp>
      <p:pic>
        <p:nvPicPr>
          <p:cNvPr id="179" name="Graphic 178">
            <a:extLst>
              <a:ext uri="{FF2B5EF4-FFF2-40B4-BE49-F238E27FC236}">
                <a16:creationId xmlns:a16="http://schemas.microsoft.com/office/drawing/2014/main" id="{5A3F503F-BF6B-4362-BBDF-1FB2FE251D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55822" y="4271852"/>
            <a:ext cx="769552" cy="573392"/>
          </a:xfrm>
          <a:prstGeom prst="rect">
            <a:avLst/>
          </a:prstGeom>
        </p:spPr>
      </p:pic>
      <p:sp>
        <p:nvSpPr>
          <p:cNvPr id="180" name="Rectangle 179">
            <a:extLst>
              <a:ext uri="{FF2B5EF4-FFF2-40B4-BE49-F238E27FC236}">
                <a16:creationId xmlns:a16="http://schemas.microsoft.com/office/drawing/2014/main" id="{B675BDD0-24F6-4F4D-9A2D-85D1A6ECB74C}"/>
              </a:ext>
            </a:extLst>
          </p:cNvPr>
          <p:cNvSpPr/>
          <p:nvPr/>
        </p:nvSpPr>
        <p:spPr>
          <a:xfrm>
            <a:off x="9576732" y="4877610"/>
            <a:ext cx="2067751" cy="658642"/>
          </a:xfrm>
          <a:prstGeom prst="rect">
            <a:avLst/>
          </a:prstGeom>
        </p:spPr>
        <p:txBody>
          <a:bodyPr wrap="square">
            <a:spAutoFit/>
          </a:body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Data network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or Internet)</a:t>
            </a:r>
          </a:p>
        </p:txBody>
      </p:sp>
      <p:grpSp>
        <p:nvGrpSpPr>
          <p:cNvPr id="185" name="Group 184">
            <a:extLst>
              <a:ext uri="{FF2B5EF4-FFF2-40B4-BE49-F238E27FC236}">
                <a16:creationId xmlns:a16="http://schemas.microsoft.com/office/drawing/2014/main" id="{441A6CD1-9A31-4F36-B842-3A0FD8AC591A}"/>
              </a:ext>
            </a:extLst>
          </p:cNvPr>
          <p:cNvGrpSpPr/>
          <p:nvPr/>
        </p:nvGrpSpPr>
        <p:grpSpPr>
          <a:xfrm>
            <a:off x="5309862" y="4346002"/>
            <a:ext cx="618034" cy="757231"/>
            <a:chOff x="5326448" y="5240274"/>
            <a:chExt cx="769552" cy="853778"/>
          </a:xfrm>
        </p:grpSpPr>
        <p:sp>
          <p:nvSpPr>
            <p:cNvPr id="186" name="Rectangle 185">
              <a:extLst>
                <a:ext uri="{FF2B5EF4-FFF2-40B4-BE49-F238E27FC236}">
                  <a16:creationId xmlns:a16="http://schemas.microsoft.com/office/drawing/2014/main" id="{4406BCAF-CA10-4B7C-B6F0-A003114C1FBF}"/>
                </a:ext>
              </a:extLst>
            </p:cNvPr>
            <p:cNvSpPr/>
            <p:nvPr/>
          </p:nvSpPr>
          <p:spPr bwMode="auto">
            <a:xfrm>
              <a:off x="5326448" y="5240274"/>
              <a:ext cx="769552" cy="853778"/>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UE</a:t>
              </a:r>
            </a:p>
          </p:txBody>
        </p:sp>
        <p:pic>
          <p:nvPicPr>
            <p:cNvPr id="187" name="Graphic 186">
              <a:extLst>
                <a:ext uri="{FF2B5EF4-FFF2-40B4-BE49-F238E27FC236}">
                  <a16:creationId xmlns:a16="http://schemas.microsoft.com/office/drawing/2014/main" id="{35F15329-7B0E-4648-BA0A-45676E4CF7B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86098" y="5385372"/>
              <a:ext cx="270364" cy="378509"/>
            </a:xfrm>
            <a:prstGeom prst="rect">
              <a:avLst/>
            </a:prstGeom>
          </p:spPr>
        </p:pic>
      </p:grpSp>
      <p:grpSp>
        <p:nvGrpSpPr>
          <p:cNvPr id="188" name="Group 187">
            <a:extLst>
              <a:ext uri="{FF2B5EF4-FFF2-40B4-BE49-F238E27FC236}">
                <a16:creationId xmlns:a16="http://schemas.microsoft.com/office/drawing/2014/main" id="{9ECC4493-F5B4-4261-9802-8786AF340C87}"/>
              </a:ext>
            </a:extLst>
          </p:cNvPr>
          <p:cNvGrpSpPr/>
          <p:nvPr/>
        </p:nvGrpSpPr>
        <p:grpSpPr>
          <a:xfrm>
            <a:off x="6486510" y="4346002"/>
            <a:ext cx="618034" cy="757231"/>
            <a:chOff x="6551222" y="5240274"/>
            <a:chExt cx="769552" cy="853778"/>
          </a:xfrm>
        </p:grpSpPr>
        <p:sp>
          <p:nvSpPr>
            <p:cNvPr id="189" name="Rectangle 188">
              <a:extLst>
                <a:ext uri="{FF2B5EF4-FFF2-40B4-BE49-F238E27FC236}">
                  <a16:creationId xmlns:a16="http://schemas.microsoft.com/office/drawing/2014/main" id="{5B258CE8-F5BD-41D2-A772-F9A2494D961A}"/>
                </a:ext>
              </a:extLst>
            </p:cNvPr>
            <p:cNvSpPr/>
            <p:nvPr/>
          </p:nvSpPr>
          <p:spPr bwMode="auto">
            <a:xfrm>
              <a:off x="6551222" y="5240274"/>
              <a:ext cx="769552" cy="853778"/>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RAN</a:t>
              </a:r>
            </a:p>
          </p:txBody>
        </p:sp>
        <p:pic>
          <p:nvPicPr>
            <p:cNvPr id="190" name="Content Placeholder 11">
              <a:extLst>
                <a:ext uri="{FF2B5EF4-FFF2-40B4-BE49-F238E27FC236}">
                  <a16:creationId xmlns:a16="http://schemas.microsoft.com/office/drawing/2014/main" id="{9CFEDB0A-D47A-4547-AD8C-550C4A53C4A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53925" y="5367837"/>
              <a:ext cx="317263" cy="413577"/>
            </a:xfrm>
            <a:prstGeom prst="rect">
              <a:avLst/>
            </a:prstGeom>
          </p:spPr>
        </p:pic>
      </p:grpSp>
      <p:sp>
        <p:nvSpPr>
          <p:cNvPr id="191" name="Text Box 144">
            <a:extLst>
              <a:ext uri="{FF2B5EF4-FFF2-40B4-BE49-F238E27FC236}">
                <a16:creationId xmlns:a16="http://schemas.microsoft.com/office/drawing/2014/main" id="{3ED39953-467B-43D6-8B23-CEF37FC72605}"/>
              </a:ext>
            </a:extLst>
          </p:cNvPr>
          <p:cNvSpPr txBox="1">
            <a:spLocks noChangeAspect="1" noChangeArrowheads="1"/>
          </p:cNvSpPr>
          <p:nvPr/>
        </p:nvSpPr>
        <p:spPr bwMode="auto">
          <a:xfrm>
            <a:off x="6296722" y="5258492"/>
            <a:ext cx="992188" cy="130613"/>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FFFFFF"/>
                </a:solidFill>
                <a:effectLst/>
                <a:uLnTx/>
                <a:uFillTx/>
                <a:latin typeface="Ericsson Hilda Regular"/>
                <a:ea typeface="MS PGothic" panose="020B0600070205080204" pitchFamily="34" charset="-128"/>
                <a:cs typeface="Ericsson Hilda Regular"/>
              </a:rPr>
              <a:t>LTE + NR</a:t>
            </a:r>
          </a:p>
        </p:txBody>
      </p:sp>
      <p:grpSp>
        <p:nvGrpSpPr>
          <p:cNvPr id="192" name="Group 191">
            <a:extLst>
              <a:ext uri="{FF2B5EF4-FFF2-40B4-BE49-F238E27FC236}">
                <a16:creationId xmlns:a16="http://schemas.microsoft.com/office/drawing/2014/main" id="{DF143702-8C02-4A86-92EB-6A7A0B9570CA}"/>
              </a:ext>
            </a:extLst>
          </p:cNvPr>
          <p:cNvGrpSpPr/>
          <p:nvPr/>
        </p:nvGrpSpPr>
        <p:grpSpPr>
          <a:xfrm>
            <a:off x="8653612" y="4372415"/>
            <a:ext cx="613114" cy="753571"/>
            <a:chOff x="8295962" y="5205933"/>
            <a:chExt cx="769552" cy="853778"/>
          </a:xfrm>
        </p:grpSpPr>
        <p:sp>
          <p:nvSpPr>
            <p:cNvPr id="193" name="Rectangle 192">
              <a:extLst>
                <a:ext uri="{FF2B5EF4-FFF2-40B4-BE49-F238E27FC236}">
                  <a16:creationId xmlns:a16="http://schemas.microsoft.com/office/drawing/2014/main" id="{CE9C2B2A-9E56-4AE1-8034-F662A8747B5E}"/>
                </a:ext>
              </a:extLst>
            </p:cNvPr>
            <p:cNvSpPr/>
            <p:nvPr/>
          </p:nvSpPr>
          <p:spPr bwMode="auto">
            <a:xfrm>
              <a:off x="8295962" y="5205933"/>
              <a:ext cx="769552" cy="853778"/>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GW</a:t>
              </a:r>
              <a:br>
                <a:rPr kumimoji="0" lang="en-US" sz="1200" b="0" i="0" u="none" strike="noStrike" kern="1200" cap="none" spc="0" normalizeH="0" baseline="0" noProof="0">
                  <a:ln>
                    <a:noFill/>
                  </a:ln>
                  <a:solidFill>
                    <a:srgbClr val="FFFFFF"/>
                  </a:solidFill>
                  <a:effectLst/>
                  <a:uLnTx/>
                  <a:uFillTx/>
                  <a:latin typeface="Ericsson Hilda"/>
                  <a:ea typeface="+mn-ea"/>
                  <a:cs typeface="+mn-cs"/>
                </a:rPr>
              </a:br>
              <a:r>
                <a:rPr kumimoji="0" lang="en-US" sz="1200" b="0" i="0" u="none" strike="noStrike" kern="1200" cap="none" spc="0" normalizeH="0" baseline="0" noProof="0">
                  <a:ln>
                    <a:noFill/>
                  </a:ln>
                  <a:solidFill>
                    <a:srgbClr val="FFFFFF"/>
                  </a:solidFill>
                  <a:effectLst/>
                  <a:uLnTx/>
                  <a:uFillTx/>
                  <a:latin typeface="Ericsson Hilda"/>
                  <a:ea typeface="+mn-ea"/>
                  <a:cs typeface="+mn-cs"/>
                </a:rPr>
                <a:t>UP</a:t>
              </a:r>
            </a:p>
          </p:txBody>
        </p:sp>
        <p:sp>
          <p:nvSpPr>
            <p:cNvPr id="194" name="Right Arrow 339">
              <a:extLst>
                <a:ext uri="{FF2B5EF4-FFF2-40B4-BE49-F238E27FC236}">
                  <a16:creationId xmlns:a16="http://schemas.microsoft.com/office/drawing/2014/main" id="{0FC2A9D9-6EFF-4424-910C-74AC3920F292}"/>
                </a:ext>
              </a:extLst>
            </p:cNvPr>
            <p:cNvSpPr/>
            <p:nvPr/>
          </p:nvSpPr>
          <p:spPr bwMode="auto">
            <a:xfrm>
              <a:off x="8514209" y="5274796"/>
              <a:ext cx="326441" cy="136065"/>
            </a:xfrm>
            <a:prstGeom prst="rightArrow">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95" name="Right Arrow 340">
              <a:extLst>
                <a:ext uri="{FF2B5EF4-FFF2-40B4-BE49-F238E27FC236}">
                  <a16:creationId xmlns:a16="http://schemas.microsoft.com/office/drawing/2014/main" id="{AD197697-19AC-43BE-8D38-1606C4DD9AE1}"/>
                </a:ext>
              </a:extLst>
            </p:cNvPr>
            <p:cNvSpPr/>
            <p:nvPr/>
          </p:nvSpPr>
          <p:spPr bwMode="auto">
            <a:xfrm rot="10800000">
              <a:off x="8514209" y="5433948"/>
              <a:ext cx="326441" cy="136065"/>
            </a:xfrm>
            <a:prstGeom prst="rightArrow">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Ericsson Hilda"/>
                <a:ea typeface="+mn-ea"/>
                <a:cs typeface="+mn-cs"/>
              </a:endParaRPr>
            </a:p>
          </p:txBody>
        </p:sp>
      </p:grpSp>
      <p:sp>
        <p:nvSpPr>
          <p:cNvPr id="140" name="Rectangle 62">
            <a:extLst>
              <a:ext uri="{FF2B5EF4-FFF2-40B4-BE49-F238E27FC236}">
                <a16:creationId xmlns:a16="http://schemas.microsoft.com/office/drawing/2014/main" id="{ACE2B735-ECC3-4621-ADC5-C71A3F5C87D1}"/>
              </a:ext>
            </a:extLst>
          </p:cNvPr>
          <p:cNvSpPr>
            <a:spLocks noChangeArrowheads="1"/>
          </p:cNvSpPr>
          <p:nvPr/>
        </p:nvSpPr>
        <p:spPr bwMode="auto">
          <a:xfrm>
            <a:off x="8574203" y="4194577"/>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grpSp>
        <p:nvGrpSpPr>
          <p:cNvPr id="201" name="Group 200">
            <a:extLst>
              <a:ext uri="{FF2B5EF4-FFF2-40B4-BE49-F238E27FC236}">
                <a16:creationId xmlns:a16="http://schemas.microsoft.com/office/drawing/2014/main" id="{346DC4DE-DDA0-4D61-B00C-C44CC68327E0}"/>
              </a:ext>
            </a:extLst>
          </p:cNvPr>
          <p:cNvGrpSpPr/>
          <p:nvPr/>
        </p:nvGrpSpPr>
        <p:grpSpPr>
          <a:xfrm>
            <a:off x="8659021" y="3318281"/>
            <a:ext cx="613114" cy="753571"/>
            <a:chOff x="8852990" y="3529956"/>
            <a:chExt cx="613114" cy="753571"/>
          </a:xfrm>
        </p:grpSpPr>
        <p:sp>
          <p:nvSpPr>
            <p:cNvPr id="197" name="Rectangle 196">
              <a:extLst>
                <a:ext uri="{FF2B5EF4-FFF2-40B4-BE49-F238E27FC236}">
                  <a16:creationId xmlns:a16="http://schemas.microsoft.com/office/drawing/2014/main" id="{DDECFE6A-5DC9-4B94-A1F8-051B03C0698F}"/>
                </a:ext>
              </a:extLst>
            </p:cNvPr>
            <p:cNvSpPr/>
            <p:nvPr/>
          </p:nvSpPr>
          <p:spPr bwMode="auto">
            <a:xfrm>
              <a:off x="8852990" y="3529956"/>
              <a:ext cx="613114" cy="753571"/>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GW</a:t>
              </a:r>
              <a:br>
                <a:rPr kumimoji="0" lang="en-US" sz="1200" b="0" i="0" u="none" strike="noStrike" kern="1200" cap="none" spc="0" normalizeH="0" baseline="0" noProof="0">
                  <a:ln>
                    <a:noFill/>
                  </a:ln>
                  <a:solidFill>
                    <a:srgbClr val="FFFFFF"/>
                  </a:solidFill>
                  <a:effectLst/>
                  <a:uLnTx/>
                  <a:uFillTx/>
                  <a:latin typeface="Ericsson Hilda"/>
                  <a:ea typeface="+mn-ea"/>
                  <a:cs typeface="+mn-cs"/>
                </a:rPr>
              </a:br>
              <a:r>
                <a:rPr kumimoji="0" lang="en-US" sz="1200" b="0" i="0" u="none" strike="noStrike" kern="1200" cap="none" spc="0" normalizeH="0" baseline="0" noProof="0">
                  <a:ln>
                    <a:noFill/>
                  </a:ln>
                  <a:solidFill>
                    <a:srgbClr val="FFFFFF"/>
                  </a:solidFill>
                  <a:effectLst/>
                  <a:uLnTx/>
                  <a:uFillTx/>
                  <a:latin typeface="Ericsson Hilda"/>
                  <a:ea typeface="+mn-ea"/>
                  <a:cs typeface="+mn-cs"/>
                </a:rPr>
                <a:t>CP</a:t>
              </a:r>
            </a:p>
          </p:txBody>
        </p:sp>
        <p:sp>
          <p:nvSpPr>
            <p:cNvPr id="200" name="Isosceles Triangle 199">
              <a:extLst>
                <a:ext uri="{FF2B5EF4-FFF2-40B4-BE49-F238E27FC236}">
                  <a16:creationId xmlns:a16="http://schemas.microsoft.com/office/drawing/2014/main" id="{D553F9F0-FCDA-4170-A675-EAD5387357CE}"/>
                </a:ext>
              </a:extLst>
            </p:cNvPr>
            <p:cNvSpPr/>
            <p:nvPr/>
          </p:nvSpPr>
          <p:spPr bwMode="auto">
            <a:xfrm>
              <a:off x="9045254" y="3597385"/>
              <a:ext cx="248446" cy="2141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grpSp>
        <p:nvGrpSpPr>
          <p:cNvPr id="202" name="Group 201">
            <a:extLst>
              <a:ext uri="{FF2B5EF4-FFF2-40B4-BE49-F238E27FC236}">
                <a16:creationId xmlns:a16="http://schemas.microsoft.com/office/drawing/2014/main" id="{ECFB5708-E73D-4FA5-ACD0-ECAF1269E2C9}"/>
              </a:ext>
            </a:extLst>
          </p:cNvPr>
          <p:cNvGrpSpPr/>
          <p:nvPr/>
        </p:nvGrpSpPr>
        <p:grpSpPr>
          <a:xfrm>
            <a:off x="7444927" y="3316588"/>
            <a:ext cx="613114" cy="753571"/>
            <a:chOff x="8852990" y="3529956"/>
            <a:chExt cx="613114" cy="753571"/>
          </a:xfrm>
        </p:grpSpPr>
        <p:sp>
          <p:nvSpPr>
            <p:cNvPr id="203" name="Rectangle 202">
              <a:extLst>
                <a:ext uri="{FF2B5EF4-FFF2-40B4-BE49-F238E27FC236}">
                  <a16:creationId xmlns:a16="http://schemas.microsoft.com/office/drawing/2014/main" id="{79348A9B-0F50-4DFE-9C14-B23D8432360D}"/>
                </a:ext>
              </a:extLst>
            </p:cNvPr>
            <p:cNvSpPr/>
            <p:nvPr/>
          </p:nvSpPr>
          <p:spPr bwMode="auto">
            <a:xfrm>
              <a:off x="8852990" y="3529956"/>
              <a:ext cx="613114" cy="753571"/>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MME</a:t>
              </a:r>
            </a:p>
          </p:txBody>
        </p:sp>
        <p:sp>
          <p:nvSpPr>
            <p:cNvPr id="204" name="Isosceles Triangle 203">
              <a:extLst>
                <a:ext uri="{FF2B5EF4-FFF2-40B4-BE49-F238E27FC236}">
                  <a16:creationId xmlns:a16="http://schemas.microsoft.com/office/drawing/2014/main" id="{951C853B-2CF3-4494-9B56-35C263BA0202}"/>
                </a:ext>
              </a:extLst>
            </p:cNvPr>
            <p:cNvSpPr/>
            <p:nvPr/>
          </p:nvSpPr>
          <p:spPr bwMode="auto">
            <a:xfrm>
              <a:off x="9045254" y="3706166"/>
              <a:ext cx="248446" cy="2141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sp>
        <p:nvSpPr>
          <p:cNvPr id="113" name="Rectangle 62">
            <a:extLst>
              <a:ext uri="{FF2B5EF4-FFF2-40B4-BE49-F238E27FC236}">
                <a16:creationId xmlns:a16="http://schemas.microsoft.com/office/drawing/2014/main" id="{E08C4199-2185-4AEE-9ABB-069159463936}"/>
              </a:ext>
            </a:extLst>
          </p:cNvPr>
          <p:cNvSpPr>
            <a:spLocks noChangeArrowheads="1"/>
          </p:cNvSpPr>
          <p:nvPr/>
        </p:nvSpPr>
        <p:spPr bwMode="auto">
          <a:xfrm>
            <a:off x="7317459" y="3104989"/>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sp>
        <p:nvSpPr>
          <p:cNvPr id="112" name="Rectangle 62">
            <a:extLst>
              <a:ext uri="{FF2B5EF4-FFF2-40B4-BE49-F238E27FC236}">
                <a16:creationId xmlns:a16="http://schemas.microsoft.com/office/drawing/2014/main" id="{27A73780-4F23-448F-9819-F5EFC215BA94}"/>
              </a:ext>
            </a:extLst>
          </p:cNvPr>
          <p:cNvSpPr>
            <a:spLocks noChangeArrowheads="1"/>
          </p:cNvSpPr>
          <p:nvPr/>
        </p:nvSpPr>
        <p:spPr bwMode="auto">
          <a:xfrm>
            <a:off x="8574203" y="3127567"/>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grpSp>
        <p:nvGrpSpPr>
          <p:cNvPr id="205" name="Group 204">
            <a:extLst>
              <a:ext uri="{FF2B5EF4-FFF2-40B4-BE49-F238E27FC236}">
                <a16:creationId xmlns:a16="http://schemas.microsoft.com/office/drawing/2014/main" id="{B6633B88-B58C-4D39-96D4-622BD581DBB7}"/>
              </a:ext>
            </a:extLst>
          </p:cNvPr>
          <p:cNvGrpSpPr/>
          <p:nvPr/>
        </p:nvGrpSpPr>
        <p:grpSpPr>
          <a:xfrm>
            <a:off x="7987646" y="2194958"/>
            <a:ext cx="613114" cy="753571"/>
            <a:chOff x="8852990" y="3529956"/>
            <a:chExt cx="613114" cy="753571"/>
          </a:xfrm>
        </p:grpSpPr>
        <p:sp>
          <p:nvSpPr>
            <p:cNvPr id="206" name="Rectangle 205">
              <a:extLst>
                <a:ext uri="{FF2B5EF4-FFF2-40B4-BE49-F238E27FC236}">
                  <a16:creationId xmlns:a16="http://schemas.microsoft.com/office/drawing/2014/main" id="{A2CCBB3D-0654-4154-B42B-F85A3FF3DDC9}"/>
                </a:ext>
              </a:extLst>
            </p:cNvPr>
            <p:cNvSpPr/>
            <p:nvPr/>
          </p:nvSpPr>
          <p:spPr bwMode="auto">
            <a:xfrm>
              <a:off x="8852990" y="3529956"/>
              <a:ext cx="613114" cy="753571"/>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HSS</a:t>
              </a:r>
            </a:p>
          </p:txBody>
        </p:sp>
        <p:sp>
          <p:nvSpPr>
            <p:cNvPr id="207" name="Isosceles Triangle 206">
              <a:extLst>
                <a:ext uri="{FF2B5EF4-FFF2-40B4-BE49-F238E27FC236}">
                  <a16:creationId xmlns:a16="http://schemas.microsoft.com/office/drawing/2014/main" id="{2850DB8A-43CE-4BAC-AA21-517917829334}"/>
                </a:ext>
              </a:extLst>
            </p:cNvPr>
            <p:cNvSpPr/>
            <p:nvPr/>
          </p:nvSpPr>
          <p:spPr bwMode="auto">
            <a:xfrm>
              <a:off x="9045254" y="3597385"/>
              <a:ext cx="248446" cy="2141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grpSp>
        <p:nvGrpSpPr>
          <p:cNvPr id="208" name="Group 207">
            <a:extLst>
              <a:ext uri="{FF2B5EF4-FFF2-40B4-BE49-F238E27FC236}">
                <a16:creationId xmlns:a16="http://schemas.microsoft.com/office/drawing/2014/main" id="{68804399-E979-480E-9247-9166BA01AEDD}"/>
              </a:ext>
            </a:extLst>
          </p:cNvPr>
          <p:cNvGrpSpPr/>
          <p:nvPr/>
        </p:nvGrpSpPr>
        <p:grpSpPr>
          <a:xfrm>
            <a:off x="9095546" y="2194958"/>
            <a:ext cx="613114" cy="753571"/>
            <a:chOff x="8852990" y="3529956"/>
            <a:chExt cx="613114" cy="753571"/>
          </a:xfrm>
        </p:grpSpPr>
        <p:sp>
          <p:nvSpPr>
            <p:cNvPr id="209" name="Rectangle 208">
              <a:extLst>
                <a:ext uri="{FF2B5EF4-FFF2-40B4-BE49-F238E27FC236}">
                  <a16:creationId xmlns:a16="http://schemas.microsoft.com/office/drawing/2014/main" id="{B6D71407-9554-433A-9DD2-1CCF89D145D7}"/>
                </a:ext>
              </a:extLst>
            </p:cNvPr>
            <p:cNvSpPr/>
            <p:nvPr/>
          </p:nvSpPr>
          <p:spPr bwMode="auto">
            <a:xfrm>
              <a:off x="8852990" y="3529956"/>
              <a:ext cx="613114" cy="753571"/>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PCRF</a:t>
              </a:r>
            </a:p>
          </p:txBody>
        </p:sp>
        <p:sp>
          <p:nvSpPr>
            <p:cNvPr id="210" name="Isosceles Triangle 209">
              <a:extLst>
                <a:ext uri="{FF2B5EF4-FFF2-40B4-BE49-F238E27FC236}">
                  <a16:creationId xmlns:a16="http://schemas.microsoft.com/office/drawing/2014/main" id="{C1680726-19F3-4625-9FA0-C6456FC94045}"/>
                </a:ext>
              </a:extLst>
            </p:cNvPr>
            <p:cNvSpPr/>
            <p:nvPr/>
          </p:nvSpPr>
          <p:spPr bwMode="auto">
            <a:xfrm>
              <a:off x="9045254" y="3597385"/>
              <a:ext cx="248446" cy="2141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sp>
        <p:nvSpPr>
          <p:cNvPr id="108" name="Rectangle 62">
            <a:extLst>
              <a:ext uri="{FF2B5EF4-FFF2-40B4-BE49-F238E27FC236}">
                <a16:creationId xmlns:a16="http://schemas.microsoft.com/office/drawing/2014/main" id="{19458BF6-7A6D-4733-8E34-F28F00CAE2E2}"/>
              </a:ext>
            </a:extLst>
          </p:cNvPr>
          <p:cNvSpPr>
            <a:spLocks noChangeArrowheads="1"/>
          </p:cNvSpPr>
          <p:nvPr/>
        </p:nvSpPr>
        <p:spPr bwMode="auto">
          <a:xfrm>
            <a:off x="8965578" y="1985960"/>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sp>
        <p:nvSpPr>
          <p:cNvPr id="109" name="Rectangle 62">
            <a:extLst>
              <a:ext uri="{FF2B5EF4-FFF2-40B4-BE49-F238E27FC236}">
                <a16:creationId xmlns:a16="http://schemas.microsoft.com/office/drawing/2014/main" id="{8B5A7495-60BC-4ECA-86CC-F4173E987951}"/>
              </a:ext>
            </a:extLst>
          </p:cNvPr>
          <p:cNvSpPr>
            <a:spLocks noChangeArrowheads="1"/>
          </p:cNvSpPr>
          <p:nvPr/>
        </p:nvSpPr>
        <p:spPr bwMode="auto">
          <a:xfrm>
            <a:off x="7847306" y="1985960"/>
            <a:ext cx="287392" cy="300346"/>
          </a:xfrm>
          <a:prstGeom prst="ellipse">
            <a:avLst/>
          </a:prstGeom>
          <a:solidFill>
            <a:schemeClr val="tx1"/>
          </a:solidFill>
          <a:ln w="25400" algn="ctr">
            <a:solidFill>
              <a:schemeClr val="accent5"/>
            </a:solidFill>
            <a:miter lim="800000"/>
            <a:headEnd/>
            <a:tailEnd/>
          </a:ln>
          <a:effectLst/>
        </p:spPr>
        <p:txBody>
          <a:bodyPr wrap="none" lIns="72000" r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mn-cs"/>
              </a:rPr>
              <a:t>U</a:t>
            </a:r>
          </a:p>
        </p:txBody>
      </p:sp>
      <p:sp>
        <p:nvSpPr>
          <p:cNvPr id="211" name="Rounded Rectangle 284">
            <a:extLst>
              <a:ext uri="{FF2B5EF4-FFF2-40B4-BE49-F238E27FC236}">
                <a16:creationId xmlns:a16="http://schemas.microsoft.com/office/drawing/2014/main" id="{931D409D-91D1-4536-903D-2775BE9CC620}"/>
              </a:ext>
            </a:extLst>
          </p:cNvPr>
          <p:cNvSpPr/>
          <p:nvPr/>
        </p:nvSpPr>
        <p:spPr bwMode="auto">
          <a:xfrm>
            <a:off x="8147890" y="2530350"/>
            <a:ext cx="329035" cy="132684"/>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212" name="Rounded Rectangle 284">
            <a:extLst>
              <a:ext uri="{FF2B5EF4-FFF2-40B4-BE49-F238E27FC236}">
                <a16:creationId xmlns:a16="http://schemas.microsoft.com/office/drawing/2014/main" id="{08031F1C-4223-4C8D-AC3A-693028864887}"/>
              </a:ext>
            </a:extLst>
          </p:cNvPr>
          <p:cNvSpPr/>
          <p:nvPr/>
        </p:nvSpPr>
        <p:spPr bwMode="auto">
          <a:xfrm>
            <a:off x="9253856" y="2527464"/>
            <a:ext cx="329035" cy="132684"/>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1" name="txtfooterCopy">
            <a:extLst>
              <a:ext uri="{FF2B5EF4-FFF2-40B4-BE49-F238E27FC236}">
                <a16:creationId xmlns:a16="http://schemas.microsoft.com/office/drawing/2014/main" id="{B5D66844-3D70-468C-AC9F-76DF3D537153}"/>
              </a:ext>
            </a:extLst>
          </p:cNvPr>
          <p:cNvSpPr txBox="1"/>
          <p:nvPr/>
        </p:nvSpPr>
        <p:spPr>
          <a:xfrm>
            <a:off x="527050" y="6521450"/>
            <a:ext cx="9865783" cy="215900"/>
          </a:xfrm>
          <a:prstGeom prst="rect">
            <a:avLst/>
          </a:prstGeom>
          <a:noFill/>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7888A"/>
                </a:solidFill>
                <a:effectLst/>
                <a:uLnTx/>
                <a:uFillTx/>
                <a:latin typeface="Ericsson Hilda"/>
                <a:ea typeface="+mn-ea"/>
                <a:cs typeface="+mn-cs"/>
              </a:rPr>
              <a:t>Ericsson 5G Core  |  Get to the core of 5G</a:t>
            </a:r>
          </a:p>
        </p:txBody>
      </p:sp>
      <p:grpSp>
        <p:nvGrpSpPr>
          <p:cNvPr id="30" name="Group 29">
            <a:extLst>
              <a:ext uri="{FF2B5EF4-FFF2-40B4-BE49-F238E27FC236}">
                <a16:creationId xmlns:a16="http://schemas.microsoft.com/office/drawing/2014/main" id="{1810A2F3-CB9B-4B5B-A2C2-AC5F52ED656F}"/>
              </a:ext>
            </a:extLst>
          </p:cNvPr>
          <p:cNvGrpSpPr/>
          <p:nvPr/>
        </p:nvGrpSpPr>
        <p:grpSpPr>
          <a:xfrm>
            <a:off x="7790998" y="5134043"/>
            <a:ext cx="1870441" cy="1233795"/>
            <a:chOff x="7790998" y="5134043"/>
            <a:chExt cx="1870441" cy="1233795"/>
          </a:xfrm>
        </p:grpSpPr>
        <p:sp>
          <p:nvSpPr>
            <p:cNvPr id="70" name="TextBox 69">
              <a:extLst>
                <a:ext uri="{FF2B5EF4-FFF2-40B4-BE49-F238E27FC236}">
                  <a16:creationId xmlns:a16="http://schemas.microsoft.com/office/drawing/2014/main" id="{80C33F53-BEF0-4544-81C0-A15F788F9EDD}"/>
                </a:ext>
              </a:extLst>
            </p:cNvPr>
            <p:cNvSpPr txBox="1"/>
            <p:nvPr/>
          </p:nvSpPr>
          <p:spPr>
            <a:xfrm>
              <a:off x="7790998" y="5783063"/>
              <a:ext cx="1870441" cy="584775"/>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defPPr>
                <a:defRPr lang="en-GB"/>
              </a:defPPr>
              <a:lvl1pPr>
                <a:spcBef>
                  <a:spcPts val="0"/>
                </a:spcBef>
                <a:defRPr sz="1200">
                  <a:solidFill>
                    <a:schemeClr val="tx2"/>
                  </a:solidFill>
                </a:defRPr>
              </a:lvl1pPr>
            </a:lstStyle>
            <a:p>
              <a:pPr algn="l"/>
              <a:r>
                <a:rPr lang="en-US"/>
                <a:t>Support for </a:t>
              </a:r>
            </a:p>
            <a:p>
              <a:pPr marL="90488" indent="-90488" algn="l">
                <a:buFont typeface="Arial" panose="020B0604020202020204" pitchFamily="34" charset="0"/>
                <a:buChar char="•"/>
              </a:pPr>
              <a:r>
                <a:rPr lang="en-US" sz="1000"/>
                <a:t>5G user data rates</a:t>
              </a:r>
            </a:p>
            <a:p>
              <a:pPr marL="90488" indent="-90488" algn="l">
                <a:buFont typeface="Arial" panose="020B0604020202020204" pitchFamily="34" charset="0"/>
                <a:buChar char="•"/>
              </a:pPr>
              <a:r>
                <a:rPr lang="en-US" sz="1000"/>
                <a:t>DPI and Traffic Filtering</a:t>
              </a:r>
            </a:p>
          </p:txBody>
        </p:sp>
        <p:cxnSp>
          <p:nvCxnSpPr>
            <p:cNvPr id="72" name="Straight Connector 71">
              <a:extLst>
                <a:ext uri="{FF2B5EF4-FFF2-40B4-BE49-F238E27FC236}">
                  <a16:creationId xmlns:a16="http://schemas.microsoft.com/office/drawing/2014/main" id="{92A67E26-EB91-4FF6-BA95-B4AD11199B2B}"/>
                </a:ext>
              </a:extLst>
            </p:cNvPr>
            <p:cNvCxnSpPr>
              <a:cxnSpLocks/>
            </p:cNvCxnSpPr>
            <p:nvPr/>
          </p:nvCxnSpPr>
          <p:spPr bwMode="auto">
            <a:xfrm flipV="1">
              <a:off x="8428356" y="5134043"/>
              <a:ext cx="302406" cy="644257"/>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grpSp>
        <p:nvGrpSpPr>
          <p:cNvPr id="25" name="Group 24">
            <a:extLst>
              <a:ext uri="{FF2B5EF4-FFF2-40B4-BE49-F238E27FC236}">
                <a16:creationId xmlns:a16="http://schemas.microsoft.com/office/drawing/2014/main" id="{BFB391B6-5C9C-4D4C-B15E-A9CCC2B9A3C8}"/>
              </a:ext>
            </a:extLst>
          </p:cNvPr>
          <p:cNvGrpSpPr/>
          <p:nvPr/>
        </p:nvGrpSpPr>
        <p:grpSpPr>
          <a:xfrm>
            <a:off x="9281751" y="2969638"/>
            <a:ext cx="2674945" cy="892552"/>
            <a:chOff x="9281751" y="2969638"/>
            <a:chExt cx="2674945" cy="892552"/>
          </a:xfrm>
        </p:grpSpPr>
        <p:sp>
          <p:nvSpPr>
            <p:cNvPr id="77" name="TextBox 76">
              <a:extLst>
                <a:ext uri="{FF2B5EF4-FFF2-40B4-BE49-F238E27FC236}">
                  <a16:creationId xmlns:a16="http://schemas.microsoft.com/office/drawing/2014/main" id="{A3662D28-A47A-41FA-A4D1-65213332E038}"/>
                </a:ext>
              </a:extLst>
            </p:cNvPr>
            <p:cNvSpPr txBox="1"/>
            <p:nvPr/>
          </p:nvSpPr>
          <p:spPr>
            <a:xfrm>
              <a:off x="9957917" y="2969638"/>
              <a:ext cx="1998779" cy="892552"/>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defPPr>
                <a:defRPr lang="en-GB"/>
              </a:defPPr>
              <a:lvl1pPr>
                <a:spcBef>
                  <a:spcPts val="0"/>
                </a:spcBef>
                <a:defRPr sz="1050">
                  <a:solidFill>
                    <a:schemeClr val="tx2"/>
                  </a:solidFill>
                </a:defRPr>
              </a:lvl1pPr>
            </a:lstStyle>
            <a:p>
              <a:pPr algn="l"/>
              <a:r>
                <a:rPr lang="en-US" sz="1200"/>
                <a:t>Support for </a:t>
              </a:r>
            </a:p>
            <a:p>
              <a:pPr marL="90488" indent="-90488" algn="l">
                <a:buFont typeface="Arial" panose="020B0604020202020204" pitchFamily="34" charset="0"/>
                <a:buChar char="•"/>
              </a:pPr>
              <a:r>
                <a:rPr lang="en-US" sz="1000" err="1"/>
                <a:t>QoS</a:t>
              </a:r>
              <a:r>
                <a:rPr lang="en-US" sz="1000"/>
                <a:t> data rates control</a:t>
              </a:r>
            </a:p>
            <a:p>
              <a:pPr marL="90488" indent="-90488" algn="l">
                <a:buFont typeface="Arial" panose="020B0604020202020204" pitchFamily="34" charset="0"/>
                <a:buChar char="•"/>
              </a:pPr>
              <a:r>
                <a:rPr lang="en-US" sz="1000"/>
                <a:t>5G/NR usage reporting</a:t>
              </a:r>
            </a:p>
            <a:p>
              <a:pPr marL="90488" indent="-90488" algn="l">
                <a:buFont typeface="Arial" panose="020B0604020202020204" pitchFamily="34" charset="0"/>
                <a:buChar char="•"/>
              </a:pPr>
              <a:r>
                <a:rPr lang="en-US" sz="1000"/>
                <a:t>CUPS Distribution &amp; Control</a:t>
              </a:r>
            </a:p>
            <a:p>
              <a:pPr marL="90488" indent="-90488" algn="l">
                <a:buFont typeface="Arial" panose="020B0604020202020204" pitchFamily="34" charset="0"/>
                <a:buChar char="•"/>
              </a:pPr>
              <a:r>
                <a:rPr lang="en-US" sz="1000"/>
                <a:t>UP Traffic Rules</a:t>
              </a:r>
            </a:p>
          </p:txBody>
        </p:sp>
        <p:cxnSp>
          <p:nvCxnSpPr>
            <p:cNvPr id="78" name="Straight Connector 77">
              <a:extLst>
                <a:ext uri="{FF2B5EF4-FFF2-40B4-BE49-F238E27FC236}">
                  <a16:creationId xmlns:a16="http://schemas.microsoft.com/office/drawing/2014/main" id="{C26DC35E-8B32-420C-BA4E-A98F6BC85A47}"/>
                </a:ext>
              </a:extLst>
            </p:cNvPr>
            <p:cNvCxnSpPr>
              <a:cxnSpLocks/>
            </p:cNvCxnSpPr>
            <p:nvPr/>
          </p:nvCxnSpPr>
          <p:spPr bwMode="auto">
            <a:xfrm flipV="1">
              <a:off x="9281751" y="3249727"/>
              <a:ext cx="671403" cy="215828"/>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grpSp>
        <p:nvGrpSpPr>
          <p:cNvPr id="26" name="Group 25">
            <a:extLst>
              <a:ext uri="{FF2B5EF4-FFF2-40B4-BE49-F238E27FC236}">
                <a16:creationId xmlns:a16="http://schemas.microsoft.com/office/drawing/2014/main" id="{E9DB3B87-7050-44C1-B9CF-64D377440E6A}"/>
              </a:ext>
            </a:extLst>
          </p:cNvPr>
          <p:cNvGrpSpPr/>
          <p:nvPr/>
        </p:nvGrpSpPr>
        <p:grpSpPr>
          <a:xfrm>
            <a:off x="9056484" y="902380"/>
            <a:ext cx="2347863" cy="1282923"/>
            <a:chOff x="9056484" y="902380"/>
            <a:chExt cx="2347863" cy="1282923"/>
          </a:xfrm>
        </p:grpSpPr>
        <p:sp>
          <p:nvSpPr>
            <p:cNvPr id="79" name="TextBox 78">
              <a:extLst>
                <a:ext uri="{FF2B5EF4-FFF2-40B4-BE49-F238E27FC236}">
                  <a16:creationId xmlns:a16="http://schemas.microsoft.com/office/drawing/2014/main" id="{38A15CBF-D3F8-48F0-AA0C-DDC4ABF38EC9}"/>
                </a:ext>
              </a:extLst>
            </p:cNvPr>
            <p:cNvSpPr txBox="1"/>
            <p:nvPr/>
          </p:nvSpPr>
          <p:spPr>
            <a:xfrm>
              <a:off x="9056484" y="902380"/>
              <a:ext cx="2347863" cy="738664"/>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defPPr>
                <a:defRPr lang="en-GB"/>
              </a:defPPr>
              <a:lvl1pPr>
                <a:spcBef>
                  <a:spcPts val="0"/>
                </a:spcBef>
                <a:defRPr sz="1050">
                  <a:solidFill>
                    <a:schemeClr val="tx2"/>
                  </a:solidFill>
                </a:defRPr>
              </a:lvl1pPr>
            </a:lstStyle>
            <a:p>
              <a:pPr algn="l"/>
              <a:r>
                <a:rPr lang="en-US" sz="1200"/>
                <a:t>Support for  </a:t>
              </a:r>
            </a:p>
            <a:p>
              <a:pPr marL="90488" indent="-90488" algn="l">
                <a:buFont typeface="Arial" panose="020B0604020202020204" pitchFamily="34" charset="0"/>
                <a:buChar char="•"/>
              </a:pPr>
              <a:r>
                <a:rPr lang="en-US" sz="1000"/>
                <a:t>Policy Control on LTE/NR access</a:t>
              </a:r>
            </a:p>
            <a:p>
              <a:pPr marL="90488" indent="-90488" algn="l">
                <a:buFont typeface="Arial" panose="020B0604020202020204" pitchFamily="34" charset="0"/>
                <a:buChar char="•"/>
              </a:pPr>
              <a:r>
                <a:rPr lang="en-US" sz="1000"/>
                <a:t>QoS data rates control</a:t>
              </a:r>
            </a:p>
            <a:p>
              <a:pPr marL="90488" indent="-90488" algn="l">
                <a:buFont typeface="Arial" panose="020B0604020202020204" pitchFamily="34" charset="0"/>
                <a:buChar char="•"/>
              </a:pPr>
              <a:r>
                <a:rPr lang="en-US" sz="1000"/>
                <a:t>LTE/NR mobility based policy</a:t>
              </a:r>
            </a:p>
          </p:txBody>
        </p:sp>
        <p:cxnSp>
          <p:nvCxnSpPr>
            <p:cNvPr id="80" name="Straight Connector 79">
              <a:extLst>
                <a:ext uri="{FF2B5EF4-FFF2-40B4-BE49-F238E27FC236}">
                  <a16:creationId xmlns:a16="http://schemas.microsoft.com/office/drawing/2014/main" id="{AF4F8C9D-B8B3-4F85-8057-D0E6C72D95B1}"/>
                </a:ext>
              </a:extLst>
            </p:cNvPr>
            <p:cNvCxnSpPr>
              <a:cxnSpLocks/>
            </p:cNvCxnSpPr>
            <p:nvPr/>
          </p:nvCxnSpPr>
          <p:spPr bwMode="auto">
            <a:xfrm flipH="1">
              <a:off x="9536257" y="1646527"/>
              <a:ext cx="125182" cy="538776"/>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grpSp>
        <p:nvGrpSpPr>
          <p:cNvPr id="27" name="Group 26">
            <a:extLst>
              <a:ext uri="{FF2B5EF4-FFF2-40B4-BE49-F238E27FC236}">
                <a16:creationId xmlns:a16="http://schemas.microsoft.com/office/drawing/2014/main" id="{DD780365-D013-402E-9024-D6DD046A1316}"/>
              </a:ext>
            </a:extLst>
          </p:cNvPr>
          <p:cNvGrpSpPr/>
          <p:nvPr/>
        </p:nvGrpSpPr>
        <p:grpSpPr>
          <a:xfrm>
            <a:off x="6701560" y="909752"/>
            <a:ext cx="1806581" cy="1275680"/>
            <a:chOff x="6701560" y="909752"/>
            <a:chExt cx="1806581" cy="1275680"/>
          </a:xfrm>
        </p:grpSpPr>
        <p:sp>
          <p:nvSpPr>
            <p:cNvPr id="82" name="TextBox 81">
              <a:extLst>
                <a:ext uri="{FF2B5EF4-FFF2-40B4-BE49-F238E27FC236}">
                  <a16:creationId xmlns:a16="http://schemas.microsoft.com/office/drawing/2014/main" id="{898849AC-6B59-4F9B-8CB4-F5618CFA226D}"/>
                </a:ext>
              </a:extLst>
            </p:cNvPr>
            <p:cNvSpPr txBox="1"/>
            <p:nvPr/>
          </p:nvSpPr>
          <p:spPr>
            <a:xfrm>
              <a:off x="6701560" y="909752"/>
              <a:ext cx="1806581" cy="600164"/>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defPPr>
                <a:defRPr lang="en-GB"/>
              </a:defPPr>
              <a:lvl1pPr>
                <a:spcBef>
                  <a:spcPts val="0"/>
                </a:spcBef>
                <a:defRPr sz="1050">
                  <a:solidFill>
                    <a:schemeClr val="tx2"/>
                  </a:solidFill>
                </a:defRPr>
              </a:lvl1pPr>
            </a:lstStyle>
            <a:p>
              <a:pPr algn="l"/>
              <a:r>
                <a:rPr lang="en-US" sz="1200"/>
                <a:t>Support for</a:t>
              </a:r>
            </a:p>
            <a:p>
              <a:pPr marL="90488" indent="-90488" algn="l">
                <a:buFont typeface="Arial" panose="020B0604020202020204" pitchFamily="34" charset="0"/>
                <a:buChar char="•"/>
              </a:pPr>
              <a:r>
                <a:rPr lang="en-US" sz="1000"/>
                <a:t>5G user data rates</a:t>
              </a:r>
            </a:p>
            <a:p>
              <a:pPr marL="90488" indent="-90488" algn="l">
                <a:buFont typeface="Arial" panose="020B0604020202020204" pitchFamily="34" charset="0"/>
                <a:buChar char="•"/>
              </a:pPr>
              <a:r>
                <a:rPr lang="en-US" sz="1000"/>
                <a:t>5G subscriber profiles</a:t>
              </a:r>
            </a:p>
          </p:txBody>
        </p:sp>
        <p:cxnSp>
          <p:nvCxnSpPr>
            <p:cNvPr id="83" name="Straight Connector 82">
              <a:extLst>
                <a:ext uri="{FF2B5EF4-FFF2-40B4-BE49-F238E27FC236}">
                  <a16:creationId xmlns:a16="http://schemas.microsoft.com/office/drawing/2014/main" id="{0B9AD729-5B36-437B-8AEC-BF93D88306C3}"/>
                </a:ext>
              </a:extLst>
            </p:cNvPr>
            <p:cNvCxnSpPr>
              <a:cxnSpLocks/>
            </p:cNvCxnSpPr>
            <p:nvPr/>
          </p:nvCxnSpPr>
          <p:spPr bwMode="auto">
            <a:xfrm>
              <a:off x="8128633" y="1528390"/>
              <a:ext cx="165570" cy="657042"/>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grpSp>
        <p:nvGrpSpPr>
          <p:cNvPr id="28" name="Group 27">
            <a:extLst>
              <a:ext uri="{FF2B5EF4-FFF2-40B4-BE49-F238E27FC236}">
                <a16:creationId xmlns:a16="http://schemas.microsoft.com/office/drawing/2014/main" id="{5AD0D6FC-88DB-42FF-947C-26797F00556D}"/>
              </a:ext>
            </a:extLst>
          </p:cNvPr>
          <p:cNvGrpSpPr/>
          <p:nvPr/>
        </p:nvGrpSpPr>
        <p:grpSpPr>
          <a:xfrm>
            <a:off x="4694226" y="2109757"/>
            <a:ext cx="2739588" cy="1347725"/>
            <a:chOff x="4694226" y="2109757"/>
            <a:chExt cx="2739588" cy="1347725"/>
          </a:xfrm>
        </p:grpSpPr>
        <p:sp>
          <p:nvSpPr>
            <p:cNvPr id="90" name="TextBox 89">
              <a:extLst>
                <a:ext uri="{FF2B5EF4-FFF2-40B4-BE49-F238E27FC236}">
                  <a16:creationId xmlns:a16="http://schemas.microsoft.com/office/drawing/2014/main" id="{90FAA04E-825F-4C7D-9EAF-6139D19E8571}"/>
                </a:ext>
              </a:extLst>
            </p:cNvPr>
            <p:cNvSpPr txBox="1"/>
            <p:nvPr/>
          </p:nvSpPr>
          <p:spPr>
            <a:xfrm>
              <a:off x="4694226" y="2109757"/>
              <a:ext cx="1806581" cy="1046440"/>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defPPr>
                <a:defRPr lang="en-GB"/>
              </a:defPPr>
              <a:lvl1pPr>
                <a:spcBef>
                  <a:spcPts val="0"/>
                </a:spcBef>
                <a:defRPr sz="1200">
                  <a:solidFill>
                    <a:schemeClr val="tx2"/>
                  </a:solidFill>
                </a:defRPr>
              </a:lvl1pPr>
            </a:lstStyle>
            <a:p>
              <a:pPr algn="l"/>
              <a:r>
                <a:rPr lang="en-US"/>
                <a:t>Support for</a:t>
              </a:r>
              <a:endParaRPr lang="en-US" sz="1000"/>
            </a:p>
            <a:p>
              <a:pPr marL="90488" indent="-90488" algn="l">
                <a:buFont typeface="Arial" panose="020B0604020202020204" pitchFamily="34" charset="0"/>
                <a:buChar char="•"/>
              </a:pPr>
              <a:r>
                <a:rPr lang="en-US" sz="1000"/>
                <a:t>5G/NR access control</a:t>
              </a:r>
            </a:p>
            <a:p>
              <a:pPr marL="90488" indent="-90488" algn="l">
                <a:buFont typeface="Arial" panose="020B0604020202020204" pitchFamily="34" charset="0"/>
                <a:buChar char="•"/>
              </a:pPr>
              <a:r>
                <a:rPr lang="en-US" sz="1000" err="1"/>
                <a:t>QoS</a:t>
              </a:r>
              <a:r>
                <a:rPr lang="en-US" sz="1000"/>
                <a:t> data rates control</a:t>
              </a:r>
            </a:p>
            <a:p>
              <a:pPr marL="90488" indent="-90488" algn="l">
                <a:buFont typeface="Arial" panose="020B0604020202020204" pitchFamily="34" charset="0"/>
                <a:buChar char="•"/>
              </a:pPr>
              <a:r>
                <a:rPr lang="en-US" sz="1000"/>
                <a:t>5G/NR usage reporting</a:t>
              </a:r>
            </a:p>
            <a:p>
              <a:pPr marL="90488" indent="-90488" algn="l">
                <a:buFont typeface="Arial" panose="020B0604020202020204" pitchFamily="34" charset="0"/>
                <a:buChar char="•"/>
              </a:pPr>
              <a:r>
                <a:rPr lang="en-US" sz="1000"/>
                <a:t>Dual-Connectivity LTE/NR</a:t>
              </a:r>
            </a:p>
            <a:p>
              <a:pPr marL="90488" indent="-90488" algn="l">
                <a:buFont typeface="Arial" panose="020B0604020202020204" pitchFamily="34" charset="0"/>
                <a:buChar char="•"/>
              </a:pPr>
              <a:r>
                <a:rPr lang="en-US" sz="1000"/>
                <a:t>LTE/NR NW Slicing</a:t>
              </a:r>
            </a:p>
          </p:txBody>
        </p:sp>
        <p:cxnSp>
          <p:nvCxnSpPr>
            <p:cNvPr id="91" name="Straight Connector 90">
              <a:extLst>
                <a:ext uri="{FF2B5EF4-FFF2-40B4-BE49-F238E27FC236}">
                  <a16:creationId xmlns:a16="http://schemas.microsoft.com/office/drawing/2014/main" id="{D44800DE-A4F0-47EE-95DC-944A77920103}"/>
                </a:ext>
              </a:extLst>
            </p:cNvPr>
            <p:cNvCxnSpPr>
              <a:cxnSpLocks/>
            </p:cNvCxnSpPr>
            <p:nvPr/>
          </p:nvCxnSpPr>
          <p:spPr bwMode="auto">
            <a:xfrm>
              <a:off x="6496622" y="2867786"/>
              <a:ext cx="937192" cy="589696"/>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grpSp>
        <p:nvGrpSpPr>
          <p:cNvPr id="29" name="Group 28">
            <a:extLst>
              <a:ext uri="{FF2B5EF4-FFF2-40B4-BE49-F238E27FC236}">
                <a16:creationId xmlns:a16="http://schemas.microsoft.com/office/drawing/2014/main" id="{64B05AB9-50BA-4FE7-9EF7-593C32E3FF22}"/>
              </a:ext>
            </a:extLst>
          </p:cNvPr>
          <p:cNvGrpSpPr/>
          <p:nvPr/>
        </p:nvGrpSpPr>
        <p:grpSpPr>
          <a:xfrm>
            <a:off x="4608831" y="5103233"/>
            <a:ext cx="2232013" cy="1604517"/>
            <a:chOff x="4608831" y="5103233"/>
            <a:chExt cx="2232013" cy="1604517"/>
          </a:xfrm>
        </p:grpSpPr>
        <p:sp>
          <p:nvSpPr>
            <p:cNvPr id="92" name="TextBox 91">
              <a:extLst>
                <a:ext uri="{FF2B5EF4-FFF2-40B4-BE49-F238E27FC236}">
                  <a16:creationId xmlns:a16="http://schemas.microsoft.com/office/drawing/2014/main" id="{5C760309-114E-4233-BBDD-F181265EEA53}"/>
                </a:ext>
              </a:extLst>
            </p:cNvPr>
            <p:cNvSpPr txBox="1"/>
            <p:nvPr/>
          </p:nvSpPr>
          <p:spPr>
            <a:xfrm>
              <a:off x="4608831" y="5661310"/>
              <a:ext cx="2232013" cy="1046440"/>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p>
              <a:pPr algn="l">
                <a:spcBef>
                  <a:spcPts val="0"/>
                </a:spcBef>
              </a:pPr>
              <a:r>
                <a:rPr lang="en-US" sz="1200">
                  <a:solidFill>
                    <a:schemeClr val="tx2"/>
                  </a:solidFill>
                </a:rPr>
                <a:t>Support for</a:t>
              </a:r>
            </a:p>
            <a:p>
              <a:pPr marL="90488" indent="-90488" algn="l">
                <a:spcBef>
                  <a:spcPts val="0"/>
                </a:spcBef>
                <a:buFont typeface="Arial" panose="020B0604020202020204" pitchFamily="34" charset="0"/>
                <a:buChar char="•"/>
                <a:tabLst>
                  <a:tab pos="803275" algn="l"/>
                </a:tabLst>
              </a:pPr>
              <a:r>
                <a:rPr lang="en-US" sz="1000">
                  <a:solidFill>
                    <a:schemeClr val="tx2"/>
                  </a:solidFill>
                </a:rPr>
                <a:t>5G user data rates (</a:t>
              </a:r>
              <a:r>
                <a:rPr lang="en-US" sz="1000" err="1">
                  <a:solidFill>
                    <a:schemeClr val="tx2"/>
                  </a:solidFill>
                </a:rPr>
                <a:t>gNB</a:t>
              </a:r>
              <a:r>
                <a:rPr lang="en-US" sz="1000">
                  <a:solidFill>
                    <a:schemeClr val="tx2"/>
                  </a:solidFill>
                </a:rPr>
                <a:t>)</a:t>
              </a:r>
            </a:p>
            <a:p>
              <a:pPr marL="90488" indent="-90488" algn="l">
                <a:spcBef>
                  <a:spcPts val="0"/>
                </a:spcBef>
                <a:buFont typeface="Arial" panose="020B0604020202020204" pitchFamily="34" charset="0"/>
                <a:buChar char="•"/>
                <a:tabLst>
                  <a:tab pos="803275" algn="l"/>
                </a:tabLst>
              </a:pPr>
              <a:r>
                <a:rPr lang="en-US" sz="1000">
                  <a:solidFill>
                    <a:schemeClr val="tx2"/>
                  </a:solidFill>
                </a:rPr>
                <a:t>5G/NR usage reporting (</a:t>
              </a:r>
              <a:r>
                <a:rPr lang="en-US" sz="1000" err="1">
                  <a:solidFill>
                    <a:schemeClr val="tx2"/>
                  </a:solidFill>
                </a:rPr>
                <a:t>eNB</a:t>
              </a:r>
              <a:r>
                <a:rPr lang="en-US" sz="1000">
                  <a:solidFill>
                    <a:schemeClr val="tx2"/>
                  </a:solidFill>
                </a:rPr>
                <a:t>)</a:t>
              </a:r>
            </a:p>
            <a:p>
              <a:pPr marL="90488" indent="-90488" algn="l">
                <a:spcBef>
                  <a:spcPts val="0"/>
                </a:spcBef>
                <a:buFont typeface="Arial" panose="020B0604020202020204" pitchFamily="34" charset="0"/>
                <a:buChar char="•"/>
                <a:tabLst>
                  <a:tab pos="803275" algn="l"/>
                </a:tabLst>
              </a:pPr>
              <a:r>
                <a:rPr lang="en-US" sz="1000">
                  <a:solidFill>
                    <a:schemeClr val="tx2"/>
                  </a:solidFill>
                </a:rPr>
                <a:t>5G/NR access control (</a:t>
              </a:r>
              <a:r>
                <a:rPr lang="en-US" sz="1000" err="1">
                  <a:solidFill>
                    <a:schemeClr val="tx2"/>
                  </a:solidFill>
                </a:rPr>
                <a:t>eNB</a:t>
              </a:r>
              <a:r>
                <a:rPr lang="en-US" sz="1000">
                  <a:solidFill>
                    <a:schemeClr val="tx2"/>
                  </a:solidFill>
                </a:rPr>
                <a:t>)</a:t>
              </a:r>
            </a:p>
            <a:p>
              <a:pPr marL="90488" indent="-90488" algn="l">
                <a:spcBef>
                  <a:spcPts val="0"/>
                </a:spcBef>
                <a:buFont typeface="Arial" panose="020B0604020202020204" pitchFamily="34" charset="0"/>
                <a:buChar char="•"/>
                <a:tabLst>
                  <a:tab pos="803275" algn="l"/>
                </a:tabLst>
              </a:pPr>
              <a:r>
                <a:rPr lang="en-US" sz="1000">
                  <a:solidFill>
                    <a:schemeClr val="tx2"/>
                  </a:solidFill>
                </a:rPr>
                <a:t>UP path control (1/3/3a/3x) (</a:t>
              </a:r>
              <a:r>
                <a:rPr lang="en-US" sz="1000" err="1">
                  <a:solidFill>
                    <a:schemeClr val="tx2"/>
                  </a:solidFill>
                </a:rPr>
                <a:t>gNB</a:t>
              </a:r>
              <a:r>
                <a:rPr lang="en-US" sz="1000">
                  <a:solidFill>
                    <a:schemeClr val="tx2"/>
                  </a:solidFill>
                </a:rPr>
                <a:t>)</a:t>
              </a:r>
            </a:p>
            <a:p>
              <a:pPr marL="90488" indent="-90488" algn="l">
                <a:spcBef>
                  <a:spcPts val="0"/>
                </a:spcBef>
                <a:buFont typeface="Arial" panose="020B0604020202020204" pitchFamily="34" charset="0"/>
                <a:buChar char="•"/>
                <a:tabLst>
                  <a:tab pos="803275" algn="l"/>
                </a:tabLst>
              </a:pPr>
              <a:r>
                <a:rPr lang="en-US" sz="1000">
                  <a:solidFill>
                    <a:schemeClr val="tx2"/>
                  </a:solidFill>
                </a:rPr>
                <a:t>Dual-Connectivity LTE/NR</a:t>
              </a:r>
            </a:p>
          </p:txBody>
        </p:sp>
        <p:cxnSp>
          <p:nvCxnSpPr>
            <p:cNvPr id="93" name="Straight Connector 92">
              <a:extLst>
                <a:ext uri="{FF2B5EF4-FFF2-40B4-BE49-F238E27FC236}">
                  <a16:creationId xmlns:a16="http://schemas.microsoft.com/office/drawing/2014/main" id="{797EADF5-C862-430B-8747-877FA4A125DF}"/>
                </a:ext>
              </a:extLst>
            </p:cNvPr>
            <p:cNvCxnSpPr>
              <a:cxnSpLocks/>
            </p:cNvCxnSpPr>
            <p:nvPr/>
          </p:nvCxnSpPr>
          <p:spPr bwMode="auto">
            <a:xfrm flipH="1" flipV="1">
              <a:off x="5844261" y="5103233"/>
              <a:ext cx="173062" cy="552144"/>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0293287C-9C45-4E16-BD97-772914E77C58}"/>
                </a:ext>
              </a:extLst>
            </p:cNvPr>
            <p:cNvCxnSpPr>
              <a:cxnSpLocks/>
            </p:cNvCxnSpPr>
            <p:nvPr/>
          </p:nvCxnSpPr>
          <p:spPr bwMode="auto">
            <a:xfrm flipV="1">
              <a:off x="6164870" y="5103233"/>
              <a:ext cx="369393" cy="560589"/>
            </a:xfrm>
            <a:prstGeom prst="line">
              <a:avLst/>
            </a:prstGeom>
            <a:solidFill>
              <a:schemeClr val="accent1"/>
            </a:solidFill>
            <a:ln w="12700" cap="flat" cmpd="sng" algn="ctr">
              <a:solidFill>
                <a:schemeClr val="accent6"/>
              </a:solidFill>
              <a:prstDash val="solid"/>
              <a:round/>
              <a:headEnd type="none" w="med" len="med"/>
              <a:tailEnd type="none" w="med" len="med"/>
            </a:ln>
            <a:effectLst/>
          </p:spPr>
        </p:cxnSp>
      </p:grpSp>
    </p:spTree>
    <p:extLst>
      <p:ext uri="{BB962C8B-B14F-4D97-AF65-F5344CB8AC3E}">
        <p14:creationId xmlns:p14="http://schemas.microsoft.com/office/powerpoint/2010/main" val="3333971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12" end="1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79425" y="1450437"/>
            <a:ext cx="7382743" cy="5147112"/>
          </a:xfrm>
        </p:spPr>
        <p:txBody>
          <a:bodyPr/>
          <a:lstStyle/>
          <a:p>
            <a:pPr eaLnBrk="1" hangingPunct="1"/>
            <a:r>
              <a:rPr lang="en-US" altLang="en-US"/>
              <a:t>Option 3/3A/3X - </a:t>
            </a:r>
            <a:r>
              <a:rPr lang="en-US" altLang="es-ES_tradnl"/>
              <a:t>“LTE assisted” NR with 5G EPC</a:t>
            </a:r>
            <a:endParaRPr lang="en-US" altLang="en-US"/>
          </a:p>
          <a:p>
            <a:pPr lvl="1"/>
            <a:r>
              <a:rPr lang="en-US"/>
              <a:t>NR used for User Plane only</a:t>
            </a:r>
          </a:p>
          <a:p>
            <a:pPr lvl="1"/>
            <a:r>
              <a:rPr lang="en-US"/>
              <a:t>Control plane EPC-NAS via LTE</a:t>
            </a:r>
          </a:p>
          <a:p>
            <a:pPr lvl="1"/>
            <a:r>
              <a:rPr lang="en-US"/>
              <a:t>Variants:</a:t>
            </a:r>
          </a:p>
          <a:p>
            <a:pPr lvl="2"/>
            <a:r>
              <a:rPr lang="en-US" sz="1600"/>
              <a:t>Option 3: LTE </a:t>
            </a:r>
            <a:r>
              <a:rPr lang="en-US" sz="1600" err="1"/>
              <a:t>eNB</a:t>
            </a:r>
            <a:r>
              <a:rPr lang="en-US" sz="1600"/>
              <a:t> aggregates LTE &amp; NR UP towards EPC </a:t>
            </a:r>
          </a:p>
          <a:p>
            <a:pPr lvl="2"/>
            <a:r>
              <a:rPr lang="en-US" sz="1600"/>
              <a:t>Option 3A: </a:t>
            </a:r>
            <a:r>
              <a:rPr lang="sv-SE" sz="1600"/>
              <a:t>NR UP tunnel </a:t>
            </a:r>
            <a:r>
              <a:rPr lang="sv-SE" sz="1600" err="1"/>
              <a:t>towards</a:t>
            </a:r>
            <a:r>
              <a:rPr lang="sv-SE" sz="1600"/>
              <a:t> EPC from NR </a:t>
            </a:r>
            <a:r>
              <a:rPr lang="sv-SE" sz="1600" err="1"/>
              <a:t>gNB</a:t>
            </a:r>
            <a:r>
              <a:rPr lang="sv-SE" sz="1600"/>
              <a:t>, </a:t>
            </a:r>
            <a:br>
              <a:rPr lang="sv-SE" sz="1600"/>
            </a:br>
            <a:r>
              <a:rPr lang="sv-SE" sz="1600"/>
              <a:t>                       or </a:t>
            </a:r>
            <a:r>
              <a:rPr lang="en-US" sz="1600"/>
              <a:t>LTE UP tunnel towards EPC, decided per bearer</a:t>
            </a:r>
          </a:p>
          <a:p>
            <a:pPr lvl="2"/>
            <a:r>
              <a:rPr lang="en-US" sz="1600"/>
              <a:t>Option 3X: NR </a:t>
            </a:r>
            <a:r>
              <a:rPr lang="en-US" sz="1600" err="1"/>
              <a:t>gNB</a:t>
            </a:r>
            <a:r>
              <a:rPr lang="en-US" sz="1600"/>
              <a:t> aggregates NR &amp; LTE UP towards EPC </a:t>
            </a:r>
          </a:p>
          <a:p>
            <a:pPr lvl="2"/>
            <a:endParaRPr lang="en-US" sz="1000"/>
          </a:p>
          <a:p>
            <a:pPr lvl="1"/>
            <a:r>
              <a:rPr lang="en-US"/>
              <a:t>Impacts expected on EPC as defined on previous slide</a:t>
            </a:r>
          </a:p>
          <a:p>
            <a:pPr lvl="2"/>
            <a:r>
              <a:rPr lang="en-US" sz="1600"/>
              <a:t>5G Access &amp; rate additions</a:t>
            </a:r>
          </a:p>
          <a:p>
            <a:pPr lvl="2"/>
            <a:r>
              <a:rPr lang="en-US" sz="1600"/>
              <a:t>Separation of CP/UP for max flexibility &amp; scaling</a:t>
            </a:r>
          </a:p>
          <a:p>
            <a:pPr lvl="2"/>
            <a:r>
              <a:rPr lang="en-US" sz="1600"/>
              <a:t>RAN volume reporting secondary RAT</a:t>
            </a:r>
          </a:p>
          <a:p>
            <a:pPr lvl="2"/>
            <a:endParaRPr lang="en-US" sz="1000"/>
          </a:p>
          <a:p>
            <a:pPr lvl="1"/>
            <a:r>
              <a:rPr lang="en-US" altLang="en-US"/>
              <a:t>Modifications to RRC needed, e.g. enhancements to LTE RRC to include NR information elements (IE:s)</a:t>
            </a:r>
          </a:p>
          <a:p>
            <a:pPr lvl="1"/>
            <a:r>
              <a:rPr lang="en-US" altLang="en-US"/>
              <a:t>Minor X2 impacts</a:t>
            </a:r>
            <a:endParaRPr lang="en-US" altLang="en-US" sz="1800"/>
          </a:p>
        </p:txBody>
      </p:sp>
      <p:sp>
        <p:nvSpPr>
          <p:cNvPr id="12290" name="Title 1"/>
          <p:cNvSpPr>
            <a:spLocks noGrp="1"/>
          </p:cNvSpPr>
          <p:nvPr>
            <p:ph type="title"/>
          </p:nvPr>
        </p:nvSpPr>
        <p:spPr/>
        <p:txBody>
          <a:bodyPr/>
          <a:lstStyle/>
          <a:p>
            <a:r>
              <a:rPr lang="en-US"/>
              <a:t>5G RAN – 5G EPC option 3/EN-DC</a:t>
            </a:r>
            <a:endParaRPr lang="en-US" altLang="en-US"/>
          </a:p>
        </p:txBody>
      </p:sp>
      <p:sp>
        <p:nvSpPr>
          <p:cNvPr id="6" name="Rectangle 96"/>
          <p:cNvSpPr>
            <a:spLocks noChangeArrowheads="1"/>
          </p:cNvSpPr>
          <p:nvPr/>
        </p:nvSpPr>
        <p:spPr bwMode="auto">
          <a:xfrm>
            <a:off x="7872615" y="3149198"/>
            <a:ext cx="2274887"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fi-FI" sz="1350" b="0" i="0" u="none" strike="noStrike" kern="0" cap="none" spc="0" normalizeH="0" baseline="0" noProof="0">
              <a:ln>
                <a:noFill/>
              </a:ln>
              <a:solidFill>
                <a:srgbClr val="58585A"/>
              </a:solidFill>
              <a:effectLst/>
              <a:uLnTx/>
              <a:uFillTx/>
              <a:latin typeface="+mn-lt"/>
              <a:ea typeface="+mn-ea"/>
              <a:cs typeface="Segoe UI" pitchFamily="34" charset="0"/>
            </a:endParaRPr>
          </a:p>
        </p:txBody>
      </p:sp>
      <p:grpSp>
        <p:nvGrpSpPr>
          <p:cNvPr id="20" name="Group 19"/>
          <p:cNvGrpSpPr>
            <a:grpSpLocks noChangeAspect="1"/>
          </p:cNvGrpSpPr>
          <p:nvPr/>
        </p:nvGrpSpPr>
        <p:grpSpPr bwMode="auto">
          <a:xfrm>
            <a:off x="9397235" y="2510403"/>
            <a:ext cx="585340" cy="829118"/>
            <a:chOff x="3106" y="2389"/>
            <a:chExt cx="363" cy="520"/>
          </a:xfrm>
        </p:grpSpPr>
        <p:sp>
          <p:nvSpPr>
            <p:cNvPr id="2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2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2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2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2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grpSp>
        <p:nvGrpSpPr>
          <p:cNvPr id="26" name="Group 9"/>
          <p:cNvGrpSpPr>
            <a:grpSpLocks/>
          </p:cNvGrpSpPr>
          <p:nvPr/>
        </p:nvGrpSpPr>
        <p:grpSpPr bwMode="auto">
          <a:xfrm>
            <a:off x="9042420" y="3469036"/>
            <a:ext cx="239369" cy="360989"/>
            <a:chOff x="416" y="1332"/>
            <a:chExt cx="408" cy="737"/>
          </a:xfrm>
        </p:grpSpPr>
        <p:sp>
          <p:nvSpPr>
            <p:cNvPr id="2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a:ln>
                  <a:noFill/>
                </a:ln>
                <a:solidFill>
                  <a:srgbClr val="00A9D4"/>
                </a:solidFill>
                <a:effectLst/>
                <a:uLnTx/>
                <a:uFillTx/>
                <a:latin typeface="+mn-lt"/>
                <a:ea typeface="+mn-ea"/>
                <a:cs typeface="Arial" charset="0"/>
              </a:endParaRPr>
            </a:p>
          </p:txBody>
        </p:sp>
        <p:grpSp>
          <p:nvGrpSpPr>
            <p:cNvPr id="28" name="Group 11"/>
            <p:cNvGrpSpPr>
              <a:grpSpLocks/>
            </p:cNvGrpSpPr>
            <p:nvPr/>
          </p:nvGrpSpPr>
          <p:grpSpPr bwMode="auto">
            <a:xfrm>
              <a:off x="416" y="1332"/>
              <a:ext cx="408" cy="737"/>
              <a:chOff x="518" y="1338"/>
              <a:chExt cx="357" cy="568"/>
            </a:xfrm>
          </p:grpSpPr>
          <p:sp>
            <p:nvSpPr>
              <p:cNvPr id="2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mn-lt"/>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mn-lt"/>
                  <a:ea typeface="+mn-ea"/>
                  <a:cs typeface="Arial" charset="0"/>
                </a:endParaRPr>
              </a:p>
            </p:txBody>
          </p:sp>
          <p:sp>
            <p:nvSpPr>
              <p:cNvPr id="3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cxnSp>
        <p:nvCxnSpPr>
          <p:cNvPr id="32" name="Straight Connector 31"/>
          <p:cNvCxnSpPr>
            <a:stCxn id="46" idx="1"/>
            <a:endCxn id="37" idx="2"/>
          </p:cNvCxnSpPr>
          <p:nvPr/>
        </p:nvCxnSpPr>
        <p:spPr bwMode="auto">
          <a:xfrm flipV="1">
            <a:off x="8452641" y="2031784"/>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33" name="Straight Connector 32"/>
          <p:cNvCxnSpPr>
            <a:stCxn id="46" idx="7"/>
            <a:endCxn id="37" idx="2"/>
          </p:cNvCxnSpPr>
          <p:nvPr/>
        </p:nvCxnSpPr>
        <p:spPr bwMode="auto">
          <a:xfrm flipH="1" flipV="1">
            <a:off x="8771025" y="2031784"/>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4" name="Straight Connector 33"/>
          <p:cNvCxnSpPr>
            <a:stCxn id="57" idx="0"/>
            <a:endCxn id="23" idx="2"/>
          </p:cNvCxnSpPr>
          <p:nvPr/>
        </p:nvCxnSpPr>
        <p:spPr bwMode="auto">
          <a:xfrm flipV="1">
            <a:off x="9223546" y="3320388"/>
            <a:ext cx="464747"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5" name="Straight Connector 34"/>
          <p:cNvCxnSpPr/>
          <p:nvPr/>
        </p:nvCxnSpPr>
        <p:spPr bwMode="auto">
          <a:xfrm flipH="1" flipV="1">
            <a:off x="8677985" y="3203723"/>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36" name="Group 261"/>
          <p:cNvGrpSpPr>
            <a:grpSpLocks/>
          </p:cNvGrpSpPr>
          <p:nvPr/>
        </p:nvGrpSpPr>
        <p:grpSpPr bwMode="auto">
          <a:xfrm>
            <a:off x="8464685" y="1215357"/>
            <a:ext cx="610997" cy="825957"/>
            <a:chOff x="239" y="1832"/>
            <a:chExt cx="363" cy="520"/>
          </a:xfrm>
        </p:grpSpPr>
        <p:sp>
          <p:nvSpPr>
            <p:cNvPr id="3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3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3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8F3F7B"/>
                  </a:solidFill>
                  <a:effectLst/>
                  <a:uLnTx/>
                  <a:uFillTx/>
                  <a:latin typeface="+mn-lt"/>
                  <a:ea typeface="ＭＳ Ｐゴシック" pitchFamily="34" charset="-128"/>
                  <a:cs typeface="Arial" charset="0"/>
                </a:rPr>
                <a:t>5G EPC</a:t>
              </a:r>
            </a:p>
          </p:txBody>
        </p:sp>
        <p:sp>
          <p:nvSpPr>
            <p:cNvPr id="4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4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mn-lt"/>
                <a:ea typeface="+mn-ea"/>
                <a:cs typeface="+mn-cs"/>
              </a:endParaRPr>
            </a:p>
          </p:txBody>
        </p:sp>
      </p:grpSp>
      <p:cxnSp>
        <p:nvCxnSpPr>
          <p:cNvPr id="42" name="Straight Connector 41"/>
          <p:cNvCxnSpPr>
            <a:endCxn id="45" idx="2"/>
          </p:cNvCxnSpPr>
          <p:nvPr/>
        </p:nvCxnSpPr>
        <p:spPr bwMode="auto">
          <a:xfrm flipH="1" flipV="1">
            <a:off x="8657879" y="3354608"/>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43" name="Straight Connector 42"/>
          <p:cNvCxnSpPr>
            <a:stCxn id="23" idx="1"/>
            <a:endCxn id="47" idx="3"/>
          </p:cNvCxnSpPr>
          <p:nvPr/>
        </p:nvCxnSpPr>
        <p:spPr bwMode="auto">
          <a:xfrm flipH="1">
            <a:off x="8922912" y="3141012"/>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44" name="Group 43"/>
          <p:cNvGrpSpPr>
            <a:grpSpLocks noChangeAspect="1"/>
          </p:cNvGrpSpPr>
          <p:nvPr/>
        </p:nvGrpSpPr>
        <p:grpSpPr bwMode="auto">
          <a:xfrm>
            <a:off x="8360126" y="2523113"/>
            <a:ext cx="593870" cy="841201"/>
            <a:chOff x="3106" y="2389"/>
            <a:chExt cx="363" cy="520"/>
          </a:xfrm>
        </p:grpSpPr>
        <p:sp>
          <p:nvSpPr>
            <p:cNvPr id="4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4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4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4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4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cxnSp>
        <p:nvCxnSpPr>
          <p:cNvPr id="50" name="Straight Connector 49"/>
          <p:cNvCxnSpPr>
            <a:stCxn id="22" idx="0"/>
            <a:endCxn id="37" idx="2"/>
          </p:cNvCxnSpPr>
          <p:nvPr/>
        </p:nvCxnSpPr>
        <p:spPr bwMode="auto">
          <a:xfrm flipH="1" flipV="1">
            <a:off x="8771025" y="2031784"/>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8" name="Freeform: Shape 7"/>
          <p:cNvSpPr/>
          <p:nvPr/>
        </p:nvSpPr>
        <p:spPr bwMode="auto">
          <a:xfrm>
            <a:off x="8528483" y="2038202"/>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accent1"/>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2298" name="Freeform: Shape 8"/>
          <p:cNvSpPr>
            <a:spLocks/>
          </p:cNvSpPr>
          <p:nvPr/>
        </p:nvSpPr>
        <p:spPr bwMode="auto">
          <a:xfrm>
            <a:off x="8704639" y="2064170"/>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nvGrpSpPr>
          <p:cNvPr id="7" name="Group 6"/>
          <p:cNvGrpSpPr/>
          <p:nvPr/>
        </p:nvGrpSpPr>
        <p:grpSpPr>
          <a:xfrm>
            <a:off x="10334703" y="5954399"/>
            <a:ext cx="1869582" cy="523220"/>
            <a:chOff x="8786357" y="5459894"/>
            <a:chExt cx="1869582" cy="523220"/>
          </a:xfrm>
        </p:grpSpPr>
        <p:cxnSp>
          <p:nvCxnSpPr>
            <p:cNvPr id="4" name="Straight Connector 3"/>
            <p:cNvCxnSpPr/>
            <p:nvPr/>
          </p:nvCxnSpPr>
          <p:spPr bwMode="auto">
            <a:xfrm>
              <a:off x="8791490" y="5618922"/>
              <a:ext cx="503545" cy="0"/>
            </a:xfrm>
            <a:prstGeom prst="line">
              <a:avLst/>
            </a:prstGeom>
            <a:noFill/>
            <a:ln w="38100" cap="flat" cmpd="sng" algn="ctr">
              <a:solidFill>
                <a:schemeClr val="accent1"/>
              </a:solidFill>
              <a:prstDash val="solid"/>
              <a:round/>
              <a:headEnd type="none" w="med" len="med"/>
              <a:tailEnd type="none" w="med" len="med"/>
            </a:ln>
            <a:effectLst/>
          </p:spPr>
        </p:cxnSp>
        <p:cxnSp>
          <p:nvCxnSpPr>
            <p:cNvPr id="52" name="Straight Connector 51"/>
            <p:cNvCxnSpPr/>
            <p:nvPr/>
          </p:nvCxnSpPr>
          <p:spPr bwMode="auto">
            <a:xfrm>
              <a:off x="8786357" y="5840359"/>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5" name="TextBox 4"/>
            <p:cNvSpPr txBox="1"/>
            <p:nvPr/>
          </p:nvSpPr>
          <p:spPr>
            <a:xfrm>
              <a:off x="9386040" y="5459894"/>
              <a:ext cx="126989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latin typeface="+mn-lt"/>
                  <a:ea typeface="+mn-ea"/>
                  <a:cs typeface="+mn-cs"/>
                </a:rPr>
                <a:t>Control Pla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latin typeface="+mn-lt"/>
                  <a:ea typeface="+mn-ea"/>
                  <a:cs typeface="+mn-cs"/>
                </a:rPr>
                <a:t>User Plane</a:t>
              </a:r>
            </a:p>
          </p:txBody>
        </p:sp>
      </p:grpSp>
      <p:sp>
        <p:nvSpPr>
          <p:cNvPr id="56" name="TextBox 55"/>
          <p:cNvSpPr txBox="1"/>
          <p:nvPr/>
        </p:nvSpPr>
        <p:spPr>
          <a:xfrm rot="3837324">
            <a:off x="8809318" y="2622968"/>
            <a:ext cx="6222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1"/>
                </a:solidFill>
                <a:effectLst/>
                <a:uLnTx/>
                <a:uFillTx/>
                <a:latin typeface="+mn-lt"/>
                <a:ea typeface="+mn-ea"/>
                <a:cs typeface="+mn-cs"/>
              </a:rPr>
              <a:t>Opt. 3</a:t>
            </a:r>
          </a:p>
        </p:txBody>
      </p:sp>
      <p:sp>
        <p:nvSpPr>
          <p:cNvPr id="57" name="Freeform: Shape 8"/>
          <p:cNvSpPr>
            <a:spLocks/>
          </p:cNvSpPr>
          <p:nvPr/>
        </p:nvSpPr>
        <p:spPr bwMode="auto">
          <a:xfrm flipH="1">
            <a:off x="8708160" y="2874745"/>
            <a:ext cx="800656" cy="632021"/>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406333 w 857661"/>
              <a:gd name="connsiteY0" fmla="*/ 1548910 h 1548910"/>
              <a:gd name="connsiteX1" fmla="*/ 83 w 857661"/>
              <a:gd name="connsiteY1" fmla="*/ 902238 h 1548910"/>
              <a:gd name="connsiteX2" fmla="*/ 854341 w 857661"/>
              <a:gd name="connsiteY2" fmla="*/ 0 h 1548910"/>
              <a:gd name="connsiteX0" fmla="*/ 151632 w 606777"/>
              <a:gd name="connsiteY0" fmla="*/ 1548910 h 1548910"/>
              <a:gd name="connsiteX1" fmla="*/ 266174 w 606777"/>
              <a:gd name="connsiteY1" fmla="*/ 872149 h 1548910"/>
              <a:gd name="connsiteX2" fmla="*/ 599640 w 606777"/>
              <a:gd name="connsiteY2" fmla="*/ 0 h 1548910"/>
              <a:gd name="connsiteX0" fmla="*/ 104048 w 927559"/>
              <a:gd name="connsiteY0" fmla="*/ 1181817 h 1181817"/>
              <a:gd name="connsiteX1" fmla="*/ 586956 w 927559"/>
              <a:gd name="connsiteY1" fmla="*/ 872149 h 1181817"/>
              <a:gd name="connsiteX2" fmla="*/ 920422 w 927559"/>
              <a:gd name="connsiteY2" fmla="*/ 0 h 1181817"/>
              <a:gd name="connsiteX0" fmla="*/ 103488 w 927101"/>
              <a:gd name="connsiteY0" fmla="*/ 1181817 h 1181817"/>
              <a:gd name="connsiteX1" fmla="*/ 592748 w 927101"/>
              <a:gd name="connsiteY1" fmla="*/ 775862 h 1181817"/>
              <a:gd name="connsiteX2" fmla="*/ 919862 w 927101"/>
              <a:gd name="connsiteY2" fmla="*/ 0 h 1181817"/>
              <a:gd name="connsiteX0" fmla="*/ 103488 w 592833"/>
              <a:gd name="connsiteY0" fmla="*/ 1163763 h 1163763"/>
              <a:gd name="connsiteX1" fmla="*/ 592748 w 592833"/>
              <a:gd name="connsiteY1" fmla="*/ 757808 h 1163763"/>
              <a:gd name="connsiteX2" fmla="*/ 113268 w 592833"/>
              <a:gd name="connsiteY2" fmla="*/ 0 h 1163763"/>
              <a:gd name="connsiteX0" fmla="*/ 89072 w 768936"/>
              <a:gd name="connsiteY0" fmla="*/ 1163763 h 1163763"/>
              <a:gd name="connsiteX1" fmla="*/ 768866 w 768936"/>
              <a:gd name="connsiteY1" fmla="*/ 661522 h 1163763"/>
              <a:gd name="connsiteX2" fmla="*/ 98852 w 768936"/>
              <a:gd name="connsiteY2" fmla="*/ 0 h 1163763"/>
              <a:gd name="connsiteX0" fmla="*/ 89072 w 768936"/>
              <a:gd name="connsiteY0" fmla="*/ 820742 h 820742"/>
              <a:gd name="connsiteX1" fmla="*/ 768866 w 768936"/>
              <a:gd name="connsiteY1" fmla="*/ 318501 h 820742"/>
              <a:gd name="connsiteX2" fmla="*/ 594240 w 768936"/>
              <a:gd name="connsiteY2" fmla="*/ 0 h 820742"/>
              <a:gd name="connsiteX0" fmla="*/ 89072 w 800067"/>
              <a:gd name="connsiteY0" fmla="*/ 820742 h 820742"/>
              <a:gd name="connsiteX1" fmla="*/ 768866 w 800067"/>
              <a:gd name="connsiteY1" fmla="*/ 318501 h 820742"/>
              <a:gd name="connsiteX2" fmla="*/ 594240 w 800067"/>
              <a:gd name="connsiteY2" fmla="*/ 0 h 820742"/>
              <a:gd name="connsiteX0" fmla="*/ 89072 w 768936"/>
              <a:gd name="connsiteY0" fmla="*/ 850832 h 850832"/>
              <a:gd name="connsiteX1" fmla="*/ 768866 w 768936"/>
              <a:gd name="connsiteY1" fmla="*/ 348591 h 850832"/>
              <a:gd name="connsiteX2" fmla="*/ 479920 w 768936"/>
              <a:gd name="connsiteY2" fmla="*/ 0 h 850832"/>
              <a:gd name="connsiteX0" fmla="*/ 94795 w 709197"/>
              <a:gd name="connsiteY0" fmla="*/ 850832 h 850832"/>
              <a:gd name="connsiteX1" fmla="*/ 692024 w 709197"/>
              <a:gd name="connsiteY1" fmla="*/ 396735 h 850832"/>
              <a:gd name="connsiteX2" fmla="*/ 485643 w 709197"/>
              <a:gd name="connsiteY2" fmla="*/ 0 h 850832"/>
              <a:gd name="connsiteX0" fmla="*/ 94795 w 714471"/>
              <a:gd name="connsiteY0" fmla="*/ 868886 h 868886"/>
              <a:gd name="connsiteX1" fmla="*/ 692024 w 714471"/>
              <a:gd name="connsiteY1" fmla="*/ 414789 h 868886"/>
              <a:gd name="connsiteX2" fmla="*/ 498346 w 714471"/>
              <a:gd name="connsiteY2" fmla="*/ 0 h 868886"/>
              <a:gd name="connsiteX0" fmla="*/ 94795 w 692933"/>
              <a:gd name="connsiteY0" fmla="*/ 868886 h 868886"/>
              <a:gd name="connsiteX1" fmla="*/ 692024 w 692933"/>
              <a:gd name="connsiteY1" fmla="*/ 414789 h 868886"/>
              <a:gd name="connsiteX2" fmla="*/ 498346 w 692933"/>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17430 w 624504"/>
              <a:gd name="connsiteY0" fmla="*/ 868886 h 868886"/>
              <a:gd name="connsiteX1" fmla="*/ 566009 w 624504"/>
              <a:gd name="connsiteY1" fmla="*/ 428995 h 868886"/>
              <a:gd name="connsiteX2" fmla="*/ 520981 w 624504"/>
              <a:gd name="connsiteY2" fmla="*/ 0 h 868886"/>
              <a:gd name="connsiteX0" fmla="*/ 117430 w 574000"/>
              <a:gd name="connsiteY0" fmla="*/ 968329 h 968329"/>
              <a:gd name="connsiteX1" fmla="*/ 566009 w 574000"/>
              <a:gd name="connsiteY1" fmla="*/ 528438 h 968329"/>
              <a:gd name="connsiteX2" fmla="*/ 446656 w 574000"/>
              <a:gd name="connsiteY2" fmla="*/ 0 h 968329"/>
              <a:gd name="connsiteX0" fmla="*/ 117430 w 566009"/>
              <a:gd name="connsiteY0" fmla="*/ 968329 h 968329"/>
              <a:gd name="connsiteX1" fmla="*/ 566009 w 566009"/>
              <a:gd name="connsiteY1" fmla="*/ 528438 h 968329"/>
              <a:gd name="connsiteX2" fmla="*/ 446656 w 566009"/>
              <a:gd name="connsiteY2" fmla="*/ 0 h 968329"/>
              <a:gd name="connsiteX0" fmla="*/ 177137 w 625716"/>
              <a:gd name="connsiteY0" fmla="*/ 968329 h 968329"/>
              <a:gd name="connsiteX1" fmla="*/ 625716 w 625716"/>
              <a:gd name="connsiteY1" fmla="*/ 528438 h 968329"/>
              <a:gd name="connsiteX2" fmla="*/ 506363 w 625716"/>
              <a:gd name="connsiteY2" fmla="*/ 0 h 968329"/>
              <a:gd name="connsiteX0" fmla="*/ 177137 w 644050"/>
              <a:gd name="connsiteY0" fmla="*/ 598968 h 598968"/>
              <a:gd name="connsiteX1" fmla="*/ 625716 w 644050"/>
              <a:gd name="connsiteY1" fmla="*/ 159077 h 598968"/>
              <a:gd name="connsiteX2" fmla="*/ 593075 w 644050"/>
              <a:gd name="connsiteY2" fmla="*/ 0 h 598968"/>
              <a:gd name="connsiteX0" fmla="*/ 177137 w 625716"/>
              <a:gd name="connsiteY0" fmla="*/ 598968 h 598968"/>
              <a:gd name="connsiteX1" fmla="*/ 625716 w 625716"/>
              <a:gd name="connsiteY1" fmla="*/ 159077 h 598968"/>
              <a:gd name="connsiteX2" fmla="*/ 593075 w 625716"/>
              <a:gd name="connsiteY2" fmla="*/ 0 h 598968"/>
              <a:gd name="connsiteX0" fmla="*/ 180560 w 606461"/>
              <a:gd name="connsiteY0" fmla="*/ 598968 h 598968"/>
              <a:gd name="connsiteX1" fmla="*/ 604364 w 606461"/>
              <a:gd name="connsiteY1" fmla="*/ 144871 h 598968"/>
              <a:gd name="connsiteX2" fmla="*/ 596498 w 606461"/>
              <a:gd name="connsiteY2" fmla="*/ 0 h 598968"/>
              <a:gd name="connsiteX0" fmla="*/ 192227 w 618128"/>
              <a:gd name="connsiteY0" fmla="*/ 598968 h 598968"/>
              <a:gd name="connsiteX1" fmla="*/ 616031 w 618128"/>
              <a:gd name="connsiteY1" fmla="*/ 144871 h 598968"/>
              <a:gd name="connsiteX2" fmla="*/ 608165 w 618128"/>
              <a:gd name="connsiteY2" fmla="*/ 0 h 598968"/>
              <a:gd name="connsiteX0" fmla="*/ 192227 w 618128"/>
              <a:gd name="connsiteY0" fmla="*/ 598968 h 598968"/>
              <a:gd name="connsiteX1" fmla="*/ 616031 w 618128"/>
              <a:gd name="connsiteY1" fmla="*/ 144871 h 598968"/>
              <a:gd name="connsiteX2" fmla="*/ 608165 w 618128"/>
              <a:gd name="connsiteY2" fmla="*/ 0 h 598968"/>
              <a:gd name="connsiteX0" fmla="*/ 235740 w 661641"/>
              <a:gd name="connsiteY0" fmla="*/ 598968 h 598968"/>
              <a:gd name="connsiteX1" fmla="*/ 659544 w 661641"/>
              <a:gd name="connsiteY1" fmla="*/ 144871 h 598968"/>
              <a:gd name="connsiteX2" fmla="*/ 651678 w 661641"/>
              <a:gd name="connsiteY2" fmla="*/ 0 h 598968"/>
            </a:gdLst>
            <a:ahLst/>
            <a:cxnLst>
              <a:cxn ang="0">
                <a:pos x="connsiteX0" y="connsiteY0"/>
              </a:cxn>
              <a:cxn ang="0">
                <a:pos x="connsiteX1" y="connsiteY1"/>
              </a:cxn>
              <a:cxn ang="0">
                <a:pos x="connsiteX2" y="connsiteY2"/>
              </a:cxn>
            </a:cxnLst>
            <a:rect l="l" t="t" r="r" b="b"/>
            <a:pathLst>
              <a:path w="661641" h="598968">
                <a:moveTo>
                  <a:pt x="235740" y="598968"/>
                </a:moveTo>
                <a:cubicBezTo>
                  <a:pt x="-417686" y="-83239"/>
                  <a:pt x="475023" y="332295"/>
                  <a:pt x="659544" y="144871"/>
                </a:cubicBezTo>
                <a:cubicBezTo>
                  <a:pt x="598575" y="-143673"/>
                  <a:pt x="690624" y="165121"/>
                  <a:pt x="65167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59" name="Rectangle 96"/>
          <p:cNvSpPr>
            <a:spLocks noChangeArrowheads="1"/>
          </p:cNvSpPr>
          <p:nvPr/>
        </p:nvSpPr>
        <p:spPr bwMode="auto">
          <a:xfrm>
            <a:off x="10228977" y="4556447"/>
            <a:ext cx="2274887"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fi-FI" sz="1350" b="0" i="0" u="none" strike="noStrike" kern="0" cap="none" spc="0" normalizeH="0" baseline="0" noProof="0">
              <a:ln>
                <a:noFill/>
              </a:ln>
              <a:solidFill>
                <a:srgbClr val="58585A"/>
              </a:solidFill>
              <a:effectLst/>
              <a:uLnTx/>
              <a:uFillTx/>
              <a:latin typeface="+mn-lt"/>
              <a:ea typeface="+mn-ea"/>
              <a:cs typeface="Segoe UI" pitchFamily="34" charset="0"/>
            </a:endParaRPr>
          </a:p>
        </p:txBody>
      </p:sp>
      <p:grpSp>
        <p:nvGrpSpPr>
          <p:cNvPr id="60" name="Group 59"/>
          <p:cNvGrpSpPr>
            <a:grpSpLocks noChangeAspect="1"/>
          </p:cNvGrpSpPr>
          <p:nvPr/>
        </p:nvGrpSpPr>
        <p:grpSpPr bwMode="auto">
          <a:xfrm>
            <a:off x="11393795" y="3807924"/>
            <a:ext cx="585340" cy="829118"/>
            <a:chOff x="3106" y="2389"/>
            <a:chExt cx="363" cy="520"/>
          </a:xfrm>
        </p:grpSpPr>
        <p:sp>
          <p:nvSpPr>
            <p:cNvPr id="6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6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6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6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6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grpSp>
        <p:nvGrpSpPr>
          <p:cNvPr id="66" name="Group 9"/>
          <p:cNvGrpSpPr>
            <a:grpSpLocks/>
          </p:cNvGrpSpPr>
          <p:nvPr/>
        </p:nvGrpSpPr>
        <p:grpSpPr bwMode="auto">
          <a:xfrm>
            <a:off x="11038980" y="4766557"/>
            <a:ext cx="239369" cy="360989"/>
            <a:chOff x="416" y="1332"/>
            <a:chExt cx="408" cy="737"/>
          </a:xfrm>
        </p:grpSpPr>
        <p:sp>
          <p:nvSpPr>
            <p:cNvPr id="6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a:ln>
                  <a:noFill/>
                </a:ln>
                <a:solidFill>
                  <a:srgbClr val="00A9D4"/>
                </a:solidFill>
                <a:effectLst/>
                <a:uLnTx/>
                <a:uFillTx/>
                <a:latin typeface="+mn-lt"/>
                <a:ea typeface="+mn-ea"/>
                <a:cs typeface="Arial" charset="0"/>
              </a:endParaRPr>
            </a:p>
          </p:txBody>
        </p:sp>
        <p:grpSp>
          <p:nvGrpSpPr>
            <p:cNvPr id="68" name="Group 11"/>
            <p:cNvGrpSpPr>
              <a:grpSpLocks/>
            </p:cNvGrpSpPr>
            <p:nvPr/>
          </p:nvGrpSpPr>
          <p:grpSpPr bwMode="auto">
            <a:xfrm>
              <a:off x="416" y="1332"/>
              <a:ext cx="408" cy="737"/>
              <a:chOff x="518" y="1338"/>
              <a:chExt cx="357" cy="568"/>
            </a:xfrm>
          </p:grpSpPr>
          <p:sp>
            <p:nvSpPr>
              <p:cNvPr id="6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mn-lt"/>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mn-lt"/>
                  <a:ea typeface="+mn-ea"/>
                  <a:cs typeface="Arial" charset="0"/>
                </a:endParaRPr>
              </a:p>
            </p:txBody>
          </p:sp>
          <p:sp>
            <p:nvSpPr>
              <p:cNvPr id="7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cxnSp>
        <p:nvCxnSpPr>
          <p:cNvPr id="71" name="Straight Connector 70"/>
          <p:cNvCxnSpPr>
            <a:stCxn id="85" idx="1"/>
            <a:endCxn id="76" idx="2"/>
          </p:cNvCxnSpPr>
          <p:nvPr/>
        </p:nvCxnSpPr>
        <p:spPr bwMode="auto">
          <a:xfrm flipV="1">
            <a:off x="10449201" y="3329305"/>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72" name="Straight Connector 71"/>
          <p:cNvCxnSpPr>
            <a:stCxn id="85" idx="7"/>
            <a:endCxn id="76" idx="2"/>
          </p:cNvCxnSpPr>
          <p:nvPr/>
        </p:nvCxnSpPr>
        <p:spPr bwMode="auto">
          <a:xfrm flipH="1" flipV="1">
            <a:off x="10767585" y="3329305"/>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73" name="Straight Connector 72"/>
          <p:cNvCxnSpPr>
            <a:endCxn id="63" idx="2"/>
          </p:cNvCxnSpPr>
          <p:nvPr/>
        </p:nvCxnSpPr>
        <p:spPr bwMode="auto">
          <a:xfrm flipV="1">
            <a:off x="11220105" y="4617909"/>
            <a:ext cx="464748"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74" name="Straight Connector 73"/>
          <p:cNvCxnSpPr/>
          <p:nvPr/>
        </p:nvCxnSpPr>
        <p:spPr bwMode="auto">
          <a:xfrm flipH="1" flipV="1">
            <a:off x="10674545" y="4501244"/>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75" name="Group 261"/>
          <p:cNvGrpSpPr>
            <a:grpSpLocks/>
          </p:cNvGrpSpPr>
          <p:nvPr/>
        </p:nvGrpSpPr>
        <p:grpSpPr bwMode="auto">
          <a:xfrm>
            <a:off x="10461245" y="2512878"/>
            <a:ext cx="610997" cy="825957"/>
            <a:chOff x="239" y="1832"/>
            <a:chExt cx="363" cy="520"/>
          </a:xfrm>
        </p:grpSpPr>
        <p:sp>
          <p:nvSpPr>
            <p:cNvPr id="7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7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7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8F3F7B"/>
                  </a:solidFill>
                  <a:effectLst/>
                  <a:uLnTx/>
                  <a:uFillTx/>
                  <a:latin typeface="+mn-lt"/>
                  <a:ea typeface="ＭＳ Ｐゴシック" pitchFamily="34" charset="-128"/>
                  <a:cs typeface="Arial" charset="0"/>
                </a:rPr>
                <a:t>5G EPC</a:t>
              </a:r>
            </a:p>
          </p:txBody>
        </p:sp>
        <p:sp>
          <p:nvSpPr>
            <p:cNvPr id="7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8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mn-lt"/>
                <a:ea typeface="+mn-ea"/>
                <a:cs typeface="+mn-cs"/>
              </a:endParaRPr>
            </a:p>
          </p:txBody>
        </p:sp>
      </p:grpSp>
      <p:cxnSp>
        <p:nvCxnSpPr>
          <p:cNvPr id="81" name="Straight Connector 80"/>
          <p:cNvCxnSpPr>
            <a:endCxn id="84" idx="2"/>
          </p:cNvCxnSpPr>
          <p:nvPr/>
        </p:nvCxnSpPr>
        <p:spPr bwMode="auto">
          <a:xfrm flipH="1" flipV="1">
            <a:off x="10654439" y="4652129"/>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2" name="Straight Connector 81"/>
          <p:cNvCxnSpPr>
            <a:stCxn id="63" idx="1"/>
            <a:endCxn id="86" idx="3"/>
          </p:cNvCxnSpPr>
          <p:nvPr/>
        </p:nvCxnSpPr>
        <p:spPr bwMode="auto">
          <a:xfrm flipH="1">
            <a:off x="10919472" y="4438533"/>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83" name="Group 82"/>
          <p:cNvGrpSpPr>
            <a:grpSpLocks noChangeAspect="1"/>
          </p:cNvGrpSpPr>
          <p:nvPr/>
        </p:nvGrpSpPr>
        <p:grpSpPr bwMode="auto">
          <a:xfrm>
            <a:off x="10356686" y="3820634"/>
            <a:ext cx="593870" cy="841201"/>
            <a:chOff x="3106" y="2389"/>
            <a:chExt cx="363" cy="520"/>
          </a:xfrm>
        </p:grpSpPr>
        <p:sp>
          <p:nvSpPr>
            <p:cNvPr id="8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8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8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8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8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cxnSp>
        <p:nvCxnSpPr>
          <p:cNvPr id="89" name="Straight Connector 88"/>
          <p:cNvCxnSpPr>
            <a:stCxn id="62" idx="0"/>
            <a:endCxn id="76" idx="2"/>
          </p:cNvCxnSpPr>
          <p:nvPr/>
        </p:nvCxnSpPr>
        <p:spPr bwMode="auto">
          <a:xfrm flipH="1" flipV="1">
            <a:off x="10767585" y="3329305"/>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90" name="Freeform: Shape 89"/>
          <p:cNvSpPr/>
          <p:nvPr/>
        </p:nvSpPr>
        <p:spPr bwMode="auto">
          <a:xfrm>
            <a:off x="10525043" y="3335723"/>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accent1"/>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91" name="Freeform: Shape 8"/>
          <p:cNvSpPr>
            <a:spLocks/>
          </p:cNvSpPr>
          <p:nvPr/>
        </p:nvSpPr>
        <p:spPr bwMode="auto">
          <a:xfrm>
            <a:off x="10701199" y="3361691"/>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92" name="TextBox 91"/>
          <p:cNvSpPr txBox="1"/>
          <p:nvPr/>
        </p:nvSpPr>
        <p:spPr>
          <a:xfrm>
            <a:off x="10838248" y="3710004"/>
            <a:ext cx="707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1"/>
                </a:solidFill>
                <a:effectLst/>
                <a:uLnTx/>
                <a:uFillTx/>
                <a:latin typeface="+mn-lt"/>
                <a:ea typeface="+mn-ea"/>
                <a:cs typeface="+mn-cs"/>
              </a:rPr>
              <a:t>Opt. 3a</a:t>
            </a:r>
          </a:p>
        </p:txBody>
      </p:sp>
      <p:sp>
        <p:nvSpPr>
          <p:cNvPr id="12299" name="Freeform: Shape 9"/>
          <p:cNvSpPr>
            <a:spLocks/>
          </p:cNvSpPr>
          <p:nvPr/>
        </p:nvSpPr>
        <p:spPr bwMode="auto">
          <a:xfrm>
            <a:off x="10849316" y="3323857"/>
            <a:ext cx="952265"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615 w 937741"/>
              <a:gd name="connsiteY0" fmla="*/ 1518410 h 1518410"/>
              <a:gd name="connsiteX1" fmla="*/ 802788 w 937741"/>
              <a:gd name="connsiteY1" fmla="*/ 1073234 h 1518410"/>
              <a:gd name="connsiteX2" fmla="*/ 858223 w 937741"/>
              <a:gd name="connsiteY2" fmla="*/ 517746 h 1518410"/>
              <a:gd name="connsiteX3" fmla="*/ 6999 w 937741"/>
              <a:gd name="connsiteY3" fmla="*/ 0 h 1518410"/>
              <a:gd name="connsiteX0" fmla="*/ 302615 w 952432"/>
              <a:gd name="connsiteY0" fmla="*/ 1518410 h 1518410"/>
              <a:gd name="connsiteX1" fmla="*/ 847767 w 952432"/>
              <a:gd name="connsiteY1" fmla="*/ 1133186 h 1518410"/>
              <a:gd name="connsiteX2" fmla="*/ 858223 w 952432"/>
              <a:gd name="connsiteY2" fmla="*/ 517746 h 1518410"/>
              <a:gd name="connsiteX3" fmla="*/ 6999 w 952432"/>
              <a:gd name="connsiteY3" fmla="*/ 0 h 1518410"/>
            </a:gdLst>
            <a:ahLst/>
            <a:cxnLst>
              <a:cxn ang="0">
                <a:pos x="connsiteX0" y="connsiteY0"/>
              </a:cxn>
              <a:cxn ang="0">
                <a:pos x="connsiteX1" y="connsiteY1"/>
              </a:cxn>
              <a:cxn ang="0">
                <a:pos x="connsiteX2" y="connsiteY2"/>
              </a:cxn>
              <a:cxn ang="0">
                <a:pos x="connsiteX3" y="connsiteY3"/>
              </a:cxn>
            </a:cxnLst>
            <a:rect l="l" t="t" r="r" b="b"/>
            <a:pathLst>
              <a:path w="952432" h="1518410">
                <a:moveTo>
                  <a:pt x="302615" y="1518410"/>
                </a:moveTo>
                <a:cubicBezTo>
                  <a:pt x="704350" y="1232224"/>
                  <a:pt x="755166" y="1299963"/>
                  <a:pt x="847767" y="1133186"/>
                </a:cubicBezTo>
                <a:cubicBezTo>
                  <a:pt x="940368" y="966409"/>
                  <a:pt x="1022815" y="637634"/>
                  <a:pt x="858223" y="517746"/>
                </a:cubicBezTo>
                <a:cubicBezTo>
                  <a:pt x="693631" y="397858"/>
                  <a:pt x="-81393" y="196088"/>
                  <a:pt x="69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nvGrpSpPr>
          <p:cNvPr id="94" name="Group 93"/>
          <p:cNvGrpSpPr>
            <a:grpSpLocks noChangeAspect="1"/>
          </p:cNvGrpSpPr>
          <p:nvPr/>
        </p:nvGrpSpPr>
        <p:grpSpPr bwMode="auto">
          <a:xfrm>
            <a:off x="9415007" y="5241662"/>
            <a:ext cx="585340" cy="829118"/>
            <a:chOff x="3106" y="2389"/>
            <a:chExt cx="363" cy="520"/>
          </a:xfrm>
        </p:grpSpPr>
        <p:sp>
          <p:nvSpPr>
            <p:cNvPr id="9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9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9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9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9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grpSp>
        <p:nvGrpSpPr>
          <p:cNvPr id="100" name="Group 9"/>
          <p:cNvGrpSpPr>
            <a:grpSpLocks/>
          </p:cNvGrpSpPr>
          <p:nvPr/>
        </p:nvGrpSpPr>
        <p:grpSpPr bwMode="auto">
          <a:xfrm>
            <a:off x="9060192" y="6200295"/>
            <a:ext cx="239369" cy="360989"/>
            <a:chOff x="416" y="1332"/>
            <a:chExt cx="408" cy="737"/>
          </a:xfrm>
        </p:grpSpPr>
        <p:sp>
          <p:nvSpPr>
            <p:cNvPr id="101"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a:ln>
                  <a:noFill/>
                </a:ln>
                <a:solidFill>
                  <a:srgbClr val="00A9D4"/>
                </a:solidFill>
                <a:effectLst/>
                <a:uLnTx/>
                <a:uFillTx/>
                <a:latin typeface="+mn-lt"/>
                <a:ea typeface="+mn-ea"/>
                <a:cs typeface="Arial" charset="0"/>
              </a:endParaRPr>
            </a:p>
          </p:txBody>
        </p:sp>
        <p:grpSp>
          <p:nvGrpSpPr>
            <p:cNvPr id="102" name="Group 11"/>
            <p:cNvGrpSpPr>
              <a:grpSpLocks/>
            </p:cNvGrpSpPr>
            <p:nvPr/>
          </p:nvGrpSpPr>
          <p:grpSpPr bwMode="auto">
            <a:xfrm>
              <a:off x="416" y="1332"/>
              <a:ext cx="408" cy="737"/>
              <a:chOff x="518" y="1338"/>
              <a:chExt cx="357" cy="568"/>
            </a:xfrm>
          </p:grpSpPr>
          <p:sp>
            <p:nvSpPr>
              <p:cNvPr id="103"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mn-lt"/>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mn-lt"/>
                  <a:ea typeface="+mn-ea"/>
                  <a:cs typeface="Arial" charset="0"/>
                </a:endParaRPr>
              </a:p>
            </p:txBody>
          </p:sp>
          <p:sp>
            <p:nvSpPr>
              <p:cNvPr id="104"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cxnSp>
        <p:nvCxnSpPr>
          <p:cNvPr id="105" name="Straight Connector 104"/>
          <p:cNvCxnSpPr>
            <a:stCxn id="119" idx="1"/>
            <a:endCxn id="110" idx="2"/>
          </p:cNvCxnSpPr>
          <p:nvPr/>
        </p:nvCxnSpPr>
        <p:spPr bwMode="auto">
          <a:xfrm flipV="1">
            <a:off x="8470413" y="4763043"/>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06" name="Straight Connector 105"/>
          <p:cNvCxnSpPr>
            <a:stCxn id="119" idx="7"/>
            <a:endCxn id="110" idx="2"/>
          </p:cNvCxnSpPr>
          <p:nvPr/>
        </p:nvCxnSpPr>
        <p:spPr bwMode="auto">
          <a:xfrm flipH="1" flipV="1">
            <a:off x="8788797" y="4763043"/>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7" name="Straight Connector 106"/>
          <p:cNvCxnSpPr>
            <a:endCxn id="97" idx="2"/>
          </p:cNvCxnSpPr>
          <p:nvPr/>
        </p:nvCxnSpPr>
        <p:spPr bwMode="auto">
          <a:xfrm flipV="1">
            <a:off x="9241317" y="6051647"/>
            <a:ext cx="464748"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8" name="Straight Connector 107"/>
          <p:cNvCxnSpPr/>
          <p:nvPr/>
        </p:nvCxnSpPr>
        <p:spPr bwMode="auto">
          <a:xfrm flipH="1" flipV="1">
            <a:off x="8695757" y="593498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09" name="Group 261"/>
          <p:cNvGrpSpPr>
            <a:grpSpLocks/>
          </p:cNvGrpSpPr>
          <p:nvPr/>
        </p:nvGrpSpPr>
        <p:grpSpPr bwMode="auto">
          <a:xfrm>
            <a:off x="8482457" y="3946616"/>
            <a:ext cx="610997" cy="825957"/>
            <a:chOff x="239" y="1832"/>
            <a:chExt cx="363" cy="520"/>
          </a:xfrm>
        </p:grpSpPr>
        <p:sp>
          <p:nvSpPr>
            <p:cNvPr id="11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11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11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a:ln>
                    <a:noFill/>
                  </a:ln>
                  <a:solidFill>
                    <a:srgbClr val="8F3F7B"/>
                  </a:solidFill>
                  <a:effectLst/>
                  <a:uLnTx/>
                  <a:uFillTx/>
                  <a:latin typeface="+mn-lt"/>
                  <a:ea typeface="ＭＳ Ｐゴシック" pitchFamily="34" charset="-128"/>
                  <a:cs typeface="Arial" charset="0"/>
                </a:rPr>
                <a:t>5G EPC</a:t>
              </a:r>
            </a:p>
          </p:txBody>
        </p:sp>
        <p:sp>
          <p:nvSpPr>
            <p:cNvPr id="11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mn-lt"/>
                <a:ea typeface="+mn-ea"/>
                <a:cs typeface="Arial" charset="0"/>
              </a:endParaRPr>
            </a:p>
          </p:txBody>
        </p:sp>
        <p:sp>
          <p:nvSpPr>
            <p:cNvPr id="11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mn-lt"/>
                <a:ea typeface="+mn-ea"/>
                <a:cs typeface="+mn-cs"/>
              </a:endParaRPr>
            </a:p>
          </p:txBody>
        </p:sp>
      </p:grpSp>
      <p:cxnSp>
        <p:nvCxnSpPr>
          <p:cNvPr id="115" name="Straight Connector 114"/>
          <p:cNvCxnSpPr>
            <a:endCxn id="118" idx="2"/>
          </p:cNvCxnSpPr>
          <p:nvPr/>
        </p:nvCxnSpPr>
        <p:spPr bwMode="auto">
          <a:xfrm flipH="1" flipV="1">
            <a:off x="8675651" y="6085867"/>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16" name="Straight Connector 115"/>
          <p:cNvCxnSpPr>
            <a:stCxn id="97" idx="1"/>
            <a:endCxn id="120" idx="3"/>
          </p:cNvCxnSpPr>
          <p:nvPr/>
        </p:nvCxnSpPr>
        <p:spPr bwMode="auto">
          <a:xfrm flipH="1">
            <a:off x="8940684" y="5872271"/>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17" name="Group 116"/>
          <p:cNvGrpSpPr>
            <a:grpSpLocks noChangeAspect="1"/>
          </p:cNvGrpSpPr>
          <p:nvPr/>
        </p:nvGrpSpPr>
        <p:grpSpPr bwMode="auto">
          <a:xfrm>
            <a:off x="8377898" y="5254372"/>
            <a:ext cx="593870" cy="841201"/>
            <a:chOff x="3106" y="2389"/>
            <a:chExt cx="363" cy="520"/>
          </a:xfrm>
        </p:grpSpPr>
        <p:sp>
          <p:nvSpPr>
            <p:cNvPr id="11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11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12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2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mn-lt"/>
                <a:ea typeface="+mn-ea"/>
                <a:cs typeface="+mn-cs"/>
              </a:endParaRPr>
            </a:p>
          </p:txBody>
        </p:sp>
        <p:sp>
          <p:nvSpPr>
            <p:cNvPr id="12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mn-lt"/>
                <a:ea typeface="+mn-ea"/>
                <a:cs typeface="+mn-cs"/>
              </a:endParaRPr>
            </a:p>
          </p:txBody>
        </p:sp>
      </p:grpSp>
      <p:cxnSp>
        <p:nvCxnSpPr>
          <p:cNvPr id="123" name="Straight Connector 122"/>
          <p:cNvCxnSpPr>
            <a:stCxn id="96" idx="0"/>
            <a:endCxn id="110" idx="2"/>
          </p:cNvCxnSpPr>
          <p:nvPr/>
        </p:nvCxnSpPr>
        <p:spPr bwMode="auto">
          <a:xfrm flipH="1" flipV="1">
            <a:off x="8788797" y="4763043"/>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24" name="Freeform: Shape 123"/>
          <p:cNvSpPr/>
          <p:nvPr/>
        </p:nvSpPr>
        <p:spPr bwMode="auto">
          <a:xfrm>
            <a:off x="8546255" y="4769461"/>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accent1"/>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26" name="TextBox 125"/>
          <p:cNvSpPr txBox="1"/>
          <p:nvPr/>
        </p:nvSpPr>
        <p:spPr>
          <a:xfrm rot="18099114">
            <a:off x="8887695" y="5291436"/>
            <a:ext cx="707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1"/>
                </a:solidFill>
                <a:effectLst/>
                <a:uLnTx/>
                <a:uFillTx/>
                <a:latin typeface="+mn-lt"/>
                <a:ea typeface="+mn-ea"/>
                <a:cs typeface="+mn-cs"/>
              </a:rPr>
              <a:t>Opt. 3x</a:t>
            </a:r>
          </a:p>
        </p:txBody>
      </p:sp>
      <p:sp>
        <p:nvSpPr>
          <p:cNvPr id="128" name="Freeform: Shape 9"/>
          <p:cNvSpPr>
            <a:spLocks/>
          </p:cNvSpPr>
          <p:nvPr/>
        </p:nvSpPr>
        <p:spPr bwMode="auto">
          <a:xfrm>
            <a:off x="8873634" y="4734464"/>
            <a:ext cx="952265"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615 w 937741"/>
              <a:gd name="connsiteY0" fmla="*/ 1518410 h 1518410"/>
              <a:gd name="connsiteX1" fmla="*/ 802788 w 937741"/>
              <a:gd name="connsiteY1" fmla="*/ 1073234 h 1518410"/>
              <a:gd name="connsiteX2" fmla="*/ 858223 w 937741"/>
              <a:gd name="connsiteY2" fmla="*/ 517746 h 1518410"/>
              <a:gd name="connsiteX3" fmla="*/ 6999 w 937741"/>
              <a:gd name="connsiteY3" fmla="*/ 0 h 1518410"/>
              <a:gd name="connsiteX0" fmla="*/ 302615 w 952432"/>
              <a:gd name="connsiteY0" fmla="*/ 1518410 h 1518410"/>
              <a:gd name="connsiteX1" fmla="*/ 847767 w 952432"/>
              <a:gd name="connsiteY1" fmla="*/ 1133186 h 1518410"/>
              <a:gd name="connsiteX2" fmla="*/ 858223 w 952432"/>
              <a:gd name="connsiteY2" fmla="*/ 517746 h 1518410"/>
              <a:gd name="connsiteX3" fmla="*/ 6999 w 952432"/>
              <a:gd name="connsiteY3" fmla="*/ 0 h 1518410"/>
            </a:gdLst>
            <a:ahLst/>
            <a:cxnLst>
              <a:cxn ang="0">
                <a:pos x="connsiteX0" y="connsiteY0"/>
              </a:cxn>
              <a:cxn ang="0">
                <a:pos x="connsiteX1" y="connsiteY1"/>
              </a:cxn>
              <a:cxn ang="0">
                <a:pos x="connsiteX2" y="connsiteY2"/>
              </a:cxn>
              <a:cxn ang="0">
                <a:pos x="connsiteX3" y="connsiteY3"/>
              </a:cxn>
            </a:cxnLst>
            <a:rect l="l" t="t" r="r" b="b"/>
            <a:pathLst>
              <a:path w="952432" h="1518410">
                <a:moveTo>
                  <a:pt x="302615" y="1518410"/>
                </a:moveTo>
                <a:cubicBezTo>
                  <a:pt x="704350" y="1232224"/>
                  <a:pt x="755166" y="1299963"/>
                  <a:pt x="847767" y="1133186"/>
                </a:cubicBezTo>
                <a:cubicBezTo>
                  <a:pt x="940368" y="966409"/>
                  <a:pt x="1022815" y="637634"/>
                  <a:pt x="858223" y="517746"/>
                </a:cubicBezTo>
                <a:cubicBezTo>
                  <a:pt x="693631" y="397858"/>
                  <a:pt x="-81393" y="196088"/>
                  <a:pt x="69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54" name="Freeform: Shape 8"/>
          <p:cNvSpPr>
            <a:spLocks/>
          </p:cNvSpPr>
          <p:nvPr/>
        </p:nvSpPr>
        <p:spPr bwMode="auto">
          <a:xfrm>
            <a:off x="8859843" y="5361112"/>
            <a:ext cx="969750" cy="861175"/>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406333 w 857661"/>
              <a:gd name="connsiteY0" fmla="*/ 1548910 h 1548910"/>
              <a:gd name="connsiteX1" fmla="*/ 83 w 857661"/>
              <a:gd name="connsiteY1" fmla="*/ 902238 h 1548910"/>
              <a:gd name="connsiteX2" fmla="*/ 854341 w 857661"/>
              <a:gd name="connsiteY2" fmla="*/ 0 h 1548910"/>
              <a:gd name="connsiteX0" fmla="*/ 151632 w 606777"/>
              <a:gd name="connsiteY0" fmla="*/ 1548910 h 1548910"/>
              <a:gd name="connsiteX1" fmla="*/ 266174 w 606777"/>
              <a:gd name="connsiteY1" fmla="*/ 872149 h 1548910"/>
              <a:gd name="connsiteX2" fmla="*/ 599640 w 606777"/>
              <a:gd name="connsiteY2" fmla="*/ 0 h 1548910"/>
              <a:gd name="connsiteX0" fmla="*/ 104048 w 927559"/>
              <a:gd name="connsiteY0" fmla="*/ 1181817 h 1181817"/>
              <a:gd name="connsiteX1" fmla="*/ 586956 w 927559"/>
              <a:gd name="connsiteY1" fmla="*/ 872149 h 1181817"/>
              <a:gd name="connsiteX2" fmla="*/ 920422 w 927559"/>
              <a:gd name="connsiteY2" fmla="*/ 0 h 1181817"/>
              <a:gd name="connsiteX0" fmla="*/ 103488 w 927101"/>
              <a:gd name="connsiteY0" fmla="*/ 1181817 h 1181817"/>
              <a:gd name="connsiteX1" fmla="*/ 592748 w 927101"/>
              <a:gd name="connsiteY1" fmla="*/ 775862 h 1181817"/>
              <a:gd name="connsiteX2" fmla="*/ 919862 w 927101"/>
              <a:gd name="connsiteY2" fmla="*/ 0 h 1181817"/>
              <a:gd name="connsiteX0" fmla="*/ 103488 w 592833"/>
              <a:gd name="connsiteY0" fmla="*/ 1163763 h 1163763"/>
              <a:gd name="connsiteX1" fmla="*/ 592748 w 592833"/>
              <a:gd name="connsiteY1" fmla="*/ 757808 h 1163763"/>
              <a:gd name="connsiteX2" fmla="*/ 113268 w 592833"/>
              <a:gd name="connsiteY2" fmla="*/ 0 h 1163763"/>
              <a:gd name="connsiteX0" fmla="*/ 89072 w 768936"/>
              <a:gd name="connsiteY0" fmla="*/ 1163763 h 1163763"/>
              <a:gd name="connsiteX1" fmla="*/ 768866 w 768936"/>
              <a:gd name="connsiteY1" fmla="*/ 661522 h 1163763"/>
              <a:gd name="connsiteX2" fmla="*/ 98852 w 768936"/>
              <a:gd name="connsiteY2" fmla="*/ 0 h 1163763"/>
              <a:gd name="connsiteX0" fmla="*/ 89072 w 768936"/>
              <a:gd name="connsiteY0" fmla="*/ 820742 h 820742"/>
              <a:gd name="connsiteX1" fmla="*/ 768866 w 768936"/>
              <a:gd name="connsiteY1" fmla="*/ 318501 h 820742"/>
              <a:gd name="connsiteX2" fmla="*/ 594240 w 768936"/>
              <a:gd name="connsiteY2" fmla="*/ 0 h 820742"/>
              <a:gd name="connsiteX0" fmla="*/ 89072 w 800067"/>
              <a:gd name="connsiteY0" fmla="*/ 820742 h 820742"/>
              <a:gd name="connsiteX1" fmla="*/ 768866 w 800067"/>
              <a:gd name="connsiteY1" fmla="*/ 318501 h 820742"/>
              <a:gd name="connsiteX2" fmla="*/ 594240 w 800067"/>
              <a:gd name="connsiteY2" fmla="*/ 0 h 820742"/>
              <a:gd name="connsiteX0" fmla="*/ 89072 w 768936"/>
              <a:gd name="connsiteY0" fmla="*/ 850832 h 850832"/>
              <a:gd name="connsiteX1" fmla="*/ 768866 w 768936"/>
              <a:gd name="connsiteY1" fmla="*/ 348591 h 850832"/>
              <a:gd name="connsiteX2" fmla="*/ 479920 w 768936"/>
              <a:gd name="connsiteY2" fmla="*/ 0 h 850832"/>
              <a:gd name="connsiteX0" fmla="*/ 94795 w 709197"/>
              <a:gd name="connsiteY0" fmla="*/ 850832 h 850832"/>
              <a:gd name="connsiteX1" fmla="*/ 692024 w 709197"/>
              <a:gd name="connsiteY1" fmla="*/ 396735 h 850832"/>
              <a:gd name="connsiteX2" fmla="*/ 485643 w 709197"/>
              <a:gd name="connsiteY2" fmla="*/ 0 h 850832"/>
              <a:gd name="connsiteX0" fmla="*/ 94795 w 714471"/>
              <a:gd name="connsiteY0" fmla="*/ 868886 h 868886"/>
              <a:gd name="connsiteX1" fmla="*/ 692024 w 714471"/>
              <a:gd name="connsiteY1" fmla="*/ 414789 h 868886"/>
              <a:gd name="connsiteX2" fmla="*/ 498346 w 714471"/>
              <a:gd name="connsiteY2" fmla="*/ 0 h 868886"/>
              <a:gd name="connsiteX0" fmla="*/ 94795 w 692933"/>
              <a:gd name="connsiteY0" fmla="*/ 868886 h 868886"/>
              <a:gd name="connsiteX1" fmla="*/ 692024 w 692933"/>
              <a:gd name="connsiteY1" fmla="*/ 414789 h 868886"/>
              <a:gd name="connsiteX2" fmla="*/ 498346 w 692933"/>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15945 w 577978"/>
              <a:gd name="connsiteY0" fmla="*/ 906564 h 906564"/>
              <a:gd name="connsiteX1" fmla="*/ 577978 w 577978"/>
              <a:gd name="connsiteY1" fmla="*/ 414789 h 906564"/>
              <a:gd name="connsiteX2" fmla="*/ 384300 w 577978"/>
              <a:gd name="connsiteY2" fmla="*/ 0 h 906564"/>
              <a:gd name="connsiteX0" fmla="*/ 218982 w 681015"/>
              <a:gd name="connsiteY0" fmla="*/ 906564 h 906564"/>
              <a:gd name="connsiteX1" fmla="*/ 681015 w 681015"/>
              <a:gd name="connsiteY1" fmla="*/ 414789 h 906564"/>
              <a:gd name="connsiteX2" fmla="*/ 487337 w 681015"/>
              <a:gd name="connsiteY2" fmla="*/ 0 h 906564"/>
              <a:gd name="connsiteX0" fmla="*/ 191531 w 868287"/>
              <a:gd name="connsiteY0" fmla="*/ 906564 h 906564"/>
              <a:gd name="connsiteX1" fmla="*/ 868287 w 868287"/>
              <a:gd name="connsiteY1" fmla="*/ 414789 h 906564"/>
              <a:gd name="connsiteX2" fmla="*/ 459886 w 868287"/>
              <a:gd name="connsiteY2" fmla="*/ 0 h 906564"/>
              <a:gd name="connsiteX0" fmla="*/ 191531 w 971829"/>
              <a:gd name="connsiteY0" fmla="*/ 816138 h 816138"/>
              <a:gd name="connsiteX1" fmla="*/ 868287 w 971829"/>
              <a:gd name="connsiteY1" fmla="*/ 324363 h 816138"/>
              <a:gd name="connsiteX2" fmla="*/ 881379 w 971829"/>
              <a:gd name="connsiteY2" fmla="*/ 0 h 816138"/>
              <a:gd name="connsiteX0" fmla="*/ 191531 w 887051"/>
              <a:gd name="connsiteY0" fmla="*/ 816138 h 816138"/>
              <a:gd name="connsiteX1" fmla="*/ 868287 w 887051"/>
              <a:gd name="connsiteY1" fmla="*/ 324363 h 816138"/>
              <a:gd name="connsiteX2" fmla="*/ 881379 w 887051"/>
              <a:gd name="connsiteY2" fmla="*/ 0 h 816138"/>
              <a:gd name="connsiteX0" fmla="*/ 191531 w 897575"/>
              <a:gd name="connsiteY0" fmla="*/ 816138 h 816138"/>
              <a:gd name="connsiteX1" fmla="*/ 868287 w 897575"/>
              <a:gd name="connsiteY1" fmla="*/ 324363 h 816138"/>
              <a:gd name="connsiteX2" fmla="*/ 881379 w 897575"/>
              <a:gd name="connsiteY2" fmla="*/ 0 h 816138"/>
              <a:gd name="connsiteX0" fmla="*/ 263877 w 969921"/>
              <a:gd name="connsiteY0" fmla="*/ 816138 h 816138"/>
              <a:gd name="connsiteX1" fmla="*/ 940633 w 969921"/>
              <a:gd name="connsiteY1" fmla="*/ 324363 h 816138"/>
              <a:gd name="connsiteX2" fmla="*/ 953725 w 969921"/>
              <a:gd name="connsiteY2" fmla="*/ 0 h 816138"/>
            </a:gdLst>
            <a:ahLst/>
            <a:cxnLst>
              <a:cxn ang="0">
                <a:pos x="connsiteX0" y="connsiteY0"/>
              </a:cxn>
              <a:cxn ang="0">
                <a:pos x="connsiteX1" y="connsiteY1"/>
              </a:cxn>
              <a:cxn ang="0">
                <a:pos x="connsiteX2" y="connsiteY2"/>
              </a:cxn>
            </a:cxnLst>
            <a:rect l="l" t="t" r="r" b="b"/>
            <a:pathLst>
              <a:path w="969921" h="816138">
                <a:moveTo>
                  <a:pt x="263877" y="816138"/>
                </a:moveTo>
                <a:cubicBezTo>
                  <a:pt x="-574067" y="261312"/>
                  <a:pt x="842824" y="582817"/>
                  <a:pt x="940633" y="324363"/>
                </a:cubicBezTo>
                <a:cubicBezTo>
                  <a:pt x="967143" y="103639"/>
                  <a:pt x="984100" y="133003"/>
                  <a:pt x="953725"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 name="Rectangle 1">
            <a:extLst>
              <a:ext uri="{FF2B5EF4-FFF2-40B4-BE49-F238E27FC236}">
                <a16:creationId xmlns:a16="http://schemas.microsoft.com/office/drawing/2014/main" id="{943EB739-B519-43D5-8A0C-6D21BA824A2B}"/>
              </a:ext>
            </a:extLst>
          </p:cNvPr>
          <p:cNvSpPr/>
          <p:nvPr/>
        </p:nvSpPr>
        <p:spPr>
          <a:xfrm>
            <a:off x="7464159" y="6597549"/>
            <a:ext cx="4723480" cy="261610"/>
          </a:xfrm>
          <a:prstGeom prst="rect">
            <a:avLst/>
          </a:prstGeom>
        </p:spPr>
        <p:txBody>
          <a:bodyPr wrap="square">
            <a:spAutoFit/>
          </a:bodyPr>
          <a:lstStyle/>
          <a:p>
            <a:r>
              <a:rPr lang="en-US" sz="1100">
                <a:solidFill>
                  <a:srgbClr val="00B0F0"/>
                </a:solidFill>
                <a:latin typeface="+mn-lt"/>
                <a:ea typeface="Calibri" panose="020F0502020204030204" pitchFamily="34" charset="0"/>
              </a:rPr>
              <a:t>Note: high-level definition of option 3 variants for data service</a:t>
            </a:r>
            <a:endParaRPr lang="en-US" sz="1100">
              <a:solidFill>
                <a:srgbClr val="00B0F0"/>
              </a:solidFill>
              <a:latin typeface="+mn-lt"/>
            </a:endParaRPr>
          </a:p>
        </p:txBody>
      </p:sp>
    </p:spTree>
    <p:extLst>
      <p:ext uri="{BB962C8B-B14F-4D97-AF65-F5344CB8AC3E}">
        <p14:creationId xmlns:p14="http://schemas.microsoft.com/office/powerpoint/2010/main" val="1529412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3" end="13"/>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4" end="14"/>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7" grpId="0" animBg="1"/>
      <p:bldP spid="5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36456E3E-75B2-4F9F-B928-52BF061969B9}"/>
              </a:ext>
            </a:extLst>
          </p:cNvPr>
          <p:cNvSpPr/>
          <p:nvPr/>
        </p:nvSpPr>
        <p:spPr bwMode="auto">
          <a:xfrm>
            <a:off x="4637265" y="1156142"/>
            <a:ext cx="3527656" cy="2569138"/>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4" name="Rectangle: Rounded Corners 163">
            <a:extLst>
              <a:ext uri="{FF2B5EF4-FFF2-40B4-BE49-F238E27FC236}">
                <a16:creationId xmlns:a16="http://schemas.microsoft.com/office/drawing/2014/main" id="{0E21B580-0F00-48FE-8AFD-65E18925A9F8}"/>
              </a:ext>
            </a:extLst>
          </p:cNvPr>
          <p:cNvSpPr/>
          <p:nvPr/>
        </p:nvSpPr>
        <p:spPr bwMode="auto">
          <a:xfrm>
            <a:off x="5689551" y="1156142"/>
            <a:ext cx="4684566" cy="5390058"/>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0" name="Freeform 88"/>
          <p:cNvSpPr>
            <a:spLocks/>
          </p:cNvSpPr>
          <p:nvPr/>
        </p:nvSpPr>
        <p:spPr bwMode="auto">
          <a:xfrm rot="3464770" flipH="1">
            <a:off x="2937428" y="5433992"/>
            <a:ext cx="595575" cy="444850"/>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25607" name="Text Box 144"/>
          <p:cNvSpPr txBox="1">
            <a:spLocks noChangeAspect="1" noChangeArrowheads="1"/>
          </p:cNvSpPr>
          <p:nvPr/>
        </p:nvSpPr>
        <p:spPr bwMode="auto">
          <a:xfrm>
            <a:off x="2005630" y="5765532"/>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 UE</a:t>
            </a:r>
          </a:p>
        </p:txBody>
      </p:sp>
      <p:sp>
        <p:nvSpPr>
          <p:cNvPr id="25608" name="Text Box 144"/>
          <p:cNvSpPr txBox="1">
            <a:spLocks noChangeAspect="1" noChangeArrowheads="1"/>
          </p:cNvSpPr>
          <p:nvPr/>
        </p:nvSpPr>
        <p:spPr bwMode="auto">
          <a:xfrm>
            <a:off x="5129920" y="4604525"/>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25609" name="Text Box 144"/>
          <p:cNvSpPr txBox="1">
            <a:spLocks noChangeAspect="1" noChangeArrowheads="1"/>
          </p:cNvSpPr>
          <p:nvPr/>
        </p:nvSpPr>
        <p:spPr bwMode="auto">
          <a:xfrm>
            <a:off x="5111803" y="5280730"/>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25610" name="Text Box 144"/>
          <p:cNvSpPr txBox="1">
            <a:spLocks noChangeAspect="1" noChangeArrowheads="1"/>
          </p:cNvSpPr>
          <p:nvPr/>
        </p:nvSpPr>
        <p:spPr bwMode="auto">
          <a:xfrm>
            <a:off x="8542607" y="529348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25613" name="Text Box 144"/>
          <p:cNvSpPr txBox="1">
            <a:spLocks noChangeAspect="1" noChangeArrowheads="1"/>
          </p:cNvSpPr>
          <p:nvPr/>
        </p:nvSpPr>
        <p:spPr bwMode="auto">
          <a:xfrm>
            <a:off x="8067122" y="496484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sp>
        <p:nvSpPr>
          <p:cNvPr id="98" name="Line 30"/>
          <p:cNvSpPr>
            <a:spLocks noChangeShapeType="1"/>
          </p:cNvSpPr>
          <p:nvPr/>
        </p:nvSpPr>
        <p:spPr bwMode="auto">
          <a:xfrm flipV="1">
            <a:off x="4439420" y="5456471"/>
            <a:ext cx="5864950" cy="16944"/>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5621" name="Text Box 144"/>
          <p:cNvSpPr txBox="1">
            <a:spLocks noChangeAspect="1" noChangeArrowheads="1"/>
          </p:cNvSpPr>
          <p:nvPr/>
        </p:nvSpPr>
        <p:spPr bwMode="auto">
          <a:xfrm>
            <a:off x="5133181" y="409698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25622" name="Straight Connector 135"/>
          <p:cNvCxnSpPr>
            <a:cxnSpLocks/>
            <a:stCxn id="250" idx="2"/>
            <a:endCxn id="242" idx="0"/>
          </p:cNvCxnSpPr>
          <p:nvPr/>
        </p:nvCxnSpPr>
        <p:spPr bwMode="auto">
          <a:xfrm>
            <a:off x="8350222" y="4756724"/>
            <a:ext cx="487"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9" name="Title 1"/>
          <p:cNvSpPr>
            <a:spLocks noGrp="1"/>
          </p:cNvSpPr>
          <p:nvPr>
            <p:ph type="title"/>
          </p:nvPr>
        </p:nvSpPr>
        <p:spPr/>
        <p:txBody>
          <a:bodyPr>
            <a:normAutofit/>
          </a:bodyPr>
          <a:lstStyle/>
          <a:p>
            <a:pPr>
              <a:defRPr/>
            </a:pPr>
            <a:r>
              <a:rPr lang="en-US"/>
              <a:t>5G System architecture</a:t>
            </a:r>
            <a:br>
              <a:rPr lang="en-US"/>
            </a:br>
            <a:r>
              <a:rPr lang="en-US" sz="2800"/>
              <a:t>Release 15 included 5GC NFs </a:t>
            </a:r>
            <a:endParaRPr lang="en-US" sz="3200"/>
          </a:p>
        </p:txBody>
      </p:sp>
      <p:sp>
        <p:nvSpPr>
          <p:cNvPr id="172" name="Text Box 144"/>
          <p:cNvSpPr txBox="1">
            <a:spLocks noChangeAspect="1" noChangeArrowheads="1"/>
          </p:cNvSpPr>
          <p:nvPr/>
        </p:nvSpPr>
        <p:spPr bwMode="auto">
          <a:xfrm>
            <a:off x="6694383" y="386042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3" name="Text Box 144"/>
          <p:cNvSpPr txBox="1">
            <a:spLocks noChangeAspect="1" noChangeArrowheads="1"/>
          </p:cNvSpPr>
          <p:nvPr/>
        </p:nvSpPr>
        <p:spPr bwMode="auto">
          <a:xfrm>
            <a:off x="4694302" y="3371339"/>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u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4" name="Text Box 144"/>
          <p:cNvSpPr txBox="1">
            <a:spLocks noChangeAspect="1" noChangeArrowheads="1"/>
          </p:cNvSpPr>
          <p:nvPr/>
        </p:nvSpPr>
        <p:spPr bwMode="auto">
          <a:xfrm>
            <a:off x="6832362" y="3375258"/>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pc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5" name="Text Box 144"/>
          <p:cNvSpPr txBox="1">
            <a:spLocks noChangeAspect="1" noChangeArrowheads="1"/>
          </p:cNvSpPr>
          <p:nvPr/>
        </p:nvSpPr>
        <p:spPr bwMode="auto">
          <a:xfrm>
            <a:off x="6134997" y="3391900"/>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m</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6" name="Text Box 144"/>
          <p:cNvSpPr txBox="1">
            <a:spLocks noChangeAspect="1" noChangeArrowheads="1"/>
          </p:cNvSpPr>
          <p:nvPr/>
        </p:nvSpPr>
        <p:spPr bwMode="auto">
          <a:xfrm>
            <a:off x="8266964" y="3863648"/>
            <a:ext cx="741516"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7" name="Text Box 144"/>
          <p:cNvSpPr txBox="1">
            <a:spLocks noChangeAspect="1" noChangeArrowheads="1"/>
          </p:cNvSpPr>
          <p:nvPr/>
        </p:nvSpPr>
        <p:spPr bwMode="auto">
          <a:xfrm>
            <a:off x="10446592" y="338714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91" name="Group 74"/>
          <p:cNvGrpSpPr>
            <a:grpSpLocks/>
          </p:cNvGrpSpPr>
          <p:nvPr/>
        </p:nvGrpSpPr>
        <p:grpSpPr bwMode="auto">
          <a:xfrm>
            <a:off x="10314395" y="4658858"/>
            <a:ext cx="1815480" cy="1462509"/>
            <a:chOff x="9344462" y="5130211"/>
            <a:chExt cx="2250397" cy="1719278"/>
          </a:xfrm>
        </p:grpSpPr>
        <p:sp>
          <p:nvSpPr>
            <p:cNvPr id="192" name="Freeform 34"/>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3"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Network </a:t>
              </a:r>
              <a:endParaRPr kumimoji="0" lang="en-US" altLang="en-US" sz="2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p>
          </p:txBody>
        </p:sp>
      </p:grpSp>
      <p:sp>
        <p:nvSpPr>
          <p:cNvPr id="159" name="Text Box 144"/>
          <p:cNvSpPr txBox="1">
            <a:spLocks noChangeAspect="1" noChangeArrowheads="1"/>
          </p:cNvSpPr>
          <p:nvPr/>
        </p:nvSpPr>
        <p:spPr bwMode="auto">
          <a:xfrm>
            <a:off x="5465689" y="3378380"/>
            <a:ext cx="79171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r</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0" name="Content Placeholder 3"/>
          <p:cNvSpPr txBox="1">
            <a:spLocks/>
          </p:cNvSpPr>
          <p:nvPr/>
        </p:nvSpPr>
        <p:spPr>
          <a:xfrm>
            <a:off x="472919" y="1590610"/>
            <a:ext cx="3916810" cy="2569138"/>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solidFill>
                  <a:srgbClr val="181818"/>
                </a:solidFill>
                <a:effectLst/>
                <a:uLnTx/>
                <a:uFillTx/>
                <a:latin typeface="Ericsson Hilda"/>
                <a:ea typeface="+mn-ea"/>
                <a:cs typeface="+mn-cs"/>
              </a:rPr>
              <a:t>5GC with Service Based Interface (SBI) between Control Plane (CP) network functions</a:t>
            </a:r>
          </a:p>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solidFill>
                  <a:srgbClr val="181818"/>
                </a:solidFill>
                <a:effectLst/>
                <a:uLnTx/>
                <a:uFillTx/>
                <a:latin typeface="Ericsson Hilda"/>
                <a:ea typeface="+mn-ea"/>
                <a:cs typeface="+mn-cs"/>
              </a:rPr>
              <a:t>CP/UP split of GW similar to CUPS, </a:t>
            </a:r>
            <a:r>
              <a:rPr kumimoji="0" lang="en-US" sz="1800" b="0" i="0" u="none" strike="noStrike" kern="0" cap="none" spc="0" normalizeH="0" baseline="0" noProof="0" dirty="0">
                <a:ln>
                  <a:noFill/>
                </a:ln>
                <a:effectLst/>
                <a:uLnTx/>
                <a:uFillTx/>
                <a:latin typeface="Ericsson Hilda"/>
                <a:ea typeface="+mn-ea"/>
                <a:cs typeface="+mn-cs"/>
              </a:rPr>
              <a:t>realized by SMF/UPF</a:t>
            </a:r>
          </a:p>
          <a:p>
            <a:pPr>
              <a:spcBef>
                <a:spcPts val="0"/>
              </a:spcBef>
              <a:spcAft>
                <a:spcPts val="600"/>
              </a:spcAft>
              <a:defRPr/>
            </a:pPr>
            <a:r>
              <a:rPr lang="en-US" sz="1800" kern="0" dirty="0"/>
              <a:t>NSSF for slice selection</a:t>
            </a:r>
            <a:endParaRPr kumimoji="0" lang="en-US" sz="1800" b="0" i="0" u="none" strike="noStrike" kern="0" cap="none" spc="0" normalizeH="0" baseline="0" noProof="0" dirty="0">
              <a:ln>
                <a:noFill/>
              </a:ln>
              <a:effectLst/>
              <a:uLnTx/>
              <a:uFillTx/>
              <a:latin typeface="Ericsson Hilda"/>
            </a:endParaRPr>
          </a:p>
          <a:p>
            <a:pPr marL="176213" marR="0" lvl="0" indent="-176213" algn="l" defTabSz="914400" rtl="0" eaLnBrk="1" fontAlgn="base" latinLnBrk="0" hangingPunct="1">
              <a:lnSpc>
                <a:spcPct val="100000"/>
              </a:lnSpc>
              <a:spcBef>
                <a:spcPts val="0"/>
              </a:spcBef>
              <a:spcAft>
                <a:spcPts val="600"/>
              </a:spcAft>
              <a:buClr>
                <a:srgbClr val="00A9D4"/>
              </a:buClr>
              <a:buSzTx/>
              <a:buFont typeface="Arial" charset="0"/>
              <a:buChar char="›"/>
              <a:tabLst/>
              <a:defRPr/>
            </a:pPr>
            <a:r>
              <a:rPr kumimoji="0" lang="en-US" sz="1800" b="0" i="0" u="none" strike="noStrike" kern="0" cap="none" spc="0" normalizeH="0" baseline="0" noProof="0" dirty="0">
                <a:ln>
                  <a:noFill/>
                </a:ln>
                <a:effectLst/>
                <a:uLnTx/>
                <a:uFillTx/>
                <a:latin typeface="Ericsson Hilda"/>
                <a:ea typeface="+mn-ea"/>
                <a:cs typeface="+mn-cs"/>
              </a:rPr>
              <a:t>NRF for NF registration and service discovery</a:t>
            </a:r>
          </a:p>
        </p:txBody>
      </p:sp>
      <p:sp>
        <p:nvSpPr>
          <p:cNvPr id="162" name="Oval 161"/>
          <p:cNvSpPr/>
          <p:nvPr/>
        </p:nvSpPr>
        <p:spPr bwMode="auto">
          <a:xfrm>
            <a:off x="5618112"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7" name="Text Box 144"/>
          <p:cNvSpPr txBox="1">
            <a:spLocks noChangeAspect="1" noChangeArrowheads="1"/>
          </p:cNvSpPr>
          <p:nvPr/>
        </p:nvSpPr>
        <p:spPr bwMode="auto">
          <a:xfrm>
            <a:off x="7680896" y="3365596"/>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s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82" name="Straight Connector 133"/>
          <p:cNvCxnSpPr>
            <a:cxnSpLocks/>
          </p:cNvCxnSpPr>
          <p:nvPr/>
        </p:nvCxnSpPr>
        <p:spPr bwMode="auto">
          <a:xfrm flipH="1">
            <a:off x="2977639" y="4300057"/>
            <a:ext cx="2304435" cy="72531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6" name="Straight Connector 205"/>
          <p:cNvCxnSpPr>
            <a:cxnSpLocks/>
          </p:cNvCxnSpPr>
          <p:nvPr/>
        </p:nvCxnSpPr>
        <p:spPr bwMode="auto">
          <a:xfrm>
            <a:off x="5032162" y="3560356"/>
            <a:ext cx="5694082"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7" name="Straight Connector 206"/>
          <p:cNvCxnSpPr>
            <a:cxnSpLocks/>
          </p:cNvCxnSpPr>
          <p:nvPr/>
        </p:nvCxnSpPr>
        <p:spPr bwMode="auto">
          <a:xfrm>
            <a:off x="5691559"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3" name="Straight Connector 182">
            <a:extLst>
              <a:ext uri="{FF2B5EF4-FFF2-40B4-BE49-F238E27FC236}">
                <a16:creationId xmlns:a16="http://schemas.microsoft.com/office/drawing/2014/main" id="{4F2D51B4-76BA-4876-BC2C-5BE86D796F80}"/>
              </a:ext>
            </a:extLst>
          </p:cNvPr>
          <p:cNvCxnSpPr>
            <a:cxnSpLocks/>
          </p:cNvCxnSpPr>
          <p:nvPr/>
        </p:nvCxnSpPr>
        <p:spPr bwMode="auto">
          <a:xfrm>
            <a:off x="4971046" y="3062587"/>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4" name="Straight Connector 213">
            <a:extLst>
              <a:ext uri="{FF2B5EF4-FFF2-40B4-BE49-F238E27FC236}">
                <a16:creationId xmlns:a16="http://schemas.microsoft.com/office/drawing/2014/main" id="{75D087E2-57E1-4FDD-86C1-1CD2D0141E25}"/>
              </a:ext>
            </a:extLst>
          </p:cNvPr>
          <p:cNvCxnSpPr>
            <a:cxnSpLocks/>
          </p:cNvCxnSpPr>
          <p:nvPr/>
        </p:nvCxnSpPr>
        <p:spPr bwMode="auto">
          <a:xfrm>
            <a:off x="6395466" y="307057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5" name="Straight Connector 214">
            <a:extLst>
              <a:ext uri="{FF2B5EF4-FFF2-40B4-BE49-F238E27FC236}">
                <a16:creationId xmlns:a16="http://schemas.microsoft.com/office/drawing/2014/main" id="{9E0A79E2-9639-4D8B-9CCD-EFD04D6C840C}"/>
              </a:ext>
            </a:extLst>
          </p:cNvPr>
          <p:cNvCxnSpPr>
            <a:cxnSpLocks/>
            <a:endCxn id="249" idx="0"/>
          </p:cNvCxnSpPr>
          <p:nvPr/>
        </p:nvCxnSpPr>
        <p:spPr bwMode="auto">
          <a:xfrm>
            <a:off x="6884411" y="3611188"/>
            <a:ext cx="7186" cy="557597"/>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6" name="Straight Connector 215">
            <a:extLst>
              <a:ext uri="{FF2B5EF4-FFF2-40B4-BE49-F238E27FC236}">
                <a16:creationId xmlns:a16="http://schemas.microsoft.com/office/drawing/2014/main" id="{24B13A1E-BAFB-41C7-A13E-6ABCB396189F}"/>
              </a:ext>
            </a:extLst>
          </p:cNvPr>
          <p:cNvCxnSpPr>
            <a:cxnSpLocks/>
            <a:endCxn id="250" idx="0"/>
          </p:cNvCxnSpPr>
          <p:nvPr/>
        </p:nvCxnSpPr>
        <p:spPr bwMode="auto">
          <a:xfrm>
            <a:off x="8338528" y="3596455"/>
            <a:ext cx="11694" cy="58477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7" name="Straight Connector 216">
            <a:extLst>
              <a:ext uri="{FF2B5EF4-FFF2-40B4-BE49-F238E27FC236}">
                <a16:creationId xmlns:a16="http://schemas.microsoft.com/office/drawing/2014/main" id="{9FA36852-A094-4EF5-B7CD-8FCF83270AA5}"/>
              </a:ext>
            </a:extLst>
          </p:cNvPr>
          <p:cNvCxnSpPr>
            <a:cxnSpLocks/>
          </p:cNvCxnSpPr>
          <p:nvPr/>
        </p:nvCxnSpPr>
        <p:spPr bwMode="auto">
          <a:xfrm>
            <a:off x="713264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8" name="Straight Connector 217">
            <a:extLst>
              <a:ext uri="{FF2B5EF4-FFF2-40B4-BE49-F238E27FC236}">
                <a16:creationId xmlns:a16="http://schemas.microsoft.com/office/drawing/2014/main" id="{2CC930F1-8541-408E-BC98-2B5FD813A92A}"/>
              </a:ext>
            </a:extLst>
          </p:cNvPr>
          <p:cNvCxnSpPr>
            <a:cxnSpLocks/>
          </p:cNvCxnSpPr>
          <p:nvPr/>
        </p:nvCxnSpPr>
        <p:spPr bwMode="auto">
          <a:xfrm>
            <a:off x="7861594" y="3055155"/>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9" name="Straight Connector 218">
            <a:extLst>
              <a:ext uri="{FF2B5EF4-FFF2-40B4-BE49-F238E27FC236}">
                <a16:creationId xmlns:a16="http://schemas.microsoft.com/office/drawing/2014/main" id="{03A13CB3-F220-4B1A-82B5-9FC97C17E4DE}"/>
              </a:ext>
            </a:extLst>
          </p:cNvPr>
          <p:cNvCxnSpPr>
            <a:cxnSpLocks/>
          </p:cNvCxnSpPr>
          <p:nvPr/>
        </p:nvCxnSpPr>
        <p:spPr bwMode="auto">
          <a:xfrm>
            <a:off x="930186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20" name="Straight Connector 219">
            <a:extLst>
              <a:ext uri="{FF2B5EF4-FFF2-40B4-BE49-F238E27FC236}">
                <a16:creationId xmlns:a16="http://schemas.microsoft.com/office/drawing/2014/main" id="{6E67CE8A-4CEA-4A5F-8108-8E4B2F99ADD1}"/>
              </a:ext>
            </a:extLst>
          </p:cNvPr>
          <p:cNvCxnSpPr>
            <a:cxnSpLocks/>
          </p:cNvCxnSpPr>
          <p:nvPr/>
        </p:nvCxnSpPr>
        <p:spPr bwMode="auto">
          <a:xfrm>
            <a:off x="10752163"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21" name="Oval 220">
            <a:extLst>
              <a:ext uri="{FF2B5EF4-FFF2-40B4-BE49-F238E27FC236}">
                <a16:creationId xmlns:a16="http://schemas.microsoft.com/office/drawing/2014/main" id="{FCE6296D-6E58-4A49-BC1E-FC7ABD71C7AD}"/>
              </a:ext>
            </a:extLst>
          </p:cNvPr>
          <p:cNvSpPr/>
          <p:nvPr/>
        </p:nvSpPr>
        <p:spPr bwMode="auto">
          <a:xfrm>
            <a:off x="4898235" y="3194013"/>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2" name="Oval 221">
            <a:extLst>
              <a:ext uri="{FF2B5EF4-FFF2-40B4-BE49-F238E27FC236}">
                <a16:creationId xmlns:a16="http://schemas.microsoft.com/office/drawing/2014/main" id="{4CCC064F-1B24-4B35-A185-BD0F41104C43}"/>
              </a:ext>
            </a:extLst>
          </p:cNvPr>
          <p:cNvSpPr/>
          <p:nvPr/>
        </p:nvSpPr>
        <p:spPr bwMode="auto">
          <a:xfrm>
            <a:off x="6335037" y="320979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3" name="Oval 222">
            <a:extLst>
              <a:ext uri="{FF2B5EF4-FFF2-40B4-BE49-F238E27FC236}">
                <a16:creationId xmlns:a16="http://schemas.microsoft.com/office/drawing/2014/main" id="{70DB4543-DEAD-455C-9A02-B8A366DFFDA9}"/>
              </a:ext>
            </a:extLst>
          </p:cNvPr>
          <p:cNvSpPr/>
          <p:nvPr/>
        </p:nvSpPr>
        <p:spPr bwMode="auto">
          <a:xfrm>
            <a:off x="7066641" y="32022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4" name="Oval 223">
            <a:extLst>
              <a:ext uri="{FF2B5EF4-FFF2-40B4-BE49-F238E27FC236}">
                <a16:creationId xmlns:a16="http://schemas.microsoft.com/office/drawing/2014/main" id="{5418E554-AD14-4575-965A-4F3EDD282F3C}"/>
              </a:ext>
            </a:extLst>
          </p:cNvPr>
          <p:cNvSpPr/>
          <p:nvPr/>
        </p:nvSpPr>
        <p:spPr bwMode="auto">
          <a:xfrm>
            <a:off x="7795734" y="3194272"/>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5" name="Oval 224">
            <a:extLst>
              <a:ext uri="{FF2B5EF4-FFF2-40B4-BE49-F238E27FC236}">
                <a16:creationId xmlns:a16="http://schemas.microsoft.com/office/drawing/2014/main" id="{C350BDE5-D4C9-41FF-BC81-E4C3AAED5F21}"/>
              </a:ext>
            </a:extLst>
          </p:cNvPr>
          <p:cNvSpPr/>
          <p:nvPr/>
        </p:nvSpPr>
        <p:spPr bwMode="auto">
          <a:xfrm>
            <a:off x="9233420" y="318783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6" name="Oval 225">
            <a:extLst>
              <a:ext uri="{FF2B5EF4-FFF2-40B4-BE49-F238E27FC236}">
                <a16:creationId xmlns:a16="http://schemas.microsoft.com/office/drawing/2014/main" id="{D7041F0B-D7DE-4322-931A-0B8892EBFC36}"/>
              </a:ext>
            </a:extLst>
          </p:cNvPr>
          <p:cNvSpPr/>
          <p:nvPr/>
        </p:nvSpPr>
        <p:spPr bwMode="auto">
          <a:xfrm>
            <a:off x="10692276"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7" name="Oval 226">
            <a:extLst>
              <a:ext uri="{FF2B5EF4-FFF2-40B4-BE49-F238E27FC236}">
                <a16:creationId xmlns:a16="http://schemas.microsoft.com/office/drawing/2014/main" id="{70ED5429-6FED-4C59-B6EB-99282424AF3E}"/>
              </a:ext>
            </a:extLst>
          </p:cNvPr>
          <p:cNvSpPr/>
          <p:nvPr/>
        </p:nvSpPr>
        <p:spPr bwMode="auto">
          <a:xfrm>
            <a:off x="6822333" y="378105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8" name="Oval 227">
            <a:extLst>
              <a:ext uri="{FF2B5EF4-FFF2-40B4-BE49-F238E27FC236}">
                <a16:creationId xmlns:a16="http://schemas.microsoft.com/office/drawing/2014/main" id="{DF74C6DF-E183-42D2-8977-A32BDDC25BB1}"/>
              </a:ext>
            </a:extLst>
          </p:cNvPr>
          <p:cNvSpPr/>
          <p:nvPr/>
        </p:nvSpPr>
        <p:spPr bwMode="auto">
          <a:xfrm>
            <a:off x="8272903" y="3773150"/>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9" name="Text Box 144">
            <a:extLst>
              <a:ext uri="{FF2B5EF4-FFF2-40B4-BE49-F238E27FC236}">
                <a16:creationId xmlns:a16="http://schemas.microsoft.com/office/drawing/2014/main" id="{BF7261D6-B387-487A-B9E1-CBB5D6348C9B}"/>
              </a:ext>
            </a:extLst>
          </p:cNvPr>
          <p:cNvSpPr txBox="1">
            <a:spLocks noChangeAspect="1" noChangeArrowheads="1"/>
          </p:cNvSpPr>
          <p:nvPr/>
        </p:nvSpPr>
        <p:spPr bwMode="auto">
          <a:xfrm>
            <a:off x="9093453" y="3376932"/>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59" name="Straight Connector 133">
            <a:extLst>
              <a:ext uri="{FF2B5EF4-FFF2-40B4-BE49-F238E27FC236}">
                <a16:creationId xmlns:a16="http://schemas.microsoft.com/office/drawing/2014/main" id="{A046E588-5F71-4315-B4E9-E424C913BCAE}"/>
              </a:ext>
            </a:extLst>
          </p:cNvPr>
          <p:cNvCxnSpPr>
            <a:cxnSpLocks/>
            <a:stCxn id="336" idx="3"/>
            <a:endCxn id="249" idx="1"/>
          </p:cNvCxnSpPr>
          <p:nvPr/>
        </p:nvCxnSpPr>
        <p:spPr bwMode="auto">
          <a:xfrm flipV="1">
            <a:off x="4411465" y="4456532"/>
            <a:ext cx="2300132" cy="100222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Text Box 144">
            <a:extLst>
              <a:ext uri="{FF2B5EF4-FFF2-40B4-BE49-F238E27FC236}">
                <a16:creationId xmlns:a16="http://schemas.microsoft.com/office/drawing/2014/main" id="{1096EC00-8E15-4531-93C9-595E3B2584ED}"/>
              </a:ext>
            </a:extLst>
          </p:cNvPr>
          <p:cNvSpPr txBox="1">
            <a:spLocks noChangeAspect="1" noChangeArrowheads="1"/>
          </p:cNvSpPr>
          <p:nvPr/>
        </p:nvSpPr>
        <p:spPr bwMode="auto">
          <a:xfrm>
            <a:off x="4791458" y="1262876"/>
            <a:ext cx="1121746"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5GC</a:t>
            </a:r>
          </a:p>
        </p:txBody>
      </p:sp>
      <p:cxnSp>
        <p:nvCxnSpPr>
          <p:cNvPr id="189" name="Straight Connector 133">
            <a:extLst>
              <a:ext uri="{FF2B5EF4-FFF2-40B4-BE49-F238E27FC236}">
                <a16:creationId xmlns:a16="http://schemas.microsoft.com/office/drawing/2014/main" id="{322FFB2F-1F1B-44EE-9868-9C3039FB295D}"/>
              </a:ext>
            </a:extLst>
          </p:cNvPr>
          <p:cNvCxnSpPr>
            <a:cxnSpLocks/>
          </p:cNvCxnSpPr>
          <p:nvPr/>
        </p:nvCxnSpPr>
        <p:spPr bwMode="auto">
          <a:xfrm flipH="1">
            <a:off x="5293821" y="4265515"/>
            <a:ext cx="1434965" cy="34119"/>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0" name="Straight Connector 189">
            <a:extLst>
              <a:ext uri="{FF2B5EF4-FFF2-40B4-BE49-F238E27FC236}">
                <a16:creationId xmlns:a16="http://schemas.microsoft.com/office/drawing/2014/main" id="{EDCE98FC-A229-4E3A-9B20-45E565E037F7}"/>
              </a:ext>
            </a:extLst>
          </p:cNvPr>
          <p:cNvCxnSpPr>
            <a:cxnSpLocks/>
            <a:stCxn id="290" idx="2"/>
          </p:cNvCxnSpPr>
          <p:nvPr/>
        </p:nvCxnSpPr>
        <p:spPr bwMode="auto">
          <a:xfrm flipH="1">
            <a:off x="6032966" y="21034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94" name="Text Box 144">
            <a:extLst>
              <a:ext uri="{FF2B5EF4-FFF2-40B4-BE49-F238E27FC236}">
                <a16:creationId xmlns:a16="http://schemas.microsoft.com/office/drawing/2014/main" id="{2BBE9224-5152-4867-B831-311ECFF92AE9}"/>
              </a:ext>
            </a:extLst>
          </p:cNvPr>
          <p:cNvSpPr txBox="1">
            <a:spLocks noChangeAspect="1" noChangeArrowheads="1"/>
          </p:cNvSpPr>
          <p:nvPr/>
        </p:nvSpPr>
        <p:spPr bwMode="auto">
          <a:xfrm>
            <a:off x="5835578" y="22035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95" name="Oval 194">
            <a:extLst>
              <a:ext uri="{FF2B5EF4-FFF2-40B4-BE49-F238E27FC236}">
                <a16:creationId xmlns:a16="http://schemas.microsoft.com/office/drawing/2014/main" id="{FCFA5074-3D57-4AD6-B860-EABBB25A8594}"/>
              </a:ext>
            </a:extLst>
          </p:cNvPr>
          <p:cNvSpPr/>
          <p:nvPr/>
        </p:nvSpPr>
        <p:spPr bwMode="auto">
          <a:xfrm>
            <a:off x="5960439" y="22076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0" name="Text Box 144">
            <a:extLst>
              <a:ext uri="{FF2B5EF4-FFF2-40B4-BE49-F238E27FC236}">
                <a16:creationId xmlns:a16="http://schemas.microsoft.com/office/drawing/2014/main" id="{648A1508-43D9-4FB7-A8AA-F343FA057287}"/>
              </a:ext>
            </a:extLst>
          </p:cNvPr>
          <p:cNvSpPr txBox="1">
            <a:spLocks noChangeAspect="1" noChangeArrowheads="1"/>
          </p:cNvSpPr>
          <p:nvPr/>
        </p:nvSpPr>
        <p:spPr bwMode="auto">
          <a:xfrm>
            <a:off x="7354065" y="222743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5g-eir</a:t>
            </a:r>
          </a:p>
        </p:txBody>
      </p:sp>
      <p:sp>
        <p:nvSpPr>
          <p:cNvPr id="235" name="Text Box 144">
            <a:extLst>
              <a:ext uri="{FF2B5EF4-FFF2-40B4-BE49-F238E27FC236}">
                <a16:creationId xmlns:a16="http://schemas.microsoft.com/office/drawing/2014/main" id="{C2E2D531-4F98-4FBC-A13E-FAE2777BC299}"/>
              </a:ext>
            </a:extLst>
          </p:cNvPr>
          <p:cNvSpPr txBox="1">
            <a:spLocks noChangeAspect="1" noChangeArrowheads="1"/>
          </p:cNvSpPr>
          <p:nvPr/>
        </p:nvSpPr>
        <p:spPr bwMode="auto">
          <a:xfrm>
            <a:off x="7983168" y="2227995"/>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ch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3" name="Straight Connector 12">
            <a:extLst>
              <a:ext uri="{FF2B5EF4-FFF2-40B4-BE49-F238E27FC236}">
                <a16:creationId xmlns:a16="http://schemas.microsoft.com/office/drawing/2014/main" id="{33FC9B51-7E87-4C30-9BD0-EC0605CC242E}"/>
              </a:ext>
            </a:extLst>
          </p:cNvPr>
          <p:cNvCxnSpPr>
            <a:cxnSpLocks/>
          </p:cNvCxnSpPr>
          <p:nvPr/>
        </p:nvCxnSpPr>
        <p:spPr bwMode="auto">
          <a:xfrm>
            <a:off x="9867741" y="1887790"/>
            <a:ext cx="709604"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286" name="Text Box 144">
            <a:extLst>
              <a:ext uri="{FF2B5EF4-FFF2-40B4-BE49-F238E27FC236}">
                <a16:creationId xmlns:a16="http://schemas.microsoft.com/office/drawing/2014/main" id="{EA9F3266-C2A3-4064-BD84-0D57F7716622}"/>
              </a:ext>
            </a:extLst>
          </p:cNvPr>
          <p:cNvSpPr txBox="1">
            <a:spLocks noChangeAspect="1" noChangeArrowheads="1"/>
          </p:cNvSpPr>
          <p:nvPr/>
        </p:nvSpPr>
        <p:spPr bwMode="auto">
          <a:xfrm>
            <a:off x="10080577" y="1683248"/>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2</a:t>
            </a:r>
          </a:p>
        </p:txBody>
      </p:sp>
      <p:cxnSp>
        <p:nvCxnSpPr>
          <p:cNvPr id="298" name="Straight Connector 297">
            <a:extLst>
              <a:ext uri="{FF2B5EF4-FFF2-40B4-BE49-F238E27FC236}">
                <a16:creationId xmlns:a16="http://schemas.microsoft.com/office/drawing/2014/main" id="{6D6B842D-0654-4523-80AC-A166FE2AAF7F}"/>
              </a:ext>
            </a:extLst>
          </p:cNvPr>
          <p:cNvCxnSpPr>
            <a:cxnSpLocks/>
          </p:cNvCxnSpPr>
          <p:nvPr/>
        </p:nvCxnSpPr>
        <p:spPr bwMode="auto">
          <a:xfrm>
            <a:off x="5313170" y="1943988"/>
            <a:ext cx="9608" cy="161580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99" name="Text Box 144">
            <a:extLst>
              <a:ext uri="{FF2B5EF4-FFF2-40B4-BE49-F238E27FC236}">
                <a16:creationId xmlns:a16="http://schemas.microsoft.com/office/drawing/2014/main" id="{812377A3-E3E6-41E5-930E-E2B306E5BF00}"/>
              </a:ext>
            </a:extLst>
          </p:cNvPr>
          <p:cNvSpPr txBox="1">
            <a:spLocks noChangeAspect="1" noChangeArrowheads="1"/>
          </p:cNvSpPr>
          <p:nvPr/>
        </p:nvSpPr>
        <p:spPr bwMode="auto">
          <a:xfrm>
            <a:off x="5067986" y="219925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r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00" name="Oval 299">
            <a:extLst>
              <a:ext uri="{FF2B5EF4-FFF2-40B4-BE49-F238E27FC236}">
                <a16:creationId xmlns:a16="http://schemas.microsoft.com/office/drawing/2014/main" id="{A3BB8E18-48A6-40D3-A910-CF0195AAD26D}"/>
              </a:ext>
            </a:extLst>
          </p:cNvPr>
          <p:cNvSpPr/>
          <p:nvPr/>
        </p:nvSpPr>
        <p:spPr bwMode="auto">
          <a:xfrm>
            <a:off x="5243423" y="2198246"/>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01" name="Text Box 144">
            <a:extLst>
              <a:ext uri="{FF2B5EF4-FFF2-40B4-BE49-F238E27FC236}">
                <a16:creationId xmlns:a16="http://schemas.microsoft.com/office/drawing/2014/main" id="{535411CB-1826-494C-AA69-E7999B573FD6}"/>
              </a:ext>
            </a:extLst>
          </p:cNvPr>
          <p:cNvSpPr txBox="1">
            <a:spLocks noChangeAspect="1" noChangeArrowheads="1"/>
          </p:cNvSpPr>
          <p:nvPr/>
        </p:nvSpPr>
        <p:spPr bwMode="auto">
          <a:xfrm>
            <a:off x="9321906" y="387346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wd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02" name="Straight Connector 301">
            <a:extLst>
              <a:ext uri="{FF2B5EF4-FFF2-40B4-BE49-F238E27FC236}">
                <a16:creationId xmlns:a16="http://schemas.microsoft.com/office/drawing/2014/main" id="{AC8451EF-5DF8-457F-8F3F-5B83219759D0}"/>
              </a:ext>
            </a:extLst>
          </p:cNvPr>
          <p:cNvCxnSpPr>
            <a:cxnSpLocks/>
            <a:endCxn id="342" idx="0"/>
          </p:cNvCxnSpPr>
          <p:nvPr/>
        </p:nvCxnSpPr>
        <p:spPr bwMode="auto">
          <a:xfrm>
            <a:off x="9444250" y="3618559"/>
            <a:ext cx="12221" cy="55895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03" name="Oval 302">
            <a:extLst>
              <a:ext uri="{FF2B5EF4-FFF2-40B4-BE49-F238E27FC236}">
                <a16:creationId xmlns:a16="http://schemas.microsoft.com/office/drawing/2014/main" id="{7E798736-5130-4A43-B314-39059A275211}"/>
              </a:ext>
            </a:extLst>
          </p:cNvPr>
          <p:cNvSpPr/>
          <p:nvPr/>
        </p:nvSpPr>
        <p:spPr bwMode="auto">
          <a:xfrm>
            <a:off x="9382172" y="378842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18" name="Straight Connector 317">
            <a:extLst>
              <a:ext uri="{FF2B5EF4-FFF2-40B4-BE49-F238E27FC236}">
                <a16:creationId xmlns:a16="http://schemas.microsoft.com/office/drawing/2014/main" id="{BE6D8E47-E8B1-4173-9E23-678F3F3855E2}"/>
              </a:ext>
            </a:extLst>
          </p:cNvPr>
          <p:cNvCxnSpPr>
            <a:cxnSpLocks/>
            <a:stCxn id="249" idx="2"/>
            <a:endCxn id="247" idx="0"/>
          </p:cNvCxnSpPr>
          <p:nvPr/>
        </p:nvCxnSpPr>
        <p:spPr bwMode="auto">
          <a:xfrm flipH="1">
            <a:off x="6884411" y="4744278"/>
            <a:ext cx="7186" cy="108874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19" name="Text Box 144">
            <a:extLst>
              <a:ext uri="{FF2B5EF4-FFF2-40B4-BE49-F238E27FC236}">
                <a16:creationId xmlns:a16="http://schemas.microsoft.com/office/drawing/2014/main" id="{71BD2FC3-63EE-4379-B10F-F42D665D741D}"/>
              </a:ext>
            </a:extLst>
          </p:cNvPr>
          <p:cNvSpPr txBox="1">
            <a:spLocks noChangeAspect="1" noChangeArrowheads="1"/>
          </p:cNvSpPr>
          <p:nvPr/>
        </p:nvSpPr>
        <p:spPr bwMode="auto">
          <a:xfrm>
            <a:off x="6590387" y="4974745"/>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320" name="Line 30">
            <a:extLst>
              <a:ext uri="{FF2B5EF4-FFF2-40B4-BE49-F238E27FC236}">
                <a16:creationId xmlns:a16="http://schemas.microsoft.com/office/drawing/2014/main" id="{65883744-B65F-4B4E-9314-0DD4AFFF8411}"/>
              </a:ext>
            </a:extLst>
          </p:cNvPr>
          <p:cNvSpPr>
            <a:spLocks noChangeShapeType="1"/>
          </p:cNvSpPr>
          <p:nvPr/>
        </p:nvSpPr>
        <p:spPr bwMode="auto">
          <a:xfrm flipV="1">
            <a:off x="7161097" y="5458760"/>
            <a:ext cx="1009611" cy="662607"/>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321" name="Text Box 144">
            <a:extLst>
              <a:ext uri="{FF2B5EF4-FFF2-40B4-BE49-F238E27FC236}">
                <a16:creationId xmlns:a16="http://schemas.microsoft.com/office/drawing/2014/main" id="{E7679993-B163-45B2-A2E9-D8DA082545F3}"/>
              </a:ext>
            </a:extLst>
          </p:cNvPr>
          <p:cNvSpPr txBox="1">
            <a:spLocks noChangeAspect="1" noChangeArrowheads="1"/>
          </p:cNvSpPr>
          <p:nvPr/>
        </p:nvSpPr>
        <p:spPr bwMode="auto">
          <a:xfrm>
            <a:off x="7106076" y="5985658"/>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334" name="Line 30">
            <a:extLst>
              <a:ext uri="{FF2B5EF4-FFF2-40B4-BE49-F238E27FC236}">
                <a16:creationId xmlns:a16="http://schemas.microsoft.com/office/drawing/2014/main" id="{29E307B0-B3F5-4909-B3F2-142755D19E9F}"/>
              </a:ext>
            </a:extLst>
          </p:cNvPr>
          <p:cNvSpPr>
            <a:spLocks noChangeShapeType="1"/>
          </p:cNvSpPr>
          <p:nvPr/>
        </p:nvSpPr>
        <p:spPr bwMode="auto">
          <a:xfrm>
            <a:off x="5382024" y="6158696"/>
            <a:ext cx="1265078"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336" name="TextBox 335">
            <a:extLst>
              <a:ext uri="{FF2B5EF4-FFF2-40B4-BE49-F238E27FC236}">
                <a16:creationId xmlns:a16="http://schemas.microsoft.com/office/drawing/2014/main" id="{E87705DE-5BE0-41D2-975B-BE8E522EE895}"/>
              </a:ext>
            </a:extLst>
          </p:cNvPr>
          <p:cNvSpPr txBox="1"/>
          <p:nvPr/>
        </p:nvSpPr>
        <p:spPr bwMode="auto">
          <a:xfrm>
            <a:off x="3835465" y="4990760"/>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NG-RAN</a:t>
            </a:r>
          </a:p>
        </p:txBody>
      </p:sp>
      <p:sp>
        <p:nvSpPr>
          <p:cNvPr id="337" name="TextBox 336">
            <a:extLst>
              <a:ext uri="{FF2B5EF4-FFF2-40B4-BE49-F238E27FC236}">
                <a16:creationId xmlns:a16="http://schemas.microsoft.com/office/drawing/2014/main" id="{E3436F88-8A11-4985-86C8-9FC1C6A446B0}"/>
              </a:ext>
            </a:extLst>
          </p:cNvPr>
          <p:cNvSpPr txBox="1"/>
          <p:nvPr/>
        </p:nvSpPr>
        <p:spPr bwMode="auto">
          <a:xfrm>
            <a:off x="4791458" y="5591117"/>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Segoe UI" panose="020B0502040204020203" pitchFamily="34" charset="0"/>
                <a:cs typeface="Arial" panose="020B0604020202020204" pitchFamily="34" charset="0"/>
              </a:rPr>
              <a:t>Non-3GPP access</a:t>
            </a:r>
          </a:p>
        </p:txBody>
      </p:sp>
      <p:sp>
        <p:nvSpPr>
          <p:cNvPr id="240" name="TextBox 239">
            <a:extLst>
              <a:ext uri="{FF2B5EF4-FFF2-40B4-BE49-F238E27FC236}">
                <a16:creationId xmlns:a16="http://schemas.microsoft.com/office/drawing/2014/main" id="{6B50F069-D8DC-439D-A075-2FACB08595CC}"/>
              </a:ext>
            </a:extLst>
          </p:cNvPr>
          <p:cNvSpPr txBox="1"/>
          <p:nvPr/>
        </p:nvSpPr>
        <p:spPr bwMode="auto">
          <a:xfrm>
            <a:off x="4766399" y="249095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USF</a:t>
            </a:r>
          </a:p>
        </p:txBody>
      </p:sp>
      <p:sp>
        <p:nvSpPr>
          <p:cNvPr id="242" name="TextBox 241">
            <a:extLst>
              <a:ext uri="{FF2B5EF4-FFF2-40B4-BE49-F238E27FC236}">
                <a16:creationId xmlns:a16="http://schemas.microsoft.com/office/drawing/2014/main" id="{3E6FDA97-4331-4EA2-A071-025AA5B6DD54}"/>
              </a:ext>
            </a:extLst>
          </p:cNvPr>
          <p:cNvSpPr txBox="1"/>
          <p:nvPr/>
        </p:nvSpPr>
        <p:spPr bwMode="auto">
          <a:xfrm>
            <a:off x="8170709" y="517719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3" name="TextBox 242">
            <a:extLst>
              <a:ext uri="{FF2B5EF4-FFF2-40B4-BE49-F238E27FC236}">
                <a16:creationId xmlns:a16="http://schemas.microsoft.com/office/drawing/2014/main" id="{CC7A5B4D-C298-478C-B489-96BB226BC582}"/>
              </a:ext>
            </a:extLst>
          </p:cNvPr>
          <p:cNvSpPr txBox="1"/>
          <p:nvPr/>
        </p:nvSpPr>
        <p:spPr bwMode="auto">
          <a:xfrm>
            <a:off x="5494873" y="249697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R</a:t>
            </a:r>
          </a:p>
        </p:txBody>
      </p:sp>
      <p:sp>
        <p:nvSpPr>
          <p:cNvPr id="247" name="TextBox 246">
            <a:extLst>
              <a:ext uri="{FF2B5EF4-FFF2-40B4-BE49-F238E27FC236}">
                <a16:creationId xmlns:a16="http://schemas.microsoft.com/office/drawing/2014/main" id="{A6690587-F72A-4324-B56B-F71D659B663D}"/>
              </a:ext>
            </a:extLst>
          </p:cNvPr>
          <p:cNvSpPr txBox="1"/>
          <p:nvPr/>
        </p:nvSpPr>
        <p:spPr bwMode="auto">
          <a:xfrm>
            <a:off x="6633790" y="5833022"/>
            <a:ext cx="501242"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3IWF</a:t>
            </a:r>
            <a:endParaRPr kumimoji="0" lang="en-US"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48" name="TextBox 247">
            <a:extLst>
              <a:ext uri="{FF2B5EF4-FFF2-40B4-BE49-F238E27FC236}">
                <a16:creationId xmlns:a16="http://schemas.microsoft.com/office/drawing/2014/main" id="{797FCEBE-CBC1-42EA-8506-087CF5549C05}"/>
              </a:ext>
            </a:extLst>
          </p:cNvPr>
          <p:cNvSpPr txBox="1"/>
          <p:nvPr/>
        </p:nvSpPr>
        <p:spPr bwMode="auto">
          <a:xfrm>
            <a:off x="5118056"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9" name="TextBox 248">
            <a:extLst>
              <a:ext uri="{FF2B5EF4-FFF2-40B4-BE49-F238E27FC236}">
                <a16:creationId xmlns:a16="http://schemas.microsoft.com/office/drawing/2014/main" id="{5BA010C4-EA77-419D-8868-F344AB45E457}"/>
              </a:ext>
            </a:extLst>
          </p:cNvPr>
          <p:cNvSpPr txBox="1"/>
          <p:nvPr/>
        </p:nvSpPr>
        <p:spPr bwMode="auto">
          <a:xfrm>
            <a:off x="6711597" y="4168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50" name="TextBox 249">
            <a:extLst>
              <a:ext uri="{FF2B5EF4-FFF2-40B4-BE49-F238E27FC236}">
                <a16:creationId xmlns:a16="http://schemas.microsoft.com/office/drawing/2014/main" id="{E551A470-9424-4A16-8CA2-C3F536442356}"/>
              </a:ext>
            </a:extLst>
          </p:cNvPr>
          <p:cNvSpPr txBox="1"/>
          <p:nvPr/>
        </p:nvSpPr>
        <p:spPr bwMode="auto">
          <a:xfrm>
            <a:off x="8170222" y="418123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51" name="TextBox 250">
            <a:extLst>
              <a:ext uri="{FF2B5EF4-FFF2-40B4-BE49-F238E27FC236}">
                <a16:creationId xmlns:a16="http://schemas.microsoft.com/office/drawing/2014/main" id="{992C8F44-0307-412E-98DE-B129E4EC97FC}"/>
              </a:ext>
            </a:extLst>
          </p:cNvPr>
          <p:cNvSpPr txBox="1"/>
          <p:nvPr/>
        </p:nvSpPr>
        <p:spPr bwMode="auto">
          <a:xfrm>
            <a:off x="7671294" y="248056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252" name="TextBox 251">
            <a:extLst>
              <a:ext uri="{FF2B5EF4-FFF2-40B4-BE49-F238E27FC236}">
                <a16:creationId xmlns:a16="http://schemas.microsoft.com/office/drawing/2014/main" id="{E4DBC7C6-8CA4-48DD-B1CA-4BEC25AF59C8}"/>
              </a:ext>
            </a:extLst>
          </p:cNvPr>
          <p:cNvSpPr txBox="1"/>
          <p:nvPr/>
        </p:nvSpPr>
        <p:spPr bwMode="auto">
          <a:xfrm>
            <a:off x="9844407"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EF</a:t>
            </a:r>
          </a:p>
        </p:txBody>
      </p:sp>
      <p:sp>
        <p:nvSpPr>
          <p:cNvPr id="253" name="TextBox 252">
            <a:extLst>
              <a:ext uri="{FF2B5EF4-FFF2-40B4-BE49-F238E27FC236}">
                <a16:creationId xmlns:a16="http://schemas.microsoft.com/office/drawing/2014/main" id="{23409AEA-EEEC-4992-9622-11C2554B652C}"/>
              </a:ext>
            </a:extLst>
          </p:cNvPr>
          <p:cNvSpPr txBox="1"/>
          <p:nvPr/>
        </p:nvSpPr>
        <p:spPr bwMode="auto">
          <a:xfrm>
            <a:off x="10559377" y="24870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F</a:t>
            </a:r>
          </a:p>
        </p:txBody>
      </p:sp>
      <p:sp>
        <p:nvSpPr>
          <p:cNvPr id="255" name="TextBox 254">
            <a:extLst>
              <a:ext uri="{FF2B5EF4-FFF2-40B4-BE49-F238E27FC236}">
                <a16:creationId xmlns:a16="http://schemas.microsoft.com/office/drawing/2014/main" id="{48BC886B-6190-440E-B8F8-81F3DC65F22F}"/>
              </a:ext>
            </a:extLst>
          </p:cNvPr>
          <p:cNvSpPr txBox="1"/>
          <p:nvPr/>
        </p:nvSpPr>
        <p:spPr bwMode="auto">
          <a:xfrm>
            <a:off x="8033108" y="155314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CHF</a:t>
            </a:r>
          </a:p>
        </p:txBody>
      </p:sp>
      <p:sp>
        <p:nvSpPr>
          <p:cNvPr id="256" name="TextBox 255">
            <a:extLst>
              <a:ext uri="{FF2B5EF4-FFF2-40B4-BE49-F238E27FC236}">
                <a16:creationId xmlns:a16="http://schemas.microsoft.com/office/drawing/2014/main" id="{83E16EC8-16A0-40FF-A6A4-4C4791119426}"/>
              </a:ext>
            </a:extLst>
          </p:cNvPr>
          <p:cNvSpPr txBox="1"/>
          <p:nvPr/>
        </p:nvSpPr>
        <p:spPr bwMode="auto">
          <a:xfrm>
            <a:off x="9487989" y="1573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EPP</a:t>
            </a:r>
          </a:p>
        </p:txBody>
      </p:sp>
      <p:sp>
        <p:nvSpPr>
          <p:cNvPr id="257" name="TextBox 256">
            <a:extLst>
              <a:ext uri="{FF2B5EF4-FFF2-40B4-BE49-F238E27FC236}">
                <a16:creationId xmlns:a16="http://schemas.microsoft.com/office/drawing/2014/main" id="{A3DFAD36-4131-4118-BADB-B1085082913F}"/>
              </a:ext>
            </a:extLst>
          </p:cNvPr>
          <p:cNvSpPr txBox="1"/>
          <p:nvPr/>
        </p:nvSpPr>
        <p:spPr bwMode="auto">
          <a:xfrm>
            <a:off x="8775792" y="1560889"/>
            <a:ext cx="368702"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GMLC</a:t>
            </a:r>
          </a:p>
        </p:txBody>
      </p:sp>
      <p:sp>
        <p:nvSpPr>
          <p:cNvPr id="258" name="TextBox 257">
            <a:extLst>
              <a:ext uri="{FF2B5EF4-FFF2-40B4-BE49-F238E27FC236}">
                <a16:creationId xmlns:a16="http://schemas.microsoft.com/office/drawing/2014/main" id="{92326BC9-B990-4200-94E0-C767470450CA}"/>
              </a:ext>
            </a:extLst>
          </p:cNvPr>
          <p:cNvSpPr txBox="1"/>
          <p:nvPr/>
        </p:nvSpPr>
        <p:spPr bwMode="auto">
          <a:xfrm>
            <a:off x="9121265" y="247245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SF</a:t>
            </a:r>
          </a:p>
        </p:txBody>
      </p:sp>
      <p:sp>
        <p:nvSpPr>
          <p:cNvPr id="288" name="TextBox 287">
            <a:extLst>
              <a:ext uri="{FF2B5EF4-FFF2-40B4-BE49-F238E27FC236}">
                <a16:creationId xmlns:a16="http://schemas.microsoft.com/office/drawing/2014/main" id="{02A381F3-0569-4654-828D-1C2A5B715604}"/>
              </a:ext>
            </a:extLst>
          </p:cNvPr>
          <p:cNvSpPr txBox="1"/>
          <p:nvPr/>
        </p:nvSpPr>
        <p:spPr bwMode="auto">
          <a:xfrm>
            <a:off x="6568933" y="15326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BSF</a:t>
            </a:r>
          </a:p>
        </p:txBody>
      </p:sp>
      <p:sp>
        <p:nvSpPr>
          <p:cNvPr id="289" name="TextBox 288">
            <a:extLst>
              <a:ext uri="{FF2B5EF4-FFF2-40B4-BE49-F238E27FC236}">
                <a16:creationId xmlns:a16="http://schemas.microsoft.com/office/drawing/2014/main" id="{43238E69-684D-46FA-96A5-0EC8848A2D00}"/>
              </a:ext>
            </a:extLst>
          </p:cNvPr>
          <p:cNvSpPr txBox="1"/>
          <p:nvPr/>
        </p:nvSpPr>
        <p:spPr bwMode="auto">
          <a:xfrm>
            <a:off x="8396090"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LMF</a:t>
            </a:r>
          </a:p>
        </p:txBody>
      </p:sp>
      <p:sp>
        <p:nvSpPr>
          <p:cNvPr id="290" name="TextBox 289">
            <a:extLst>
              <a:ext uri="{FF2B5EF4-FFF2-40B4-BE49-F238E27FC236}">
                <a16:creationId xmlns:a16="http://schemas.microsoft.com/office/drawing/2014/main" id="{6F20D88C-E75A-4EC2-8C36-043D2D71E9BF}"/>
              </a:ext>
            </a:extLst>
          </p:cNvPr>
          <p:cNvSpPr txBox="1"/>
          <p:nvPr/>
        </p:nvSpPr>
        <p:spPr bwMode="auto">
          <a:xfrm>
            <a:off x="5853756"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SF</a:t>
            </a:r>
          </a:p>
        </p:txBody>
      </p:sp>
      <p:cxnSp>
        <p:nvCxnSpPr>
          <p:cNvPr id="292" name="Straight Connector 291">
            <a:extLst>
              <a:ext uri="{FF2B5EF4-FFF2-40B4-BE49-F238E27FC236}">
                <a16:creationId xmlns:a16="http://schemas.microsoft.com/office/drawing/2014/main" id="{D85B3BAF-1884-4BB8-BD69-0A2D960FB8DF}"/>
              </a:ext>
            </a:extLst>
          </p:cNvPr>
          <p:cNvCxnSpPr>
            <a:cxnSpLocks/>
          </p:cNvCxnSpPr>
          <p:nvPr/>
        </p:nvCxnSpPr>
        <p:spPr bwMode="auto">
          <a:xfrm flipH="1">
            <a:off x="6771159" y="21161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2" name="Text Box 144">
            <a:extLst>
              <a:ext uri="{FF2B5EF4-FFF2-40B4-BE49-F238E27FC236}">
                <a16:creationId xmlns:a16="http://schemas.microsoft.com/office/drawing/2014/main" id="{2537D6F2-75A1-45A7-95AB-A220D3A057A9}"/>
              </a:ext>
            </a:extLst>
          </p:cNvPr>
          <p:cNvSpPr txBox="1">
            <a:spLocks noChangeAspect="1" noChangeArrowheads="1"/>
          </p:cNvSpPr>
          <p:nvPr/>
        </p:nvSpPr>
        <p:spPr bwMode="auto">
          <a:xfrm>
            <a:off x="6539267" y="22162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b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23" name="Oval 322">
            <a:extLst>
              <a:ext uri="{FF2B5EF4-FFF2-40B4-BE49-F238E27FC236}">
                <a16:creationId xmlns:a16="http://schemas.microsoft.com/office/drawing/2014/main" id="{1D3D1A4B-B661-4232-92FA-156830CF2E5C}"/>
              </a:ext>
            </a:extLst>
          </p:cNvPr>
          <p:cNvSpPr/>
          <p:nvPr/>
        </p:nvSpPr>
        <p:spPr bwMode="auto">
          <a:xfrm>
            <a:off x="6698632" y="22203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4" name="Straight Connector 323">
            <a:extLst>
              <a:ext uri="{FF2B5EF4-FFF2-40B4-BE49-F238E27FC236}">
                <a16:creationId xmlns:a16="http://schemas.microsoft.com/office/drawing/2014/main" id="{028BEC99-6A28-48D4-B4F7-6ED112A65300}"/>
              </a:ext>
            </a:extLst>
          </p:cNvPr>
          <p:cNvCxnSpPr>
            <a:cxnSpLocks/>
          </p:cNvCxnSpPr>
          <p:nvPr/>
        </p:nvCxnSpPr>
        <p:spPr bwMode="auto">
          <a:xfrm flipH="1">
            <a:off x="7491942" y="21187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5" name="Oval 324">
            <a:extLst>
              <a:ext uri="{FF2B5EF4-FFF2-40B4-BE49-F238E27FC236}">
                <a16:creationId xmlns:a16="http://schemas.microsoft.com/office/drawing/2014/main" id="{BA3BDE0D-FFEE-42D1-A6B6-4F51D4C72A3C}"/>
              </a:ext>
            </a:extLst>
          </p:cNvPr>
          <p:cNvSpPr/>
          <p:nvPr/>
        </p:nvSpPr>
        <p:spPr bwMode="auto">
          <a:xfrm>
            <a:off x="7419415" y="22228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6" name="Straight Connector 325">
            <a:extLst>
              <a:ext uri="{FF2B5EF4-FFF2-40B4-BE49-F238E27FC236}">
                <a16:creationId xmlns:a16="http://schemas.microsoft.com/office/drawing/2014/main" id="{50F4735D-65A0-43DF-80D3-D44941ED00B0}"/>
              </a:ext>
            </a:extLst>
          </p:cNvPr>
          <p:cNvCxnSpPr>
            <a:cxnSpLocks/>
          </p:cNvCxnSpPr>
          <p:nvPr/>
        </p:nvCxnSpPr>
        <p:spPr bwMode="auto">
          <a:xfrm flipH="1">
            <a:off x="8205585" y="21314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7" name="Oval 326">
            <a:extLst>
              <a:ext uri="{FF2B5EF4-FFF2-40B4-BE49-F238E27FC236}">
                <a16:creationId xmlns:a16="http://schemas.microsoft.com/office/drawing/2014/main" id="{41098E04-43E1-4B99-8B2A-BE9EC23C6F29}"/>
              </a:ext>
            </a:extLst>
          </p:cNvPr>
          <p:cNvSpPr/>
          <p:nvPr/>
        </p:nvSpPr>
        <p:spPr bwMode="auto">
          <a:xfrm>
            <a:off x="8133058" y="22355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8" name="Straight Connector 327">
            <a:extLst>
              <a:ext uri="{FF2B5EF4-FFF2-40B4-BE49-F238E27FC236}">
                <a16:creationId xmlns:a16="http://schemas.microsoft.com/office/drawing/2014/main" id="{76192874-6369-4199-B726-DFD06740B708}"/>
              </a:ext>
            </a:extLst>
          </p:cNvPr>
          <p:cNvCxnSpPr>
            <a:cxnSpLocks/>
          </p:cNvCxnSpPr>
          <p:nvPr/>
        </p:nvCxnSpPr>
        <p:spPr bwMode="auto">
          <a:xfrm flipH="1">
            <a:off x="9665925" y="2167172"/>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9" name="Oval 328">
            <a:extLst>
              <a:ext uri="{FF2B5EF4-FFF2-40B4-BE49-F238E27FC236}">
                <a16:creationId xmlns:a16="http://schemas.microsoft.com/office/drawing/2014/main" id="{DE093F6D-66D2-4A94-9CAD-3A6429133F14}"/>
              </a:ext>
            </a:extLst>
          </p:cNvPr>
          <p:cNvSpPr/>
          <p:nvPr/>
        </p:nvSpPr>
        <p:spPr bwMode="auto">
          <a:xfrm>
            <a:off x="9593398" y="2271344"/>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0" name="Text Box 144">
            <a:extLst>
              <a:ext uri="{FF2B5EF4-FFF2-40B4-BE49-F238E27FC236}">
                <a16:creationId xmlns:a16="http://schemas.microsoft.com/office/drawing/2014/main" id="{9C43F5C7-D0FB-4182-9679-FFF7E1264811}"/>
              </a:ext>
            </a:extLst>
          </p:cNvPr>
          <p:cNvSpPr txBox="1">
            <a:spLocks noChangeAspect="1" noChangeArrowheads="1"/>
          </p:cNvSpPr>
          <p:nvPr/>
        </p:nvSpPr>
        <p:spPr bwMode="auto">
          <a:xfrm>
            <a:off x="8383028" y="3380649"/>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l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1" name="Straight Connector 330">
            <a:extLst>
              <a:ext uri="{FF2B5EF4-FFF2-40B4-BE49-F238E27FC236}">
                <a16:creationId xmlns:a16="http://schemas.microsoft.com/office/drawing/2014/main" id="{98D291E0-47DA-418D-B15D-92D721BA0163}"/>
              </a:ext>
            </a:extLst>
          </p:cNvPr>
          <p:cNvCxnSpPr>
            <a:cxnSpLocks/>
          </p:cNvCxnSpPr>
          <p:nvPr/>
        </p:nvCxnSpPr>
        <p:spPr bwMode="auto">
          <a:xfrm>
            <a:off x="8580978" y="3070208"/>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2" name="Oval 331">
            <a:extLst>
              <a:ext uri="{FF2B5EF4-FFF2-40B4-BE49-F238E27FC236}">
                <a16:creationId xmlns:a16="http://schemas.microsoft.com/office/drawing/2014/main" id="{56E72514-CCEA-433A-8F5F-50C5089FEA9C}"/>
              </a:ext>
            </a:extLst>
          </p:cNvPr>
          <p:cNvSpPr/>
          <p:nvPr/>
        </p:nvSpPr>
        <p:spPr bwMode="auto">
          <a:xfrm>
            <a:off x="8515118" y="32093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3" name="Text Box 144">
            <a:extLst>
              <a:ext uri="{FF2B5EF4-FFF2-40B4-BE49-F238E27FC236}">
                <a16:creationId xmlns:a16="http://schemas.microsoft.com/office/drawing/2014/main" id="{4FFBFA90-3EE1-4934-B3E6-DC3BEB0CCE6F}"/>
              </a:ext>
            </a:extLst>
          </p:cNvPr>
          <p:cNvSpPr txBox="1">
            <a:spLocks noChangeAspect="1" noChangeArrowheads="1"/>
          </p:cNvSpPr>
          <p:nvPr/>
        </p:nvSpPr>
        <p:spPr bwMode="auto">
          <a:xfrm>
            <a:off x="8793469" y="2242996"/>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gmlc</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8" name="Straight Connector 337">
            <a:extLst>
              <a:ext uri="{FF2B5EF4-FFF2-40B4-BE49-F238E27FC236}">
                <a16:creationId xmlns:a16="http://schemas.microsoft.com/office/drawing/2014/main" id="{93F3320E-F45A-4134-9754-DFFF62FFD09A}"/>
              </a:ext>
            </a:extLst>
          </p:cNvPr>
          <p:cNvCxnSpPr>
            <a:cxnSpLocks/>
          </p:cNvCxnSpPr>
          <p:nvPr/>
        </p:nvCxnSpPr>
        <p:spPr bwMode="auto">
          <a:xfrm flipH="1">
            <a:off x="8954926" y="2146426"/>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9" name="Oval 338">
            <a:extLst>
              <a:ext uri="{FF2B5EF4-FFF2-40B4-BE49-F238E27FC236}">
                <a16:creationId xmlns:a16="http://schemas.microsoft.com/office/drawing/2014/main" id="{5F383E98-D3AA-4570-B189-D88DD8E41159}"/>
              </a:ext>
            </a:extLst>
          </p:cNvPr>
          <p:cNvSpPr/>
          <p:nvPr/>
        </p:nvSpPr>
        <p:spPr bwMode="auto">
          <a:xfrm>
            <a:off x="8882399" y="225059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42" name="TextBox 341">
            <a:extLst>
              <a:ext uri="{FF2B5EF4-FFF2-40B4-BE49-F238E27FC236}">
                <a16:creationId xmlns:a16="http://schemas.microsoft.com/office/drawing/2014/main" id="{976093E1-21CA-4FE1-9EAC-FF17CEB72E16}"/>
              </a:ext>
            </a:extLst>
          </p:cNvPr>
          <p:cNvSpPr txBox="1"/>
          <p:nvPr/>
        </p:nvSpPr>
        <p:spPr bwMode="auto">
          <a:xfrm>
            <a:off x="9192942" y="4177512"/>
            <a:ext cx="527058"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WDAF</a:t>
            </a:r>
          </a:p>
        </p:txBody>
      </p:sp>
      <p:cxnSp>
        <p:nvCxnSpPr>
          <p:cNvPr id="350" name="Straight Connector 349">
            <a:extLst>
              <a:ext uri="{FF2B5EF4-FFF2-40B4-BE49-F238E27FC236}">
                <a16:creationId xmlns:a16="http://schemas.microsoft.com/office/drawing/2014/main" id="{D7BF2B8B-0476-4B34-99AE-DCD7A8B94363}"/>
              </a:ext>
            </a:extLst>
          </p:cNvPr>
          <p:cNvCxnSpPr>
            <a:cxnSpLocks/>
          </p:cNvCxnSpPr>
          <p:nvPr/>
        </p:nvCxnSpPr>
        <p:spPr bwMode="auto">
          <a:xfrm>
            <a:off x="10011707" y="304850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51" name="Oval 350">
            <a:extLst>
              <a:ext uri="{FF2B5EF4-FFF2-40B4-BE49-F238E27FC236}">
                <a16:creationId xmlns:a16="http://schemas.microsoft.com/office/drawing/2014/main" id="{7F2D3DA8-06EC-4D78-9DEB-EBBA2F62B676}"/>
              </a:ext>
            </a:extLst>
          </p:cNvPr>
          <p:cNvSpPr/>
          <p:nvPr/>
        </p:nvSpPr>
        <p:spPr bwMode="auto">
          <a:xfrm>
            <a:off x="9943264" y="317340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52" name="Text Box 144">
            <a:extLst>
              <a:ext uri="{FF2B5EF4-FFF2-40B4-BE49-F238E27FC236}">
                <a16:creationId xmlns:a16="http://schemas.microsoft.com/office/drawing/2014/main" id="{2A5934D5-5698-4A72-90B2-478B2300303E}"/>
              </a:ext>
            </a:extLst>
          </p:cNvPr>
          <p:cNvSpPr txBox="1">
            <a:spLocks noChangeAspect="1" noChangeArrowheads="1"/>
          </p:cNvSpPr>
          <p:nvPr/>
        </p:nvSpPr>
        <p:spPr bwMode="auto">
          <a:xfrm>
            <a:off x="9820806" y="3371125"/>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e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11" name="Group 110">
            <a:extLst>
              <a:ext uri="{FF2B5EF4-FFF2-40B4-BE49-F238E27FC236}">
                <a16:creationId xmlns:a16="http://schemas.microsoft.com/office/drawing/2014/main" id="{D27613E8-DF2B-4AB5-9F4D-1B48EF9729CC}"/>
              </a:ext>
            </a:extLst>
          </p:cNvPr>
          <p:cNvGrpSpPr>
            <a:grpSpLocks noChangeAspect="1"/>
          </p:cNvGrpSpPr>
          <p:nvPr/>
        </p:nvGrpSpPr>
        <p:grpSpPr>
          <a:xfrm>
            <a:off x="2225112" y="5047661"/>
            <a:ext cx="419644" cy="587501"/>
            <a:chOff x="10129764" y="745508"/>
            <a:chExt cx="221963" cy="310748"/>
          </a:xfrm>
        </p:grpSpPr>
        <p:grpSp>
          <p:nvGrpSpPr>
            <p:cNvPr id="112" name="Group 111">
              <a:extLst>
                <a:ext uri="{FF2B5EF4-FFF2-40B4-BE49-F238E27FC236}">
                  <a16:creationId xmlns:a16="http://schemas.microsoft.com/office/drawing/2014/main" id="{49BA53DA-3809-4EC4-A4FF-A974E46A724C}"/>
                </a:ext>
              </a:extLst>
            </p:cNvPr>
            <p:cNvGrpSpPr>
              <a:grpSpLocks noChangeAspect="1"/>
            </p:cNvGrpSpPr>
            <p:nvPr/>
          </p:nvGrpSpPr>
          <p:grpSpPr>
            <a:xfrm>
              <a:off x="10129764" y="745508"/>
              <a:ext cx="221963" cy="310748"/>
              <a:chOff x="1373325" y="5272742"/>
              <a:chExt cx="428625" cy="600075"/>
            </a:xfrm>
          </p:grpSpPr>
          <p:sp>
            <p:nvSpPr>
              <p:cNvPr id="114" name="Rectangle 113">
                <a:extLst>
                  <a:ext uri="{FF2B5EF4-FFF2-40B4-BE49-F238E27FC236}">
                    <a16:creationId xmlns:a16="http://schemas.microsoft.com/office/drawing/2014/main" id="{FBDF7618-8536-468B-BBE4-99AD2E0EC88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5" name="Graphic 114">
                <a:extLst>
                  <a:ext uri="{FF2B5EF4-FFF2-40B4-BE49-F238E27FC236}">
                    <a16:creationId xmlns:a16="http://schemas.microsoft.com/office/drawing/2014/main" id="{066E2901-94CB-4E9C-A949-E9433C9CCB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13" name="TextBox 112">
              <a:extLst>
                <a:ext uri="{FF2B5EF4-FFF2-40B4-BE49-F238E27FC236}">
                  <a16:creationId xmlns:a16="http://schemas.microsoft.com/office/drawing/2014/main" id="{FED67507-9114-4213-A35C-A56ADF19E34D}"/>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116" name="TextBox 115">
            <a:extLst>
              <a:ext uri="{FF2B5EF4-FFF2-40B4-BE49-F238E27FC236}">
                <a16:creationId xmlns:a16="http://schemas.microsoft.com/office/drawing/2014/main" id="{0DDD650E-EAC3-4407-93CC-7AF18F91E461}"/>
              </a:ext>
            </a:extLst>
          </p:cNvPr>
          <p:cNvSpPr txBox="1"/>
          <p:nvPr/>
        </p:nvSpPr>
        <p:spPr bwMode="auto">
          <a:xfrm>
            <a:off x="6230171" y="24909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117" name="TextBox 116">
            <a:extLst>
              <a:ext uri="{FF2B5EF4-FFF2-40B4-BE49-F238E27FC236}">
                <a16:creationId xmlns:a16="http://schemas.microsoft.com/office/drawing/2014/main" id="{AC78DF8F-8C83-4623-AFAF-01E238B3DB78}"/>
              </a:ext>
            </a:extLst>
          </p:cNvPr>
          <p:cNvSpPr txBox="1"/>
          <p:nvPr/>
        </p:nvSpPr>
        <p:spPr bwMode="auto">
          <a:xfrm>
            <a:off x="6956997" y="2490953"/>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118" name="TextBox 117">
            <a:extLst>
              <a:ext uri="{FF2B5EF4-FFF2-40B4-BE49-F238E27FC236}">
                <a16:creationId xmlns:a16="http://schemas.microsoft.com/office/drawing/2014/main" id="{016B41C8-1088-4882-9ADE-47D41C889A8D}"/>
              </a:ext>
            </a:extLst>
          </p:cNvPr>
          <p:cNvSpPr txBox="1"/>
          <p:nvPr/>
        </p:nvSpPr>
        <p:spPr bwMode="auto">
          <a:xfrm>
            <a:off x="7320411" y="154138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5G-EIR</a:t>
            </a:r>
          </a:p>
        </p:txBody>
      </p:sp>
    </p:spTree>
    <p:extLst>
      <p:ext uri="{BB962C8B-B14F-4D97-AF65-F5344CB8AC3E}">
        <p14:creationId xmlns:p14="http://schemas.microsoft.com/office/powerpoint/2010/main" val="3639823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6"/>
                                        </p:tgtEl>
                                        <p:attrNameLst>
                                          <p:attrName>style.visibility</p:attrName>
                                        </p:attrNameLst>
                                      </p:cBhvr>
                                      <p:to>
                                        <p:strVal val="visible"/>
                                      </p:to>
                                    </p:set>
                                    <p:animEffect transition="in" filter="fade">
                                      <p:cBhvr>
                                        <p:cTn id="7" dur="500"/>
                                        <p:tgtEl>
                                          <p:spTgt spid="206"/>
                                        </p:tgtEl>
                                      </p:cBhvr>
                                    </p:animEffect>
                                  </p:childTnLst>
                                </p:cTn>
                              </p:par>
                              <p:par>
                                <p:cTn id="8" presetID="10" presetClass="entr" presetSubtype="0" fill="hold"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fade">
                                      <p:cBhvr>
                                        <p:cTn id="13" dur="500"/>
                                        <p:tgtEl>
                                          <p:spTgt spid="183"/>
                                        </p:tgtEl>
                                      </p:cBhvr>
                                    </p:animEffect>
                                  </p:childTnLst>
                                </p:cTn>
                              </p:par>
                              <p:par>
                                <p:cTn id="14" presetID="10" presetClass="entr" presetSubtype="0" fill="hold" nodeType="withEffect">
                                  <p:stCondLst>
                                    <p:cond delay="0"/>
                                  </p:stCondLst>
                                  <p:childTnLst>
                                    <p:set>
                                      <p:cBhvr>
                                        <p:cTn id="15" dur="1" fill="hold">
                                          <p:stCondLst>
                                            <p:cond delay="0"/>
                                          </p:stCondLst>
                                        </p:cTn>
                                        <p:tgtEl>
                                          <p:spTgt spid="214"/>
                                        </p:tgtEl>
                                        <p:attrNameLst>
                                          <p:attrName>style.visibility</p:attrName>
                                        </p:attrNameLst>
                                      </p:cBhvr>
                                      <p:to>
                                        <p:strVal val="visible"/>
                                      </p:to>
                                    </p:set>
                                    <p:animEffect transition="in" filter="fade">
                                      <p:cBhvr>
                                        <p:cTn id="16" dur="500"/>
                                        <p:tgtEl>
                                          <p:spTgt spid="214"/>
                                        </p:tgtEl>
                                      </p:cBhvr>
                                    </p:animEffect>
                                  </p:childTnLst>
                                </p:cTn>
                              </p:par>
                              <p:par>
                                <p:cTn id="17" presetID="10" presetClass="entr" presetSubtype="0" fill="hold" nodeType="with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500"/>
                                        <p:tgtEl>
                                          <p:spTgt spid="215"/>
                                        </p:tgtEl>
                                      </p:cBhvr>
                                    </p:animEffect>
                                  </p:childTnLst>
                                </p:cTn>
                              </p:par>
                              <p:par>
                                <p:cTn id="20" presetID="10" presetClass="entr" presetSubtype="0" fill="hold" nodeType="withEffect">
                                  <p:stCondLst>
                                    <p:cond delay="0"/>
                                  </p:stCondLst>
                                  <p:childTnLst>
                                    <p:set>
                                      <p:cBhvr>
                                        <p:cTn id="21" dur="1" fill="hold">
                                          <p:stCondLst>
                                            <p:cond delay="0"/>
                                          </p:stCondLst>
                                        </p:cTn>
                                        <p:tgtEl>
                                          <p:spTgt spid="216"/>
                                        </p:tgtEl>
                                        <p:attrNameLst>
                                          <p:attrName>style.visibility</p:attrName>
                                        </p:attrNameLst>
                                      </p:cBhvr>
                                      <p:to>
                                        <p:strVal val="visible"/>
                                      </p:to>
                                    </p:set>
                                    <p:animEffect transition="in" filter="fade">
                                      <p:cBhvr>
                                        <p:cTn id="22" dur="500"/>
                                        <p:tgtEl>
                                          <p:spTgt spid="216"/>
                                        </p:tgtEl>
                                      </p:cBhvr>
                                    </p:animEffect>
                                  </p:childTnLst>
                                </p:cTn>
                              </p:par>
                              <p:par>
                                <p:cTn id="23" presetID="10" presetClass="entr" presetSubtype="0" fill="hold" nodeType="withEffect">
                                  <p:stCondLst>
                                    <p:cond delay="0"/>
                                  </p:stCondLst>
                                  <p:childTnLst>
                                    <p:set>
                                      <p:cBhvr>
                                        <p:cTn id="24" dur="1" fill="hold">
                                          <p:stCondLst>
                                            <p:cond delay="0"/>
                                          </p:stCondLst>
                                        </p:cTn>
                                        <p:tgtEl>
                                          <p:spTgt spid="217"/>
                                        </p:tgtEl>
                                        <p:attrNameLst>
                                          <p:attrName>style.visibility</p:attrName>
                                        </p:attrNameLst>
                                      </p:cBhvr>
                                      <p:to>
                                        <p:strVal val="visible"/>
                                      </p:to>
                                    </p:set>
                                    <p:animEffect transition="in" filter="fade">
                                      <p:cBhvr>
                                        <p:cTn id="25" dur="500"/>
                                        <p:tgtEl>
                                          <p:spTgt spid="217"/>
                                        </p:tgtEl>
                                      </p:cBhvr>
                                    </p:animEffect>
                                  </p:childTnLst>
                                </p:cTn>
                              </p:par>
                              <p:par>
                                <p:cTn id="26" presetID="10" presetClass="entr" presetSubtype="0" fill="hold" nodeType="withEffect">
                                  <p:stCondLst>
                                    <p:cond delay="0"/>
                                  </p:stCondLst>
                                  <p:childTnLst>
                                    <p:set>
                                      <p:cBhvr>
                                        <p:cTn id="27" dur="1" fill="hold">
                                          <p:stCondLst>
                                            <p:cond delay="0"/>
                                          </p:stCondLst>
                                        </p:cTn>
                                        <p:tgtEl>
                                          <p:spTgt spid="218"/>
                                        </p:tgtEl>
                                        <p:attrNameLst>
                                          <p:attrName>style.visibility</p:attrName>
                                        </p:attrNameLst>
                                      </p:cBhvr>
                                      <p:to>
                                        <p:strVal val="visible"/>
                                      </p:to>
                                    </p:set>
                                    <p:animEffect transition="in" filter="fade">
                                      <p:cBhvr>
                                        <p:cTn id="28" dur="500"/>
                                        <p:tgtEl>
                                          <p:spTgt spid="218"/>
                                        </p:tgtEl>
                                      </p:cBhvr>
                                    </p:animEffect>
                                  </p:childTnLst>
                                </p:cTn>
                              </p:par>
                              <p:par>
                                <p:cTn id="29" presetID="10" presetClass="entr" presetSubtype="0" fill="hold" nodeType="withEffect">
                                  <p:stCondLst>
                                    <p:cond delay="0"/>
                                  </p:stCondLst>
                                  <p:childTnLst>
                                    <p:set>
                                      <p:cBhvr>
                                        <p:cTn id="30" dur="1" fill="hold">
                                          <p:stCondLst>
                                            <p:cond delay="0"/>
                                          </p:stCondLst>
                                        </p:cTn>
                                        <p:tgtEl>
                                          <p:spTgt spid="219"/>
                                        </p:tgtEl>
                                        <p:attrNameLst>
                                          <p:attrName>style.visibility</p:attrName>
                                        </p:attrNameLst>
                                      </p:cBhvr>
                                      <p:to>
                                        <p:strVal val="visible"/>
                                      </p:to>
                                    </p:set>
                                    <p:animEffect transition="in" filter="fade">
                                      <p:cBhvr>
                                        <p:cTn id="31" dur="500"/>
                                        <p:tgtEl>
                                          <p:spTgt spid="219"/>
                                        </p:tgtEl>
                                      </p:cBhvr>
                                    </p:animEffect>
                                  </p:childTnLst>
                                </p:cTn>
                              </p:par>
                              <p:par>
                                <p:cTn id="32" presetID="10" presetClass="entr" presetSubtype="0" fill="hold" nodeType="withEffect">
                                  <p:stCondLst>
                                    <p:cond delay="0"/>
                                  </p:stCondLst>
                                  <p:childTnLst>
                                    <p:set>
                                      <p:cBhvr>
                                        <p:cTn id="33" dur="1" fill="hold">
                                          <p:stCondLst>
                                            <p:cond delay="0"/>
                                          </p:stCondLst>
                                        </p:cTn>
                                        <p:tgtEl>
                                          <p:spTgt spid="220"/>
                                        </p:tgtEl>
                                        <p:attrNameLst>
                                          <p:attrName>style.visibility</p:attrName>
                                        </p:attrNameLst>
                                      </p:cBhvr>
                                      <p:to>
                                        <p:strVal val="visible"/>
                                      </p:to>
                                    </p:set>
                                    <p:animEffect transition="in" filter="fade">
                                      <p:cBhvr>
                                        <p:cTn id="34" dur="500"/>
                                        <p:tgtEl>
                                          <p:spTgt spid="220"/>
                                        </p:tgtEl>
                                      </p:cBhvr>
                                    </p:animEffect>
                                  </p:childTnLst>
                                </p:cTn>
                              </p:par>
                              <p:par>
                                <p:cTn id="35" presetID="10" presetClass="entr" presetSubtype="0" fill="hold" nodeType="withEffect">
                                  <p:stCondLst>
                                    <p:cond delay="0"/>
                                  </p:stCondLst>
                                  <p:childTnLst>
                                    <p:set>
                                      <p:cBhvr>
                                        <p:cTn id="36" dur="1" fill="hold">
                                          <p:stCondLst>
                                            <p:cond delay="0"/>
                                          </p:stCondLst>
                                        </p:cTn>
                                        <p:tgtEl>
                                          <p:spTgt spid="190"/>
                                        </p:tgtEl>
                                        <p:attrNameLst>
                                          <p:attrName>style.visibility</p:attrName>
                                        </p:attrNameLst>
                                      </p:cBhvr>
                                      <p:to>
                                        <p:strVal val="visible"/>
                                      </p:to>
                                    </p:set>
                                    <p:animEffect transition="in" filter="fade">
                                      <p:cBhvr>
                                        <p:cTn id="37" dur="500"/>
                                        <p:tgtEl>
                                          <p:spTgt spid="190"/>
                                        </p:tgtEl>
                                      </p:cBhvr>
                                    </p:animEffect>
                                  </p:childTnLst>
                                </p:cTn>
                              </p:par>
                              <p:par>
                                <p:cTn id="38" presetID="10" presetClass="entr" presetSubtype="0" fill="hold" nodeType="withEffect">
                                  <p:stCondLst>
                                    <p:cond delay="0"/>
                                  </p:stCondLst>
                                  <p:childTnLst>
                                    <p:set>
                                      <p:cBhvr>
                                        <p:cTn id="39" dur="1" fill="hold">
                                          <p:stCondLst>
                                            <p:cond delay="0"/>
                                          </p:stCondLst>
                                        </p:cTn>
                                        <p:tgtEl>
                                          <p:spTgt spid="298"/>
                                        </p:tgtEl>
                                        <p:attrNameLst>
                                          <p:attrName>style.visibility</p:attrName>
                                        </p:attrNameLst>
                                      </p:cBhvr>
                                      <p:to>
                                        <p:strVal val="visible"/>
                                      </p:to>
                                    </p:set>
                                    <p:animEffect transition="in" filter="fade">
                                      <p:cBhvr>
                                        <p:cTn id="40" dur="500"/>
                                        <p:tgtEl>
                                          <p:spTgt spid="298"/>
                                        </p:tgtEl>
                                      </p:cBhvr>
                                    </p:animEffect>
                                  </p:childTnLst>
                                </p:cTn>
                              </p:par>
                              <p:par>
                                <p:cTn id="41" presetID="10" presetClass="entr" presetSubtype="0" fill="hold" nodeType="withEffect">
                                  <p:stCondLst>
                                    <p:cond delay="0"/>
                                  </p:stCondLst>
                                  <p:childTnLst>
                                    <p:set>
                                      <p:cBhvr>
                                        <p:cTn id="42" dur="1" fill="hold">
                                          <p:stCondLst>
                                            <p:cond delay="0"/>
                                          </p:stCondLst>
                                        </p:cTn>
                                        <p:tgtEl>
                                          <p:spTgt spid="302"/>
                                        </p:tgtEl>
                                        <p:attrNameLst>
                                          <p:attrName>style.visibility</p:attrName>
                                        </p:attrNameLst>
                                      </p:cBhvr>
                                      <p:to>
                                        <p:strVal val="visible"/>
                                      </p:to>
                                    </p:set>
                                    <p:animEffect transition="in" filter="fade">
                                      <p:cBhvr>
                                        <p:cTn id="43" dur="500"/>
                                        <p:tgtEl>
                                          <p:spTgt spid="302"/>
                                        </p:tgtEl>
                                      </p:cBhvr>
                                    </p:animEffect>
                                  </p:childTnLst>
                                </p:cTn>
                              </p:par>
                              <p:par>
                                <p:cTn id="44" presetID="10" presetClass="entr" presetSubtype="0" fill="hold" nodeType="withEffect">
                                  <p:stCondLst>
                                    <p:cond delay="0"/>
                                  </p:stCondLst>
                                  <p:childTnLst>
                                    <p:set>
                                      <p:cBhvr>
                                        <p:cTn id="45" dur="1" fill="hold">
                                          <p:stCondLst>
                                            <p:cond delay="0"/>
                                          </p:stCondLst>
                                        </p:cTn>
                                        <p:tgtEl>
                                          <p:spTgt spid="318"/>
                                        </p:tgtEl>
                                        <p:attrNameLst>
                                          <p:attrName>style.visibility</p:attrName>
                                        </p:attrNameLst>
                                      </p:cBhvr>
                                      <p:to>
                                        <p:strVal val="visible"/>
                                      </p:to>
                                    </p:set>
                                    <p:animEffect transition="in" filter="fade">
                                      <p:cBhvr>
                                        <p:cTn id="46" dur="500"/>
                                        <p:tgtEl>
                                          <p:spTgt spid="318"/>
                                        </p:tgtEl>
                                      </p:cBhvr>
                                    </p:animEffect>
                                  </p:childTnLst>
                                </p:cTn>
                              </p:par>
                              <p:par>
                                <p:cTn id="47" presetID="10" presetClass="entr" presetSubtype="0" fill="hold" nodeType="withEffect">
                                  <p:stCondLst>
                                    <p:cond delay="0"/>
                                  </p:stCondLst>
                                  <p:childTnLst>
                                    <p:set>
                                      <p:cBhvr>
                                        <p:cTn id="48" dur="1" fill="hold">
                                          <p:stCondLst>
                                            <p:cond delay="0"/>
                                          </p:stCondLst>
                                        </p:cTn>
                                        <p:tgtEl>
                                          <p:spTgt spid="292"/>
                                        </p:tgtEl>
                                        <p:attrNameLst>
                                          <p:attrName>style.visibility</p:attrName>
                                        </p:attrNameLst>
                                      </p:cBhvr>
                                      <p:to>
                                        <p:strVal val="visible"/>
                                      </p:to>
                                    </p:set>
                                    <p:animEffect transition="in" filter="fade">
                                      <p:cBhvr>
                                        <p:cTn id="49" dur="500"/>
                                        <p:tgtEl>
                                          <p:spTgt spid="292"/>
                                        </p:tgtEl>
                                      </p:cBhvr>
                                    </p:animEffect>
                                  </p:childTnLst>
                                </p:cTn>
                              </p:par>
                              <p:par>
                                <p:cTn id="50" presetID="10" presetClass="entr" presetSubtype="0" fill="hold" nodeType="withEffect">
                                  <p:stCondLst>
                                    <p:cond delay="0"/>
                                  </p:stCondLst>
                                  <p:childTnLst>
                                    <p:set>
                                      <p:cBhvr>
                                        <p:cTn id="51" dur="1" fill="hold">
                                          <p:stCondLst>
                                            <p:cond delay="0"/>
                                          </p:stCondLst>
                                        </p:cTn>
                                        <p:tgtEl>
                                          <p:spTgt spid="324"/>
                                        </p:tgtEl>
                                        <p:attrNameLst>
                                          <p:attrName>style.visibility</p:attrName>
                                        </p:attrNameLst>
                                      </p:cBhvr>
                                      <p:to>
                                        <p:strVal val="visible"/>
                                      </p:to>
                                    </p:set>
                                    <p:animEffect transition="in" filter="fade">
                                      <p:cBhvr>
                                        <p:cTn id="52" dur="500"/>
                                        <p:tgtEl>
                                          <p:spTgt spid="324"/>
                                        </p:tgtEl>
                                      </p:cBhvr>
                                    </p:animEffect>
                                  </p:childTnLst>
                                </p:cTn>
                              </p:par>
                              <p:par>
                                <p:cTn id="53" presetID="10" presetClass="entr" presetSubtype="0" fill="hold" nodeType="withEffect">
                                  <p:stCondLst>
                                    <p:cond delay="0"/>
                                  </p:stCondLst>
                                  <p:childTnLst>
                                    <p:set>
                                      <p:cBhvr>
                                        <p:cTn id="54" dur="1" fill="hold">
                                          <p:stCondLst>
                                            <p:cond delay="0"/>
                                          </p:stCondLst>
                                        </p:cTn>
                                        <p:tgtEl>
                                          <p:spTgt spid="326"/>
                                        </p:tgtEl>
                                        <p:attrNameLst>
                                          <p:attrName>style.visibility</p:attrName>
                                        </p:attrNameLst>
                                      </p:cBhvr>
                                      <p:to>
                                        <p:strVal val="visible"/>
                                      </p:to>
                                    </p:set>
                                    <p:animEffect transition="in" filter="fade">
                                      <p:cBhvr>
                                        <p:cTn id="55" dur="500"/>
                                        <p:tgtEl>
                                          <p:spTgt spid="326"/>
                                        </p:tgtEl>
                                      </p:cBhvr>
                                    </p:animEffect>
                                  </p:childTnLst>
                                </p:cTn>
                              </p:par>
                              <p:par>
                                <p:cTn id="56" presetID="10" presetClass="entr" presetSubtype="0" fill="hold" nodeType="withEffect">
                                  <p:stCondLst>
                                    <p:cond delay="0"/>
                                  </p:stCondLst>
                                  <p:childTnLst>
                                    <p:set>
                                      <p:cBhvr>
                                        <p:cTn id="57" dur="1" fill="hold">
                                          <p:stCondLst>
                                            <p:cond delay="0"/>
                                          </p:stCondLst>
                                        </p:cTn>
                                        <p:tgtEl>
                                          <p:spTgt spid="328"/>
                                        </p:tgtEl>
                                        <p:attrNameLst>
                                          <p:attrName>style.visibility</p:attrName>
                                        </p:attrNameLst>
                                      </p:cBhvr>
                                      <p:to>
                                        <p:strVal val="visible"/>
                                      </p:to>
                                    </p:set>
                                    <p:animEffect transition="in" filter="fade">
                                      <p:cBhvr>
                                        <p:cTn id="58" dur="500"/>
                                        <p:tgtEl>
                                          <p:spTgt spid="328"/>
                                        </p:tgtEl>
                                      </p:cBhvr>
                                    </p:animEffect>
                                  </p:childTnLst>
                                </p:cTn>
                              </p:par>
                              <p:par>
                                <p:cTn id="59" presetID="10" presetClass="entr" presetSubtype="0" fill="hold" nodeType="withEffect">
                                  <p:stCondLst>
                                    <p:cond delay="0"/>
                                  </p:stCondLst>
                                  <p:childTnLst>
                                    <p:set>
                                      <p:cBhvr>
                                        <p:cTn id="60" dur="1" fill="hold">
                                          <p:stCondLst>
                                            <p:cond delay="0"/>
                                          </p:stCondLst>
                                        </p:cTn>
                                        <p:tgtEl>
                                          <p:spTgt spid="331"/>
                                        </p:tgtEl>
                                        <p:attrNameLst>
                                          <p:attrName>style.visibility</p:attrName>
                                        </p:attrNameLst>
                                      </p:cBhvr>
                                      <p:to>
                                        <p:strVal val="visible"/>
                                      </p:to>
                                    </p:set>
                                    <p:animEffect transition="in" filter="fade">
                                      <p:cBhvr>
                                        <p:cTn id="61" dur="500"/>
                                        <p:tgtEl>
                                          <p:spTgt spid="331"/>
                                        </p:tgtEl>
                                      </p:cBhvr>
                                    </p:animEffect>
                                  </p:childTnLst>
                                </p:cTn>
                              </p:par>
                              <p:par>
                                <p:cTn id="62" presetID="10" presetClass="entr" presetSubtype="0" fill="hold" nodeType="withEffect">
                                  <p:stCondLst>
                                    <p:cond delay="0"/>
                                  </p:stCondLst>
                                  <p:childTnLst>
                                    <p:set>
                                      <p:cBhvr>
                                        <p:cTn id="63" dur="1" fill="hold">
                                          <p:stCondLst>
                                            <p:cond delay="0"/>
                                          </p:stCondLst>
                                        </p:cTn>
                                        <p:tgtEl>
                                          <p:spTgt spid="338"/>
                                        </p:tgtEl>
                                        <p:attrNameLst>
                                          <p:attrName>style.visibility</p:attrName>
                                        </p:attrNameLst>
                                      </p:cBhvr>
                                      <p:to>
                                        <p:strVal val="visible"/>
                                      </p:to>
                                    </p:set>
                                    <p:animEffect transition="in" filter="fade">
                                      <p:cBhvr>
                                        <p:cTn id="64" dur="500"/>
                                        <p:tgtEl>
                                          <p:spTgt spid="338"/>
                                        </p:tgtEl>
                                      </p:cBhvr>
                                    </p:animEffect>
                                  </p:childTnLst>
                                </p:cTn>
                              </p:par>
                              <p:par>
                                <p:cTn id="65" presetID="10" presetClass="entr" presetSubtype="0" fill="hold" nodeType="withEffect">
                                  <p:stCondLst>
                                    <p:cond delay="0"/>
                                  </p:stCondLst>
                                  <p:childTnLst>
                                    <p:set>
                                      <p:cBhvr>
                                        <p:cTn id="66" dur="1" fill="hold">
                                          <p:stCondLst>
                                            <p:cond delay="0"/>
                                          </p:stCondLst>
                                        </p:cTn>
                                        <p:tgtEl>
                                          <p:spTgt spid="350"/>
                                        </p:tgtEl>
                                        <p:attrNameLst>
                                          <p:attrName>style.visibility</p:attrName>
                                        </p:attrNameLst>
                                      </p:cBhvr>
                                      <p:to>
                                        <p:strVal val="visible"/>
                                      </p:to>
                                    </p:set>
                                    <p:animEffect transition="in" filter="fade">
                                      <p:cBhvr>
                                        <p:cTn id="67" dur="500"/>
                                        <p:tgtEl>
                                          <p:spTgt spid="3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a:t>5G EPC &amp; NSA NR – </a:t>
            </a:r>
            <a:r>
              <a:rPr lang="en-US" sz="4000">
                <a:solidFill>
                  <a:schemeClr val="bg1"/>
                </a:solidFill>
              </a:rPr>
              <a:t>Options 3, 3a, 3x</a:t>
            </a:r>
            <a:r>
              <a:rPr lang="en-US" sz="4000"/>
              <a:t> </a:t>
            </a:r>
            <a:br>
              <a:rPr lang="en-US" sz="4000"/>
            </a:br>
            <a:r>
              <a:rPr lang="en-US" sz="2000"/>
              <a:t>3GPP TR 38.801 </a:t>
            </a:r>
            <a:r>
              <a:rPr lang="en-US" sz="2000">
                <a:sym typeface="Wingdings" panose="05000000000000000000" pitchFamily="2" charset="2"/>
              </a:rPr>
              <a:t> 3GPP TS </a:t>
            </a:r>
            <a:r>
              <a:rPr lang="en-US" sz="2000"/>
              <a:t>37.340</a:t>
            </a:r>
          </a:p>
        </p:txBody>
      </p:sp>
      <p:sp>
        <p:nvSpPr>
          <p:cNvPr id="65" name="Oval 64">
            <a:extLst>
              <a:ext uri="{FF2B5EF4-FFF2-40B4-BE49-F238E27FC236}">
                <a16:creationId xmlns:a16="http://schemas.microsoft.com/office/drawing/2014/main" id="{4E07FDFF-137D-43A5-8B57-CB7630462CF7}"/>
              </a:ext>
            </a:extLst>
          </p:cNvPr>
          <p:cNvSpPr/>
          <p:nvPr/>
        </p:nvSpPr>
        <p:spPr bwMode="auto">
          <a:xfrm>
            <a:off x="2363551" y="3732042"/>
            <a:ext cx="1406681" cy="721277"/>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mn-lt"/>
              <a:ea typeface="+mn-ea"/>
              <a:cs typeface="+mn-cs"/>
            </a:endParaRPr>
          </a:p>
        </p:txBody>
      </p:sp>
      <p:sp>
        <p:nvSpPr>
          <p:cNvPr id="66" name="TextBox 65">
            <a:extLst>
              <a:ext uri="{FF2B5EF4-FFF2-40B4-BE49-F238E27FC236}">
                <a16:creationId xmlns:a16="http://schemas.microsoft.com/office/drawing/2014/main" id="{D42620BC-547F-4EC8-80A5-B2C12772278F}"/>
              </a:ext>
            </a:extLst>
          </p:cNvPr>
          <p:cNvSpPr txBox="1"/>
          <p:nvPr/>
        </p:nvSpPr>
        <p:spPr>
          <a:xfrm>
            <a:off x="2849312" y="4078119"/>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NR</a:t>
            </a:r>
          </a:p>
        </p:txBody>
      </p:sp>
      <p:sp>
        <p:nvSpPr>
          <p:cNvPr id="67" name="Oval 66">
            <a:extLst>
              <a:ext uri="{FF2B5EF4-FFF2-40B4-BE49-F238E27FC236}">
                <a16:creationId xmlns:a16="http://schemas.microsoft.com/office/drawing/2014/main" id="{737066E7-DA0F-40C1-A979-86EE59412DE8}"/>
              </a:ext>
            </a:extLst>
          </p:cNvPr>
          <p:cNvSpPr/>
          <p:nvPr/>
        </p:nvSpPr>
        <p:spPr bwMode="auto">
          <a:xfrm>
            <a:off x="614478" y="3732042"/>
            <a:ext cx="1406681" cy="72127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mn-lt"/>
              <a:ea typeface="+mn-ea"/>
              <a:cs typeface="+mn-cs"/>
            </a:endParaRPr>
          </a:p>
        </p:txBody>
      </p:sp>
      <p:sp>
        <p:nvSpPr>
          <p:cNvPr id="68" name="Freeform 3">
            <a:extLst>
              <a:ext uri="{FF2B5EF4-FFF2-40B4-BE49-F238E27FC236}">
                <a16:creationId xmlns:a16="http://schemas.microsoft.com/office/drawing/2014/main" id="{E943A473-DA60-4F7B-9994-694CFAA1232E}"/>
              </a:ext>
            </a:extLst>
          </p:cNvPr>
          <p:cNvSpPr>
            <a:spLocks noChangeAspect="1" noEditPoints="1"/>
          </p:cNvSpPr>
          <p:nvPr/>
        </p:nvSpPr>
        <p:spPr bwMode="auto">
          <a:xfrm>
            <a:off x="1005242" y="3241908"/>
            <a:ext cx="635398" cy="83833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69" name="TextBox 68">
            <a:extLst>
              <a:ext uri="{FF2B5EF4-FFF2-40B4-BE49-F238E27FC236}">
                <a16:creationId xmlns:a16="http://schemas.microsoft.com/office/drawing/2014/main" id="{205B3FA5-6675-4389-B75A-9F2AEA843513}"/>
              </a:ext>
            </a:extLst>
          </p:cNvPr>
          <p:cNvSpPr txBox="1"/>
          <p:nvPr/>
        </p:nvSpPr>
        <p:spPr>
          <a:xfrm>
            <a:off x="1075359" y="4078119"/>
            <a:ext cx="4667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70" name="Freeform 3">
            <a:extLst>
              <a:ext uri="{FF2B5EF4-FFF2-40B4-BE49-F238E27FC236}">
                <a16:creationId xmlns:a16="http://schemas.microsoft.com/office/drawing/2014/main" id="{B0C82FFC-1DE7-4A78-9641-24E55FD87496}"/>
              </a:ext>
            </a:extLst>
          </p:cNvPr>
          <p:cNvSpPr>
            <a:spLocks noChangeAspect="1" noEditPoints="1"/>
          </p:cNvSpPr>
          <p:nvPr/>
        </p:nvSpPr>
        <p:spPr bwMode="auto">
          <a:xfrm>
            <a:off x="2738720" y="3241909"/>
            <a:ext cx="635398" cy="83833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cxnSp>
        <p:nvCxnSpPr>
          <p:cNvPr id="76" name="Straight Connector 75">
            <a:extLst>
              <a:ext uri="{FF2B5EF4-FFF2-40B4-BE49-F238E27FC236}">
                <a16:creationId xmlns:a16="http://schemas.microsoft.com/office/drawing/2014/main" id="{1F488889-0714-4363-B749-1787B454B641}"/>
              </a:ext>
            </a:extLst>
          </p:cNvPr>
          <p:cNvCxnSpPr>
            <a:cxnSpLocks/>
            <a:stCxn id="69" idx="0"/>
            <a:endCxn id="66" idx="0"/>
          </p:cNvCxnSpPr>
          <p:nvPr/>
        </p:nvCxnSpPr>
        <p:spPr bwMode="auto">
          <a:xfrm>
            <a:off x="1308756" y="4078119"/>
            <a:ext cx="1743496"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78" name="TextBox 77">
            <a:extLst>
              <a:ext uri="{FF2B5EF4-FFF2-40B4-BE49-F238E27FC236}">
                <a16:creationId xmlns:a16="http://schemas.microsoft.com/office/drawing/2014/main" id="{5741A92F-11D0-4268-9691-C5F46EF4875C}"/>
              </a:ext>
            </a:extLst>
          </p:cNvPr>
          <p:cNvSpPr txBox="1"/>
          <p:nvPr/>
        </p:nvSpPr>
        <p:spPr>
          <a:xfrm rot="18953134">
            <a:off x="1866412" y="3301966"/>
            <a:ext cx="52290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U</a:t>
            </a:r>
          </a:p>
        </p:txBody>
      </p:sp>
      <p:sp>
        <p:nvSpPr>
          <p:cNvPr id="79" name="TextBox 78">
            <a:extLst>
              <a:ext uri="{FF2B5EF4-FFF2-40B4-BE49-F238E27FC236}">
                <a16:creationId xmlns:a16="http://schemas.microsoft.com/office/drawing/2014/main" id="{8F9B2C86-E801-4AE8-9501-AE78CB073ABF}"/>
              </a:ext>
            </a:extLst>
          </p:cNvPr>
          <p:cNvSpPr txBox="1"/>
          <p:nvPr/>
        </p:nvSpPr>
        <p:spPr>
          <a:xfrm rot="18032023">
            <a:off x="1580994" y="3185575"/>
            <a:ext cx="52290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C</a:t>
            </a:r>
          </a:p>
        </p:txBody>
      </p:sp>
      <p:sp>
        <p:nvSpPr>
          <p:cNvPr id="81" name="Oval 80">
            <a:extLst>
              <a:ext uri="{FF2B5EF4-FFF2-40B4-BE49-F238E27FC236}">
                <a16:creationId xmlns:a16="http://schemas.microsoft.com/office/drawing/2014/main" id="{622DDB1A-A03A-4205-A88F-2B8823F46A0C}"/>
              </a:ext>
            </a:extLst>
          </p:cNvPr>
          <p:cNvSpPr/>
          <p:nvPr/>
        </p:nvSpPr>
        <p:spPr bwMode="auto">
          <a:xfrm>
            <a:off x="6103293" y="3751633"/>
            <a:ext cx="1440410" cy="739819"/>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mn-lt"/>
              <a:ea typeface="+mn-ea"/>
              <a:cs typeface="+mn-cs"/>
            </a:endParaRPr>
          </a:p>
        </p:txBody>
      </p:sp>
      <p:sp>
        <p:nvSpPr>
          <p:cNvPr id="82" name="TextBox 81">
            <a:extLst>
              <a:ext uri="{FF2B5EF4-FFF2-40B4-BE49-F238E27FC236}">
                <a16:creationId xmlns:a16="http://schemas.microsoft.com/office/drawing/2014/main" id="{19FF018D-2C74-4ACB-B92B-9BCA6EFA227D}"/>
              </a:ext>
            </a:extLst>
          </p:cNvPr>
          <p:cNvSpPr txBox="1"/>
          <p:nvPr/>
        </p:nvSpPr>
        <p:spPr>
          <a:xfrm>
            <a:off x="6575224" y="4106607"/>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NR</a:t>
            </a:r>
          </a:p>
        </p:txBody>
      </p:sp>
      <p:sp>
        <p:nvSpPr>
          <p:cNvPr id="83" name="Oval 82">
            <a:extLst>
              <a:ext uri="{FF2B5EF4-FFF2-40B4-BE49-F238E27FC236}">
                <a16:creationId xmlns:a16="http://schemas.microsoft.com/office/drawing/2014/main" id="{4FCCF2C4-E4ED-4A7C-8495-582DACD600B4}"/>
              </a:ext>
            </a:extLst>
          </p:cNvPr>
          <p:cNvSpPr/>
          <p:nvPr/>
        </p:nvSpPr>
        <p:spPr bwMode="auto">
          <a:xfrm>
            <a:off x="4312280" y="3751633"/>
            <a:ext cx="1440410" cy="739819"/>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mn-lt"/>
              <a:ea typeface="+mn-ea"/>
              <a:cs typeface="+mn-cs"/>
            </a:endParaRPr>
          </a:p>
        </p:txBody>
      </p:sp>
      <p:sp>
        <p:nvSpPr>
          <p:cNvPr id="84" name="Freeform 3">
            <a:extLst>
              <a:ext uri="{FF2B5EF4-FFF2-40B4-BE49-F238E27FC236}">
                <a16:creationId xmlns:a16="http://schemas.microsoft.com/office/drawing/2014/main" id="{766FD0CE-EDE5-4A2D-B093-18CC11B4B8B2}"/>
              </a:ext>
            </a:extLst>
          </p:cNvPr>
          <p:cNvSpPr>
            <a:spLocks noChangeAspect="1" noEditPoints="1"/>
          </p:cNvSpPr>
          <p:nvPr/>
        </p:nvSpPr>
        <p:spPr bwMode="auto">
          <a:xfrm>
            <a:off x="4712413" y="3248900"/>
            <a:ext cx="650634" cy="85988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85" name="TextBox 84">
            <a:extLst>
              <a:ext uri="{FF2B5EF4-FFF2-40B4-BE49-F238E27FC236}">
                <a16:creationId xmlns:a16="http://schemas.microsoft.com/office/drawing/2014/main" id="{2A4558D4-5EF0-4B6C-9CEA-FB160376E4C3}"/>
              </a:ext>
            </a:extLst>
          </p:cNvPr>
          <p:cNvSpPr txBox="1"/>
          <p:nvPr/>
        </p:nvSpPr>
        <p:spPr>
          <a:xfrm>
            <a:off x="4784212" y="4106607"/>
            <a:ext cx="4667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86" name="Freeform 3">
            <a:extLst>
              <a:ext uri="{FF2B5EF4-FFF2-40B4-BE49-F238E27FC236}">
                <a16:creationId xmlns:a16="http://schemas.microsoft.com/office/drawing/2014/main" id="{6F76FBFD-3709-41EF-A0F1-1865D00AF090}"/>
              </a:ext>
            </a:extLst>
          </p:cNvPr>
          <p:cNvSpPr>
            <a:spLocks noChangeAspect="1" noEditPoints="1"/>
          </p:cNvSpPr>
          <p:nvPr/>
        </p:nvSpPr>
        <p:spPr bwMode="auto">
          <a:xfrm>
            <a:off x="6487457" y="3248901"/>
            <a:ext cx="650634" cy="85988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93" name="TextBox 92">
            <a:extLst>
              <a:ext uri="{FF2B5EF4-FFF2-40B4-BE49-F238E27FC236}">
                <a16:creationId xmlns:a16="http://schemas.microsoft.com/office/drawing/2014/main" id="{E5E51E73-DE00-4869-816B-BB88ADF7ADEB}"/>
              </a:ext>
            </a:extLst>
          </p:cNvPr>
          <p:cNvSpPr txBox="1"/>
          <p:nvPr/>
        </p:nvSpPr>
        <p:spPr>
          <a:xfrm>
            <a:off x="5863341" y="3162474"/>
            <a:ext cx="52290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U</a:t>
            </a:r>
          </a:p>
        </p:txBody>
      </p:sp>
      <p:sp>
        <p:nvSpPr>
          <p:cNvPr id="94" name="TextBox 93">
            <a:extLst>
              <a:ext uri="{FF2B5EF4-FFF2-40B4-BE49-F238E27FC236}">
                <a16:creationId xmlns:a16="http://schemas.microsoft.com/office/drawing/2014/main" id="{D02A0D37-9037-4A62-BBB3-DA4001D362DF}"/>
              </a:ext>
            </a:extLst>
          </p:cNvPr>
          <p:cNvSpPr txBox="1"/>
          <p:nvPr/>
        </p:nvSpPr>
        <p:spPr>
          <a:xfrm rot="18032023">
            <a:off x="5381390" y="3126615"/>
            <a:ext cx="522900" cy="2539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C</a:t>
            </a:r>
          </a:p>
        </p:txBody>
      </p:sp>
      <p:sp>
        <p:nvSpPr>
          <p:cNvPr id="97" name="Oval 96">
            <a:extLst>
              <a:ext uri="{FF2B5EF4-FFF2-40B4-BE49-F238E27FC236}">
                <a16:creationId xmlns:a16="http://schemas.microsoft.com/office/drawing/2014/main" id="{47FA45AC-962A-4A13-9783-269123F3A1B5}"/>
              </a:ext>
            </a:extLst>
          </p:cNvPr>
          <p:cNvSpPr/>
          <p:nvPr/>
        </p:nvSpPr>
        <p:spPr bwMode="auto">
          <a:xfrm>
            <a:off x="9778392" y="3756651"/>
            <a:ext cx="1310122" cy="734920"/>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mn-lt"/>
              <a:ea typeface="+mn-ea"/>
              <a:cs typeface="+mn-cs"/>
            </a:endParaRPr>
          </a:p>
        </p:txBody>
      </p:sp>
      <p:sp>
        <p:nvSpPr>
          <p:cNvPr id="98" name="TextBox 97">
            <a:extLst>
              <a:ext uri="{FF2B5EF4-FFF2-40B4-BE49-F238E27FC236}">
                <a16:creationId xmlns:a16="http://schemas.microsoft.com/office/drawing/2014/main" id="{78946002-5BEB-49F0-A508-0732AFA91666}"/>
              </a:ext>
            </a:extLst>
          </p:cNvPr>
          <p:cNvSpPr txBox="1"/>
          <p:nvPr/>
        </p:nvSpPr>
        <p:spPr>
          <a:xfrm>
            <a:off x="10207636" y="4109274"/>
            <a:ext cx="405880" cy="276999"/>
          </a:xfrm>
          <a:prstGeom prst="rect">
            <a:avLst/>
          </a:prstGeom>
          <a:noFill/>
        </p:spPr>
        <p:txBody>
          <a:bodyPr wrap="none" rtlCol="0">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tx1">
                    <a:lumMod val="50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NR</a:t>
            </a:r>
          </a:p>
        </p:txBody>
      </p:sp>
      <p:sp>
        <p:nvSpPr>
          <p:cNvPr id="99" name="Oval 98">
            <a:extLst>
              <a:ext uri="{FF2B5EF4-FFF2-40B4-BE49-F238E27FC236}">
                <a16:creationId xmlns:a16="http://schemas.microsoft.com/office/drawing/2014/main" id="{EFAE1CFE-BC10-4EE2-8238-D62450317D99}"/>
              </a:ext>
            </a:extLst>
          </p:cNvPr>
          <p:cNvSpPr/>
          <p:nvPr/>
        </p:nvSpPr>
        <p:spPr bwMode="auto">
          <a:xfrm>
            <a:off x="8149381" y="3756651"/>
            <a:ext cx="1310122" cy="734920"/>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mn-lt"/>
              <a:ea typeface="+mn-ea"/>
              <a:cs typeface="+mn-cs"/>
            </a:endParaRPr>
          </a:p>
        </p:txBody>
      </p:sp>
      <p:sp>
        <p:nvSpPr>
          <p:cNvPr id="100" name="Freeform 3">
            <a:extLst>
              <a:ext uri="{FF2B5EF4-FFF2-40B4-BE49-F238E27FC236}">
                <a16:creationId xmlns:a16="http://schemas.microsoft.com/office/drawing/2014/main" id="{02D432A5-3096-4401-849B-A7C2C4D289E4}"/>
              </a:ext>
            </a:extLst>
          </p:cNvPr>
          <p:cNvSpPr>
            <a:spLocks noChangeAspect="1" noEditPoints="1"/>
          </p:cNvSpPr>
          <p:nvPr/>
        </p:nvSpPr>
        <p:spPr bwMode="auto">
          <a:xfrm>
            <a:off x="8513321" y="3257247"/>
            <a:ext cx="591782" cy="854186"/>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01" name="TextBox 100">
            <a:extLst>
              <a:ext uri="{FF2B5EF4-FFF2-40B4-BE49-F238E27FC236}">
                <a16:creationId xmlns:a16="http://schemas.microsoft.com/office/drawing/2014/main" id="{D5BB25EA-F377-457D-8F0B-D1FE69C6A1E3}"/>
              </a:ext>
            </a:extLst>
          </p:cNvPr>
          <p:cNvSpPr txBox="1"/>
          <p:nvPr/>
        </p:nvSpPr>
        <p:spPr>
          <a:xfrm>
            <a:off x="8578625" y="4109274"/>
            <a:ext cx="466794" cy="276999"/>
          </a:xfrm>
          <a:prstGeom prst="rect">
            <a:avLst/>
          </a:prstGeom>
          <a:noFill/>
        </p:spPr>
        <p:txBody>
          <a:bodyPr wrap="none" rtlCol="0">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tx1">
                    <a:lumMod val="50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102" name="Freeform 3">
            <a:extLst>
              <a:ext uri="{FF2B5EF4-FFF2-40B4-BE49-F238E27FC236}">
                <a16:creationId xmlns:a16="http://schemas.microsoft.com/office/drawing/2014/main" id="{A09F0C6E-C361-4F3A-A38D-AAA51303B851}"/>
              </a:ext>
            </a:extLst>
          </p:cNvPr>
          <p:cNvSpPr>
            <a:spLocks noChangeAspect="1" noEditPoints="1"/>
          </p:cNvSpPr>
          <p:nvPr/>
        </p:nvSpPr>
        <p:spPr bwMode="auto">
          <a:xfrm>
            <a:off x="10127808" y="3257248"/>
            <a:ext cx="591782" cy="854186"/>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mn-lt"/>
              <a:ea typeface="+mn-ea"/>
              <a:cs typeface="+mn-cs"/>
            </a:endParaRPr>
          </a:p>
        </p:txBody>
      </p:sp>
      <p:cxnSp>
        <p:nvCxnSpPr>
          <p:cNvPr id="107" name="Straight Connector 106">
            <a:extLst>
              <a:ext uri="{FF2B5EF4-FFF2-40B4-BE49-F238E27FC236}">
                <a16:creationId xmlns:a16="http://schemas.microsoft.com/office/drawing/2014/main" id="{A571EBD7-5C4A-413D-B07F-A2A0527A42C3}"/>
              </a:ext>
            </a:extLst>
          </p:cNvPr>
          <p:cNvCxnSpPr>
            <a:cxnSpLocks/>
            <a:stCxn id="98" idx="0"/>
            <a:endCxn id="101" idx="0"/>
          </p:cNvCxnSpPr>
          <p:nvPr/>
        </p:nvCxnSpPr>
        <p:spPr bwMode="auto">
          <a:xfrm flipH="1">
            <a:off x="8812022" y="4109274"/>
            <a:ext cx="1598554"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09" name="TextBox 108">
            <a:extLst>
              <a:ext uri="{FF2B5EF4-FFF2-40B4-BE49-F238E27FC236}">
                <a16:creationId xmlns:a16="http://schemas.microsoft.com/office/drawing/2014/main" id="{96C918E5-82BC-440E-9820-031739943236}"/>
              </a:ext>
            </a:extLst>
          </p:cNvPr>
          <p:cNvSpPr txBox="1"/>
          <p:nvPr/>
        </p:nvSpPr>
        <p:spPr>
          <a:xfrm rot="4058521">
            <a:off x="9691731" y="3162617"/>
            <a:ext cx="52290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U</a:t>
            </a:r>
          </a:p>
        </p:txBody>
      </p:sp>
      <p:sp>
        <p:nvSpPr>
          <p:cNvPr id="110" name="TextBox 109">
            <a:extLst>
              <a:ext uri="{FF2B5EF4-FFF2-40B4-BE49-F238E27FC236}">
                <a16:creationId xmlns:a16="http://schemas.microsoft.com/office/drawing/2014/main" id="{94687C83-8F03-4DFB-AD51-1412F4CCB71F}"/>
              </a:ext>
            </a:extLst>
          </p:cNvPr>
          <p:cNvSpPr txBox="1"/>
          <p:nvPr/>
        </p:nvSpPr>
        <p:spPr>
          <a:xfrm rot="18032023">
            <a:off x="9098138" y="3134930"/>
            <a:ext cx="522900"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S1’-C</a:t>
            </a:r>
          </a:p>
        </p:txBody>
      </p:sp>
      <p:sp>
        <p:nvSpPr>
          <p:cNvPr id="112" name="Rectangle 111">
            <a:extLst>
              <a:ext uri="{FF2B5EF4-FFF2-40B4-BE49-F238E27FC236}">
                <a16:creationId xmlns:a16="http://schemas.microsoft.com/office/drawing/2014/main" id="{0E02BE13-0E4D-4A34-9583-387562F29C95}"/>
              </a:ext>
            </a:extLst>
          </p:cNvPr>
          <p:cNvSpPr/>
          <p:nvPr/>
        </p:nvSpPr>
        <p:spPr>
          <a:xfrm>
            <a:off x="9002228" y="1487635"/>
            <a:ext cx="106311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mn-lt"/>
                <a:ea typeface="+mn-ea"/>
                <a:cs typeface="+mn-cs"/>
              </a:rPr>
              <a:t>Option 3x</a:t>
            </a:r>
          </a:p>
        </p:txBody>
      </p:sp>
      <p:sp>
        <p:nvSpPr>
          <p:cNvPr id="113" name="Rectangle 112">
            <a:extLst>
              <a:ext uri="{FF2B5EF4-FFF2-40B4-BE49-F238E27FC236}">
                <a16:creationId xmlns:a16="http://schemas.microsoft.com/office/drawing/2014/main" id="{8D107F61-06CE-4EA7-84F5-C9FC20466651}"/>
              </a:ext>
            </a:extLst>
          </p:cNvPr>
          <p:cNvSpPr/>
          <p:nvPr/>
        </p:nvSpPr>
        <p:spPr>
          <a:xfrm>
            <a:off x="5339127" y="1487635"/>
            <a:ext cx="107433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mn-lt"/>
                <a:ea typeface="+mn-ea"/>
                <a:cs typeface="+mn-cs"/>
              </a:rPr>
              <a:t>Option 3a</a:t>
            </a:r>
          </a:p>
        </p:txBody>
      </p:sp>
      <p:sp>
        <p:nvSpPr>
          <p:cNvPr id="114" name="Rectangle 113">
            <a:extLst>
              <a:ext uri="{FF2B5EF4-FFF2-40B4-BE49-F238E27FC236}">
                <a16:creationId xmlns:a16="http://schemas.microsoft.com/office/drawing/2014/main" id="{1C4CDACE-12B1-4028-AB35-A5AA24AE97EC}"/>
              </a:ext>
            </a:extLst>
          </p:cNvPr>
          <p:cNvSpPr/>
          <p:nvPr/>
        </p:nvSpPr>
        <p:spPr>
          <a:xfrm>
            <a:off x="1665735" y="1487635"/>
            <a:ext cx="960519"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mn-lt"/>
                <a:ea typeface="+mn-ea"/>
                <a:cs typeface="+mn-cs"/>
              </a:rPr>
              <a:t>Option 3</a:t>
            </a:r>
          </a:p>
        </p:txBody>
      </p:sp>
      <p:sp>
        <p:nvSpPr>
          <p:cNvPr id="115" name="TextBox 114">
            <a:extLst>
              <a:ext uri="{FF2B5EF4-FFF2-40B4-BE49-F238E27FC236}">
                <a16:creationId xmlns:a16="http://schemas.microsoft.com/office/drawing/2014/main" id="{A482CC52-F971-4161-AC84-DD91AF20C6B4}"/>
              </a:ext>
            </a:extLst>
          </p:cNvPr>
          <p:cNvSpPr txBox="1"/>
          <p:nvPr/>
        </p:nvSpPr>
        <p:spPr>
          <a:xfrm>
            <a:off x="647322" y="4669597"/>
            <a:ext cx="3406518" cy="938719"/>
          </a:xfrm>
          <a:prstGeom prst="rect">
            <a:avLst/>
          </a:prstGeom>
          <a:noFill/>
          <a:ln>
            <a:solidFill>
              <a:schemeClr val="bg1"/>
            </a:solidFill>
          </a:ln>
        </p:spPr>
        <p:txBody>
          <a:bodyPr wrap="square" rtlCol="0">
            <a:spAutoFit/>
          </a:bodyPr>
          <a:lstStyle/>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S1’-C always to LTE </a:t>
            </a:r>
            <a:r>
              <a:rPr lang="en-US" sz="1100" kern="0" err="1">
                <a:solidFill>
                  <a:srgbClr val="FFFFFF"/>
                </a:solidFill>
                <a:latin typeface="+mn-lt"/>
              </a:rPr>
              <a:t>eNB</a:t>
            </a:r>
            <a:endParaRPr lang="en-US" sz="1100" kern="0">
              <a:solidFill>
                <a:srgbClr val="FFFFFF"/>
              </a:solidFill>
              <a:latin typeface="+mn-lt"/>
            </a:endParaRPr>
          </a:p>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S1’-U terminates on LTE </a:t>
            </a:r>
            <a:r>
              <a:rPr lang="en-US" sz="1100" kern="0" err="1">
                <a:solidFill>
                  <a:srgbClr val="FFFFFF"/>
                </a:solidFill>
                <a:latin typeface="+mn-lt"/>
              </a:rPr>
              <a:t>eNB</a:t>
            </a:r>
            <a:endParaRPr lang="en-US" sz="1100" kern="0">
              <a:solidFill>
                <a:srgbClr val="FFFFFF"/>
              </a:solidFill>
              <a:latin typeface="+mn-lt"/>
            </a:endParaRPr>
          </a:p>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LTE </a:t>
            </a:r>
            <a:r>
              <a:rPr lang="en-US" sz="1100" kern="0" err="1">
                <a:solidFill>
                  <a:srgbClr val="FFFFFF"/>
                </a:solidFill>
                <a:latin typeface="+mn-lt"/>
              </a:rPr>
              <a:t>eNB</a:t>
            </a:r>
            <a:r>
              <a:rPr lang="en-US" sz="1100" kern="0">
                <a:solidFill>
                  <a:srgbClr val="FFFFFF"/>
                </a:solidFill>
                <a:latin typeface="+mn-lt"/>
              </a:rPr>
              <a:t> decides if UP traffic is routed via NR </a:t>
            </a:r>
            <a:r>
              <a:rPr lang="en-US" sz="1100" kern="0" err="1">
                <a:solidFill>
                  <a:srgbClr val="FFFFFF"/>
                </a:solidFill>
                <a:latin typeface="+mn-lt"/>
              </a:rPr>
              <a:t>gNB</a:t>
            </a:r>
            <a:r>
              <a:rPr lang="en-US" sz="1100" kern="0">
                <a:solidFill>
                  <a:srgbClr val="FFFFFF"/>
                </a:solidFill>
                <a:latin typeface="+mn-lt"/>
              </a:rPr>
              <a:t> and/or LTE </a:t>
            </a:r>
            <a:r>
              <a:rPr lang="en-US" sz="1100" kern="0" err="1">
                <a:solidFill>
                  <a:srgbClr val="FFFFFF"/>
                </a:solidFill>
                <a:latin typeface="+mn-lt"/>
              </a:rPr>
              <a:t>eNB</a:t>
            </a:r>
            <a:r>
              <a:rPr lang="en-US" sz="1100" kern="0">
                <a:solidFill>
                  <a:srgbClr val="FFFFFF"/>
                </a:solidFill>
                <a:latin typeface="+mn-lt"/>
              </a:rPr>
              <a:t> (split bearer in LTE </a:t>
            </a:r>
            <a:r>
              <a:rPr lang="en-US" sz="1100" kern="0" err="1">
                <a:solidFill>
                  <a:srgbClr val="FFFFFF"/>
                </a:solidFill>
                <a:latin typeface="+mn-lt"/>
              </a:rPr>
              <a:t>eNB</a:t>
            </a:r>
            <a:r>
              <a:rPr lang="en-US" sz="1100" kern="0">
                <a:solidFill>
                  <a:srgbClr val="FFFFFF"/>
                </a:solidFill>
                <a:latin typeface="+mn-lt"/>
              </a:rPr>
              <a:t>/MCG)</a:t>
            </a:r>
          </a:p>
        </p:txBody>
      </p:sp>
      <p:sp>
        <p:nvSpPr>
          <p:cNvPr id="116" name="TextBox 115">
            <a:extLst>
              <a:ext uri="{FF2B5EF4-FFF2-40B4-BE49-F238E27FC236}">
                <a16:creationId xmlns:a16="http://schemas.microsoft.com/office/drawing/2014/main" id="{FDD91640-8ADA-42A5-A41F-A950ADC83D9D}"/>
              </a:ext>
            </a:extLst>
          </p:cNvPr>
          <p:cNvSpPr txBox="1"/>
          <p:nvPr/>
        </p:nvSpPr>
        <p:spPr>
          <a:xfrm>
            <a:off x="8238461" y="4686440"/>
            <a:ext cx="3103736" cy="938719"/>
          </a:xfrm>
          <a:prstGeom prst="rect">
            <a:avLst/>
          </a:prstGeom>
          <a:noFill/>
          <a:ln>
            <a:solidFill>
              <a:schemeClr val="bg1"/>
            </a:solidFill>
          </a:ln>
        </p:spPr>
        <p:txBody>
          <a:bodyPr wrap="square" rtlCol="0">
            <a:spAutoFit/>
          </a:bodyPr>
          <a:lstStyle/>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S1’-C always to LTE </a:t>
            </a:r>
            <a:r>
              <a:rPr lang="en-US" sz="1100" kern="0" err="1">
                <a:solidFill>
                  <a:srgbClr val="FFFFFF"/>
                </a:solidFill>
                <a:latin typeface="+mn-lt"/>
              </a:rPr>
              <a:t>eNB</a:t>
            </a:r>
            <a:endParaRPr lang="en-US" sz="1100" kern="0">
              <a:solidFill>
                <a:srgbClr val="FFFFFF"/>
              </a:solidFill>
              <a:latin typeface="+mn-lt"/>
            </a:endParaRPr>
          </a:p>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S1’-U terminates on NR </a:t>
            </a:r>
            <a:r>
              <a:rPr lang="en-US" sz="1100" kern="0" err="1">
                <a:solidFill>
                  <a:srgbClr val="FFFFFF"/>
                </a:solidFill>
                <a:latin typeface="+mn-lt"/>
              </a:rPr>
              <a:t>gNB</a:t>
            </a:r>
            <a:endParaRPr lang="en-US" sz="1100" kern="0">
              <a:solidFill>
                <a:srgbClr val="FFFFFF"/>
              </a:solidFill>
              <a:latin typeface="+mn-lt"/>
            </a:endParaRPr>
          </a:p>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NR </a:t>
            </a:r>
            <a:r>
              <a:rPr lang="en-US" sz="1100" kern="0" err="1">
                <a:solidFill>
                  <a:srgbClr val="FFFFFF"/>
                </a:solidFill>
                <a:latin typeface="+mn-lt"/>
              </a:rPr>
              <a:t>gNB</a:t>
            </a:r>
            <a:r>
              <a:rPr lang="en-US" sz="1100" kern="0">
                <a:solidFill>
                  <a:srgbClr val="FFFFFF"/>
                </a:solidFill>
                <a:latin typeface="+mn-lt"/>
              </a:rPr>
              <a:t> decides if UP traffic is routed via NR </a:t>
            </a:r>
            <a:r>
              <a:rPr lang="en-US" sz="1100" kern="0" err="1">
                <a:solidFill>
                  <a:srgbClr val="FFFFFF"/>
                </a:solidFill>
                <a:latin typeface="+mn-lt"/>
              </a:rPr>
              <a:t>gNB</a:t>
            </a:r>
            <a:r>
              <a:rPr lang="en-US" sz="1100" kern="0">
                <a:solidFill>
                  <a:srgbClr val="FFFFFF"/>
                </a:solidFill>
                <a:latin typeface="+mn-lt"/>
              </a:rPr>
              <a:t> and/or LTE </a:t>
            </a:r>
            <a:r>
              <a:rPr lang="en-US" sz="1100" kern="0" err="1">
                <a:solidFill>
                  <a:srgbClr val="FFFFFF"/>
                </a:solidFill>
                <a:latin typeface="+mn-lt"/>
              </a:rPr>
              <a:t>eNB</a:t>
            </a:r>
            <a:r>
              <a:rPr lang="en-US" sz="1100" kern="0">
                <a:solidFill>
                  <a:srgbClr val="FFFFFF"/>
                </a:solidFill>
                <a:latin typeface="+mn-lt"/>
              </a:rPr>
              <a:t> (split bearer in NR </a:t>
            </a:r>
            <a:r>
              <a:rPr lang="en-US" sz="1100" kern="0" err="1">
                <a:solidFill>
                  <a:srgbClr val="FFFFFF"/>
                </a:solidFill>
                <a:latin typeface="+mn-lt"/>
              </a:rPr>
              <a:t>gNB</a:t>
            </a:r>
            <a:r>
              <a:rPr lang="en-US" sz="1100" kern="0">
                <a:solidFill>
                  <a:srgbClr val="FFFFFF"/>
                </a:solidFill>
                <a:latin typeface="+mn-lt"/>
              </a:rPr>
              <a:t>/SCG</a:t>
            </a:r>
            <a:endParaRPr kumimoji="0" lang="en-US" sz="1100" b="0" i="0" u="none" strike="noStrike" kern="0" cap="none" spc="0" normalizeH="0" baseline="0" noProof="0">
              <a:ln>
                <a:noFill/>
              </a:ln>
              <a:solidFill>
                <a:srgbClr val="FFFFFF"/>
              </a:solidFill>
              <a:effectLst/>
              <a:uLnTx/>
              <a:uFillTx/>
              <a:latin typeface="+mn-lt"/>
              <a:ea typeface="+mn-ea"/>
              <a:cs typeface="+mn-cs"/>
            </a:endParaRPr>
          </a:p>
        </p:txBody>
      </p:sp>
      <p:sp>
        <p:nvSpPr>
          <p:cNvPr id="117" name="TextBox 116">
            <a:extLst>
              <a:ext uri="{FF2B5EF4-FFF2-40B4-BE49-F238E27FC236}">
                <a16:creationId xmlns:a16="http://schemas.microsoft.com/office/drawing/2014/main" id="{0E0BA9AC-75AD-47C0-BC7E-C22BBC582618}"/>
              </a:ext>
            </a:extLst>
          </p:cNvPr>
          <p:cNvSpPr txBox="1"/>
          <p:nvPr/>
        </p:nvSpPr>
        <p:spPr>
          <a:xfrm>
            <a:off x="4442891" y="4661524"/>
            <a:ext cx="3100812" cy="769441"/>
          </a:xfrm>
          <a:prstGeom prst="rect">
            <a:avLst/>
          </a:prstGeom>
          <a:noFill/>
          <a:ln>
            <a:solidFill>
              <a:schemeClr val="bg1"/>
            </a:solidFill>
          </a:ln>
        </p:spPr>
        <p:txBody>
          <a:bodyPr wrap="square" rtlCol="0">
            <a:spAutoFit/>
          </a:bodyPr>
          <a:lstStyle/>
          <a:p>
            <a:pPr marL="180975" lvl="0" indent="-180975" fontAlgn="auto">
              <a:spcBef>
                <a:spcPts val="0"/>
              </a:spcBef>
              <a:spcAft>
                <a:spcPts val="0"/>
              </a:spcAft>
              <a:buFont typeface="Arial" panose="020B0604020202020204" pitchFamily="34" charset="0"/>
              <a:buChar char="•"/>
              <a:defRPr/>
            </a:pPr>
            <a:r>
              <a:rPr lang="en-US" sz="1100" kern="0">
                <a:solidFill>
                  <a:srgbClr val="FFFFFF"/>
                </a:solidFill>
                <a:latin typeface="+mn-lt"/>
              </a:rPr>
              <a:t>S1’-C always to LTE </a:t>
            </a:r>
            <a:r>
              <a:rPr lang="en-US" sz="1100" kern="0" err="1">
                <a:solidFill>
                  <a:srgbClr val="FFFFFF"/>
                </a:solidFill>
                <a:latin typeface="+mn-lt"/>
              </a:rPr>
              <a:t>eNB</a:t>
            </a:r>
            <a:endParaRPr lang="en-US" sz="1100" kern="0">
              <a:solidFill>
                <a:srgbClr val="FFFFFF"/>
              </a:solidFill>
              <a:latin typeface="+mn-lt"/>
            </a:endParaRPr>
          </a:p>
          <a:p>
            <a:pPr marL="180975" lvl="0" indent="-180975" fontAlgn="auto">
              <a:spcBef>
                <a:spcPts val="0"/>
              </a:spcBef>
              <a:spcAft>
                <a:spcPts val="0"/>
              </a:spcAft>
              <a:buFont typeface="Arial" panose="020B0604020202020204" pitchFamily="34" charset="0"/>
              <a:buChar char="•"/>
              <a:defRPr/>
            </a:pPr>
            <a:r>
              <a:rPr lang="en-US" sz="1100" kern="0">
                <a:solidFill>
                  <a:schemeClr val="bg1"/>
                </a:solidFill>
                <a:latin typeface="+mn-lt"/>
              </a:rPr>
              <a:t>S1’-U terminates on NR </a:t>
            </a:r>
            <a:r>
              <a:rPr lang="en-US" sz="1100" kern="0" err="1">
                <a:solidFill>
                  <a:schemeClr val="bg1"/>
                </a:solidFill>
                <a:latin typeface="+mn-lt"/>
              </a:rPr>
              <a:t>gNB</a:t>
            </a:r>
            <a:endParaRPr lang="en-US" sz="1100" kern="0">
              <a:solidFill>
                <a:schemeClr val="bg1"/>
              </a:solidFill>
              <a:latin typeface="+mn-lt"/>
            </a:endParaRPr>
          </a:p>
          <a:p>
            <a:pPr marL="180975" lvl="0" indent="-180975" fontAlgn="auto">
              <a:spcBef>
                <a:spcPts val="0"/>
              </a:spcBef>
              <a:spcAft>
                <a:spcPts val="0"/>
              </a:spcAft>
              <a:buFont typeface="Arial" panose="020B0604020202020204" pitchFamily="34" charset="0"/>
              <a:buChar char="•"/>
              <a:defRPr/>
            </a:pPr>
            <a:r>
              <a:rPr lang="sv-SE" sz="1100" err="1">
                <a:solidFill>
                  <a:schemeClr val="bg1"/>
                </a:solidFill>
                <a:latin typeface="+mn-lt"/>
              </a:rPr>
              <a:t>Only</a:t>
            </a:r>
            <a:r>
              <a:rPr lang="sv-SE" sz="1100">
                <a:solidFill>
                  <a:schemeClr val="bg1"/>
                </a:solidFill>
                <a:latin typeface="+mn-lt"/>
              </a:rPr>
              <a:t> NR UP tunnel </a:t>
            </a:r>
            <a:r>
              <a:rPr lang="sv-SE" sz="1100" err="1">
                <a:solidFill>
                  <a:schemeClr val="bg1"/>
                </a:solidFill>
                <a:latin typeface="+mn-lt"/>
              </a:rPr>
              <a:t>towards</a:t>
            </a:r>
            <a:r>
              <a:rPr lang="sv-SE" sz="1100">
                <a:solidFill>
                  <a:schemeClr val="bg1"/>
                </a:solidFill>
                <a:latin typeface="+mn-lt"/>
              </a:rPr>
              <a:t> EPC from NR </a:t>
            </a:r>
            <a:r>
              <a:rPr lang="sv-SE" sz="1100" err="1">
                <a:solidFill>
                  <a:schemeClr val="bg1"/>
                </a:solidFill>
                <a:latin typeface="+mn-lt"/>
              </a:rPr>
              <a:t>gNB</a:t>
            </a:r>
            <a:r>
              <a:rPr lang="sv-SE" sz="1100">
                <a:solidFill>
                  <a:schemeClr val="bg1"/>
                </a:solidFill>
                <a:latin typeface="+mn-lt"/>
              </a:rPr>
              <a:t>,  </a:t>
            </a:r>
            <a:r>
              <a:rPr lang="sv-SE" sz="1100" u="sng">
                <a:solidFill>
                  <a:schemeClr val="bg1"/>
                </a:solidFill>
                <a:latin typeface="+mn-lt"/>
              </a:rPr>
              <a:t>or</a:t>
            </a:r>
            <a:r>
              <a:rPr lang="sv-SE" sz="1100">
                <a:solidFill>
                  <a:schemeClr val="bg1"/>
                </a:solidFill>
                <a:latin typeface="+mn-lt"/>
              </a:rPr>
              <a:t> </a:t>
            </a:r>
            <a:r>
              <a:rPr lang="en-US" sz="1100">
                <a:solidFill>
                  <a:schemeClr val="bg1"/>
                </a:solidFill>
                <a:latin typeface="+mn-lt"/>
              </a:rPr>
              <a:t>LTE UP tunnel towards EPC</a:t>
            </a:r>
            <a:endParaRPr lang="en-US" sz="1100" kern="0">
              <a:solidFill>
                <a:schemeClr val="bg1"/>
              </a:solidFill>
              <a:latin typeface="+mn-lt"/>
            </a:endParaRPr>
          </a:p>
        </p:txBody>
      </p:sp>
      <p:grpSp>
        <p:nvGrpSpPr>
          <p:cNvPr id="138" name="Group 137">
            <a:extLst>
              <a:ext uri="{FF2B5EF4-FFF2-40B4-BE49-F238E27FC236}">
                <a16:creationId xmlns:a16="http://schemas.microsoft.com/office/drawing/2014/main" id="{B3D76503-9C8A-41E9-9624-E8F8531F7265}"/>
              </a:ext>
            </a:extLst>
          </p:cNvPr>
          <p:cNvGrpSpPr/>
          <p:nvPr/>
        </p:nvGrpSpPr>
        <p:grpSpPr>
          <a:xfrm>
            <a:off x="1404176" y="2324368"/>
            <a:ext cx="1508780" cy="722485"/>
            <a:chOff x="1416616" y="2456593"/>
            <a:chExt cx="1508780" cy="722485"/>
          </a:xfrm>
        </p:grpSpPr>
        <p:grpSp>
          <p:nvGrpSpPr>
            <p:cNvPr id="126" name="Group 125">
              <a:extLst>
                <a:ext uri="{FF2B5EF4-FFF2-40B4-BE49-F238E27FC236}">
                  <a16:creationId xmlns:a16="http://schemas.microsoft.com/office/drawing/2014/main" id="{1C93DBAA-35A7-4AD8-96AF-2CBEFA361E7B}"/>
                </a:ext>
              </a:extLst>
            </p:cNvPr>
            <p:cNvGrpSpPr/>
            <p:nvPr/>
          </p:nvGrpSpPr>
          <p:grpSpPr>
            <a:xfrm>
              <a:off x="1416616" y="2456593"/>
              <a:ext cx="1508780" cy="722485"/>
              <a:chOff x="8582882" y="167662"/>
              <a:chExt cx="796584" cy="295959"/>
            </a:xfrm>
          </p:grpSpPr>
          <p:sp>
            <p:nvSpPr>
              <p:cNvPr id="132" name="AutoShape 15" descr="bpct-blend1">
                <a:extLst>
                  <a:ext uri="{FF2B5EF4-FFF2-40B4-BE49-F238E27FC236}">
                    <a16:creationId xmlns:a16="http://schemas.microsoft.com/office/drawing/2014/main" id="{F4516598-167D-4985-B08D-2B8D5D1EA68E}"/>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mn-lt"/>
                  <a:ea typeface="+mn-ea"/>
                  <a:cs typeface="+mn-cs"/>
                </a:endParaRPr>
              </a:p>
            </p:txBody>
          </p:sp>
          <p:sp>
            <p:nvSpPr>
              <p:cNvPr id="133" name="Rectangle 36">
                <a:extLst>
                  <a:ext uri="{FF2B5EF4-FFF2-40B4-BE49-F238E27FC236}">
                    <a16:creationId xmlns:a16="http://schemas.microsoft.com/office/drawing/2014/main" id="{9784F840-4166-44A2-843D-7678BF866C38}"/>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mn-lt"/>
                    <a:ea typeface="+mn-ea"/>
                    <a:cs typeface="+mn-cs"/>
                  </a:rPr>
                  <a:t>5G EPC</a:t>
                </a:r>
              </a:p>
            </p:txBody>
          </p:sp>
        </p:grpSp>
        <p:sp>
          <p:nvSpPr>
            <p:cNvPr id="72" name="Rectangle: Rounded Corners 71">
              <a:extLst>
                <a:ext uri="{FF2B5EF4-FFF2-40B4-BE49-F238E27FC236}">
                  <a16:creationId xmlns:a16="http://schemas.microsoft.com/office/drawing/2014/main" id="{3E864AC5-A547-485C-9317-497DA8D37C92}"/>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MME</a:t>
              </a:r>
            </a:p>
          </p:txBody>
        </p:sp>
        <p:sp>
          <p:nvSpPr>
            <p:cNvPr id="73" name="Rectangle: Rounded Corners 72">
              <a:extLst>
                <a:ext uri="{FF2B5EF4-FFF2-40B4-BE49-F238E27FC236}">
                  <a16:creationId xmlns:a16="http://schemas.microsoft.com/office/drawing/2014/main" id="{AB8D0086-C016-468C-8466-1D5A38148A75}"/>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SGW</a:t>
              </a:r>
            </a:p>
          </p:txBody>
        </p:sp>
      </p:grpSp>
      <p:sp>
        <p:nvSpPr>
          <p:cNvPr id="134" name="TextBox 133">
            <a:extLst>
              <a:ext uri="{FF2B5EF4-FFF2-40B4-BE49-F238E27FC236}">
                <a16:creationId xmlns:a16="http://schemas.microsoft.com/office/drawing/2014/main" id="{BA4818D3-56EF-4729-9D60-1CB2F54D0311}"/>
              </a:ext>
            </a:extLst>
          </p:cNvPr>
          <p:cNvSpPr txBox="1"/>
          <p:nvPr/>
        </p:nvSpPr>
        <p:spPr>
          <a:xfrm>
            <a:off x="2010369" y="3845341"/>
            <a:ext cx="38023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X2’</a:t>
            </a:r>
          </a:p>
        </p:txBody>
      </p:sp>
      <p:sp>
        <p:nvSpPr>
          <p:cNvPr id="136" name="Rectangle 135">
            <a:extLst>
              <a:ext uri="{FF2B5EF4-FFF2-40B4-BE49-F238E27FC236}">
                <a16:creationId xmlns:a16="http://schemas.microsoft.com/office/drawing/2014/main" id="{1E215DC2-8BD3-40E1-BD9D-6D9210C96B45}"/>
              </a:ext>
            </a:extLst>
          </p:cNvPr>
          <p:cNvSpPr/>
          <p:nvPr/>
        </p:nvSpPr>
        <p:spPr>
          <a:xfrm>
            <a:off x="38231" y="1541757"/>
            <a:ext cx="1297150" cy="261610"/>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n-lt"/>
                <a:ea typeface="+mn-ea"/>
                <a:cs typeface="+mn-cs"/>
              </a:rPr>
              <a:t>3GPP TR 38.801 </a:t>
            </a:r>
          </a:p>
        </p:txBody>
      </p:sp>
      <p:sp>
        <p:nvSpPr>
          <p:cNvPr id="137" name="Rectangle 136">
            <a:extLst>
              <a:ext uri="{FF2B5EF4-FFF2-40B4-BE49-F238E27FC236}">
                <a16:creationId xmlns:a16="http://schemas.microsoft.com/office/drawing/2014/main" id="{2EA1F072-C4D4-4032-A16C-85158A7FC2FA}"/>
              </a:ext>
            </a:extLst>
          </p:cNvPr>
          <p:cNvSpPr/>
          <p:nvPr/>
        </p:nvSpPr>
        <p:spPr>
          <a:xfrm>
            <a:off x="38231" y="1986408"/>
            <a:ext cx="1202573" cy="253916"/>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3GPP TS </a:t>
            </a:r>
            <a:r>
              <a:rPr kumimoji="0" lang="en-US" sz="1050" b="0" i="0" u="none" strike="noStrike" kern="1200" cap="none" spc="0" normalizeH="0" baseline="0" noProof="0">
                <a:ln>
                  <a:noFill/>
                </a:ln>
                <a:solidFill>
                  <a:schemeClr val="bg1"/>
                </a:solidFill>
                <a:effectLst/>
                <a:uLnTx/>
                <a:uFillTx/>
                <a:latin typeface="+mn-lt"/>
                <a:ea typeface="+mn-ea"/>
                <a:cs typeface="+mn-cs"/>
              </a:rPr>
              <a:t>37.340</a:t>
            </a:r>
          </a:p>
        </p:txBody>
      </p:sp>
      <p:grpSp>
        <p:nvGrpSpPr>
          <p:cNvPr id="139" name="Group 138">
            <a:extLst>
              <a:ext uri="{FF2B5EF4-FFF2-40B4-BE49-F238E27FC236}">
                <a16:creationId xmlns:a16="http://schemas.microsoft.com/office/drawing/2014/main" id="{C9B3E204-E42A-440F-AD93-DA00B58202BB}"/>
              </a:ext>
            </a:extLst>
          </p:cNvPr>
          <p:cNvGrpSpPr/>
          <p:nvPr/>
        </p:nvGrpSpPr>
        <p:grpSpPr>
          <a:xfrm>
            <a:off x="5138388" y="2324368"/>
            <a:ext cx="1508780" cy="722485"/>
            <a:chOff x="1416616" y="2456593"/>
            <a:chExt cx="1508780" cy="722485"/>
          </a:xfrm>
        </p:grpSpPr>
        <p:grpSp>
          <p:nvGrpSpPr>
            <p:cNvPr id="140" name="Group 139">
              <a:extLst>
                <a:ext uri="{FF2B5EF4-FFF2-40B4-BE49-F238E27FC236}">
                  <a16:creationId xmlns:a16="http://schemas.microsoft.com/office/drawing/2014/main" id="{86190D09-E2A0-48AF-BAE5-728F32D08DB1}"/>
                </a:ext>
              </a:extLst>
            </p:cNvPr>
            <p:cNvGrpSpPr/>
            <p:nvPr/>
          </p:nvGrpSpPr>
          <p:grpSpPr>
            <a:xfrm>
              <a:off x="1416616" y="2456593"/>
              <a:ext cx="1508780" cy="722485"/>
              <a:chOff x="8582882" y="167662"/>
              <a:chExt cx="796584" cy="295959"/>
            </a:xfrm>
          </p:grpSpPr>
          <p:sp>
            <p:nvSpPr>
              <p:cNvPr id="143" name="AutoShape 15" descr="bpct-blend1">
                <a:extLst>
                  <a:ext uri="{FF2B5EF4-FFF2-40B4-BE49-F238E27FC236}">
                    <a16:creationId xmlns:a16="http://schemas.microsoft.com/office/drawing/2014/main" id="{30E3DFBD-4023-40C8-8BF1-CE219FBCAF61}"/>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mn-lt"/>
                  <a:ea typeface="+mn-ea"/>
                  <a:cs typeface="+mn-cs"/>
                </a:endParaRPr>
              </a:p>
            </p:txBody>
          </p:sp>
          <p:sp>
            <p:nvSpPr>
              <p:cNvPr id="144" name="Rectangle 36">
                <a:extLst>
                  <a:ext uri="{FF2B5EF4-FFF2-40B4-BE49-F238E27FC236}">
                    <a16:creationId xmlns:a16="http://schemas.microsoft.com/office/drawing/2014/main" id="{DBFD2C36-5783-4027-82AA-1B9F5403F488}"/>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mn-lt"/>
                    <a:ea typeface="+mn-ea"/>
                    <a:cs typeface="+mn-cs"/>
                  </a:rPr>
                  <a:t>5G EPC</a:t>
                </a:r>
              </a:p>
            </p:txBody>
          </p:sp>
        </p:grpSp>
        <p:sp>
          <p:nvSpPr>
            <p:cNvPr id="141" name="Rectangle: Rounded Corners 140">
              <a:extLst>
                <a:ext uri="{FF2B5EF4-FFF2-40B4-BE49-F238E27FC236}">
                  <a16:creationId xmlns:a16="http://schemas.microsoft.com/office/drawing/2014/main" id="{8609A343-9BB9-423E-B923-63627A75F876}"/>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MME</a:t>
              </a:r>
            </a:p>
          </p:txBody>
        </p:sp>
        <p:sp>
          <p:nvSpPr>
            <p:cNvPr id="142" name="Rectangle: Rounded Corners 141">
              <a:extLst>
                <a:ext uri="{FF2B5EF4-FFF2-40B4-BE49-F238E27FC236}">
                  <a16:creationId xmlns:a16="http://schemas.microsoft.com/office/drawing/2014/main" id="{8F0AD0A1-65F5-4832-ABD0-01895DFADEF0}"/>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SGW</a:t>
              </a:r>
            </a:p>
          </p:txBody>
        </p:sp>
      </p:grpSp>
      <p:grpSp>
        <p:nvGrpSpPr>
          <p:cNvPr id="145" name="Group 144">
            <a:extLst>
              <a:ext uri="{FF2B5EF4-FFF2-40B4-BE49-F238E27FC236}">
                <a16:creationId xmlns:a16="http://schemas.microsoft.com/office/drawing/2014/main" id="{D2DFCAD4-7F59-4541-89BB-6A01A7AEF251}"/>
              </a:ext>
            </a:extLst>
          </p:cNvPr>
          <p:cNvGrpSpPr/>
          <p:nvPr/>
        </p:nvGrpSpPr>
        <p:grpSpPr>
          <a:xfrm>
            <a:off x="8834164" y="2324368"/>
            <a:ext cx="1508780" cy="722485"/>
            <a:chOff x="1416616" y="2456593"/>
            <a:chExt cx="1508780" cy="722485"/>
          </a:xfrm>
        </p:grpSpPr>
        <p:grpSp>
          <p:nvGrpSpPr>
            <p:cNvPr id="146" name="Group 145">
              <a:extLst>
                <a:ext uri="{FF2B5EF4-FFF2-40B4-BE49-F238E27FC236}">
                  <a16:creationId xmlns:a16="http://schemas.microsoft.com/office/drawing/2014/main" id="{F10C457F-6BE8-4F47-9F5C-673BDB1C9F40}"/>
                </a:ext>
              </a:extLst>
            </p:cNvPr>
            <p:cNvGrpSpPr/>
            <p:nvPr/>
          </p:nvGrpSpPr>
          <p:grpSpPr>
            <a:xfrm>
              <a:off x="1416616" y="2456593"/>
              <a:ext cx="1508780" cy="722485"/>
              <a:chOff x="8582882" y="167662"/>
              <a:chExt cx="796584" cy="295959"/>
            </a:xfrm>
          </p:grpSpPr>
          <p:sp>
            <p:nvSpPr>
              <p:cNvPr id="149" name="AutoShape 15" descr="bpct-blend1">
                <a:extLst>
                  <a:ext uri="{FF2B5EF4-FFF2-40B4-BE49-F238E27FC236}">
                    <a16:creationId xmlns:a16="http://schemas.microsoft.com/office/drawing/2014/main" id="{3D3AF124-C3CB-4691-91AE-68DA98129438}"/>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mn-lt"/>
                  <a:ea typeface="+mn-ea"/>
                  <a:cs typeface="+mn-cs"/>
                </a:endParaRPr>
              </a:p>
            </p:txBody>
          </p:sp>
          <p:sp>
            <p:nvSpPr>
              <p:cNvPr id="150" name="Rectangle 36">
                <a:extLst>
                  <a:ext uri="{FF2B5EF4-FFF2-40B4-BE49-F238E27FC236}">
                    <a16:creationId xmlns:a16="http://schemas.microsoft.com/office/drawing/2014/main" id="{A037ABE3-F38F-4B79-8801-4B29B661BD92}"/>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mn-lt"/>
                    <a:ea typeface="+mn-ea"/>
                    <a:cs typeface="+mn-cs"/>
                  </a:rPr>
                  <a:t>5G EPC</a:t>
                </a:r>
              </a:p>
            </p:txBody>
          </p:sp>
        </p:grpSp>
        <p:sp>
          <p:nvSpPr>
            <p:cNvPr id="147" name="Rectangle: Rounded Corners 146">
              <a:extLst>
                <a:ext uri="{FF2B5EF4-FFF2-40B4-BE49-F238E27FC236}">
                  <a16:creationId xmlns:a16="http://schemas.microsoft.com/office/drawing/2014/main" id="{A96BBB05-EA38-44FB-BC8D-F994406EBFE8}"/>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MME</a:t>
              </a:r>
            </a:p>
          </p:txBody>
        </p:sp>
        <p:sp>
          <p:nvSpPr>
            <p:cNvPr id="148" name="Rectangle: Rounded Corners 147">
              <a:extLst>
                <a:ext uri="{FF2B5EF4-FFF2-40B4-BE49-F238E27FC236}">
                  <a16:creationId xmlns:a16="http://schemas.microsoft.com/office/drawing/2014/main" id="{41A43E1B-38F5-40B0-AD87-0F790E392242}"/>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mn-lt"/>
                  <a:ea typeface="+mn-ea"/>
                  <a:cs typeface="+mn-cs"/>
                </a:rPr>
                <a:t>SGW</a:t>
              </a:r>
            </a:p>
          </p:txBody>
        </p:sp>
      </p:grpSp>
      <p:cxnSp>
        <p:nvCxnSpPr>
          <p:cNvPr id="151" name="Straight Connector 150">
            <a:extLst>
              <a:ext uri="{FF2B5EF4-FFF2-40B4-BE49-F238E27FC236}">
                <a16:creationId xmlns:a16="http://schemas.microsoft.com/office/drawing/2014/main" id="{5E64AB63-18E6-4A15-A772-807FBB596047}"/>
              </a:ext>
            </a:extLst>
          </p:cNvPr>
          <p:cNvCxnSpPr>
            <a:cxnSpLocks/>
            <a:stCxn id="141" idx="2"/>
          </p:cNvCxnSpPr>
          <p:nvPr/>
        </p:nvCxnSpPr>
        <p:spPr bwMode="auto">
          <a:xfrm flipH="1">
            <a:off x="5000909" y="2940941"/>
            <a:ext cx="625474" cy="1149092"/>
          </a:xfrm>
          <a:prstGeom prst="line">
            <a:avLst/>
          </a:prstGeom>
          <a:noFill/>
          <a:ln w="12700" cap="flat" cmpd="sng" algn="ctr">
            <a:solidFill>
              <a:schemeClr val="bg1"/>
            </a:solidFill>
            <a:prstDash val="dash"/>
            <a:round/>
            <a:headEnd type="none" w="med" len="med"/>
            <a:tailEnd type="none" w="med" len="med"/>
          </a:ln>
          <a:effectLst/>
        </p:spPr>
      </p:cxnSp>
      <p:cxnSp>
        <p:nvCxnSpPr>
          <p:cNvPr id="119" name="Straight Connector 118">
            <a:extLst>
              <a:ext uri="{FF2B5EF4-FFF2-40B4-BE49-F238E27FC236}">
                <a16:creationId xmlns:a16="http://schemas.microsoft.com/office/drawing/2014/main" id="{D158AFDA-3480-4DEB-8CC5-F4E7AF116A70}"/>
              </a:ext>
            </a:extLst>
          </p:cNvPr>
          <p:cNvCxnSpPr>
            <a:stCxn id="72" idx="2"/>
          </p:cNvCxnSpPr>
          <p:nvPr/>
        </p:nvCxnSpPr>
        <p:spPr bwMode="auto">
          <a:xfrm flipH="1">
            <a:off x="1315567" y="2940941"/>
            <a:ext cx="576604" cy="1089147"/>
          </a:xfrm>
          <a:prstGeom prst="line">
            <a:avLst/>
          </a:prstGeom>
          <a:noFill/>
          <a:ln w="12700" cap="flat" cmpd="sng" algn="ctr">
            <a:solidFill>
              <a:schemeClr val="bg1"/>
            </a:solidFill>
            <a:prstDash val="dash"/>
            <a:round/>
            <a:headEnd type="none" w="med" len="med"/>
            <a:tailEnd type="none" w="med" len="med"/>
          </a:ln>
          <a:effectLst/>
        </p:spPr>
      </p:cxnSp>
      <p:cxnSp>
        <p:nvCxnSpPr>
          <p:cNvPr id="75" name="Straight Connector 74">
            <a:extLst>
              <a:ext uri="{FF2B5EF4-FFF2-40B4-BE49-F238E27FC236}">
                <a16:creationId xmlns:a16="http://schemas.microsoft.com/office/drawing/2014/main" id="{D4F39077-F752-4056-AFD2-6F017B9C10D4}"/>
              </a:ext>
            </a:extLst>
          </p:cNvPr>
          <p:cNvCxnSpPr>
            <a:cxnSpLocks/>
            <a:stCxn id="73" idx="2"/>
            <a:endCxn id="69" idx="0"/>
          </p:cNvCxnSpPr>
          <p:nvPr/>
        </p:nvCxnSpPr>
        <p:spPr bwMode="auto">
          <a:xfrm flipH="1">
            <a:off x="1308756" y="2940941"/>
            <a:ext cx="1151184" cy="1137178"/>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BA676D39-0D32-4CBA-AF7D-DA777FFD974F}"/>
              </a:ext>
            </a:extLst>
          </p:cNvPr>
          <p:cNvCxnSpPr>
            <a:cxnSpLocks/>
            <a:endCxn id="85" idx="0"/>
          </p:cNvCxnSpPr>
          <p:nvPr/>
        </p:nvCxnSpPr>
        <p:spPr bwMode="auto">
          <a:xfrm flipH="1">
            <a:off x="5017609" y="2943877"/>
            <a:ext cx="1172079" cy="1162730"/>
          </a:xfrm>
          <a:prstGeom prst="line">
            <a:avLst/>
          </a:prstGeom>
          <a:solidFill>
            <a:schemeClr val="accent1"/>
          </a:solidFill>
          <a:ln w="12700" cap="flat" cmpd="sng" algn="ctr">
            <a:solidFill>
              <a:schemeClr val="accent3"/>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2B3E23ED-C97A-47BD-9397-B12B7CE45F61}"/>
              </a:ext>
            </a:extLst>
          </p:cNvPr>
          <p:cNvCxnSpPr>
            <a:cxnSpLocks/>
            <a:stCxn id="142" idx="2"/>
            <a:endCxn id="82" idx="0"/>
          </p:cNvCxnSpPr>
          <p:nvPr/>
        </p:nvCxnSpPr>
        <p:spPr bwMode="auto">
          <a:xfrm>
            <a:off x="6194152" y="2940941"/>
            <a:ext cx="584012" cy="1165666"/>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55" name="TextBox 154">
            <a:extLst>
              <a:ext uri="{FF2B5EF4-FFF2-40B4-BE49-F238E27FC236}">
                <a16:creationId xmlns:a16="http://schemas.microsoft.com/office/drawing/2014/main" id="{3B0E2BEF-E0FC-4C28-9D81-7367916252F4}"/>
              </a:ext>
            </a:extLst>
          </p:cNvPr>
          <p:cNvSpPr txBox="1"/>
          <p:nvPr/>
        </p:nvSpPr>
        <p:spPr>
          <a:xfrm>
            <a:off x="9473502" y="3872893"/>
            <a:ext cx="38023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X2’</a:t>
            </a:r>
          </a:p>
        </p:txBody>
      </p:sp>
      <p:cxnSp>
        <p:nvCxnSpPr>
          <p:cNvPr id="111" name="Straight Connector 110">
            <a:extLst>
              <a:ext uri="{FF2B5EF4-FFF2-40B4-BE49-F238E27FC236}">
                <a16:creationId xmlns:a16="http://schemas.microsoft.com/office/drawing/2014/main" id="{C68E4B56-CE8C-42B6-A273-8A61C38A93FA}"/>
              </a:ext>
            </a:extLst>
          </p:cNvPr>
          <p:cNvCxnSpPr>
            <a:cxnSpLocks/>
            <a:stCxn id="148" idx="2"/>
            <a:endCxn id="98" idx="0"/>
          </p:cNvCxnSpPr>
          <p:nvPr/>
        </p:nvCxnSpPr>
        <p:spPr bwMode="auto">
          <a:xfrm>
            <a:off x="9889928" y="2940941"/>
            <a:ext cx="520648" cy="1168333"/>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EEF75754-583C-478E-B20E-98B22B2CFD7E}"/>
              </a:ext>
            </a:extLst>
          </p:cNvPr>
          <p:cNvCxnSpPr>
            <a:cxnSpLocks/>
            <a:stCxn id="147" idx="2"/>
          </p:cNvCxnSpPr>
          <p:nvPr/>
        </p:nvCxnSpPr>
        <p:spPr bwMode="auto">
          <a:xfrm flipH="1">
            <a:off x="8834165" y="2940941"/>
            <a:ext cx="487994" cy="1097621"/>
          </a:xfrm>
          <a:prstGeom prst="line">
            <a:avLst/>
          </a:prstGeom>
          <a:noFill/>
          <a:ln w="12700" cap="flat" cmpd="sng" algn="ctr">
            <a:solidFill>
              <a:schemeClr val="bg1"/>
            </a:solidFill>
            <a:prstDash val="dash"/>
            <a:round/>
            <a:headEnd type="none" w="med" len="med"/>
            <a:tailEnd type="none" w="med" len="med"/>
          </a:ln>
          <a:effectLst/>
        </p:spPr>
      </p:cxnSp>
      <p:sp>
        <p:nvSpPr>
          <p:cNvPr id="89" name="Rectangle 88">
            <a:extLst>
              <a:ext uri="{FF2B5EF4-FFF2-40B4-BE49-F238E27FC236}">
                <a16:creationId xmlns:a16="http://schemas.microsoft.com/office/drawing/2014/main" id="{756A3A10-2E79-4850-87E8-D09303FA056C}"/>
              </a:ext>
            </a:extLst>
          </p:cNvPr>
          <p:cNvSpPr/>
          <p:nvPr/>
        </p:nvSpPr>
        <p:spPr>
          <a:xfrm>
            <a:off x="8470004" y="1943358"/>
            <a:ext cx="2263761" cy="307777"/>
          </a:xfrm>
          <a:prstGeom prst="rect">
            <a:avLst/>
          </a:prstGeom>
        </p:spPr>
        <p:txBody>
          <a:bodyPr wrap="none">
            <a:spAutoFit/>
          </a:bodyPr>
          <a:lstStyle/>
          <a:p>
            <a:pPr lvl="0" algn="ctr" fontAlgn="auto">
              <a:spcBef>
                <a:spcPct val="20000"/>
              </a:spcBef>
              <a:spcAft>
                <a:spcPts val="0"/>
              </a:spcAft>
              <a:defRPr/>
            </a:pPr>
            <a:r>
              <a:rPr lang="en-US" altLang="en-US" sz="1400" kern="0">
                <a:solidFill>
                  <a:srgbClr val="FFFFFF"/>
                </a:solidFill>
                <a:latin typeface="+mn-lt"/>
              </a:rPr>
              <a:t>SN terminated split bearer</a:t>
            </a:r>
          </a:p>
        </p:txBody>
      </p:sp>
      <p:cxnSp>
        <p:nvCxnSpPr>
          <p:cNvPr id="92" name="Straight Connector 91">
            <a:extLst>
              <a:ext uri="{FF2B5EF4-FFF2-40B4-BE49-F238E27FC236}">
                <a16:creationId xmlns:a16="http://schemas.microsoft.com/office/drawing/2014/main" id="{479A5152-9E5D-455D-AD9F-56ADBB552A34}"/>
              </a:ext>
            </a:extLst>
          </p:cNvPr>
          <p:cNvCxnSpPr>
            <a:cxnSpLocks/>
          </p:cNvCxnSpPr>
          <p:nvPr/>
        </p:nvCxnSpPr>
        <p:spPr bwMode="auto">
          <a:xfrm>
            <a:off x="1327806" y="4125744"/>
            <a:ext cx="1743496" cy="0"/>
          </a:xfrm>
          <a:prstGeom prst="line">
            <a:avLst/>
          </a:prstGeom>
          <a:noFill/>
          <a:ln w="12700" cap="flat" cmpd="sng" algn="ctr">
            <a:solidFill>
              <a:schemeClr val="bg1"/>
            </a:solidFill>
            <a:prstDash val="dash"/>
            <a:round/>
            <a:headEnd type="none" w="med" len="med"/>
            <a:tailEnd type="none" w="med" len="med"/>
          </a:ln>
          <a:effectLst/>
        </p:spPr>
      </p:cxnSp>
      <p:sp>
        <p:nvSpPr>
          <p:cNvPr id="96" name="TextBox 95">
            <a:extLst>
              <a:ext uri="{FF2B5EF4-FFF2-40B4-BE49-F238E27FC236}">
                <a16:creationId xmlns:a16="http://schemas.microsoft.com/office/drawing/2014/main" id="{18E5C63F-5DE0-4CE7-BC10-86019E68C341}"/>
              </a:ext>
            </a:extLst>
          </p:cNvPr>
          <p:cNvSpPr txBox="1"/>
          <p:nvPr/>
        </p:nvSpPr>
        <p:spPr>
          <a:xfrm>
            <a:off x="5764243" y="3840767"/>
            <a:ext cx="38023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ea typeface="+mn-ea"/>
                <a:cs typeface="+mn-cs"/>
              </a:rPr>
              <a:t>X2’</a:t>
            </a:r>
          </a:p>
        </p:txBody>
      </p:sp>
      <p:cxnSp>
        <p:nvCxnSpPr>
          <p:cNvPr id="103" name="Straight Connector 102">
            <a:extLst>
              <a:ext uri="{FF2B5EF4-FFF2-40B4-BE49-F238E27FC236}">
                <a16:creationId xmlns:a16="http://schemas.microsoft.com/office/drawing/2014/main" id="{DA67E8D6-87F9-4389-B03B-0293C318D7A1}"/>
              </a:ext>
            </a:extLst>
          </p:cNvPr>
          <p:cNvCxnSpPr>
            <a:cxnSpLocks/>
          </p:cNvCxnSpPr>
          <p:nvPr/>
        </p:nvCxnSpPr>
        <p:spPr bwMode="auto">
          <a:xfrm>
            <a:off x="5081680" y="4121170"/>
            <a:ext cx="1743496" cy="0"/>
          </a:xfrm>
          <a:prstGeom prst="line">
            <a:avLst/>
          </a:prstGeom>
          <a:noFill/>
          <a:ln w="12700" cap="flat" cmpd="sng" algn="ctr">
            <a:solidFill>
              <a:schemeClr val="bg1"/>
            </a:solidFill>
            <a:prstDash val="dash"/>
            <a:round/>
            <a:headEnd type="none" w="med" len="med"/>
            <a:tailEnd type="none" w="med" len="med"/>
          </a:ln>
          <a:effectLst/>
        </p:spPr>
      </p:cxnSp>
      <p:cxnSp>
        <p:nvCxnSpPr>
          <p:cNvPr id="105" name="Straight Connector 104">
            <a:extLst>
              <a:ext uri="{FF2B5EF4-FFF2-40B4-BE49-F238E27FC236}">
                <a16:creationId xmlns:a16="http://schemas.microsoft.com/office/drawing/2014/main" id="{8FD64B08-C98B-4556-8973-97384C75004C}"/>
              </a:ext>
            </a:extLst>
          </p:cNvPr>
          <p:cNvCxnSpPr>
            <a:cxnSpLocks/>
          </p:cNvCxnSpPr>
          <p:nvPr/>
        </p:nvCxnSpPr>
        <p:spPr bwMode="auto">
          <a:xfrm>
            <a:off x="8825274" y="4157763"/>
            <a:ext cx="1743496" cy="0"/>
          </a:xfrm>
          <a:prstGeom prst="line">
            <a:avLst/>
          </a:prstGeom>
          <a:noFill/>
          <a:ln w="12700" cap="flat" cmpd="sng" algn="ctr">
            <a:solidFill>
              <a:schemeClr val="bg1"/>
            </a:solidFill>
            <a:prstDash val="dash"/>
            <a:round/>
            <a:headEnd type="none" w="med" len="med"/>
            <a:tailEnd type="none" w="med" len="med"/>
          </a:ln>
          <a:effectLst/>
        </p:spPr>
      </p:cxnSp>
      <p:sp>
        <p:nvSpPr>
          <p:cNvPr id="74" name="TextBox 73">
            <a:extLst>
              <a:ext uri="{FF2B5EF4-FFF2-40B4-BE49-F238E27FC236}">
                <a16:creationId xmlns:a16="http://schemas.microsoft.com/office/drawing/2014/main" id="{AF68B596-48A5-4CBA-B6C0-D70A2351587C}"/>
              </a:ext>
            </a:extLst>
          </p:cNvPr>
          <p:cNvSpPr txBox="1"/>
          <p:nvPr/>
        </p:nvSpPr>
        <p:spPr>
          <a:xfrm>
            <a:off x="10158288" y="5738781"/>
            <a:ext cx="1980141"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mn-lt"/>
              <a:ea typeface="+mn-ea"/>
              <a:cs typeface="+mn-cs"/>
            </a:endParaRPr>
          </a:p>
        </p:txBody>
      </p:sp>
      <p:cxnSp>
        <p:nvCxnSpPr>
          <p:cNvPr id="80" name="Straight Connector 79">
            <a:extLst>
              <a:ext uri="{FF2B5EF4-FFF2-40B4-BE49-F238E27FC236}">
                <a16:creationId xmlns:a16="http://schemas.microsoft.com/office/drawing/2014/main" id="{497E5A52-50AF-4FF2-AD8C-176CEEA0650F}"/>
              </a:ext>
            </a:extLst>
          </p:cNvPr>
          <p:cNvCxnSpPr>
            <a:cxnSpLocks/>
          </p:cNvCxnSpPr>
          <p:nvPr/>
        </p:nvCxnSpPr>
        <p:spPr bwMode="auto">
          <a:xfrm flipH="1">
            <a:off x="10232205" y="5840743"/>
            <a:ext cx="420850" cy="0"/>
          </a:xfrm>
          <a:prstGeom prst="line">
            <a:avLst/>
          </a:prstGeom>
          <a:noFill/>
          <a:ln w="12700" cap="flat" cmpd="sng" algn="ctr">
            <a:solidFill>
              <a:schemeClr val="bg1"/>
            </a:solidFill>
            <a:prstDash val="dash"/>
            <a:round/>
            <a:headEnd type="none" w="med" len="med"/>
            <a:tailEnd type="none" w="med" len="med"/>
          </a:ln>
          <a:effectLst/>
        </p:spPr>
      </p:cxnSp>
      <p:cxnSp>
        <p:nvCxnSpPr>
          <p:cNvPr id="90" name="Straight Connector 89">
            <a:extLst>
              <a:ext uri="{FF2B5EF4-FFF2-40B4-BE49-F238E27FC236}">
                <a16:creationId xmlns:a16="http://schemas.microsoft.com/office/drawing/2014/main" id="{C9EF90DD-B558-4183-B942-2D41E00C19B3}"/>
              </a:ext>
            </a:extLst>
          </p:cNvPr>
          <p:cNvCxnSpPr>
            <a:cxnSpLocks/>
          </p:cNvCxnSpPr>
          <p:nvPr/>
        </p:nvCxnSpPr>
        <p:spPr bwMode="auto">
          <a:xfrm flipH="1">
            <a:off x="10238438" y="6005667"/>
            <a:ext cx="420850" cy="0"/>
          </a:xfrm>
          <a:prstGeom prst="line">
            <a:avLst/>
          </a:prstGeom>
          <a:noFill/>
          <a:ln w="12700" cap="flat" cmpd="sng" algn="ctr">
            <a:solidFill>
              <a:schemeClr val="bg1"/>
            </a:solidFill>
            <a:prstDash val="solid"/>
            <a:round/>
            <a:headEnd type="none" w="med" len="med"/>
            <a:tailEnd type="none" w="med" len="med"/>
          </a:ln>
          <a:effectLst/>
        </p:spPr>
      </p:cxnSp>
      <p:sp>
        <p:nvSpPr>
          <p:cNvPr id="104" name="Rectangle 103">
            <a:extLst>
              <a:ext uri="{FF2B5EF4-FFF2-40B4-BE49-F238E27FC236}">
                <a16:creationId xmlns:a16="http://schemas.microsoft.com/office/drawing/2014/main" id="{601A61E5-1432-479E-80A1-8B675B25DBF7}"/>
              </a:ext>
            </a:extLst>
          </p:cNvPr>
          <p:cNvSpPr/>
          <p:nvPr/>
        </p:nvSpPr>
        <p:spPr>
          <a:xfrm>
            <a:off x="10139164" y="6112313"/>
            <a:ext cx="1999265" cy="707886"/>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MCG       </a:t>
            </a:r>
            <a:r>
              <a:rPr kumimoji="0" lang="en-US" sz="3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 </a:t>
            </a: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Master Cell Group</a:t>
            </a:r>
            <a:b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SCG        Secondary Cell Group</a:t>
            </a:r>
            <a:b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MN          Master Node</a:t>
            </a:r>
            <a:b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SN           Secondary Node</a:t>
            </a:r>
          </a:p>
        </p:txBody>
      </p:sp>
      <p:sp>
        <p:nvSpPr>
          <p:cNvPr id="106" name="Rectangle 105">
            <a:extLst>
              <a:ext uri="{FF2B5EF4-FFF2-40B4-BE49-F238E27FC236}">
                <a16:creationId xmlns:a16="http://schemas.microsoft.com/office/drawing/2014/main" id="{727A7E68-EF95-4C37-8CFA-9C53E81F49BF}"/>
              </a:ext>
            </a:extLst>
          </p:cNvPr>
          <p:cNvSpPr/>
          <p:nvPr/>
        </p:nvSpPr>
        <p:spPr>
          <a:xfrm>
            <a:off x="10665874" y="5713696"/>
            <a:ext cx="957313" cy="423193"/>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Control Plane</a:t>
            </a:r>
          </a:p>
          <a:p>
            <a:pPr marL="0" marR="0" lvl="0" indent="0" algn="l" defTabSz="914400" rtl="0" eaLnBrk="1" fontAlgn="base" latinLnBrk="0" hangingPunct="1">
              <a:lnSpc>
                <a:spcPct val="100000"/>
              </a:lnSpc>
              <a:spcBef>
                <a:spcPct val="50000"/>
              </a:spcBef>
              <a:spcAft>
                <a:spcPct val="0"/>
              </a:spcAft>
              <a:buClrTx/>
              <a:buSzTx/>
              <a:buFontTx/>
              <a:buNone/>
              <a:tabLst/>
              <a:defRPr/>
            </a:pPr>
            <a:br>
              <a:rPr kumimoji="0" lang="en-US" sz="1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User Plane</a:t>
            </a:r>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6DA478AE-4E4D-4060-A991-515E39919D1A}"/>
              </a:ext>
            </a:extLst>
          </p:cNvPr>
          <p:cNvSpPr/>
          <p:nvPr/>
        </p:nvSpPr>
        <p:spPr>
          <a:xfrm>
            <a:off x="1217243" y="1957838"/>
            <a:ext cx="2292615" cy="307777"/>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n-ea"/>
                <a:cs typeface="+mn-cs"/>
              </a:rPr>
              <a:t>MN terminated split bearer</a:t>
            </a:r>
          </a:p>
        </p:txBody>
      </p:sp>
      <p:sp>
        <p:nvSpPr>
          <p:cNvPr id="118" name="Rectangle 117">
            <a:extLst>
              <a:ext uri="{FF2B5EF4-FFF2-40B4-BE49-F238E27FC236}">
                <a16:creationId xmlns:a16="http://schemas.microsoft.com/office/drawing/2014/main" id="{0A580CA0-D3D3-4BD5-8BE0-76124D72DD96}"/>
              </a:ext>
            </a:extLst>
          </p:cNvPr>
          <p:cNvSpPr/>
          <p:nvPr/>
        </p:nvSpPr>
        <p:spPr>
          <a:xfrm>
            <a:off x="4700344" y="1939841"/>
            <a:ext cx="2382383" cy="307777"/>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n-ea"/>
                <a:cs typeface="+mn-cs"/>
              </a:rPr>
              <a:t>MCG bearer or SCG bearer</a:t>
            </a:r>
          </a:p>
        </p:txBody>
      </p:sp>
    </p:spTree>
    <p:extLst>
      <p:ext uri="{BB962C8B-B14F-4D97-AF65-F5344CB8AC3E}">
        <p14:creationId xmlns:p14="http://schemas.microsoft.com/office/powerpoint/2010/main" val="16968517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479424" y="476250"/>
            <a:ext cx="10423143" cy="1081088"/>
          </a:xfrm>
        </p:spPr>
        <p:txBody>
          <a:bodyPr>
            <a:noAutofit/>
          </a:bodyPr>
          <a:lstStyle/>
          <a:p>
            <a:r>
              <a:rPr lang="en-US" sz="3600"/>
              <a:t>Interpretation of sub-option mapping</a:t>
            </a:r>
            <a:br>
              <a:rPr lang="en-US" sz="4400"/>
            </a:br>
            <a:r>
              <a:rPr lang="en-US" sz="2400"/>
              <a:t>From 3GPP TR 38.801 (sub)-options 3/3a/3x to </a:t>
            </a:r>
            <a:r>
              <a:rPr lang="en-US" sz="2400">
                <a:sym typeface="Wingdings" panose="05000000000000000000" pitchFamily="2" charset="2"/>
              </a:rPr>
              <a:t>3GPP TS </a:t>
            </a:r>
            <a:r>
              <a:rPr lang="en-US" sz="2400"/>
              <a:t>37.340 EN-DC bearer types</a:t>
            </a:r>
          </a:p>
        </p:txBody>
      </p:sp>
      <p:sp>
        <p:nvSpPr>
          <p:cNvPr id="136" name="Rectangle 135">
            <a:extLst>
              <a:ext uri="{FF2B5EF4-FFF2-40B4-BE49-F238E27FC236}">
                <a16:creationId xmlns:a16="http://schemas.microsoft.com/office/drawing/2014/main" id="{1E215DC2-8BD3-40E1-BD9D-6D9210C96B45}"/>
              </a:ext>
            </a:extLst>
          </p:cNvPr>
          <p:cNvSpPr/>
          <p:nvPr/>
        </p:nvSpPr>
        <p:spPr>
          <a:xfrm>
            <a:off x="-47304" y="1575642"/>
            <a:ext cx="1297150" cy="261610"/>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charset="0"/>
                <a:ea typeface="+mn-ea"/>
                <a:cs typeface="+mn-cs"/>
              </a:rPr>
              <a:t>3GPP TR 38.801 </a:t>
            </a:r>
          </a:p>
        </p:txBody>
      </p:sp>
      <p:sp>
        <p:nvSpPr>
          <p:cNvPr id="137" name="Rectangle 136">
            <a:extLst>
              <a:ext uri="{FF2B5EF4-FFF2-40B4-BE49-F238E27FC236}">
                <a16:creationId xmlns:a16="http://schemas.microsoft.com/office/drawing/2014/main" id="{2EA1F072-C4D4-4032-A16C-85158A7FC2FA}"/>
              </a:ext>
            </a:extLst>
          </p:cNvPr>
          <p:cNvSpPr/>
          <p:nvPr/>
        </p:nvSpPr>
        <p:spPr>
          <a:xfrm>
            <a:off x="-47304" y="1922527"/>
            <a:ext cx="1202573" cy="253916"/>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charset="0"/>
                <a:ea typeface="+mn-ea"/>
                <a:cs typeface="+mn-cs"/>
                <a:sym typeface="Wingdings" panose="05000000000000000000" pitchFamily="2" charset="2"/>
              </a:rPr>
              <a:t>3GPP TS </a:t>
            </a:r>
            <a:r>
              <a:rPr kumimoji="0" lang="en-US" sz="1050" b="0" i="0" u="none" strike="noStrike" kern="1200" cap="none" spc="0" normalizeH="0" baseline="0" noProof="0">
                <a:ln>
                  <a:noFill/>
                </a:ln>
                <a:solidFill>
                  <a:srgbClr val="FFFFFF"/>
                </a:solidFill>
                <a:effectLst/>
                <a:uLnTx/>
                <a:uFillTx/>
                <a:latin typeface="Arial" charset="0"/>
                <a:ea typeface="+mn-ea"/>
                <a:cs typeface="+mn-cs"/>
              </a:rPr>
              <a:t>37.340</a:t>
            </a:r>
          </a:p>
        </p:txBody>
      </p:sp>
      <p:sp>
        <p:nvSpPr>
          <p:cNvPr id="65" name="Oval 64">
            <a:extLst>
              <a:ext uri="{FF2B5EF4-FFF2-40B4-BE49-F238E27FC236}">
                <a16:creationId xmlns:a16="http://schemas.microsoft.com/office/drawing/2014/main" id="{4E07FDFF-137D-43A5-8B57-CB7630462CF7}"/>
              </a:ext>
            </a:extLst>
          </p:cNvPr>
          <p:cNvSpPr/>
          <p:nvPr/>
        </p:nvSpPr>
        <p:spPr bwMode="auto">
          <a:xfrm>
            <a:off x="4892687" y="3546154"/>
            <a:ext cx="1262107" cy="630664"/>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Arial" charset="0"/>
              <a:ea typeface="+mn-ea"/>
              <a:cs typeface="+mn-cs"/>
            </a:endParaRPr>
          </a:p>
        </p:txBody>
      </p:sp>
      <p:sp>
        <p:nvSpPr>
          <p:cNvPr id="66" name="TextBox 65">
            <a:extLst>
              <a:ext uri="{FF2B5EF4-FFF2-40B4-BE49-F238E27FC236}">
                <a16:creationId xmlns:a16="http://schemas.microsoft.com/office/drawing/2014/main" id="{D42620BC-547F-4EC8-80A5-B2C12772278F}"/>
              </a:ext>
            </a:extLst>
          </p:cNvPr>
          <p:cNvSpPr txBox="1"/>
          <p:nvPr/>
        </p:nvSpPr>
        <p:spPr>
          <a:xfrm>
            <a:off x="5328523" y="3854477"/>
            <a:ext cx="364165"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NR</a:t>
            </a:r>
          </a:p>
        </p:txBody>
      </p:sp>
      <p:sp>
        <p:nvSpPr>
          <p:cNvPr id="67" name="Oval 66">
            <a:extLst>
              <a:ext uri="{FF2B5EF4-FFF2-40B4-BE49-F238E27FC236}">
                <a16:creationId xmlns:a16="http://schemas.microsoft.com/office/drawing/2014/main" id="{737066E7-DA0F-40C1-A979-86EE59412DE8}"/>
              </a:ext>
            </a:extLst>
          </p:cNvPr>
          <p:cNvSpPr/>
          <p:nvPr/>
        </p:nvSpPr>
        <p:spPr bwMode="auto">
          <a:xfrm>
            <a:off x="3323377" y="3546154"/>
            <a:ext cx="1262107" cy="630664"/>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Arial" charset="0"/>
              <a:ea typeface="+mn-ea"/>
              <a:cs typeface="+mn-cs"/>
            </a:endParaRPr>
          </a:p>
        </p:txBody>
      </p:sp>
      <p:sp>
        <p:nvSpPr>
          <p:cNvPr id="68" name="Freeform 3">
            <a:extLst>
              <a:ext uri="{FF2B5EF4-FFF2-40B4-BE49-F238E27FC236}">
                <a16:creationId xmlns:a16="http://schemas.microsoft.com/office/drawing/2014/main" id="{E943A473-DA60-4F7B-9994-694CFAA1232E}"/>
              </a:ext>
            </a:extLst>
          </p:cNvPr>
          <p:cNvSpPr>
            <a:spLocks noChangeAspect="1" noEditPoints="1"/>
          </p:cNvSpPr>
          <p:nvPr/>
        </p:nvSpPr>
        <p:spPr bwMode="auto">
          <a:xfrm>
            <a:off x="3673980" y="3151369"/>
            <a:ext cx="570094" cy="733012"/>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69" name="TextBox 68">
            <a:extLst>
              <a:ext uri="{FF2B5EF4-FFF2-40B4-BE49-F238E27FC236}">
                <a16:creationId xmlns:a16="http://schemas.microsoft.com/office/drawing/2014/main" id="{205B3FA5-6675-4389-B75A-9F2AEA843513}"/>
              </a:ext>
            </a:extLst>
          </p:cNvPr>
          <p:cNvSpPr txBox="1"/>
          <p:nvPr/>
        </p:nvSpPr>
        <p:spPr>
          <a:xfrm>
            <a:off x="3736890" y="3854477"/>
            <a:ext cx="418819"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LTE</a:t>
            </a:r>
          </a:p>
        </p:txBody>
      </p:sp>
      <p:sp>
        <p:nvSpPr>
          <p:cNvPr id="70" name="Freeform 3">
            <a:extLst>
              <a:ext uri="{FF2B5EF4-FFF2-40B4-BE49-F238E27FC236}">
                <a16:creationId xmlns:a16="http://schemas.microsoft.com/office/drawing/2014/main" id="{B0C82FFC-1DE7-4A78-9641-24E55FD87496}"/>
              </a:ext>
            </a:extLst>
          </p:cNvPr>
          <p:cNvSpPr>
            <a:spLocks noChangeAspect="1" noEditPoints="1"/>
          </p:cNvSpPr>
          <p:nvPr/>
        </p:nvSpPr>
        <p:spPr bwMode="auto">
          <a:xfrm>
            <a:off x="5229297" y="3151369"/>
            <a:ext cx="570094" cy="733012"/>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cxnSp>
        <p:nvCxnSpPr>
          <p:cNvPr id="76" name="Straight Connector 75">
            <a:extLst>
              <a:ext uri="{FF2B5EF4-FFF2-40B4-BE49-F238E27FC236}">
                <a16:creationId xmlns:a16="http://schemas.microsoft.com/office/drawing/2014/main" id="{1F488889-0714-4363-B749-1787B454B641}"/>
              </a:ext>
            </a:extLst>
          </p:cNvPr>
          <p:cNvCxnSpPr>
            <a:cxnSpLocks/>
            <a:stCxn id="69" idx="0"/>
            <a:endCxn id="66" idx="0"/>
          </p:cNvCxnSpPr>
          <p:nvPr/>
        </p:nvCxnSpPr>
        <p:spPr bwMode="auto">
          <a:xfrm>
            <a:off x="3946300" y="3854477"/>
            <a:ext cx="1564306"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78" name="TextBox 77">
            <a:extLst>
              <a:ext uri="{FF2B5EF4-FFF2-40B4-BE49-F238E27FC236}">
                <a16:creationId xmlns:a16="http://schemas.microsoft.com/office/drawing/2014/main" id="{5741A92F-11D0-4268-9691-C5F46EF4875C}"/>
              </a:ext>
            </a:extLst>
          </p:cNvPr>
          <p:cNvSpPr txBox="1"/>
          <p:nvPr/>
        </p:nvSpPr>
        <p:spPr>
          <a:xfrm rot="18953134">
            <a:off x="4446642" y="3189627"/>
            <a:ext cx="469158"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U</a:t>
            </a:r>
          </a:p>
        </p:txBody>
      </p:sp>
      <p:sp>
        <p:nvSpPr>
          <p:cNvPr id="79" name="TextBox 78">
            <a:extLst>
              <a:ext uri="{FF2B5EF4-FFF2-40B4-BE49-F238E27FC236}">
                <a16:creationId xmlns:a16="http://schemas.microsoft.com/office/drawing/2014/main" id="{8F9B2C86-E801-4AE8-9501-AE78CB073ABF}"/>
              </a:ext>
            </a:extLst>
          </p:cNvPr>
          <p:cNvSpPr txBox="1"/>
          <p:nvPr/>
        </p:nvSpPr>
        <p:spPr>
          <a:xfrm rot="18032023">
            <a:off x="4156778" y="3039392"/>
            <a:ext cx="457209" cy="2278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C</a:t>
            </a:r>
          </a:p>
        </p:txBody>
      </p:sp>
      <p:sp>
        <p:nvSpPr>
          <p:cNvPr id="114" name="Rectangle 113">
            <a:extLst>
              <a:ext uri="{FF2B5EF4-FFF2-40B4-BE49-F238E27FC236}">
                <a16:creationId xmlns:a16="http://schemas.microsoft.com/office/drawing/2014/main" id="{1C4CDACE-12B1-4028-AB35-A5AA24AE97EC}"/>
              </a:ext>
            </a:extLst>
          </p:cNvPr>
          <p:cNvSpPr/>
          <p:nvPr/>
        </p:nvSpPr>
        <p:spPr>
          <a:xfrm>
            <a:off x="4266590" y="1493661"/>
            <a:ext cx="960519"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Arial" charset="0"/>
                <a:ea typeface="+mn-ea"/>
                <a:cs typeface="+mn-cs"/>
              </a:rPr>
              <a:t>Option 3</a:t>
            </a:r>
          </a:p>
        </p:txBody>
      </p:sp>
      <p:sp>
        <p:nvSpPr>
          <p:cNvPr id="115" name="TextBox 114">
            <a:extLst>
              <a:ext uri="{FF2B5EF4-FFF2-40B4-BE49-F238E27FC236}">
                <a16:creationId xmlns:a16="http://schemas.microsoft.com/office/drawing/2014/main" id="{A482CC52-F971-4161-AC84-DD91AF20C6B4}"/>
              </a:ext>
            </a:extLst>
          </p:cNvPr>
          <p:cNvSpPr txBox="1"/>
          <p:nvPr/>
        </p:nvSpPr>
        <p:spPr>
          <a:xfrm>
            <a:off x="3352845" y="4387054"/>
            <a:ext cx="2801949" cy="938719"/>
          </a:xfrm>
          <a:prstGeom prst="rect">
            <a:avLst/>
          </a:prstGeom>
          <a:noFill/>
          <a:ln>
            <a:solidFill>
              <a:schemeClr val="bg1"/>
            </a:solidFill>
          </a:ln>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C always to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U terminates on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r>
              <a:rPr kumimoji="0" lang="en-US" sz="1100" b="0" i="0" u="none" strike="noStrike" kern="0" cap="none" spc="0" normalizeH="0" baseline="0" noProof="0">
                <a:ln>
                  <a:noFill/>
                </a:ln>
                <a:solidFill>
                  <a:srgbClr val="FFFFFF"/>
                </a:solidFill>
                <a:effectLst/>
                <a:uLnTx/>
                <a:uFillTx/>
                <a:latin typeface="Arial" charset="0"/>
                <a:ea typeface="+mn-ea"/>
                <a:cs typeface="+mn-cs"/>
              </a:rPr>
              <a:t> decides if UP traffic is routed via NR gNB and/or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r>
              <a:rPr kumimoji="0" lang="en-US" sz="1100" b="0" i="0" u="none" strike="noStrike" kern="0" cap="none" spc="0" normalizeH="0" baseline="0" noProof="0">
                <a:ln>
                  <a:noFill/>
                </a:ln>
                <a:solidFill>
                  <a:srgbClr val="FFFFFF"/>
                </a:solidFill>
                <a:effectLst/>
                <a:uLnTx/>
                <a:uFillTx/>
                <a:latin typeface="Arial" charset="0"/>
                <a:ea typeface="+mn-ea"/>
                <a:cs typeface="+mn-cs"/>
              </a:rPr>
              <a:t> (split bearer in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r>
              <a:rPr kumimoji="0" lang="en-US" sz="1100" b="0" i="0" u="none" strike="noStrike" kern="0" cap="none" spc="0" normalizeH="0" baseline="0" noProof="0">
                <a:ln>
                  <a:noFill/>
                </a:ln>
                <a:solidFill>
                  <a:srgbClr val="FFFFFF"/>
                </a:solidFill>
                <a:effectLst/>
                <a:uLnTx/>
                <a:uFillTx/>
                <a:latin typeface="Arial" charset="0"/>
                <a:ea typeface="+mn-ea"/>
                <a:cs typeface="+mn-cs"/>
              </a:rPr>
              <a:t>/MCG)</a:t>
            </a:r>
          </a:p>
        </p:txBody>
      </p:sp>
      <p:grpSp>
        <p:nvGrpSpPr>
          <p:cNvPr id="138" name="Group 137">
            <a:extLst>
              <a:ext uri="{FF2B5EF4-FFF2-40B4-BE49-F238E27FC236}">
                <a16:creationId xmlns:a16="http://schemas.microsoft.com/office/drawing/2014/main" id="{B3D76503-9C8A-41E9-9624-E8F8531F7265}"/>
              </a:ext>
            </a:extLst>
          </p:cNvPr>
          <p:cNvGrpSpPr/>
          <p:nvPr/>
        </p:nvGrpSpPr>
        <p:grpSpPr>
          <a:xfrm>
            <a:off x="4031913" y="2293807"/>
            <a:ext cx="1353713" cy="631720"/>
            <a:chOff x="1416616" y="2456593"/>
            <a:chExt cx="1508780" cy="722485"/>
          </a:xfrm>
        </p:grpSpPr>
        <p:grpSp>
          <p:nvGrpSpPr>
            <p:cNvPr id="126" name="Group 125">
              <a:extLst>
                <a:ext uri="{FF2B5EF4-FFF2-40B4-BE49-F238E27FC236}">
                  <a16:creationId xmlns:a16="http://schemas.microsoft.com/office/drawing/2014/main" id="{1C93DBAA-35A7-4AD8-96AF-2CBEFA361E7B}"/>
                </a:ext>
              </a:extLst>
            </p:cNvPr>
            <p:cNvGrpSpPr/>
            <p:nvPr/>
          </p:nvGrpSpPr>
          <p:grpSpPr>
            <a:xfrm>
              <a:off x="1416616" y="2456593"/>
              <a:ext cx="1508780" cy="722485"/>
              <a:chOff x="8582882" y="167662"/>
              <a:chExt cx="796584" cy="295959"/>
            </a:xfrm>
          </p:grpSpPr>
          <p:sp>
            <p:nvSpPr>
              <p:cNvPr id="132" name="AutoShape 15" descr="bpct-blend1">
                <a:extLst>
                  <a:ext uri="{FF2B5EF4-FFF2-40B4-BE49-F238E27FC236}">
                    <a16:creationId xmlns:a16="http://schemas.microsoft.com/office/drawing/2014/main" id="{F4516598-167D-4985-B08D-2B8D5D1EA68E}"/>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Arial" pitchFamily="34" charset="0"/>
                  <a:ea typeface="+mn-ea"/>
                  <a:cs typeface="+mn-cs"/>
                </a:endParaRPr>
              </a:p>
            </p:txBody>
          </p:sp>
          <p:sp>
            <p:nvSpPr>
              <p:cNvPr id="133" name="Rectangle 36">
                <a:extLst>
                  <a:ext uri="{FF2B5EF4-FFF2-40B4-BE49-F238E27FC236}">
                    <a16:creationId xmlns:a16="http://schemas.microsoft.com/office/drawing/2014/main" id="{9784F840-4166-44A2-843D-7678BF866C38}"/>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 EPC</a:t>
                </a:r>
              </a:p>
            </p:txBody>
          </p:sp>
        </p:grpSp>
        <p:sp>
          <p:nvSpPr>
            <p:cNvPr id="72" name="Rectangle: Rounded Corners 71">
              <a:extLst>
                <a:ext uri="{FF2B5EF4-FFF2-40B4-BE49-F238E27FC236}">
                  <a16:creationId xmlns:a16="http://schemas.microsoft.com/office/drawing/2014/main" id="{3E864AC5-A547-485C-9317-497DA8D37C92}"/>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MME</a:t>
              </a:r>
            </a:p>
          </p:txBody>
        </p:sp>
        <p:sp>
          <p:nvSpPr>
            <p:cNvPr id="73" name="Rectangle: Rounded Corners 72">
              <a:extLst>
                <a:ext uri="{FF2B5EF4-FFF2-40B4-BE49-F238E27FC236}">
                  <a16:creationId xmlns:a16="http://schemas.microsoft.com/office/drawing/2014/main" id="{AB8D0086-C016-468C-8466-1D5A38148A75}"/>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SGW</a:t>
              </a:r>
            </a:p>
          </p:txBody>
        </p:sp>
      </p:grpSp>
      <p:sp>
        <p:nvSpPr>
          <p:cNvPr id="134" name="TextBox 133">
            <a:extLst>
              <a:ext uri="{FF2B5EF4-FFF2-40B4-BE49-F238E27FC236}">
                <a16:creationId xmlns:a16="http://schemas.microsoft.com/office/drawing/2014/main" id="{BA4818D3-56EF-4729-9D60-1CB2F54D0311}"/>
              </a:ext>
            </a:extLst>
          </p:cNvPr>
          <p:cNvSpPr txBox="1"/>
          <p:nvPr/>
        </p:nvSpPr>
        <p:spPr>
          <a:xfrm>
            <a:off x="4575803" y="3629839"/>
            <a:ext cx="341153"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X2’</a:t>
            </a:r>
          </a:p>
        </p:txBody>
      </p:sp>
      <p:cxnSp>
        <p:nvCxnSpPr>
          <p:cNvPr id="119" name="Straight Connector 118">
            <a:extLst>
              <a:ext uri="{FF2B5EF4-FFF2-40B4-BE49-F238E27FC236}">
                <a16:creationId xmlns:a16="http://schemas.microsoft.com/office/drawing/2014/main" id="{D158AFDA-3480-4DEB-8CC5-F4E7AF116A70}"/>
              </a:ext>
            </a:extLst>
          </p:cNvPr>
          <p:cNvCxnSpPr>
            <a:stCxn id="72" idx="2"/>
          </p:cNvCxnSpPr>
          <p:nvPr/>
        </p:nvCxnSpPr>
        <p:spPr bwMode="auto">
          <a:xfrm flipH="1">
            <a:off x="3952412" y="2832921"/>
            <a:ext cx="517342" cy="993355"/>
          </a:xfrm>
          <a:prstGeom prst="line">
            <a:avLst/>
          </a:prstGeom>
          <a:noFill/>
          <a:ln w="12700" cap="flat" cmpd="sng" algn="ctr">
            <a:solidFill>
              <a:schemeClr val="bg1"/>
            </a:solidFill>
            <a:prstDash val="dash"/>
            <a:round/>
            <a:headEnd type="none" w="med" len="med"/>
            <a:tailEnd type="none" w="med" len="med"/>
          </a:ln>
          <a:effectLst/>
        </p:spPr>
      </p:cxnSp>
      <p:cxnSp>
        <p:nvCxnSpPr>
          <p:cNvPr id="75" name="Straight Connector 74">
            <a:extLst>
              <a:ext uri="{FF2B5EF4-FFF2-40B4-BE49-F238E27FC236}">
                <a16:creationId xmlns:a16="http://schemas.microsoft.com/office/drawing/2014/main" id="{D4F39077-F752-4056-AFD2-6F017B9C10D4}"/>
              </a:ext>
            </a:extLst>
          </p:cNvPr>
          <p:cNvCxnSpPr>
            <a:cxnSpLocks/>
            <a:stCxn id="73" idx="2"/>
            <a:endCxn id="69" idx="0"/>
          </p:cNvCxnSpPr>
          <p:nvPr/>
        </p:nvCxnSpPr>
        <p:spPr bwMode="auto">
          <a:xfrm flipH="1">
            <a:off x="3946300" y="2832921"/>
            <a:ext cx="1032869" cy="1021556"/>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87" name="Rectangle 86">
            <a:extLst>
              <a:ext uri="{FF2B5EF4-FFF2-40B4-BE49-F238E27FC236}">
                <a16:creationId xmlns:a16="http://schemas.microsoft.com/office/drawing/2014/main" id="{0F7AA1BC-88BA-4E5D-AA98-0D54C3A73529}"/>
              </a:ext>
            </a:extLst>
          </p:cNvPr>
          <p:cNvSpPr/>
          <p:nvPr/>
        </p:nvSpPr>
        <p:spPr>
          <a:xfrm>
            <a:off x="3567485" y="1881894"/>
            <a:ext cx="2292615" cy="307777"/>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itchFamily="34" charset="0"/>
                <a:ea typeface="+mn-ea"/>
                <a:cs typeface="+mn-cs"/>
              </a:rPr>
              <a:t>MN terminated split bearer</a:t>
            </a:r>
          </a:p>
        </p:txBody>
      </p:sp>
      <p:cxnSp>
        <p:nvCxnSpPr>
          <p:cNvPr id="92" name="Straight Connector 91">
            <a:extLst>
              <a:ext uri="{FF2B5EF4-FFF2-40B4-BE49-F238E27FC236}">
                <a16:creationId xmlns:a16="http://schemas.microsoft.com/office/drawing/2014/main" id="{479A5152-9E5D-455D-AD9F-56ADBB552A34}"/>
              </a:ext>
            </a:extLst>
          </p:cNvPr>
          <p:cNvCxnSpPr>
            <a:cxnSpLocks/>
          </p:cNvCxnSpPr>
          <p:nvPr/>
        </p:nvCxnSpPr>
        <p:spPr bwMode="auto">
          <a:xfrm>
            <a:off x="3963392" y="3909915"/>
            <a:ext cx="1564306" cy="0"/>
          </a:xfrm>
          <a:prstGeom prst="line">
            <a:avLst/>
          </a:prstGeom>
          <a:noFill/>
          <a:ln w="12700" cap="flat" cmpd="sng" algn="ctr">
            <a:solidFill>
              <a:schemeClr val="bg1"/>
            </a:solidFill>
            <a:prstDash val="dash"/>
            <a:round/>
            <a:headEnd type="none" w="med" len="med"/>
            <a:tailEnd type="none" w="med" len="med"/>
          </a:ln>
          <a:effectLst/>
        </p:spPr>
      </p:cxnSp>
      <p:sp>
        <p:nvSpPr>
          <p:cNvPr id="81" name="Oval 80">
            <a:extLst>
              <a:ext uri="{FF2B5EF4-FFF2-40B4-BE49-F238E27FC236}">
                <a16:creationId xmlns:a16="http://schemas.microsoft.com/office/drawing/2014/main" id="{622DDB1A-A03A-4205-A88F-2B8823F46A0C}"/>
              </a:ext>
            </a:extLst>
          </p:cNvPr>
          <p:cNvSpPr/>
          <p:nvPr/>
        </p:nvSpPr>
        <p:spPr bwMode="auto">
          <a:xfrm>
            <a:off x="7931116" y="3546154"/>
            <a:ext cx="1292370" cy="646876"/>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Arial" charset="0"/>
              <a:ea typeface="+mn-ea"/>
              <a:cs typeface="+mn-cs"/>
            </a:endParaRPr>
          </a:p>
        </p:txBody>
      </p:sp>
      <p:sp>
        <p:nvSpPr>
          <p:cNvPr id="82" name="TextBox 81">
            <a:extLst>
              <a:ext uri="{FF2B5EF4-FFF2-40B4-BE49-F238E27FC236}">
                <a16:creationId xmlns:a16="http://schemas.microsoft.com/office/drawing/2014/main" id="{19FF018D-2C74-4ACB-B92B-9BCA6EFA227D}"/>
              </a:ext>
            </a:extLst>
          </p:cNvPr>
          <p:cNvSpPr txBox="1"/>
          <p:nvPr/>
        </p:nvSpPr>
        <p:spPr>
          <a:xfrm>
            <a:off x="8354544" y="3854477"/>
            <a:ext cx="364165"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NR</a:t>
            </a:r>
          </a:p>
        </p:txBody>
      </p:sp>
      <p:sp>
        <p:nvSpPr>
          <p:cNvPr id="83" name="Oval 82">
            <a:extLst>
              <a:ext uri="{FF2B5EF4-FFF2-40B4-BE49-F238E27FC236}">
                <a16:creationId xmlns:a16="http://schemas.microsoft.com/office/drawing/2014/main" id="{4FCCF2C4-E4ED-4A7C-8495-582DACD600B4}"/>
              </a:ext>
            </a:extLst>
          </p:cNvPr>
          <p:cNvSpPr/>
          <p:nvPr/>
        </p:nvSpPr>
        <p:spPr bwMode="auto">
          <a:xfrm>
            <a:off x="6324177" y="3546154"/>
            <a:ext cx="1292370" cy="646876"/>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Arial" charset="0"/>
              <a:ea typeface="+mn-ea"/>
              <a:cs typeface="+mn-cs"/>
            </a:endParaRPr>
          </a:p>
        </p:txBody>
      </p:sp>
      <p:sp>
        <p:nvSpPr>
          <p:cNvPr id="84" name="Freeform 3">
            <a:extLst>
              <a:ext uri="{FF2B5EF4-FFF2-40B4-BE49-F238E27FC236}">
                <a16:creationId xmlns:a16="http://schemas.microsoft.com/office/drawing/2014/main" id="{766FD0CE-EDE5-4A2D-B093-18CC11B4B8B2}"/>
              </a:ext>
            </a:extLst>
          </p:cNvPr>
          <p:cNvSpPr>
            <a:spLocks noChangeAspect="1" noEditPoints="1"/>
          </p:cNvSpPr>
          <p:nvPr/>
        </p:nvSpPr>
        <p:spPr bwMode="auto">
          <a:xfrm>
            <a:off x="6683186" y="3151369"/>
            <a:ext cx="583764" cy="751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85" name="TextBox 84">
            <a:extLst>
              <a:ext uri="{FF2B5EF4-FFF2-40B4-BE49-F238E27FC236}">
                <a16:creationId xmlns:a16="http://schemas.microsoft.com/office/drawing/2014/main" id="{2A4558D4-5EF0-4B6C-9CEA-FB160376E4C3}"/>
              </a:ext>
            </a:extLst>
          </p:cNvPr>
          <p:cNvSpPr txBox="1"/>
          <p:nvPr/>
        </p:nvSpPr>
        <p:spPr>
          <a:xfrm>
            <a:off x="6747606" y="3854477"/>
            <a:ext cx="418819"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LTE</a:t>
            </a:r>
          </a:p>
        </p:txBody>
      </p:sp>
      <p:sp>
        <p:nvSpPr>
          <p:cNvPr id="86" name="Freeform 3">
            <a:extLst>
              <a:ext uri="{FF2B5EF4-FFF2-40B4-BE49-F238E27FC236}">
                <a16:creationId xmlns:a16="http://schemas.microsoft.com/office/drawing/2014/main" id="{6F76FBFD-3709-41EF-A0F1-1865D00AF090}"/>
              </a:ext>
            </a:extLst>
          </p:cNvPr>
          <p:cNvSpPr>
            <a:spLocks noChangeAspect="1" noEditPoints="1"/>
          </p:cNvSpPr>
          <p:nvPr/>
        </p:nvSpPr>
        <p:spPr bwMode="auto">
          <a:xfrm>
            <a:off x="8275797" y="3151369"/>
            <a:ext cx="583764" cy="751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93" name="TextBox 92">
            <a:extLst>
              <a:ext uri="{FF2B5EF4-FFF2-40B4-BE49-F238E27FC236}">
                <a16:creationId xmlns:a16="http://schemas.microsoft.com/office/drawing/2014/main" id="{E5E51E73-DE00-4869-816B-BB88ADF7ADEB}"/>
              </a:ext>
            </a:extLst>
          </p:cNvPr>
          <p:cNvSpPr txBox="1"/>
          <p:nvPr/>
        </p:nvSpPr>
        <p:spPr>
          <a:xfrm rot="3850037">
            <a:off x="7817573" y="3026745"/>
            <a:ext cx="469158"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U</a:t>
            </a:r>
          </a:p>
        </p:txBody>
      </p:sp>
      <p:sp>
        <p:nvSpPr>
          <p:cNvPr id="94" name="TextBox 93">
            <a:extLst>
              <a:ext uri="{FF2B5EF4-FFF2-40B4-BE49-F238E27FC236}">
                <a16:creationId xmlns:a16="http://schemas.microsoft.com/office/drawing/2014/main" id="{D02A0D37-9037-4A62-BBB3-DA4001D362DF}"/>
              </a:ext>
            </a:extLst>
          </p:cNvPr>
          <p:cNvSpPr txBox="1"/>
          <p:nvPr/>
        </p:nvSpPr>
        <p:spPr>
          <a:xfrm rot="18032023">
            <a:off x="7249628" y="3039392"/>
            <a:ext cx="457209" cy="2278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C</a:t>
            </a:r>
          </a:p>
        </p:txBody>
      </p:sp>
      <p:sp>
        <p:nvSpPr>
          <p:cNvPr id="113" name="Rectangle 112">
            <a:extLst>
              <a:ext uri="{FF2B5EF4-FFF2-40B4-BE49-F238E27FC236}">
                <a16:creationId xmlns:a16="http://schemas.microsoft.com/office/drawing/2014/main" id="{8D107F61-06CE-4EA7-84F5-C9FC20466651}"/>
              </a:ext>
            </a:extLst>
          </p:cNvPr>
          <p:cNvSpPr/>
          <p:nvPr/>
        </p:nvSpPr>
        <p:spPr>
          <a:xfrm>
            <a:off x="7245488" y="1493661"/>
            <a:ext cx="963917" cy="29602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Arial" charset="0"/>
                <a:ea typeface="+mn-ea"/>
                <a:cs typeface="+mn-cs"/>
              </a:rPr>
              <a:t>Option 3a</a:t>
            </a:r>
          </a:p>
        </p:txBody>
      </p:sp>
      <p:sp>
        <p:nvSpPr>
          <p:cNvPr id="117" name="TextBox 116">
            <a:extLst>
              <a:ext uri="{FF2B5EF4-FFF2-40B4-BE49-F238E27FC236}">
                <a16:creationId xmlns:a16="http://schemas.microsoft.com/office/drawing/2014/main" id="{0E0BA9AC-75AD-47C0-BC7E-C22BBC582618}"/>
              </a:ext>
            </a:extLst>
          </p:cNvPr>
          <p:cNvSpPr txBox="1"/>
          <p:nvPr/>
        </p:nvSpPr>
        <p:spPr>
          <a:xfrm>
            <a:off x="6441364" y="4387054"/>
            <a:ext cx="2782122" cy="938719"/>
          </a:xfrm>
          <a:prstGeom prst="rect">
            <a:avLst/>
          </a:prstGeom>
          <a:noFill/>
          <a:ln>
            <a:solidFill>
              <a:schemeClr val="bg1"/>
            </a:solidFill>
          </a:ln>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C always to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U terminates on NR </a:t>
            </a:r>
            <a:r>
              <a:rPr kumimoji="0" lang="en-US" sz="1100" b="0" i="0" u="none" strike="noStrike" kern="0" cap="none" spc="0" normalizeH="0" baseline="0" noProof="0" err="1">
                <a:ln>
                  <a:noFill/>
                </a:ln>
                <a:solidFill>
                  <a:srgbClr val="FFFFFF"/>
                </a:solidFill>
                <a:effectLst/>
                <a:uLnTx/>
                <a:uFillTx/>
                <a:latin typeface="Arial" charset="0"/>
                <a:ea typeface="+mn-ea"/>
                <a:cs typeface="+mn-cs"/>
              </a:rPr>
              <a:t>g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Only NR </a:t>
            </a:r>
            <a:r>
              <a:rPr kumimoji="0" lang="en-US" sz="1100" b="0" i="0" u="none" strike="noStrike" kern="0" cap="none" spc="0" normalizeH="0" baseline="0" noProof="0" err="1">
                <a:ln>
                  <a:noFill/>
                </a:ln>
                <a:solidFill>
                  <a:srgbClr val="FFFFFF"/>
                </a:solidFill>
                <a:effectLst/>
                <a:uLnTx/>
                <a:uFillTx/>
                <a:latin typeface="Arial" charset="0"/>
                <a:ea typeface="+mn-ea"/>
                <a:cs typeface="+mn-cs"/>
              </a:rPr>
              <a:t>gNB</a:t>
            </a:r>
            <a:r>
              <a:rPr kumimoji="0" lang="en-US" sz="1100" b="0" i="0" u="none" strike="noStrike" kern="0" cap="none" spc="0" normalizeH="0" baseline="0" noProof="0">
                <a:ln>
                  <a:noFill/>
                </a:ln>
                <a:solidFill>
                  <a:srgbClr val="FFFFFF"/>
                </a:solidFill>
                <a:effectLst/>
                <a:uLnTx/>
                <a:uFillTx/>
                <a:latin typeface="Arial" charset="0"/>
                <a:ea typeface="+mn-ea"/>
                <a:cs typeface="+mn-cs"/>
              </a:rPr>
              <a:t>/SCG used for bearer</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p:txBody>
      </p:sp>
      <p:grpSp>
        <p:nvGrpSpPr>
          <p:cNvPr id="139" name="Group 138">
            <a:extLst>
              <a:ext uri="{FF2B5EF4-FFF2-40B4-BE49-F238E27FC236}">
                <a16:creationId xmlns:a16="http://schemas.microsoft.com/office/drawing/2014/main" id="{C9B3E204-E42A-440F-AD93-DA00B58202BB}"/>
              </a:ext>
            </a:extLst>
          </p:cNvPr>
          <p:cNvGrpSpPr/>
          <p:nvPr/>
        </p:nvGrpSpPr>
        <p:grpSpPr>
          <a:xfrm>
            <a:off x="7065381" y="2293807"/>
            <a:ext cx="1353713" cy="631720"/>
            <a:chOff x="1416616" y="2456593"/>
            <a:chExt cx="1508780" cy="722485"/>
          </a:xfrm>
        </p:grpSpPr>
        <p:grpSp>
          <p:nvGrpSpPr>
            <p:cNvPr id="140" name="Group 139">
              <a:extLst>
                <a:ext uri="{FF2B5EF4-FFF2-40B4-BE49-F238E27FC236}">
                  <a16:creationId xmlns:a16="http://schemas.microsoft.com/office/drawing/2014/main" id="{86190D09-E2A0-48AF-BAE5-728F32D08DB1}"/>
                </a:ext>
              </a:extLst>
            </p:cNvPr>
            <p:cNvGrpSpPr/>
            <p:nvPr/>
          </p:nvGrpSpPr>
          <p:grpSpPr>
            <a:xfrm>
              <a:off x="1416616" y="2456593"/>
              <a:ext cx="1508780" cy="722485"/>
              <a:chOff x="8582882" y="167662"/>
              <a:chExt cx="796584" cy="295959"/>
            </a:xfrm>
          </p:grpSpPr>
          <p:sp>
            <p:nvSpPr>
              <p:cNvPr id="143" name="AutoShape 15" descr="bpct-blend1">
                <a:extLst>
                  <a:ext uri="{FF2B5EF4-FFF2-40B4-BE49-F238E27FC236}">
                    <a16:creationId xmlns:a16="http://schemas.microsoft.com/office/drawing/2014/main" id="{30E3DFBD-4023-40C8-8BF1-CE219FBCAF61}"/>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Arial" pitchFamily="34" charset="0"/>
                  <a:ea typeface="+mn-ea"/>
                  <a:cs typeface="+mn-cs"/>
                </a:endParaRPr>
              </a:p>
            </p:txBody>
          </p:sp>
          <p:sp>
            <p:nvSpPr>
              <p:cNvPr id="144" name="Rectangle 36">
                <a:extLst>
                  <a:ext uri="{FF2B5EF4-FFF2-40B4-BE49-F238E27FC236}">
                    <a16:creationId xmlns:a16="http://schemas.microsoft.com/office/drawing/2014/main" id="{DBFD2C36-5783-4027-82AA-1B9F5403F488}"/>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 EPC</a:t>
                </a:r>
              </a:p>
            </p:txBody>
          </p:sp>
        </p:grpSp>
        <p:sp>
          <p:nvSpPr>
            <p:cNvPr id="141" name="Rectangle: Rounded Corners 140">
              <a:extLst>
                <a:ext uri="{FF2B5EF4-FFF2-40B4-BE49-F238E27FC236}">
                  <a16:creationId xmlns:a16="http://schemas.microsoft.com/office/drawing/2014/main" id="{8609A343-9BB9-423E-B923-63627A75F876}"/>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MME</a:t>
              </a:r>
            </a:p>
          </p:txBody>
        </p:sp>
        <p:sp>
          <p:nvSpPr>
            <p:cNvPr id="142" name="Rectangle: Rounded Corners 141">
              <a:extLst>
                <a:ext uri="{FF2B5EF4-FFF2-40B4-BE49-F238E27FC236}">
                  <a16:creationId xmlns:a16="http://schemas.microsoft.com/office/drawing/2014/main" id="{8F0AD0A1-65F5-4832-ABD0-01895DFADEF0}"/>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SGW</a:t>
              </a:r>
            </a:p>
          </p:txBody>
        </p:sp>
      </p:grpSp>
      <p:cxnSp>
        <p:nvCxnSpPr>
          <p:cNvPr id="151" name="Straight Connector 150">
            <a:extLst>
              <a:ext uri="{FF2B5EF4-FFF2-40B4-BE49-F238E27FC236}">
                <a16:creationId xmlns:a16="http://schemas.microsoft.com/office/drawing/2014/main" id="{5E64AB63-18E6-4A15-A772-807FBB596047}"/>
              </a:ext>
            </a:extLst>
          </p:cNvPr>
          <p:cNvCxnSpPr>
            <a:cxnSpLocks/>
            <a:stCxn id="141" idx="2"/>
          </p:cNvCxnSpPr>
          <p:nvPr/>
        </p:nvCxnSpPr>
        <p:spPr bwMode="auto">
          <a:xfrm flipH="1">
            <a:off x="6942031" y="2832921"/>
            <a:ext cx="561191" cy="1052828"/>
          </a:xfrm>
          <a:prstGeom prst="line">
            <a:avLst/>
          </a:prstGeom>
          <a:noFill/>
          <a:ln w="12700" cap="flat" cmpd="sng" algn="ctr">
            <a:solidFill>
              <a:schemeClr val="bg1"/>
            </a:solidFill>
            <a:prstDash val="dash"/>
            <a:round/>
            <a:headEnd type="none" w="med" len="med"/>
            <a:tailEnd type="none" w="med" len="med"/>
          </a:ln>
          <a:effectLst/>
        </p:spPr>
      </p:cxnSp>
      <p:cxnSp>
        <p:nvCxnSpPr>
          <p:cNvPr id="95" name="Straight Connector 94">
            <a:extLst>
              <a:ext uri="{FF2B5EF4-FFF2-40B4-BE49-F238E27FC236}">
                <a16:creationId xmlns:a16="http://schemas.microsoft.com/office/drawing/2014/main" id="{2B3E23ED-C97A-47BD-9397-B12B7CE45F61}"/>
              </a:ext>
            </a:extLst>
          </p:cNvPr>
          <p:cNvCxnSpPr>
            <a:cxnSpLocks/>
            <a:stCxn id="142" idx="2"/>
            <a:endCxn id="82" idx="0"/>
          </p:cNvCxnSpPr>
          <p:nvPr/>
        </p:nvCxnSpPr>
        <p:spPr bwMode="auto">
          <a:xfrm>
            <a:off x="8012637" y="2832921"/>
            <a:ext cx="523990" cy="1021556"/>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88" name="Rectangle 87">
            <a:extLst>
              <a:ext uri="{FF2B5EF4-FFF2-40B4-BE49-F238E27FC236}">
                <a16:creationId xmlns:a16="http://schemas.microsoft.com/office/drawing/2014/main" id="{A9F6F4D9-E7AB-4ACD-BB2F-B418E7510B14}"/>
              </a:ext>
            </a:extLst>
          </p:cNvPr>
          <p:cNvSpPr/>
          <p:nvPr/>
        </p:nvSpPr>
        <p:spPr>
          <a:xfrm>
            <a:off x="7239101" y="1881894"/>
            <a:ext cx="1022885" cy="269111"/>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itchFamily="34" charset="0"/>
                <a:ea typeface="+mn-ea"/>
                <a:cs typeface="+mn-cs"/>
              </a:rPr>
              <a:t>SCG bearer</a:t>
            </a:r>
          </a:p>
        </p:txBody>
      </p:sp>
      <p:sp>
        <p:nvSpPr>
          <p:cNvPr id="96" name="TextBox 95">
            <a:extLst>
              <a:ext uri="{FF2B5EF4-FFF2-40B4-BE49-F238E27FC236}">
                <a16:creationId xmlns:a16="http://schemas.microsoft.com/office/drawing/2014/main" id="{18E5C63F-5DE0-4CE7-BC10-86019E68C341}"/>
              </a:ext>
            </a:extLst>
          </p:cNvPr>
          <p:cNvSpPr txBox="1"/>
          <p:nvPr/>
        </p:nvSpPr>
        <p:spPr>
          <a:xfrm>
            <a:off x="7626912" y="3667798"/>
            <a:ext cx="341153"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X2’</a:t>
            </a:r>
          </a:p>
        </p:txBody>
      </p:sp>
      <p:cxnSp>
        <p:nvCxnSpPr>
          <p:cNvPr id="103" name="Straight Connector 102">
            <a:extLst>
              <a:ext uri="{FF2B5EF4-FFF2-40B4-BE49-F238E27FC236}">
                <a16:creationId xmlns:a16="http://schemas.microsoft.com/office/drawing/2014/main" id="{DA67E8D6-87F9-4389-B03B-0293C318D7A1}"/>
              </a:ext>
            </a:extLst>
          </p:cNvPr>
          <p:cNvCxnSpPr>
            <a:cxnSpLocks/>
          </p:cNvCxnSpPr>
          <p:nvPr/>
        </p:nvCxnSpPr>
        <p:spPr bwMode="auto">
          <a:xfrm>
            <a:off x="7014501" y="3912974"/>
            <a:ext cx="1564306" cy="0"/>
          </a:xfrm>
          <a:prstGeom prst="line">
            <a:avLst/>
          </a:prstGeom>
          <a:noFill/>
          <a:ln w="12700" cap="flat" cmpd="sng" algn="ctr">
            <a:solidFill>
              <a:schemeClr val="bg1"/>
            </a:solidFill>
            <a:prstDash val="dash"/>
            <a:round/>
            <a:headEnd type="none" w="med" len="med"/>
            <a:tailEnd type="none" w="med" len="med"/>
          </a:ln>
          <a:effectLst/>
        </p:spPr>
      </p:cxnSp>
      <p:sp>
        <p:nvSpPr>
          <p:cNvPr id="97" name="Oval 96">
            <a:extLst>
              <a:ext uri="{FF2B5EF4-FFF2-40B4-BE49-F238E27FC236}">
                <a16:creationId xmlns:a16="http://schemas.microsoft.com/office/drawing/2014/main" id="{47FA45AC-962A-4A13-9783-269123F3A1B5}"/>
              </a:ext>
            </a:extLst>
          </p:cNvPr>
          <p:cNvSpPr/>
          <p:nvPr/>
        </p:nvSpPr>
        <p:spPr bwMode="auto">
          <a:xfrm>
            <a:off x="10862888" y="3546154"/>
            <a:ext cx="1175473" cy="642593"/>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Arial" charset="0"/>
              <a:ea typeface="+mn-ea"/>
              <a:cs typeface="+mn-cs"/>
            </a:endParaRPr>
          </a:p>
        </p:txBody>
      </p:sp>
      <p:sp>
        <p:nvSpPr>
          <p:cNvPr id="98" name="TextBox 97">
            <a:extLst>
              <a:ext uri="{FF2B5EF4-FFF2-40B4-BE49-F238E27FC236}">
                <a16:creationId xmlns:a16="http://schemas.microsoft.com/office/drawing/2014/main" id="{78946002-5BEB-49F0-A508-0732AFA91666}"/>
              </a:ext>
            </a:extLst>
          </p:cNvPr>
          <p:cNvSpPr txBox="1"/>
          <p:nvPr/>
        </p:nvSpPr>
        <p:spPr>
          <a:xfrm>
            <a:off x="11248016" y="3854477"/>
            <a:ext cx="364165" cy="242200"/>
          </a:xfrm>
          <a:prstGeom prst="rect">
            <a:avLst/>
          </a:prstGeom>
          <a:noFill/>
        </p:spPr>
        <p:txBody>
          <a:bodyPr wrap="none" rtlCol="0">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tx1">
                    <a:lumMod val="50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NR</a:t>
            </a:r>
          </a:p>
        </p:txBody>
      </p:sp>
      <p:sp>
        <p:nvSpPr>
          <p:cNvPr id="99" name="Oval 98">
            <a:extLst>
              <a:ext uri="{FF2B5EF4-FFF2-40B4-BE49-F238E27FC236}">
                <a16:creationId xmlns:a16="http://schemas.microsoft.com/office/drawing/2014/main" id="{EFAE1CFE-BC10-4EE2-8238-D62450317D99}"/>
              </a:ext>
            </a:extLst>
          </p:cNvPr>
          <p:cNvSpPr/>
          <p:nvPr/>
        </p:nvSpPr>
        <p:spPr bwMode="auto">
          <a:xfrm>
            <a:off x="9401301" y="3546154"/>
            <a:ext cx="1175473" cy="642593"/>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Arial" charset="0"/>
              <a:ea typeface="+mn-ea"/>
              <a:cs typeface="+mn-cs"/>
            </a:endParaRPr>
          </a:p>
        </p:txBody>
      </p:sp>
      <p:sp>
        <p:nvSpPr>
          <p:cNvPr id="100" name="Freeform 3">
            <a:extLst>
              <a:ext uri="{FF2B5EF4-FFF2-40B4-BE49-F238E27FC236}">
                <a16:creationId xmlns:a16="http://schemas.microsoft.com/office/drawing/2014/main" id="{02D432A5-3096-4401-849B-A7C2C4D289E4}"/>
              </a:ext>
            </a:extLst>
          </p:cNvPr>
          <p:cNvSpPr>
            <a:spLocks noChangeAspect="1" noEditPoints="1"/>
          </p:cNvSpPr>
          <p:nvPr/>
        </p:nvSpPr>
        <p:spPr bwMode="auto">
          <a:xfrm>
            <a:off x="9727837" y="3151369"/>
            <a:ext cx="530961" cy="746876"/>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01" name="TextBox 100">
            <a:extLst>
              <a:ext uri="{FF2B5EF4-FFF2-40B4-BE49-F238E27FC236}">
                <a16:creationId xmlns:a16="http://schemas.microsoft.com/office/drawing/2014/main" id="{D5BB25EA-F377-457D-8F0B-D1FE69C6A1E3}"/>
              </a:ext>
            </a:extLst>
          </p:cNvPr>
          <p:cNvSpPr txBox="1"/>
          <p:nvPr/>
        </p:nvSpPr>
        <p:spPr>
          <a:xfrm>
            <a:off x="9786429" y="3854477"/>
            <a:ext cx="418819" cy="242200"/>
          </a:xfrm>
          <a:prstGeom prst="rect">
            <a:avLst/>
          </a:prstGeom>
          <a:noFill/>
        </p:spPr>
        <p:txBody>
          <a:bodyPr wrap="none" rtlCol="0">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tx1">
                    <a:lumMod val="50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LTE</a:t>
            </a:r>
          </a:p>
        </p:txBody>
      </p:sp>
      <p:sp>
        <p:nvSpPr>
          <p:cNvPr id="102" name="Freeform 3">
            <a:extLst>
              <a:ext uri="{FF2B5EF4-FFF2-40B4-BE49-F238E27FC236}">
                <a16:creationId xmlns:a16="http://schemas.microsoft.com/office/drawing/2014/main" id="{A09F0C6E-C361-4F3A-A38D-AAA51303B851}"/>
              </a:ext>
            </a:extLst>
          </p:cNvPr>
          <p:cNvSpPr>
            <a:spLocks noChangeAspect="1" noEditPoints="1"/>
          </p:cNvSpPr>
          <p:nvPr/>
        </p:nvSpPr>
        <p:spPr bwMode="auto">
          <a:xfrm>
            <a:off x="11176393" y="3151369"/>
            <a:ext cx="530961" cy="746876"/>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cxnSp>
        <p:nvCxnSpPr>
          <p:cNvPr id="107" name="Straight Connector 106">
            <a:extLst>
              <a:ext uri="{FF2B5EF4-FFF2-40B4-BE49-F238E27FC236}">
                <a16:creationId xmlns:a16="http://schemas.microsoft.com/office/drawing/2014/main" id="{A571EBD7-5C4A-413D-B07F-A2A0527A42C3}"/>
              </a:ext>
            </a:extLst>
          </p:cNvPr>
          <p:cNvCxnSpPr>
            <a:cxnSpLocks/>
            <a:stCxn id="98" idx="0"/>
            <a:endCxn id="101" idx="0"/>
          </p:cNvCxnSpPr>
          <p:nvPr/>
        </p:nvCxnSpPr>
        <p:spPr bwMode="auto">
          <a:xfrm flipH="1">
            <a:off x="9995839" y="3854477"/>
            <a:ext cx="143426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09" name="TextBox 108">
            <a:extLst>
              <a:ext uri="{FF2B5EF4-FFF2-40B4-BE49-F238E27FC236}">
                <a16:creationId xmlns:a16="http://schemas.microsoft.com/office/drawing/2014/main" id="{96C918E5-82BC-440E-9820-031739943236}"/>
              </a:ext>
            </a:extLst>
          </p:cNvPr>
          <p:cNvSpPr txBox="1"/>
          <p:nvPr/>
        </p:nvSpPr>
        <p:spPr>
          <a:xfrm rot="4058521">
            <a:off x="10791109" y="3023846"/>
            <a:ext cx="457209" cy="2278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U</a:t>
            </a:r>
          </a:p>
        </p:txBody>
      </p:sp>
      <p:sp>
        <p:nvSpPr>
          <p:cNvPr id="110" name="TextBox 109">
            <a:extLst>
              <a:ext uri="{FF2B5EF4-FFF2-40B4-BE49-F238E27FC236}">
                <a16:creationId xmlns:a16="http://schemas.microsoft.com/office/drawing/2014/main" id="{94687C83-8F03-4DFB-AD51-1412F4CCB71F}"/>
              </a:ext>
            </a:extLst>
          </p:cNvPr>
          <p:cNvSpPr txBox="1"/>
          <p:nvPr/>
        </p:nvSpPr>
        <p:spPr>
          <a:xfrm rot="18032023">
            <a:off x="10218768" y="3039392"/>
            <a:ext cx="457209" cy="2278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C</a:t>
            </a:r>
          </a:p>
        </p:txBody>
      </p:sp>
      <p:sp>
        <p:nvSpPr>
          <p:cNvPr id="112" name="Rectangle 111">
            <a:extLst>
              <a:ext uri="{FF2B5EF4-FFF2-40B4-BE49-F238E27FC236}">
                <a16:creationId xmlns:a16="http://schemas.microsoft.com/office/drawing/2014/main" id="{0E02BE13-0E4D-4A34-9583-387562F29C95}"/>
              </a:ext>
            </a:extLst>
          </p:cNvPr>
          <p:cNvSpPr/>
          <p:nvPr/>
        </p:nvSpPr>
        <p:spPr>
          <a:xfrm>
            <a:off x="10172617" y="1493661"/>
            <a:ext cx="953849" cy="29602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Arial" charset="0"/>
                <a:ea typeface="+mn-ea"/>
                <a:cs typeface="+mn-cs"/>
              </a:rPr>
              <a:t>Option 3x</a:t>
            </a:r>
          </a:p>
        </p:txBody>
      </p:sp>
      <p:sp>
        <p:nvSpPr>
          <p:cNvPr id="116" name="TextBox 115">
            <a:extLst>
              <a:ext uri="{FF2B5EF4-FFF2-40B4-BE49-F238E27FC236}">
                <a16:creationId xmlns:a16="http://schemas.microsoft.com/office/drawing/2014/main" id="{FDD91640-8ADA-42A5-A41F-A950ADC83D9D}"/>
              </a:ext>
            </a:extLst>
          </p:cNvPr>
          <p:cNvSpPr txBox="1"/>
          <p:nvPr/>
        </p:nvSpPr>
        <p:spPr>
          <a:xfrm>
            <a:off x="9481227" y="4387054"/>
            <a:ext cx="2557134" cy="938719"/>
          </a:xfrm>
          <a:prstGeom prst="rect">
            <a:avLst/>
          </a:prstGeom>
          <a:noFill/>
          <a:ln>
            <a:solidFill>
              <a:schemeClr val="bg1"/>
            </a:solidFill>
          </a:ln>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C always to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U terminates on NR </a:t>
            </a:r>
            <a:r>
              <a:rPr kumimoji="0" lang="en-US" sz="1100" b="0" i="0" u="none" strike="noStrike" kern="0" cap="none" spc="0" normalizeH="0" baseline="0" noProof="0" err="1">
                <a:ln>
                  <a:noFill/>
                </a:ln>
                <a:solidFill>
                  <a:srgbClr val="FFFFFF"/>
                </a:solidFill>
                <a:effectLst/>
                <a:uLnTx/>
                <a:uFillTx/>
                <a:latin typeface="Arial" charset="0"/>
                <a:ea typeface="+mn-ea"/>
                <a:cs typeface="+mn-cs"/>
              </a:rPr>
              <a:t>g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NR gNB decides if UP traffic is routed via NR gNB and/or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r>
              <a:rPr kumimoji="0" lang="en-US" sz="1100" b="0" i="0" u="none" strike="noStrike" kern="0" cap="none" spc="0" normalizeH="0" baseline="0" noProof="0">
                <a:ln>
                  <a:noFill/>
                </a:ln>
                <a:solidFill>
                  <a:srgbClr val="FFFFFF"/>
                </a:solidFill>
                <a:effectLst/>
                <a:uLnTx/>
                <a:uFillTx/>
                <a:latin typeface="Arial" charset="0"/>
                <a:ea typeface="+mn-ea"/>
                <a:cs typeface="+mn-cs"/>
              </a:rPr>
              <a:t> (split bearer in NR gNB/SCG)</a:t>
            </a:r>
          </a:p>
        </p:txBody>
      </p:sp>
      <p:grpSp>
        <p:nvGrpSpPr>
          <p:cNvPr id="145" name="Group 144">
            <a:extLst>
              <a:ext uri="{FF2B5EF4-FFF2-40B4-BE49-F238E27FC236}">
                <a16:creationId xmlns:a16="http://schemas.microsoft.com/office/drawing/2014/main" id="{D2DFCAD4-7F59-4541-89BB-6A01A7AEF251}"/>
              </a:ext>
            </a:extLst>
          </p:cNvPr>
          <p:cNvGrpSpPr/>
          <p:nvPr/>
        </p:nvGrpSpPr>
        <p:grpSpPr>
          <a:xfrm>
            <a:off x="10015705" y="2293807"/>
            <a:ext cx="1353713" cy="631720"/>
            <a:chOff x="1416616" y="2456593"/>
            <a:chExt cx="1508780" cy="722485"/>
          </a:xfrm>
        </p:grpSpPr>
        <p:grpSp>
          <p:nvGrpSpPr>
            <p:cNvPr id="146" name="Group 145">
              <a:extLst>
                <a:ext uri="{FF2B5EF4-FFF2-40B4-BE49-F238E27FC236}">
                  <a16:creationId xmlns:a16="http://schemas.microsoft.com/office/drawing/2014/main" id="{F10C457F-6BE8-4F47-9F5C-673BDB1C9F40}"/>
                </a:ext>
              </a:extLst>
            </p:cNvPr>
            <p:cNvGrpSpPr/>
            <p:nvPr/>
          </p:nvGrpSpPr>
          <p:grpSpPr>
            <a:xfrm>
              <a:off x="1416616" y="2456593"/>
              <a:ext cx="1508780" cy="722485"/>
              <a:chOff x="8582882" y="167662"/>
              <a:chExt cx="796584" cy="295959"/>
            </a:xfrm>
          </p:grpSpPr>
          <p:sp>
            <p:nvSpPr>
              <p:cNvPr id="149" name="AutoShape 15" descr="bpct-blend1">
                <a:extLst>
                  <a:ext uri="{FF2B5EF4-FFF2-40B4-BE49-F238E27FC236}">
                    <a16:creationId xmlns:a16="http://schemas.microsoft.com/office/drawing/2014/main" id="{3D3AF124-C3CB-4691-91AE-68DA98129438}"/>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Arial" pitchFamily="34" charset="0"/>
                  <a:ea typeface="+mn-ea"/>
                  <a:cs typeface="+mn-cs"/>
                </a:endParaRPr>
              </a:p>
            </p:txBody>
          </p:sp>
          <p:sp>
            <p:nvSpPr>
              <p:cNvPr id="150" name="Rectangle 36">
                <a:extLst>
                  <a:ext uri="{FF2B5EF4-FFF2-40B4-BE49-F238E27FC236}">
                    <a16:creationId xmlns:a16="http://schemas.microsoft.com/office/drawing/2014/main" id="{A037ABE3-F38F-4B79-8801-4B29B661BD92}"/>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 EPC</a:t>
                </a:r>
              </a:p>
            </p:txBody>
          </p:sp>
        </p:grpSp>
        <p:sp>
          <p:nvSpPr>
            <p:cNvPr id="147" name="Rectangle: Rounded Corners 146">
              <a:extLst>
                <a:ext uri="{FF2B5EF4-FFF2-40B4-BE49-F238E27FC236}">
                  <a16:creationId xmlns:a16="http://schemas.microsoft.com/office/drawing/2014/main" id="{A96BBB05-EA38-44FB-BC8D-F994406EBFE8}"/>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MME</a:t>
              </a:r>
            </a:p>
          </p:txBody>
        </p:sp>
        <p:sp>
          <p:nvSpPr>
            <p:cNvPr id="148" name="Rectangle: Rounded Corners 147">
              <a:extLst>
                <a:ext uri="{FF2B5EF4-FFF2-40B4-BE49-F238E27FC236}">
                  <a16:creationId xmlns:a16="http://schemas.microsoft.com/office/drawing/2014/main" id="{41A43E1B-38F5-40B0-AD87-0F790E392242}"/>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SGW</a:t>
              </a:r>
            </a:p>
          </p:txBody>
        </p:sp>
      </p:grpSp>
      <p:sp>
        <p:nvSpPr>
          <p:cNvPr id="155" name="TextBox 154">
            <a:extLst>
              <a:ext uri="{FF2B5EF4-FFF2-40B4-BE49-F238E27FC236}">
                <a16:creationId xmlns:a16="http://schemas.microsoft.com/office/drawing/2014/main" id="{3B0E2BEF-E0FC-4C28-9D81-7367916252F4}"/>
              </a:ext>
            </a:extLst>
          </p:cNvPr>
          <p:cNvSpPr txBox="1"/>
          <p:nvPr/>
        </p:nvSpPr>
        <p:spPr>
          <a:xfrm>
            <a:off x="10561414" y="3640812"/>
            <a:ext cx="341153"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X2’</a:t>
            </a:r>
          </a:p>
        </p:txBody>
      </p:sp>
      <p:cxnSp>
        <p:nvCxnSpPr>
          <p:cNvPr id="111" name="Straight Connector 110">
            <a:extLst>
              <a:ext uri="{FF2B5EF4-FFF2-40B4-BE49-F238E27FC236}">
                <a16:creationId xmlns:a16="http://schemas.microsoft.com/office/drawing/2014/main" id="{C68E4B56-CE8C-42B6-A273-8A61C38A93FA}"/>
              </a:ext>
            </a:extLst>
          </p:cNvPr>
          <p:cNvCxnSpPr>
            <a:cxnSpLocks/>
            <a:stCxn id="148" idx="2"/>
            <a:endCxn id="98" idx="0"/>
          </p:cNvCxnSpPr>
          <p:nvPr/>
        </p:nvCxnSpPr>
        <p:spPr bwMode="auto">
          <a:xfrm>
            <a:off x="10962961" y="2832921"/>
            <a:ext cx="467138" cy="1021556"/>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EEF75754-583C-478E-B20E-98B22B2CFD7E}"/>
              </a:ext>
            </a:extLst>
          </p:cNvPr>
          <p:cNvCxnSpPr>
            <a:cxnSpLocks/>
            <a:stCxn id="147" idx="2"/>
          </p:cNvCxnSpPr>
          <p:nvPr/>
        </p:nvCxnSpPr>
        <p:spPr bwMode="auto">
          <a:xfrm flipH="1">
            <a:off x="10015705" y="2832921"/>
            <a:ext cx="437841" cy="959727"/>
          </a:xfrm>
          <a:prstGeom prst="line">
            <a:avLst/>
          </a:prstGeom>
          <a:noFill/>
          <a:ln w="12700" cap="flat" cmpd="sng" algn="ctr">
            <a:solidFill>
              <a:schemeClr val="bg1"/>
            </a:solidFill>
            <a:prstDash val="dash"/>
            <a:round/>
            <a:headEnd type="none" w="med" len="med"/>
            <a:tailEnd type="none" w="med" len="med"/>
          </a:ln>
          <a:effectLst/>
        </p:spPr>
      </p:cxnSp>
      <p:sp>
        <p:nvSpPr>
          <p:cNvPr id="89" name="Rectangle 88">
            <a:extLst>
              <a:ext uri="{FF2B5EF4-FFF2-40B4-BE49-F238E27FC236}">
                <a16:creationId xmlns:a16="http://schemas.microsoft.com/office/drawing/2014/main" id="{756A3A10-2E79-4850-87E8-D09303FA056C}"/>
              </a:ext>
            </a:extLst>
          </p:cNvPr>
          <p:cNvSpPr/>
          <p:nvPr/>
        </p:nvSpPr>
        <p:spPr>
          <a:xfrm>
            <a:off x="9531621" y="1881894"/>
            <a:ext cx="2263760" cy="307777"/>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itchFamily="34" charset="0"/>
                <a:ea typeface="+mn-ea"/>
                <a:cs typeface="+mn-cs"/>
              </a:rPr>
              <a:t>SN terminated split bearer</a:t>
            </a:r>
          </a:p>
        </p:txBody>
      </p:sp>
      <p:cxnSp>
        <p:nvCxnSpPr>
          <p:cNvPr id="105" name="Straight Connector 104">
            <a:extLst>
              <a:ext uri="{FF2B5EF4-FFF2-40B4-BE49-F238E27FC236}">
                <a16:creationId xmlns:a16="http://schemas.microsoft.com/office/drawing/2014/main" id="{8FD64B08-C98B-4556-8973-97384C75004C}"/>
              </a:ext>
            </a:extLst>
          </p:cNvPr>
          <p:cNvCxnSpPr>
            <a:cxnSpLocks/>
          </p:cNvCxnSpPr>
          <p:nvPr/>
        </p:nvCxnSpPr>
        <p:spPr bwMode="auto">
          <a:xfrm>
            <a:off x="10007728" y="3896874"/>
            <a:ext cx="1564306" cy="0"/>
          </a:xfrm>
          <a:prstGeom prst="line">
            <a:avLst/>
          </a:prstGeom>
          <a:noFill/>
          <a:ln w="12700" cap="flat" cmpd="sng" algn="ctr">
            <a:solidFill>
              <a:schemeClr val="bg1"/>
            </a:solidFill>
            <a:prstDash val="dash"/>
            <a:round/>
            <a:headEnd type="none" w="med" len="med"/>
            <a:tailEnd type="none" w="med" len="med"/>
          </a:ln>
          <a:effectLst/>
        </p:spPr>
      </p:cxnSp>
      <p:sp>
        <p:nvSpPr>
          <p:cNvPr id="74" name="Rectangle 73">
            <a:extLst>
              <a:ext uri="{FF2B5EF4-FFF2-40B4-BE49-F238E27FC236}">
                <a16:creationId xmlns:a16="http://schemas.microsoft.com/office/drawing/2014/main" id="{EAB91FB6-6A74-48C2-9A05-203D3F52A87A}"/>
              </a:ext>
            </a:extLst>
          </p:cNvPr>
          <p:cNvSpPr/>
          <p:nvPr/>
        </p:nvSpPr>
        <p:spPr>
          <a:xfrm>
            <a:off x="307663" y="6306449"/>
            <a:ext cx="8587607" cy="253916"/>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altLang="en-US" sz="1050" b="0" i="0" u="none" strike="noStrike" kern="0" cap="none" spc="0" normalizeH="0" baseline="30000" noProof="0">
                <a:ln>
                  <a:noFill/>
                </a:ln>
                <a:solidFill>
                  <a:srgbClr val="FFFFFF"/>
                </a:solidFill>
                <a:effectLst/>
                <a:uLnTx/>
                <a:uFillTx/>
                <a:latin typeface="Arial" pitchFamily="34" charset="0"/>
                <a:ea typeface="+mn-ea"/>
                <a:cs typeface="+mn-cs"/>
              </a:rPr>
              <a:t>(* </a:t>
            </a:r>
            <a:r>
              <a:rPr kumimoji="0" lang="en-US" sz="105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MCG bearer only if UE is in EN-DC, i.e. UE has another bearer using NR radio resources (otherwise this is “LTE-only/Option 1, DRB”) </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0" name="Oval 79">
            <a:extLst>
              <a:ext uri="{FF2B5EF4-FFF2-40B4-BE49-F238E27FC236}">
                <a16:creationId xmlns:a16="http://schemas.microsoft.com/office/drawing/2014/main" id="{553E67AD-EE4D-4034-8A65-32BBACF79BAA}"/>
              </a:ext>
            </a:extLst>
          </p:cNvPr>
          <p:cNvSpPr/>
          <p:nvPr/>
        </p:nvSpPr>
        <p:spPr bwMode="auto">
          <a:xfrm>
            <a:off x="1869329" y="3546154"/>
            <a:ext cx="1262107" cy="630664"/>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58585A"/>
              </a:solidFill>
              <a:effectLst/>
              <a:uLnTx/>
              <a:uFillTx/>
              <a:latin typeface="Arial" charset="0"/>
              <a:ea typeface="+mn-ea"/>
              <a:cs typeface="+mn-cs"/>
            </a:endParaRPr>
          </a:p>
        </p:txBody>
      </p:sp>
      <p:sp>
        <p:nvSpPr>
          <p:cNvPr id="90" name="TextBox 89">
            <a:extLst>
              <a:ext uri="{FF2B5EF4-FFF2-40B4-BE49-F238E27FC236}">
                <a16:creationId xmlns:a16="http://schemas.microsoft.com/office/drawing/2014/main" id="{E1B69729-A232-4E1A-9338-77E4874B9211}"/>
              </a:ext>
            </a:extLst>
          </p:cNvPr>
          <p:cNvSpPr txBox="1"/>
          <p:nvPr/>
        </p:nvSpPr>
        <p:spPr>
          <a:xfrm>
            <a:off x="2305165" y="3854477"/>
            <a:ext cx="364165"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NR</a:t>
            </a:r>
          </a:p>
        </p:txBody>
      </p:sp>
      <p:sp>
        <p:nvSpPr>
          <p:cNvPr id="91" name="Oval 90">
            <a:extLst>
              <a:ext uri="{FF2B5EF4-FFF2-40B4-BE49-F238E27FC236}">
                <a16:creationId xmlns:a16="http://schemas.microsoft.com/office/drawing/2014/main" id="{5B5AB5E9-8817-412B-8AF7-D5F247D29DFD}"/>
              </a:ext>
            </a:extLst>
          </p:cNvPr>
          <p:cNvSpPr/>
          <p:nvPr/>
        </p:nvSpPr>
        <p:spPr bwMode="auto">
          <a:xfrm>
            <a:off x="397739" y="3546154"/>
            <a:ext cx="1262107" cy="630664"/>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0" cap="none" spc="0" normalizeH="0" baseline="0" noProof="0">
              <a:ln>
                <a:noFill/>
              </a:ln>
              <a:solidFill>
                <a:srgbClr val="FED57A"/>
              </a:solidFill>
              <a:effectLst/>
              <a:uLnTx/>
              <a:uFillTx/>
              <a:latin typeface="Arial" charset="0"/>
              <a:ea typeface="+mn-ea"/>
              <a:cs typeface="+mn-cs"/>
            </a:endParaRPr>
          </a:p>
        </p:txBody>
      </p:sp>
      <p:sp>
        <p:nvSpPr>
          <p:cNvPr id="104" name="Freeform 3">
            <a:extLst>
              <a:ext uri="{FF2B5EF4-FFF2-40B4-BE49-F238E27FC236}">
                <a16:creationId xmlns:a16="http://schemas.microsoft.com/office/drawing/2014/main" id="{CF7A7E42-9B95-421D-A404-22F23A4E838F}"/>
              </a:ext>
            </a:extLst>
          </p:cNvPr>
          <p:cNvSpPr>
            <a:spLocks noChangeAspect="1" noEditPoints="1"/>
          </p:cNvSpPr>
          <p:nvPr/>
        </p:nvSpPr>
        <p:spPr bwMode="auto">
          <a:xfrm>
            <a:off x="748342" y="3151369"/>
            <a:ext cx="570094" cy="733012"/>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06" name="TextBox 105">
            <a:extLst>
              <a:ext uri="{FF2B5EF4-FFF2-40B4-BE49-F238E27FC236}">
                <a16:creationId xmlns:a16="http://schemas.microsoft.com/office/drawing/2014/main" id="{F58AA75E-566B-4901-8273-1E963F3FB6AF}"/>
              </a:ext>
            </a:extLst>
          </p:cNvPr>
          <p:cNvSpPr txBox="1"/>
          <p:nvPr/>
        </p:nvSpPr>
        <p:spPr>
          <a:xfrm>
            <a:off x="811252" y="3854477"/>
            <a:ext cx="418819" cy="242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8585A">
                    <a:lumMod val="50000"/>
                  </a:srgbClr>
                </a:solidFill>
                <a:effectLst/>
                <a:uLnTx/>
                <a:uFillTx/>
                <a:latin typeface="Arial" charset="0"/>
                <a:ea typeface="+mn-ea"/>
                <a:cs typeface="+mn-cs"/>
              </a:rPr>
              <a:t>LTE</a:t>
            </a:r>
          </a:p>
        </p:txBody>
      </p:sp>
      <p:sp>
        <p:nvSpPr>
          <p:cNvPr id="108" name="Freeform 3">
            <a:extLst>
              <a:ext uri="{FF2B5EF4-FFF2-40B4-BE49-F238E27FC236}">
                <a16:creationId xmlns:a16="http://schemas.microsoft.com/office/drawing/2014/main" id="{EA4F2D8F-7B8A-4D7F-A52B-B908B74DE4A5}"/>
              </a:ext>
            </a:extLst>
          </p:cNvPr>
          <p:cNvSpPr>
            <a:spLocks noChangeAspect="1" noEditPoints="1"/>
          </p:cNvSpPr>
          <p:nvPr/>
        </p:nvSpPr>
        <p:spPr bwMode="auto">
          <a:xfrm>
            <a:off x="2205939" y="3151369"/>
            <a:ext cx="570094" cy="733012"/>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20" name="TextBox 119">
            <a:extLst>
              <a:ext uri="{FF2B5EF4-FFF2-40B4-BE49-F238E27FC236}">
                <a16:creationId xmlns:a16="http://schemas.microsoft.com/office/drawing/2014/main" id="{79FC9235-37B2-4385-893B-B4791EC97E0D}"/>
              </a:ext>
            </a:extLst>
          </p:cNvPr>
          <p:cNvSpPr txBox="1"/>
          <p:nvPr/>
        </p:nvSpPr>
        <p:spPr>
          <a:xfrm rot="18953134">
            <a:off x="1521004" y="3196686"/>
            <a:ext cx="469158" cy="2220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U</a:t>
            </a:r>
          </a:p>
        </p:txBody>
      </p:sp>
      <p:sp>
        <p:nvSpPr>
          <p:cNvPr id="121" name="TextBox 120">
            <a:extLst>
              <a:ext uri="{FF2B5EF4-FFF2-40B4-BE49-F238E27FC236}">
                <a16:creationId xmlns:a16="http://schemas.microsoft.com/office/drawing/2014/main" id="{E742244C-2913-4FF2-815F-2641B055256F}"/>
              </a:ext>
            </a:extLst>
          </p:cNvPr>
          <p:cNvSpPr txBox="1"/>
          <p:nvPr/>
        </p:nvSpPr>
        <p:spPr>
          <a:xfrm rot="18032023">
            <a:off x="1231140" y="3039392"/>
            <a:ext cx="457209" cy="2278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charset="0"/>
                <a:ea typeface="+mn-ea"/>
                <a:cs typeface="+mn-cs"/>
              </a:rPr>
              <a:t>S1’-C</a:t>
            </a:r>
          </a:p>
        </p:txBody>
      </p:sp>
      <p:sp>
        <p:nvSpPr>
          <p:cNvPr id="122" name="Rectangle 121">
            <a:extLst>
              <a:ext uri="{FF2B5EF4-FFF2-40B4-BE49-F238E27FC236}">
                <a16:creationId xmlns:a16="http://schemas.microsoft.com/office/drawing/2014/main" id="{F2CB93AF-2338-44DF-A3EE-4F7D6ECDFB02}"/>
              </a:ext>
            </a:extLst>
          </p:cNvPr>
          <p:cNvSpPr/>
          <p:nvPr/>
        </p:nvSpPr>
        <p:spPr>
          <a:xfrm>
            <a:off x="1340952" y="1541757"/>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sng" strike="noStrike" kern="0" cap="none" spc="0" normalizeH="0" baseline="0" noProof="0">
              <a:ln>
                <a:noFill/>
              </a:ln>
              <a:solidFill>
                <a:srgbClr val="FFFFFF"/>
              </a:solidFill>
              <a:effectLst/>
              <a:uLnTx/>
              <a:uFillTx/>
              <a:latin typeface="Arial" charset="0"/>
              <a:ea typeface="+mn-ea"/>
              <a:cs typeface="+mn-cs"/>
            </a:endParaRPr>
          </a:p>
        </p:txBody>
      </p:sp>
      <p:sp>
        <p:nvSpPr>
          <p:cNvPr id="123" name="TextBox 122">
            <a:extLst>
              <a:ext uri="{FF2B5EF4-FFF2-40B4-BE49-F238E27FC236}">
                <a16:creationId xmlns:a16="http://schemas.microsoft.com/office/drawing/2014/main" id="{91AC894A-E70E-464C-AA97-2EF09F911F08}"/>
              </a:ext>
            </a:extLst>
          </p:cNvPr>
          <p:cNvSpPr txBox="1"/>
          <p:nvPr/>
        </p:nvSpPr>
        <p:spPr>
          <a:xfrm>
            <a:off x="397739" y="4387054"/>
            <a:ext cx="2733697" cy="938719"/>
          </a:xfrm>
          <a:prstGeom prst="rect">
            <a:avLst/>
          </a:prstGeom>
          <a:noFill/>
          <a:ln>
            <a:solidFill>
              <a:schemeClr val="bg1"/>
            </a:solidFill>
          </a:ln>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C always to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S1’-U terminates on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FFFFFF"/>
                </a:solidFill>
                <a:effectLst/>
                <a:uLnTx/>
                <a:uFillTx/>
                <a:latin typeface="Arial" charset="0"/>
                <a:ea typeface="+mn-ea"/>
                <a:cs typeface="+mn-cs"/>
              </a:rPr>
              <a:t>Only LTE </a:t>
            </a:r>
            <a:r>
              <a:rPr kumimoji="0" lang="en-US" sz="1100" b="0" i="0" u="none" strike="noStrike" kern="0" cap="none" spc="0" normalizeH="0" baseline="0" noProof="0" err="1">
                <a:ln>
                  <a:noFill/>
                </a:ln>
                <a:solidFill>
                  <a:srgbClr val="FFFFFF"/>
                </a:solidFill>
                <a:effectLst/>
                <a:uLnTx/>
                <a:uFillTx/>
                <a:latin typeface="Arial" charset="0"/>
                <a:ea typeface="+mn-ea"/>
                <a:cs typeface="+mn-cs"/>
              </a:rPr>
              <a:t>eNB</a:t>
            </a:r>
            <a:r>
              <a:rPr kumimoji="0" lang="en-US" sz="1100" b="0" i="0" u="none" strike="noStrike" kern="0" cap="none" spc="0" normalizeH="0" baseline="0" noProof="0">
                <a:ln>
                  <a:noFill/>
                </a:ln>
                <a:solidFill>
                  <a:srgbClr val="FFFFFF"/>
                </a:solidFill>
                <a:effectLst/>
                <a:uLnTx/>
                <a:uFillTx/>
                <a:latin typeface="Arial" charset="0"/>
                <a:ea typeface="+mn-ea"/>
                <a:cs typeface="+mn-cs"/>
              </a:rPr>
              <a:t>/MCG used for bearer</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p:txBody>
      </p:sp>
      <p:grpSp>
        <p:nvGrpSpPr>
          <p:cNvPr id="124" name="Group 123">
            <a:extLst>
              <a:ext uri="{FF2B5EF4-FFF2-40B4-BE49-F238E27FC236}">
                <a16:creationId xmlns:a16="http://schemas.microsoft.com/office/drawing/2014/main" id="{CA3A297F-F048-4084-93E1-E14D301F4E50}"/>
              </a:ext>
            </a:extLst>
          </p:cNvPr>
          <p:cNvGrpSpPr/>
          <p:nvPr/>
        </p:nvGrpSpPr>
        <p:grpSpPr>
          <a:xfrm>
            <a:off x="1106275" y="2293807"/>
            <a:ext cx="1353713" cy="631720"/>
            <a:chOff x="1416616" y="2456593"/>
            <a:chExt cx="1508780" cy="722485"/>
          </a:xfrm>
        </p:grpSpPr>
        <p:grpSp>
          <p:nvGrpSpPr>
            <p:cNvPr id="131" name="Group 130">
              <a:extLst>
                <a:ext uri="{FF2B5EF4-FFF2-40B4-BE49-F238E27FC236}">
                  <a16:creationId xmlns:a16="http://schemas.microsoft.com/office/drawing/2014/main" id="{490DB3D0-BA53-4A01-8194-FC424DF6FD90}"/>
                </a:ext>
              </a:extLst>
            </p:cNvPr>
            <p:cNvGrpSpPr/>
            <p:nvPr/>
          </p:nvGrpSpPr>
          <p:grpSpPr>
            <a:xfrm>
              <a:off x="1416616" y="2456593"/>
              <a:ext cx="1508780" cy="722485"/>
              <a:chOff x="8582882" y="167662"/>
              <a:chExt cx="796584" cy="295959"/>
            </a:xfrm>
          </p:grpSpPr>
          <p:sp>
            <p:nvSpPr>
              <p:cNvPr id="153" name="AutoShape 15" descr="bpct-blend1">
                <a:extLst>
                  <a:ext uri="{FF2B5EF4-FFF2-40B4-BE49-F238E27FC236}">
                    <a16:creationId xmlns:a16="http://schemas.microsoft.com/office/drawing/2014/main" id="{31B4EF76-DD0A-4BD8-9EC0-4C7639BD057B}"/>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800" b="0" i="0" u="none" strike="noStrike" kern="0" cap="none" spc="0" normalizeH="0" baseline="0" noProof="0">
                  <a:ln>
                    <a:noFill/>
                  </a:ln>
                  <a:solidFill>
                    <a:srgbClr val="00A9D4"/>
                  </a:solidFill>
                  <a:effectLst/>
                  <a:uLnTx/>
                  <a:uFillTx/>
                  <a:latin typeface="Arial" pitchFamily="34" charset="0"/>
                  <a:ea typeface="+mn-ea"/>
                  <a:cs typeface="+mn-cs"/>
                </a:endParaRPr>
              </a:p>
            </p:txBody>
          </p:sp>
          <p:sp>
            <p:nvSpPr>
              <p:cNvPr id="154" name="Rectangle 36">
                <a:extLst>
                  <a:ext uri="{FF2B5EF4-FFF2-40B4-BE49-F238E27FC236}">
                    <a16:creationId xmlns:a16="http://schemas.microsoft.com/office/drawing/2014/main" id="{D497F6F3-BB48-439D-AACD-34772D141162}"/>
                  </a:ext>
                </a:extLst>
              </p:cNvPr>
              <p:cNvSpPr>
                <a:spLocks noChangeArrowheads="1"/>
              </p:cNvSpPr>
              <p:nvPr/>
            </p:nvSpPr>
            <p:spPr bwMode="auto">
              <a:xfrm>
                <a:off x="8582882" y="191001"/>
                <a:ext cx="796584" cy="11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 EPC</a:t>
                </a:r>
              </a:p>
            </p:txBody>
          </p:sp>
        </p:grpSp>
        <p:sp>
          <p:nvSpPr>
            <p:cNvPr id="135" name="Rectangle: Rounded Corners 134">
              <a:extLst>
                <a:ext uri="{FF2B5EF4-FFF2-40B4-BE49-F238E27FC236}">
                  <a16:creationId xmlns:a16="http://schemas.microsoft.com/office/drawing/2014/main" id="{638D107C-8390-4F51-8F82-45BBB2A83428}"/>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MME</a:t>
              </a:r>
            </a:p>
          </p:txBody>
        </p:sp>
        <p:sp>
          <p:nvSpPr>
            <p:cNvPr id="152" name="Rectangle: Rounded Corners 151">
              <a:extLst>
                <a:ext uri="{FF2B5EF4-FFF2-40B4-BE49-F238E27FC236}">
                  <a16:creationId xmlns:a16="http://schemas.microsoft.com/office/drawing/2014/main" id="{EA40AF6C-5E7A-467C-81F3-657FFDA2D213}"/>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charset="0"/>
                  <a:ea typeface="+mn-ea"/>
                  <a:cs typeface="+mn-cs"/>
                </a:rPr>
                <a:t>SGW</a:t>
              </a:r>
            </a:p>
          </p:txBody>
        </p:sp>
      </p:grpSp>
      <p:cxnSp>
        <p:nvCxnSpPr>
          <p:cNvPr id="127" name="Straight Connector 126">
            <a:extLst>
              <a:ext uri="{FF2B5EF4-FFF2-40B4-BE49-F238E27FC236}">
                <a16:creationId xmlns:a16="http://schemas.microsoft.com/office/drawing/2014/main" id="{FF72A025-355D-46A9-80B4-E343769BC852}"/>
              </a:ext>
            </a:extLst>
          </p:cNvPr>
          <p:cNvCxnSpPr>
            <a:stCxn id="135" idx="2"/>
          </p:cNvCxnSpPr>
          <p:nvPr/>
        </p:nvCxnSpPr>
        <p:spPr bwMode="auto">
          <a:xfrm flipH="1">
            <a:off x="1026774" y="2832921"/>
            <a:ext cx="517342" cy="1000414"/>
          </a:xfrm>
          <a:prstGeom prst="line">
            <a:avLst/>
          </a:prstGeom>
          <a:noFill/>
          <a:ln w="12700" cap="flat" cmpd="sng" algn="ctr">
            <a:solidFill>
              <a:schemeClr val="bg1"/>
            </a:solidFill>
            <a:prstDash val="dash"/>
            <a:round/>
            <a:headEnd type="none" w="med" len="med"/>
            <a:tailEnd type="none" w="med" len="med"/>
          </a:ln>
          <a:effectLst/>
        </p:spPr>
      </p:cxnSp>
      <p:cxnSp>
        <p:nvCxnSpPr>
          <p:cNvPr id="128" name="Straight Connector 127">
            <a:extLst>
              <a:ext uri="{FF2B5EF4-FFF2-40B4-BE49-F238E27FC236}">
                <a16:creationId xmlns:a16="http://schemas.microsoft.com/office/drawing/2014/main" id="{62C18A29-AAE0-4D3C-B0BF-A74464EE5C9F}"/>
              </a:ext>
            </a:extLst>
          </p:cNvPr>
          <p:cNvCxnSpPr>
            <a:cxnSpLocks/>
            <a:stCxn id="152" idx="2"/>
            <a:endCxn id="106" idx="0"/>
          </p:cNvCxnSpPr>
          <p:nvPr/>
        </p:nvCxnSpPr>
        <p:spPr bwMode="auto">
          <a:xfrm flipH="1">
            <a:off x="1020662" y="2832921"/>
            <a:ext cx="1032869" cy="1021556"/>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29" name="Rectangle 128">
            <a:extLst>
              <a:ext uri="{FF2B5EF4-FFF2-40B4-BE49-F238E27FC236}">
                <a16:creationId xmlns:a16="http://schemas.microsoft.com/office/drawing/2014/main" id="{D5CBF400-70DF-478F-88AB-4A82854EC580}"/>
              </a:ext>
            </a:extLst>
          </p:cNvPr>
          <p:cNvSpPr/>
          <p:nvPr/>
        </p:nvSpPr>
        <p:spPr>
          <a:xfrm>
            <a:off x="1138775" y="1881894"/>
            <a:ext cx="1298753" cy="307777"/>
          </a:xfrm>
          <a:prstGeom prst="rect">
            <a:avLst/>
          </a:prstGeom>
        </p:spPr>
        <p:txBody>
          <a:bodyPr wrap="none">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itchFamily="34" charset="0"/>
                <a:ea typeface="+mn-ea"/>
                <a:cs typeface="+mn-cs"/>
              </a:rPr>
              <a:t>MCG bearer</a:t>
            </a:r>
            <a:r>
              <a:rPr kumimoji="0" lang="en-US" altLang="en-US" sz="1400" b="0" i="0" u="none" strike="noStrike" kern="0" cap="none" spc="0" normalizeH="0" baseline="30000" noProof="0">
                <a:ln>
                  <a:noFill/>
                </a:ln>
                <a:solidFill>
                  <a:srgbClr val="FFFFFF"/>
                </a:solidFill>
                <a:effectLst/>
                <a:uLnTx/>
                <a:uFillTx/>
                <a:latin typeface="Arial" pitchFamily="34" charset="0"/>
                <a:ea typeface="+mn-ea"/>
                <a:cs typeface="+mn-cs"/>
              </a:rPr>
              <a:t>(*</a:t>
            </a:r>
          </a:p>
        </p:txBody>
      </p:sp>
      <p:sp>
        <p:nvSpPr>
          <p:cNvPr id="156" name="Rectangle 155">
            <a:extLst>
              <a:ext uri="{FF2B5EF4-FFF2-40B4-BE49-F238E27FC236}">
                <a16:creationId xmlns:a16="http://schemas.microsoft.com/office/drawing/2014/main" id="{4CDC530C-8D59-425F-8DD6-722AADCF02A2}"/>
              </a:ext>
            </a:extLst>
          </p:cNvPr>
          <p:cNvSpPr/>
          <p:nvPr/>
        </p:nvSpPr>
        <p:spPr>
          <a:xfrm>
            <a:off x="1117931" y="1499469"/>
            <a:ext cx="146226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a:ln>
                  <a:noFill/>
                </a:ln>
                <a:solidFill>
                  <a:srgbClr val="FFFFFF"/>
                </a:solidFill>
                <a:effectLst/>
                <a:uLnTx/>
                <a:uFillTx/>
                <a:latin typeface="Arial" charset="0"/>
                <a:ea typeface="+mn-ea"/>
                <a:cs typeface="+mn-cs"/>
              </a:rPr>
              <a:t>No term in TR</a:t>
            </a:r>
          </a:p>
        </p:txBody>
      </p:sp>
      <p:sp>
        <p:nvSpPr>
          <p:cNvPr id="158" name="TextBox 157">
            <a:extLst>
              <a:ext uri="{FF2B5EF4-FFF2-40B4-BE49-F238E27FC236}">
                <a16:creationId xmlns:a16="http://schemas.microsoft.com/office/drawing/2014/main" id="{72CE0447-26CA-4547-B571-D4ADE1D60CB2}"/>
              </a:ext>
            </a:extLst>
          </p:cNvPr>
          <p:cNvSpPr txBox="1"/>
          <p:nvPr/>
        </p:nvSpPr>
        <p:spPr>
          <a:xfrm>
            <a:off x="9987143" y="5469607"/>
            <a:ext cx="2051218" cy="122510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Arial" charset="0"/>
              <a:ea typeface="+mn-ea"/>
              <a:cs typeface="+mn-cs"/>
            </a:endParaRPr>
          </a:p>
        </p:txBody>
      </p:sp>
      <p:cxnSp>
        <p:nvCxnSpPr>
          <p:cNvPr id="159" name="Straight Connector 158">
            <a:extLst>
              <a:ext uri="{FF2B5EF4-FFF2-40B4-BE49-F238E27FC236}">
                <a16:creationId xmlns:a16="http://schemas.microsoft.com/office/drawing/2014/main" id="{F29AAD00-A8EF-443E-8992-723ABA6DD972}"/>
              </a:ext>
            </a:extLst>
          </p:cNvPr>
          <p:cNvCxnSpPr>
            <a:cxnSpLocks/>
          </p:cNvCxnSpPr>
          <p:nvPr/>
        </p:nvCxnSpPr>
        <p:spPr bwMode="auto">
          <a:xfrm flipH="1">
            <a:off x="10126331" y="5651085"/>
            <a:ext cx="420850" cy="0"/>
          </a:xfrm>
          <a:prstGeom prst="line">
            <a:avLst/>
          </a:prstGeom>
          <a:noFill/>
          <a:ln w="12700" cap="flat" cmpd="sng" algn="ctr">
            <a:solidFill>
              <a:schemeClr val="bg1"/>
            </a:solidFill>
            <a:prstDash val="dash"/>
            <a:round/>
            <a:headEnd type="none" w="med" len="med"/>
            <a:tailEnd type="none" w="med" len="med"/>
          </a:ln>
          <a:effectLst/>
        </p:spPr>
      </p:cxnSp>
      <p:cxnSp>
        <p:nvCxnSpPr>
          <p:cNvPr id="160" name="Straight Connector 159">
            <a:extLst>
              <a:ext uri="{FF2B5EF4-FFF2-40B4-BE49-F238E27FC236}">
                <a16:creationId xmlns:a16="http://schemas.microsoft.com/office/drawing/2014/main" id="{1002C0A4-6A48-4CFD-8526-50A7D4555687}"/>
              </a:ext>
            </a:extLst>
          </p:cNvPr>
          <p:cNvCxnSpPr>
            <a:cxnSpLocks/>
          </p:cNvCxnSpPr>
          <p:nvPr/>
        </p:nvCxnSpPr>
        <p:spPr bwMode="auto">
          <a:xfrm flipH="1">
            <a:off x="10117324" y="5831249"/>
            <a:ext cx="420850" cy="0"/>
          </a:xfrm>
          <a:prstGeom prst="line">
            <a:avLst/>
          </a:prstGeom>
          <a:noFill/>
          <a:ln w="12700" cap="flat" cmpd="sng" algn="ctr">
            <a:solidFill>
              <a:schemeClr val="bg1"/>
            </a:solidFill>
            <a:prstDash val="solid"/>
            <a:round/>
            <a:headEnd type="none" w="med" len="med"/>
            <a:tailEnd type="none" w="med" len="med"/>
          </a:ln>
          <a:effectLst/>
        </p:spPr>
      </p:cxnSp>
      <p:sp>
        <p:nvSpPr>
          <p:cNvPr id="167" name="Rectangle 166">
            <a:extLst>
              <a:ext uri="{FF2B5EF4-FFF2-40B4-BE49-F238E27FC236}">
                <a16:creationId xmlns:a16="http://schemas.microsoft.com/office/drawing/2014/main" id="{CE6F31A2-63B0-4705-9A3C-17661F578268}"/>
              </a:ext>
            </a:extLst>
          </p:cNvPr>
          <p:cNvSpPr/>
          <p:nvPr/>
        </p:nvSpPr>
        <p:spPr>
          <a:xfrm>
            <a:off x="10018050" y="5937895"/>
            <a:ext cx="1999265" cy="707886"/>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MCG       </a:t>
            </a:r>
            <a:r>
              <a:rPr kumimoji="0" lang="en-US" sz="3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 </a:t>
            </a: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Master Cell Group</a:t>
            </a:r>
            <a:b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SCG        Secondary Cell Group</a:t>
            </a:r>
            <a:b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MN          Master Node</a:t>
            </a:r>
            <a:b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SN           Secondary Node</a:t>
            </a:r>
          </a:p>
        </p:txBody>
      </p:sp>
      <p:sp>
        <p:nvSpPr>
          <p:cNvPr id="162" name="Rectangle 161">
            <a:extLst>
              <a:ext uri="{FF2B5EF4-FFF2-40B4-BE49-F238E27FC236}">
                <a16:creationId xmlns:a16="http://schemas.microsoft.com/office/drawing/2014/main" id="{6EFE0601-DC74-4B8C-A328-11A23B78CD04}"/>
              </a:ext>
            </a:extLst>
          </p:cNvPr>
          <p:cNvSpPr/>
          <p:nvPr/>
        </p:nvSpPr>
        <p:spPr>
          <a:xfrm>
            <a:off x="10544760" y="5524038"/>
            <a:ext cx="957313" cy="423193"/>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Control Plane</a:t>
            </a:r>
          </a:p>
          <a:p>
            <a:pPr marL="0" marR="0" lvl="0" indent="0" algn="l" defTabSz="914400" rtl="0" eaLnBrk="1" fontAlgn="base" latinLnBrk="0" hangingPunct="1">
              <a:lnSpc>
                <a:spcPct val="100000"/>
              </a:lnSpc>
              <a:spcBef>
                <a:spcPct val="50000"/>
              </a:spcBef>
              <a:spcAft>
                <a:spcPct val="0"/>
              </a:spcAft>
              <a:buClrTx/>
              <a:buSzTx/>
              <a:buFontTx/>
              <a:buNone/>
              <a:tabLst/>
              <a:defRPr/>
            </a:pPr>
            <a:br>
              <a:rPr kumimoji="0" lang="en-US" sz="1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Arial"/>
                <a:ea typeface="Segoe UI" panose="020B0502040204020203" pitchFamily="34" charset="0"/>
                <a:cs typeface="Segoe UI" panose="020B0502040204020203" pitchFamily="34" charset="0"/>
              </a:rPr>
              <a:t>User Plane</a:t>
            </a: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3" name="AutoShape 15" descr="bpct-blend1">
            <a:extLst>
              <a:ext uri="{FF2B5EF4-FFF2-40B4-BE49-F238E27FC236}">
                <a16:creationId xmlns:a16="http://schemas.microsoft.com/office/drawing/2014/main" id="{70FFE94F-8E63-432C-BB7F-1940BF6182AB}"/>
              </a:ext>
            </a:extLst>
          </p:cNvPr>
          <p:cNvSpPr>
            <a:spLocks noChangeArrowheads="1"/>
          </p:cNvSpPr>
          <p:nvPr/>
        </p:nvSpPr>
        <p:spPr bwMode="auto">
          <a:xfrm>
            <a:off x="389781" y="5545052"/>
            <a:ext cx="9338056" cy="560373"/>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altLang="en-US" sz="1800" b="0" i="0" u="none" strike="noStrike" kern="0" cap="none" spc="0" normalizeH="0" baseline="0" noProof="0">
                <a:ln>
                  <a:noFill/>
                </a:ln>
                <a:solidFill>
                  <a:srgbClr val="FFFFFF"/>
                </a:solidFill>
                <a:effectLst/>
                <a:uLnTx/>
                <a:uFillTx/>
                <a:latin typeface="Arial" pitchFamily="34" charset="0"/>
                <a:ea typeface="+mn-ea"/>
                <a:cs typeface="+mn-cs"/>
              </a:rPr>
              <a:t>UE in EN-DC </a:t>
            </a:r>
            <a:r>
              <a:rPr kumimoji="0" lang="en-US" altLang="en-US" sz="1800" b="0" i="0" u="none" strike="noStrike" kern="0" cap="none" spc="0" normalizeH="0" baseline="0" noProof="0">
                <a:ln>
                  <a:noFill/>
                </a:ln>
                <a:solidFill>
                  <a:srgbClr val="FFFFFF"/>
                </a:solidFill>
                <a:effectLst/>
                <a:uLnTx/>
                <a:uFillTx/>
                <a:latin typeface="Arial" pitchFamily="34" charset="0"/>
                <a:ea typeface="+mn-ea"/>
                <a:cs typeface="+mn-cs"/>
              </a:rPr>
              <a:t>may have a combination of bearers of different types</a:t>
            </a:r>
            <a:endParaRPr kumimoji="0" lang="sv-SE" altLang="en-US" sz="1800" b="0" i="0" u="none" strike="noStrike" kern="0" cap="none" spc="0" normalizeH="0" baseline="0" noProof="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2921963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FCAEC9-74D9-4DEF-AC7A-279D4F0537ED}"/>
              </a:ext>
            </a:extLst>
          </p:cNvPr>
          <p:cNvSpPr>
            <a:spLocks noGrp="1"/>
          </p:cNvSpPr>
          <p:nvPr>
            <p:ph type="title"/>
          </p:nvPr>
        </p:nvSpPr>
        <p:spPr>
          <a:xfrm>
            <a:off x="479423" y="476250"/>
            <a:ext cx="9673499" cy="1081088"/>
          </a:xfrm>
        </p:spPr>
        <p:txBody>
          <a:bodyPr>
            <a:normAutofit/>
          </a:bodyPr>
          <a:lstStyle/>
          <a:p>
            <a:r>
              <a:rPr lang="en-US"/>
              <a:t>Additional clarifications of EN-DC bearer types</a:t>
            </a:r>
          </a:p>
        </p:txBody>
      </p:sp>
      <p:sp>
        <p:nvSpPr>
          <p:cNvPr id="8" name="AutoShape 15" descr="bpct-blend1">
            <a:extLst>
              <a:ext uri="{FF2B5EF4-FFF2-40B4-BE49-F238E27FC236}">
                <a16:creationId xmlns:a16="http://schemas.microsoft.com/office/drawing/2014/main" id="{C2DDC84C-69A6-42FB-A2FC-373D130BDDF4}"/>
              </a:ext>
            </a:extLst>
          </p:cNvPr>
          <p:cNvSpPr>
            <a:spLocks noChangeArrowheads="1"/>
          </p:cNvSpPr>
          <p:nvPr/>
        </p:nvSpPr>
        <p:spPr bwMode="auto">
          <a:xfrm>
            <a:off x="4295076" y="1325111"/>
            <a:ext cx="3543482" cy="1325324"/>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Only a single UE connectivity option is used at any time for one UE</a:t>
            </a:r>
          </a:p>
        </p:txBody>
      </p:sp>
      <p:sp>
        <p:nvSpPr>
          <p:cNvPr id="9" name="AutoShape 15" descr="bpct-blend1">
            <a:extLst>
              <a:ext uri="{FF2B5EF4-FFF2-40B4-BE49-F238E27FC236}">
                <a16:creationId xmlns:a16="http://schemas.microsoft.com/office/drawing/2014/main" id="{B2559852-B2F6-4961-A2E7-EDC3F4BA49D9}"/>
              </a:ext>
            </a:extLst>
          </p:cNvPr>
          <p:cNvSpPr>
            <a:spLocks noChangeArrowheads="1"/>
          </p:cNvSpPr>
          <p:nvPr/>
        </p:nvSpPr>
        <p:spPr bwMode="auto">
          <a:xfrm>
            <a:off x="8364086" y="1325111"/>
            <a:ext cx="3613108" cy="1325323"/>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RAN decides the bearer type for each active bearer and the UE may have combination of bearers of different types</a:t>
            </a:r>
          </a:p>
        </p:txBody>
      </p:sp>
      <p:sp>
        <p:nvSpPr>
          <p:cNvPr id="11" name="AutoShape 15" descr="bpct-blend1">
            <a:extLst>
              <a:ext uri="{FF2B5EF4-FFF2-40B4-BE49-F238E27FC236}">
                <a16:creationId xmlns:a16="http://schemas.microsoft.com/office/drawing/2014/main" id="{BB6999C3-9E43-45AD-A391-DD082CA11CCC}"/>
              </a:ext>
            </a:extLst>
          </p:cNvPr>
          <p:cNvSpPr>
            <a:spLocks noChangeArrowheads="1"/>
          </p:cNvSpPr>
          <p:nvPr/>
        </p:nvSpPr>
        <p:spPr bwMode="auto">
          <a:xfrm>
            <a:off x="206294" y="1325111"/>
            <a:ext cx="3543482" cy="1289614"/>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UE is in EN-DC only when it has bearer(s) with both LTE and NR radio resources configured (RLC/MAC/L1)</a:t>
            </a:r>
          </a:p>
        </p:txBody>
      </p:sp>
      <p:sp>
        <p:nvSpPr>
          <p:cNvPr id="36" name="AutoShape 15" descr="bpct-blend1">
            <a:extLst>
              <a:ext uri="{FF2B5EF4-FFF2-40B4-BE49-F238E27FC236}">
                <a16:creationId xmlns:a16="http://schemas.microsoft.com/office/drawing/2014/main" id="{48EF9698-E2BB-4B62-A21E-1EB0D4B6D277}"/>
              </a:ext>
            </a:extLst>
          </p:cNvPr>
          <p:cNvSpPr>
            <a:spLocks noChangeArrowheads="1"/>
          </p:cNvSpPr>
          <p:nvPr/>
        </p:nvSpPr>
        <p:spPr bwMode="auto">
          <a:xfrm>
            <a:off x="147446" y="3100824"/>
            <a:ext cx="3672531" cy="983609"/>
          </a:xfrm>
          <a:prstGeom prst="roundRect">
            <a:avLst>
              <a:gd name="adj" fmla="val 5958"/>
            </a:avLst>
          </a:prstGeom>
          <a:noFill/>
          <a:ln w="25400" algn="ctr">
            <a:solidFill>
              <a:srgbClr val="FFFFFF"/>
            </a:solidFill>
            <a:round/>
            <a:headEnd/>
            <a:tailEnd/>
          </a:ln>
        </p:spPr>
        <p:txBody>
          <a:bodyPr lIns="36000" tIns="45718" rIns="3600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1) At least one split bearer, or  </a:t>
            </a:r>
            <a:br>
              <a:rPr kumimoji="0" lang="en-US" sz="1800" b="0" i="0" u="none" strike="noStrike" kern="1200" cap="none" spc="0" normalizeH="0" baseline="0" noProof="0">
                <a:ln>
                  <a:noFill/>
                </a:ln>
                <a:solidFill>
                  <a:srgbClr val="FFFFFF"/>
                </a:solidFill>
                <a:effectLst/>
                <a:uLnTx/>
                <a:uFillTx/>
                <a:latin typeface="+mn-lt"/>
                <a:ea typeface="+mn-ea"/>
                <a:cs typeface="+mn-cs"/>
              </a:rPr>
            </a:br>
            <a:r>
              <a:rPr kumimoji="0" lang="en-US" sz="1800" b="0" i="0" u="none" strike="noStrike" kern="1200" cap="none" spc="0" normalizeH="0" baseline="0" noProof="0">
                <a:ln>
                  <a:noFill/>
                </a:ln>
                <a:solidFill>
                  <a:srgbClr val="FFFFFF"/>
                </a:solidFill>
                <a:effectLst/>
                <a:uLnTx/>
                <a:uFillTx/>
                <a:latin typeface="+mn-lt"/>
                <a:ea typeface="+mn-ea"/>
                <a:cs typeface="+mn-cs"/>
              </a:rPr>
              <a:t>2) One MCG and one SCG bearer, or</a:t>
            </a:r>
            <a:br>
              <a:rPr kumimoji="0" lang="en-US" sz="1800" b="0" i="0" u="none" strike="noStrike" kern="1200" cap="none" spc="0" normalizeH="0" baseline="0" noProof="0">
                <a:ln>
                  <a:noFill/>
                </a:ln>
                <a:solidFill>
                  <a:srgbClr val="FFFFFF"/>
                </a:solidFill>
                <a:effectLst/>
                <a:uLnTx/>
                <a:uFillTx/>
                <a:latin typeface="+mn-lt"/>
                <a:ea typeface="+mn-ea"/>
                <a:cs typeface="+mn-cs"/>
              </a:rPr>
            </a:br>
            <a:r>
              <a:rPr kumimoji="0" lang="en-US" sz="1800" b="0" i="0" u="none" strike="noStrike" kern="1200" cap="none" spc="0" normalizeH="0" baseline="0" noProof="0">
                <a:ln>
                  <a:noFill/>
                </a:ln>
                <a:solidFill>
                  <a:srgbClr val="FFFFFF"/>
                </a:solidFill>
                <a:effectLst/>
                <a:uLnTx/>
                <a:uFillTx/>
                <a:latin typeface="+mn-lt"/>
                <a:ea typeface="+mn-ea"/>
                <a:cs typeface="+mn-cs"/>
              </a:rPr>
              <a:t>3) One SCG bearer only</a:t>
            </a:r>
          </a:p>
        </p:txBody>
      </p:sp>
      <p:sp>
        <p:nvSpPr>
          <p:cNvPr id="37" name="AutoShape 15" descr="bpct-blend1">
            <a:extLst>
              <a:ext uri="{FF2B5EF4-FFF2-40B4-BE49-F238E27FC236}">
                <a16:creationId xmlns:a16="http://schemas.microsoft.com/office/drawing/2014/main" id="{36161968-25D1-4F61-B7BD-2C130AB56664}"/>
              </a:ext>
            </a:extLst>
          </p:cNvPr>
          <p:cNvSpPr>
            <a:spLocks noChangeArrowheads="1"/>
          </p:cNvSpPr>
          <p:nvPr/>
        </p:nvSpPr>
        <p:spPr bwMode="auto">
          <a:xfrm>
            <a:off x="4295076" y="3100824"/>
            <a:ext cx="3543482" cy="983609"/>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RAN is in control if EN-DC is used for a UE, e.g. move the UE between LTE-only and EN-DC</a:t>
            </a:r>
          </a:p>
        </p:txBody>
      </p:sp>
      <p:cxnSp>
        <p:nvCxnSpPr>
          <p:cNvPr id="39" name="Straight Connector 38">
            <a:extLst>
              <a:ext uri="{FF2B5EF4-FFF2-40B4-BE49-F238E27FC236}">
                <a16:creationId xmlns:a16="http://schemas.microsoft.com/office/drawing/2014/main" id="{B27798E1-C556-4720-A615-06ED33802558}"/>
              </a:ext>
            </a:extLst>
          </p:cNvPr>
          <p:cNvCxnSpPr/>
          <p:nvPr/>
        </p:nvCxnSpPr>
        <p:spPr bwMode="auto">
          <a:xfrm>
            <a:off x="4018365" y="1217678"/>
            <a:ext cx="0" cy="5025366"/>
          </a:xfrm>
          <a:prstGeom prst="line">
            <a:avLst/>
          </a:prstGeom>
          <a:solidFill>
            <a:schemeClr val="accent1"/>
          </a:solidFill>
          <a:ln w="19050" cap="flat" cmpd="sng" algn="ctr">
            <a:solidFill>
              <a:schemeClr val="bg1"/>
            </a:solidFill>
            <a:prstDash val="dash"/>
            <a:round/>
            <a:headEnd type="none" w="med" len="med"/>
            <a:tailEnd type="none" w="med" len="med"/>
          </a:ln>
          <a:effectLst/>
        </p:spPr>
      </p:cxnSp>
      <p:cxnSp>
        <p:nvCxnSpPr>
          <p:cNvPr id="72" name="Straight Connector 71">
            <a:extLst>
              <a:ext uri="{FF2B5EF4-FFF2-40B4-BE49-F238E27FC236}">
                <a16:creationId xmlns:a16="http://schemas.microsoft.com/office/drawing/2014/main" id="{C20DB767-E9ED-48F1-9B3C-F9A40669B449}"/>
              </a:ext>
            </a:extLst>
          </p:cNvPr>
          <p:cNvCxnSpPr/>
          <p:nvPr/>
        </p:nvCxnSpPr>
        <p:spPr bwMode="auto">
          <a:xfrm>
            <a:off x="8087673" y="1217678"/>
            <a:ext cx="0" cy="5025366"/>
          </a:xfrm>
          <a:prstGeom prst="line">
            <a:avLst/>
          </a:prstGeom>
          <a:solidFill>
            <a:schemeClr val="accent1"/>
          </a:solidFill>
          <a:ln w="19050" cap="flat" cmpd="sng" algn="ctr">
            <a:solidFill>
              <a:schemeClr val="bg1"/>
            </a:solidFill>
            <a:prstDash val="dash"/>
            <a:round/>
            <a:headEnd type="none" w="med" len="med"/>
            <a:tailEnd type="none" w="med" len="med"/>
          </a:ln>
          <a:effectLst/>
        </p:spPr>
      </p:cxnSp>
      <p:sp>
        <p:nvSpPr>
          <p:cNvPr id="73" name="AutoShape 15" descr="bpct-blend1">
            <a:extLst>
              <a:ext uri="{FF2B5EF4-FFF2-40B4-BE49-F238E27FC236}">
                <a16:creationId xmlns:a16="http://schemas.microsoft.com/office/drawing/2014/main" id="{1AFA0740-9BF7-49E3-9B0A-220D1C85F795}"/>
              </a:ext>
            </a:extLst>
          </p:cNvPr>
          <p:cNvSpPr>
            <a:spLocks noChangeArrowheads="1"/>
          </p:cNvSpPr>
          <p:nvPr/>
        </p:nvSpPr>
        <p:spPr bwMode="auto">
          <a:xfrm>
            <a:off x="8364086" y="3100824"/>
            <a:ext cx="3613108" cy="983609"/>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20000"/>
              </a:spcBef>
              <a:spcAft>
                <a:spcPct val="0"/>
              </a:spcAft>
              <a:buClr>
                <a:srgbClr val="00A9D4"/>
              </a:buClr>
              <a:buSzTx/>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RAN can change the bearer type, e.g. between MCG bearer and split bearer in EN-DC</a:t>
            </a:r>
          </a:p>
        </p:txBody>
      </p:sp>
      <p:grpSp>
        <p:nvGrpSpPr>
          <p:cNvPr id="89" name="Group 88">
            <a:extLst>
              <a:ext uri="{FF2B5EF4-FFF2-40B4-BE49-F238E27FC236}">
                <a16:creationId xmlns:a16="http://schemas.microsoft.com/office/drawing/2014/main" id="{97D9A3D9-9B50-4B14-91CE-4DF7FD4B2565}"/>
              </a:ext>
            </a:extLst>
          </p:cNvPr>
          <p:cNvGrpSpPr/>
          <p:nvPr/>
        </p:nvGrpSpPr>
        <p:grpSpPr>
          <a:xfrm>
            <a:off x="743681" y="4280350"/>
            <a:ext cx="2463500" cy="2155437"/>
            <a:chOff x="743681" y="4416830"/>
            <a:chExt cx="2463500" cy="2155437"/>
          </a:xfrm>
        </p:grpSpPr>
        <p:grpSp>
          <p:nvGrpSpPr>
            <p:cNvPr id="34" name="Group 33">
              <a:extLst>
                <a:ext uri="{FF2B5EF4-FFF2-40B4-BE49-F238E27FC236}">
                  <a16:creationId xmlns:a16="http://schemas.microsoft.com/office/drawing/2014/main" id="{46DB064E-18E1-4C83-8B0D-8A6197585594}"/>
                </a:ext>
              </a:extLst>
            </p:cNvPr>
            <p:cNvGrpSpPr/>
            <p:nvPr/>
          </p:nvGrpSpPr>
          <p:grpSpPr>
            <a:xfrm>
              <a:off x="743681" y="4416830"/>
              <a:ext cx="2463500" cy="1878599"/>
              <a:chOff x="1128675" y="4478409"/>
              <a:chExt cx="1944173" cy="1403833"/>
            </a:xfrm>
          </p:grpSpPr>
          <p:sp>
            <p:nvSpPr>
              <p:cNvPr id="12" name="Oval 11">
                <a:extLst>
                  <a:ext uri="{FF2B5EF4-FFF2-40B4-BE49-F238E27FC236}">
                    <a16:creationId xmlns:a16="http://schemas.microsoft.com/office/drawing/2014/main" id="{14FDEC51-FD3E-4AA1-8477-759886F6104F}"/>
                  </a:ext>
                </a:extLst>
              </p:cNvPr>
              <p:cNvSpPr/>
              <p:nvPr/>
            </p:nvSpPr>
            <p:spPr bwMode="auto">
              <a:xfrm>
                <a:off x="2206231" y="4815481"/>
                <a:ext cx="866617" cy="538468"/>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58585A"/>
                  </a:solidFill>
                  <a:effectLst/>
                  <a:uLnTx/>
                  <a:uFillTx/>
                  <a:latin typeface="+mn-lt"/>
                  <a:ea typeface="+mn-ea"/>
                  <a:cs typeface="+mn-cs"/>
                </a:endParaRPr>
              </a:p>
            </p:txBody>
          </p:sp>
          <p:sp>
            <p:nvSpPr>
              <p:cNvPr id="13" name="TextBox 12">
                <a:extLst>
                  <a:ext uri="{FF2B5EF4-FFF2-40B4-BE49-F238E27FC236}">
                    <a16:creationId xmlns:a16="http://schemas.microsoft.com/office/drawing/2014/main" id="{A6EA4303-3933-4F77-A8D2-92C5E87C03B8}"/>
                  </a:ext>
                </a:extLst>
              </p:cNvPr>
              <p:cNvSpPr txBox="1"/>
              <p:nvPr/>
            </p:nvSpPr>
            <p:spPr>
              <a:xfrm>
                <a:off x="2448508" y="5087177"/>
                <a:ext cx="517185" cy="252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8585A">
                        <a:lumMod val="50000"/>
                      </a:srgbClr>
                    </a:solidFill>
                    <a:effectLst/>
                    <a:uLnTx/>
                    <a:uFillTx/>
                    <a:latin typeface="+mn-lt"/>
                    <a:ea typeface="+mn-ea"/>
                    <a:cs typeface="+mn-cs"/>
                  </a:rPr>
                  <a:t>NR</a:t>
                </a:r>
              </a:p>
            </p:txBody>
          </p:sp>
          <p:sp>
            <p:nvSpPr>
              <p:cNvPr id="14" name="Oval 13">
                <a:extLst>
                  <a:ext uri="{FF2B5EF4-FFF2-40B4-BE49-F238E27FC236}">
                    <a16:creationId xmlns:a16="http://schemas.microsoft.com/office/drawing/2014/main" id="{8E104AAA-18FA-4E16-8C49-B8456D78DD9B}"/>
                  </a:ext>
                </a:extLst>
              </p:cNvPr>
              <p:cNvSpPr/>
              <p:nvPr/>
            </p:nvSpPr>
            <p:spPr bwMode="auto">
              <a:xfrm>
                <a:off x="1128675" y="4815481"/>
                <a:ext cx="866617" cy="538468"/>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FED57A"/>
                  </a:solidFill>
                  <a:effectLst/>
                  <a:uLnTx/>
                  <a:uFillTx/>
                  <a:latin typeface="+mn-lt"/>
                  <a:ea typeface="+mn-ea"/>
                  <a:cs typeface="+mn-cs"/>
                </a:endParaRPr>
              </a:p>
            </p:txBody>
          </p:sp>
          <p:sp>
            <p:nvSpPr>
              <p:cNvPr id="15" name="Freeform 3">
                <a:extLst>
                  <a:ext uri="{FF2B5EF4-FFF2-40B4-BE49-F238E27FC236}">
                    <a16:creationId xmlns:a16="http://schemas.microsoft.com/office/drawing/2014/main" id="{BDDA36C1-D50A-428F-8B06-A23BF7F3A523}"/>
                  </a:ext>
                </a:extLst>
              </p:cNvPr>
              <p:cNvSpPr>
                <a:spLocks noChangeAspect="1" noEditPoints="1"/>
              </p:cNvSpPr>
              <p:nvPr/>
            </p:nvSpPr>
            <p:spPr bwMode="auto">
              <a:xfrm>
                <a:off x="1369414" y="4478409"/>
                <a:ext cx="391451" cy="625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6" name="TextBox 15">
                <a:extLst>
                  <a:ext uri="{FF2B5EF4-FFF2-40B4-BE49-F238E27FC236}">
                    <a16:creationId xmlns:a16="http://schemas.microsoft.com/office/drawing/2014/main" id="{3A1ACE1A-7FBE-42F0-9A90-108F6450BBC7}"/>
                  </a:ext>
                </a:extLst>
              </p:cNvPr>
              <p:cNvSpPr txBox="1"/>
              <p:nvPr/>
            </p:nvSpPr>
            <p:spPr>
              <a:xfrm>
                <a:off x="1342899" y="5107812"/>
                <a:ext cx="467695" cy="252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17" name="Freeform 3">
                <a:extLst>
                  <a:ext uri="{FF2B5EF4-FFF2-40B4-BE49-F238E27FC236}">
                    <a16:creationId xmlns:a16="http://schemas.microsoft.com/office/drawing/2014/main" id="{1A476C3C-0108-4628-B0C8-7A83D1321825}"/>
                  </a:ext>
                </a:extLst>
              </p:cNvPr>
              <p:cNvSpPr>
                <a:spLocks noChangeAspect="1" noEditPoints="1"/>
              </p:cNvSpPr>
              <p:nvPr/>
            </p:nvSpPr>
            <p:spPr bwMode="auto">
              <a:xfrm>
                <a:off x="2437362" y="4478409"/>
                <a:ext cx="391451" cy="625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mn-lt"/>
                  <a:ea typeface="+mn-ea"/>
                  <a:cs typeface="+mn-cs"/>
                </a:endParaRPr>
              </a:p>
            </p:txBody>
          </p:sp>
          <p:cxnSp>
            <p:nvCxnSpPr>
              <p:cNvPr id="18" name="Straight Connector 17">
                <a:extLst>
                  <a:ext uri="{FF2B5EF4-FFF2-40B4-BE49-F238E27FC236}">
                    <a16:creationId xmlns:a16="http://schemas.microsoft.com/office/drawing/2014/main" id="{764D2FAD-50E2-4357-B4AE-70948851D491}"/>
                  </a:ext>
                </a:extLst>
              </p:cNvPr>
              <p:cNvCxnSpPr>
                <a:cxnSpLocks/>
                <a:stCxn id="16" idx="0"/>
                <a:endCxn id="13" idx="0"/>
              </p:cNvCxnSpPr>
              <p:nvPr/>
            </p:nvCxnSpPr>
            <p:spPr bwMode="auto">
              <a:xfrm flipV="1">
                <a:off x="1576746" y="5087177"/>
                <a:ext cx="1130354" cy="20635"/>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669C6DC3-7D0E-486F-87FF-066D32F2B21A}"/>
                  </a:ext>
                </a:extLst>
              </p:cNvPr>
              <p:cNvSpPr txBox="1"/>
              <p:nvPr/>
            </p:nvSpPr>
            <p:spPr>
              <a:xfrm>
                <a:off x="1988645" y="4886932"/>
                <a:ext cx="277640" cy="172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mn-lt"/>
                    <a:ea typeface="+mn-ea"/>
                    <a:cs typeface="+mn-cs"/>
                  </a:rPr>
                  <a:t>X2’</a:t>
                </a:r>
              </a:p>
            </p:txBody>
          </p:sp>
          <p:cxnSp>
            <p:nvCxnSpPr>
              <p:cNvPr id="30" name="Straight Connector 29">
                <a:extLst>
                  <a:ext uri="{FF2B5EF4-FFF2-40B4-BE49-F238E27FC236}">
                    <a16:creationId xmlns:a16="http://schemas.microsoft.com/office/drawing/2014/main" id="{966E3842-E748-45A7-BD90-208687BE1976}"/>
                  </a:ext>
                </a:extLst>
              </p:cNvPr>
              <p:cNvCxnSpPr>
                <a:cxnSpLocks/>
              </p:cNvCxnSpPr>
              <p:nvPr/>
            </p:nvCxnSpPr>
            <p:spPr bwMode="auto">
              <a:xfrm>
                <a:off x="1568137" y="5126064"/>
                <a:ext cx="1074120" cy="0"/>
              </a:xfrm>
              <a:prstGeom prst="line">
                <a:avLst/>
              </a:prstGeom>
              <a:noFill/>
              <a:ln w="12700" cap="flat" cmpd="sng" algn="ctr">
                <a:solidFill>
                  <a:schemeClr val="bg1"/>
                </a:solidFill>
                <a:prstDash val="dash"/>
                <a:round/>
                <a:headEnd type="none" w="med" len="med"/>
                <a:tailEnd type="none" w="med" len="med"/>
              </a:ln>
              <a:effectLst/>
            </p:spPr>
          </p:cxnSp>
          <p:sp>
            <p:nvSpPr>
              <p:cNvPr id="31" name="Freeform 6">
                <a:extLst>
                  <a:ext uri="{FF2B5EF4-FFF2-40B4-BE49-F238E27FC236}">
                    <a16:creationId xmlns:a16="http://schemas.microsoft.com/office/drawing/2014/main" id="{9FA548DF-EA2F-40A9-86EA-512FFA97FD94}"/>
                  </a:ext>
                </a:extLst>
              </p:cNvPr>
              <p:cNvSpPr>
                <a:spLocks noEditPoints="1"/>
              </p:cNvSpPr>
              <p:nvPr/>
            </p:nvSpPr>
            <p:spPr bwMode="auto">
              <a:xfrm>
                <a:off x="1953162" y="5540426"/>
                <a:ext cx="204355" cy="34181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sv-SE" sz="1600" b="0" i="0" u="none" strike="noStrike" kern="0" cap="none" spc="0" normalizeH="0" baseline="0" noProof="0">
                  <a:ln>
                    <a:noFill/>
                  </a:ln>
                  <a:solidFill>
                    <a:srgbClr val="FED57A"/>
                  </a:solidFill>
                  <a:effectLst/>
                  <a:uLnTx/>
                  <a:uFillTx/>
                  <a:latin typeface="+mn-lt"/>
                  <a:ea typeface="+mn-ea"/>
                  <a:cs typeface="+mn-cs"/>
                </a:endParaRPr>
              </a:p>
            </p:txBody>
          </p:sp>
          <p:sp>
            <p:nvSpPr>
              <p:cNvPr id="32" name="Freeform 6">
                <a:extLst>
                  <a:ext uri="{FF2B5EF4-FFF2-40B4-BE49-F238E27FC236}">
                    <a16:creationId xmlns:a16="http://schemas.microsoft.com/office/drawing/2014/main" id="{12841319-25CA-4E23-B3B8-F3F36730A5AC}"/>
                  </a:ext>
                </a:extLst>
              </p:cNvPr>
              <p:cNvSpPr>
                <a:spLocks/>
              </p:cNvSpPr>
              <p:nvPr/>
            </p:nvSpPr>
            <p:spPr bwMode="auto">
              <a:xfrm rot="11590155">
                <a:off x="1700189" y="5216825"/>
                <a:ext cx="269003" cy="251162"/>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190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8585A"/>
                  </a:solidFill>
                  <a:effectLst/>
                  <a:uLnTx/>
                  <a:uFillTx/>
                  <a:latin typeface="+mn-lt"/>
                  <a:ea typeface="+mn-ea"/>
                  <a:cs typeface="+mn-cs"/>
                </a:endParaRPr>
              </a:p>
            </p:txBody>
          </p:sp>
          <p:sp>
            <p:nvSpPr>
              <p:cNvPr id="33" name="Freeform 6">
                <a:extLst>
                  <a:ext uri="{FF2B5EF4-FFF2-40B4-BE49-F238E27FC236}">
                    <a16:creationId xmlns:a16="http://schemas.microsoft.com/office/drawing/2014/main" id="{3D06C770-61B0-4F36-8736-96FCAD8C7456}"/>
                  </a:ext>
                </a:extLst>
              </p:cNvPr>
              <p:cNvSpPr>
                <a:spLocks/>
              </p:cNvSpPr>
              <p:nvPr/>
            </p:nvSpPr>
            <p:spPr bwMode="auto">
              <a:xfrm rot="5082312">
                <a:off x="2131218" y="5209943"/>
                <a:ext cx="284520" cy="237464"/>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190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8585A"/>
                  </a:solidFill>
                  <a:effectLst/>
                  <a:uLnTx/>
                  <a:uFillTx/>
                  <a:latin typeface="+mn-lt"/>
                  <a:ea typeface="+mn-ea"/>
                  <a:cs typeface="+mn-cs"/>
                </a:endParaRPr>
              </a:p>
            </p:txBody>
          </p:sp>
        </p:grpSp>
        <p:sp>
          <p:nvSpPr>
            <p:cNvPr id="88" name="Rectangle: Rounded Corners 87">
              <a:extLst>
                <a:ext uri="{FF2B5EF4-FFF2-40B4-BE49-F238E27FC236}">
                  <a16:creationId xmlns:a16="http://schemas.microsoft.com/office/drawing/2014/main" id="{800E41D5-04E5-4341-94E2-B72B7C0941F2}"/>
                </a:ext>
              </a:extLst>
            </p:cNvPr>
            <p:cNvSpPr/>
            <p:nvPr/>
          </p:nvSpPr>
          <p:spPr bwMode="auto">
            <a:xfrm>
              <a:off x="1572037" y="6298076"/>
              <a:ext cx="683667" cy="274191"/>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mn-cs"/>
                </a:rPr>
                <a:t>EN-DC</a:t>
              </a:r>
            </a:p>
          </p:txBody>
        </p:sp>
      </p:grpSp>
      <p:grpSp>
        <p:nvGrpSpPr>
          <p:cNvPr id="102" name="Group 101">
            <a:extLst>
              <a:ext uri="{FF2B5EF4-FFF2-40B4-BE49-F238E27FC236}">
                <a16:creationId xmlns:a16="http://schemas.microsoft.com/office/drawing/2014/main" id="{9463F2FC-80B4-4EB6-B724-5298D866ED6D}"/>
              </a:ext>
            </a:extLst>
          </p:cNvPr>
          <p:cNvGrpSpPr/>
          <p:nvPr/>
        </p:nvGrpSpPr>
        <p:grpSpPr>
          <a:xfrm>
            <a:off x="8377146" y="4280350"/>
            <a:ext cx="3304901" cy="1878599"/>
            <a:chOff x="8377146" y="4280350"/>
            <a:chExt cx="3304901" cy="1878599"/>
          </a:xfrm>
        </p:grpSpPr>
        <p:grpSp>
          <p:nvGrpSpPr>
            <p:cNvPr id="75" name="Group 74">
              <a:extLst>
                <a:ext uri="{FF2B5EF4-FFF2-40B4-BE49-F238E27FC236}">
                  <a16:creationId xmlns:a16="http://schemas.microsoft.com/office/drawing/2014/main" id="{95456C12-D5F5-499D-B85F-39F85F3BEC94}"/>
                </a:ext>
              </a:extLst>
            </p:cNvPr>
            <p:cNvGrpSpPr/>
            <p:nvPr/>
          </p:nvGrpSpPr>
          <p:grpSpPr>
            <a:xfrm>
              <a:off x="9063238" y="4280350"/>
              <a:ext cx="2463500" cy="1878599"/>
              <a:chOff x="1128675" y="4478409"/>
              <a:chExt cx="1944173" cy="1403833"/>
            </a:xfrm>
          </p:grpSpPr>
          <p:sp>
            <p:nvSpPr>
              <p:cNvPr id="76" name="Oval 75">
                <a:extLst>
                  <a:ext uri="{FF2B5EF4-FFF2-40B4-BE49-F238E27FC236}">
                    <a16:creationId xmlns:a16="http://schemas.microsoft.com/office/drawing/2014/main" id="{EC88D414-2586-4662-8918-09624B335AB0}"/>
                  </a:ext>
                </a:extLst>
              </p:cNvPr>
              <p:cNvSpPr/>
              <p:nvPr/>
            </p:nvSpPr>
            <p:spPr bwMode="auto">
              <a:xfrm>
                <a:off x="2206231" y="4815481"/>
                <a:ext cx="866617" cy="538468"/>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58585A"/>
                  </a:solidFill>
                  <a:effectLst/>
                  <a:uLnTx/>
                  <a:uFillTx/>
                  <a:latin typeface="+mn-lt"/>
                  <a:ea typeface="+mn-ea"/>
                  <a:cs typeface="+mn-cs"/>
                </a:endParaRPr>
              </a:p>
            </p:txBody>
          </p:sp>
          <p:sp>
            <p:nvSpPr>
              <p:cNvPr id="77" name="TextBox 76">
                <a:extLst>
                  <a:ext uri="{FF2B5EF4-FFF2-40B4-BE49-F238E27FC236}">
                    <a16:creationId xmlns:a16="http://schemas.microsoft.com/office/drawing/2014/main" id="{1FA2EEFA-334A-4BE4-B68C-7667745B5294}"/>
                  </a:ext>
                </a:extLst>
              </p:cNvPr>
              <p:cNvSpPr txBox="1"/>
              <p:nvPr/>
            </p:nvSpPr>
            <p:spPr>
              <a:xfrm>
                <a:off x="2448508" y="5087177"/>
                <a:ext cx="517185" cy="252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8585A">
                        <a:lumMod val="50000"/>
                      </a:srgbClr>
                    </a:solidFill>
                    <a:effectLst/>
                    <a:uLnTx/>
                    <a:uFillTx/>
                    <a:latin typeface="+mn-lt"/>
                    <a:ea typeface="+mn-ea"/>
                    <a:cs typeface="+mn-cs"/>
                  </a:rPr>
                  <a:t>NR</a:t>
                </a:r>
              </a:p>
            </p:txBody>
          </p:sp>
          <p:sp>
            <p:nvSpPr>
              <p:cNvPr id="78" name="Oval 77">
                <a:extLst>
                  <a:ext uri="{FF2B5EF4-FFF2-40B4-BE49-F238E27FC236}">
                    <a16:creationId xmlns:a16="http://schemas.microsoft.com/office/drawing/2014/main" id="{9023B9BD-9573-4C8B-A839-16C8850E415C}"/>
                  </a:ext>
                </a:extLst>
              </p:cNvPr>
              <p:cNvSpPr/>
              <p:nvPr/>
            </p:nvSpPr>
            <p:spPr bwMode="auto">
              <a:xfrm>
                <a:off x="1128675" y="4815481"/>
                <a:ext cx="866617" cy="538468"/>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FED57A"/>
                  </a:solidFill>
                  <a:effectLst/>
                  <a:uLnTx/>
                  <a:uFillTx/>
                  <a:latin typeface="+mn-lt"/>
                  <a:ea typeface="+mn-ea"/>
                  <a:cs typeface="+mn-cs"/>
                </a:endParaRPr>
              </a:p>
            </p:txBody>
          </p:sp>
          <p:sp>
            <p:nvSpPr>
              <p:cNvPr id="79" name="Freeform 3">
                <a:extLst>
                  <a:ext uri="{FF2B5EF4-FFF2-40B4-BE49-F238E27FC236}">
                    <a16:creationId xmlns:a16="http://schemas.microsoft.com/office/drawing/2014/main" id="{F8467FA0-DB58-46B4-930B-181D11D2F454}"/>
                  </a:ext>
                </a:extLst>
              </p:cNvPr>
              <p:cNvSpPr>
                <a:spLocks noChangeAspect="1" noEditPoints="1"/>
              </p:cNvSpPr>
              <p:nvPr/>
            </p:nvSpPr>
            <p:spPr bwMode="auto">
              <a:xfrm>
                <a:off x="1369414" y="4478409"/>
                <a:ext cx="391451" cy="625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80" name="TextBox 79">
                <a:extLst>
                  <a:ext uri="{FF2B5EF4-FFF2-40B4-BE49-F238E27FC236}">
                    <a16:creationId xmlns:a16="http://schemas.microsoft.com/office/drawing/2014/main" id="{20B0B403-5F3B-4C32-B1BE-0FC5E9DB6D6D}"/>
                  </a:ext>
                </a:extLst>
              </p:cNvPr>
              <p:cNvSpPr txBox="1"/>
              <p:nvPr/>
            </p:nvSpPr>
            <p:spPr>
              <a:xfrm>
                <a:off x="1342899" y="5107812"/>
                <a:ext cx="467695" cy="252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81" name="Freeform 3">
                <a:extLst>
                  <a:ext uri="{FF2B5EF4-FFF2-40B4-BE49-F238E27FC236}">
                    <a16:creationId xmlns:a16="http://schemas.microsoft.com/office/drawing/2014/main" id="{E09AF82D-C61C-4F9C-B416-F8DADFA1AFD2}"/>
                  </a:ext>
                </a:extLst>
              </p:cNvPr>
              <p:cNvSpPr>
                <a:spLocks noChangeAspect="1" noEditPoints="1"/>
              </p:cNvSpPr>
              <p:nvPr/>
            </p:nvSpPr>
            <p:spPr bwMode="auto">
              <a:xfrm>
                <a:off x="2437362" y="4478409"/>
                <a:ext cx="391451" cy="625854"/>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mn-lt"/>
                  <a:ea typeface="+mn-ea"/>
                  <a:cs typeface="+mn-cs"/>
                </a:endParaRPr>
              </a:p>
            </p:txBody>
          </p:sp>
          <p:cxnSp>
            <p:nvCxnSpPr>
              <p:cNvPr id="82" name="Straight Connector 81">
                <a:extLst>
                  <a:ext uri="{FF2B5EF4-FFF2-40B4-BE49-F238E27FC236}">
                    <a16:creationId xmlns:a16="http://schemas.microsoft.com/office/drawing/2014/main" id="{FE7F250C-9847-48F5-AB41-2A9C32A0AB4E}"/>
                  </a:ext>
                </a:extLst>
              </p:cNvPr>
              <p:cNvCxnSpPr>
                <a:cxnSpLocks/>
                <a:stCxn id="80" idx="0"/>
                <a:endCxn id="77" idx="0"/>
              </p:cNvCxnSpPr>
              <p:nvPr/>
            </p:nvCxnSpPr>
            <p:spPr bwMode="auto">
              <a:xfrm flipV="1">
                <a:off x="1576746" y="5087177"/>
                <a:ext cx="1130354" cy="20635"/>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83" name="TextBox 82">
                <a:extLst>
                  <a:ext uri="{FF2B5EF4-FFF2-40B4-BE49-F238E27FC236}">
                    <a16:creationId xmlns:a16="http://schemas.microsoft.com/office/drawing/2014/main" id="{0F16FFEF-2542-484E-A37A-BF17A1E05F80}"/>
                  </a:ext>
                </a:extLst>
              </p:cNvPr>
              <p:cNvSpPr txBox="1"/>
              <p:nvPr/>
            </p:nvSpPr>
            <p:spPr>
              <a:xfrm>
                <a:off x="1988645" y="4886932"/>
                <a:ext cx="277640" cy="172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mn-lt"/>
                    <a:ea typeface="+mn-ea"/>
                    <a:cs typeface="+mn-cs"/>
                  </a:rPr>
                  <a:t>X2’</a:t>
                </a:r>
              </a:p>
            </p:txBody>
          </p:sp>
          <p:cxnSp>
            <p:nvCxnSpPr>
              <p:cNvPr id="84" name="Straight Connector 83">
                <a:extLst>
                  <a:ext uri="{FF2B5EF4-FFF2-40B4-BE49-F238E27FC236}">
                    <a16:creationId xmlns:a16="http://schemas.microsoft.com/office/drawing/2014/main" id="{6DA7918D-4F30-4516-9167-715211BF84A4}"/>
                  </a:ext>
                </a:extLst>
              </p:cNvPr>
              <p:cNvCxnSpPr>
                <a:cxnSpLocks/>
              </p:cNvCxnSpPr>
              <p:nvPr/>
            </p:nvCxnSpPr>
            <p:spPr bwMode="auto">
              <a:xfrm>
                <a:off x="1568137" y="5126064"/>
                <a:ext cx="1074120" cy="0"/>
              </a:xfrm>
              <a:prstGeom prst="line">
                <a:avLst/>
              </a:prstGeom>
              <a:noFill/>
              <a:ln w="12700" cap="flat" cmpd="sng" algn="ctr">
                <a:solidFill>
                  <a:schemeClr val="bg1"/>
                </a:solidFill>
                <a:prstDash val="dash"/>
                <a:round/>
                <a:headEnd type="none" w="med" len="med"/>
                <a:tailEnd type="none" w="med" len="med"/>
              </a:ln>
              <a:effectLst/>
            </p:spPr>
          </p:cxnSp>
          <p:sp>
            <p:nvSpPr>
              <p:cNvPr id="85" name="Freeform 6">
                <a:extLst>
                  <a:ext uri="{FF2B5EF4-FFF2-40B4-BE49-F238E27FC236}">
                    <a16:creationId xmlns:a16="http://schemas.microsoft.com/office/drawing/2014/main" id="{AE386012-AD5A-4163-ADFE-C0596A728310}"/>
                  </a:ext>
                </a:extLst>
              </p:cNvPr>
              <p:cNvSpPr>
                <a:spLocks noEditPoints="1"/>
              </p:cNvSpPr>
              <p:nvPr/>
            </p:nvSpPr>
            <p:spPr bwMode="auto">
              <a:xfrm>
                <a:off x="1953162" y="5540426"/>
                <a:ext cx="204355" cy="34181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sv-SE" sz="1600" b="0" i="0" u="none" strike="noStrike" kern="0" cap="none" spc="0" normalizeH="0" baseline="0" noProof="0">
                  <a:ln>
                    <a:noFill/>
                  </a:ln>
                  <a:solidFill>
                    <a:srgbClr val="FED57A"/>
                  </a:solidFill>
                  <a:effectLst/>
                  <a:uLnTx/>
                  <a:uFillTx/>
                  <a:latin typeface="+mn-lt"/>
                  <a:ea typeface="+mn-ea"/>
                  <a:cs typeface="+mn-cs"/>
                </a:endParaRPr>
              </a:p>
            </p:txBody>
          </p:sp>
          <p:sp>
            <p:nvSpPr>
              <p:cNvPr id="86" name="Freeform 6">
                <a:extLst>
                  <a:ext uri="{FF2B5EF4-FFF2-40B4-BE49-F238E27FC236}">
                    <a16:creationId xmlns:a16="http://schemas.microsoft.com/office/drawing/2014/main" id="{56164DAA-6E58-4D46-91D3-E9B7555A7833}"/>
                  </a:ext>
                </a:extLst>
              </p:cNvPr>
              <p:cNvSpPr>
                <a:spLocks/>
              </p:cNvSpPr>
              <p:nvPr/>
            </p:nvSpPr>
            <p:spPr bwMode="auto">
              <a:xfrm rot="11590155">
                <a:off x="1700189" y="5216825"/>
                <a:ext cx="269003" cy="251162"/>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190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8585A"/>
                  </a:solidFill>
                  <a:effectLst/>
                  <a:uLnTx/>
                  <a:uFillTx/>
                  <a:latin typeface="+mn-lt"/>
                  <a:ea typeface="+mn-ea"/>
                  <a:cs typeface="+mn-cs"/>
                </a:endParaRPr>
              </a:p>
            </p:txBody>
          </p:sp>
          <p:sp>
            <p:nvSpPr>
              <p:cNvPr id="87" name="Freeform 6">
                <a:extLst>
                  <a:ext uri="{FF2B5EF4-FFF2-40B4-BE49-F238E27FC236}">
                    <a16:creationId xmlns:a16="http://schemas.microsoft.com/office/drawing/2014/main" id="{29AAD11F-AF1E-4E23-A37A-8691444AFA4A}"/>
                  </a:ext>
                </a:extLst>
              </p:cNvPr>
              <p:cNvSpPr>
                <a:spLocks/>
              </p:cNvSpPr>
              <p:nvPr/>
            </p:nvSpPr>
            <p:spPr bwMode="auto">
              <a:xfrm rot="5082312">
                <a:off x="2131218" y="5209943"/>
                <a:ext cx="284520" cy="237464"/>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190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8585A"/>
                  </a:solidFill>
                  <a:effectLst/>
                  <a:uLnTx/>
                  <a:uFillTx/>
                  <a:latin typeface="+mn-lt"/>
                  <a:ea typeface="+mn-ea"/>
                  <a:cs typeface="+mn-cs"/>
                </a:endParaRPr>
              </a:p>
            </p:txBody>
          </p:sp>
        </p:grpSp>
        <p:sp>
          <p:nvSpPr>
            <p:cNvPr id="90" name="Oval 89">
              <a:extLst>
                <a:ext uri="{FF2B5EF4-FFF2-40B4-BE49-F238E27FC236}">
                  <a16:creationId xmlns:a16="http://schemas.microsoft.com/office/drawing/2014/main" id="{BFEA5038-F07B-4C4C-808C-C2F6326E71D3}"/>
                </a:ext>
              </a:extLst>
            </p:cNvPr>
            <p:cNvSpPr/>
            <p:nvPr/>
          </p:nvSpPr>
          <p:spPr bwMode="auto">
            <a:xfrm>
              <a:off x="9642355" y="5392871"/>
              <a:ext cx="563177" cy="68294"/>
            </a:xfrm>
            <a:prstGeom prst="ellipse">
              <a:avLst/>
            </a:prstGeom>
            <a:noFill/>
            <a:ln w="12700" cap="flat" cmpd="sng" algn="ctr">
              <a:solidFill>
                <a:schemeClr val="bg1"/>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91" name="Oval 90">
              <a:extLst>
                <a:ext uri="{FF2B5EF4-FFF2-40B4-BE49-F238E27FC236}">
                  <a16:creationId xmlns:a16="http://schemas.microsoft.com/office/drawing/2014/main" id="{94F88FE1-65E4-4256-9768-89472EF42B9E}"/>
                </a:ext>
              </a:extLst>
            </p:cNvPr>
            <p:cNvSpPr/>
            <p:nvPr/>
          </p:nvSpPr>
          <p:spPr bwMode="auto">
            <a:xfrm>
              <a:off x="9807722" y="5512421"/>
              <a:ext cx="786249" cy="65508"/>
            </a:xfrm>
            <a:prstGeom prst="ellipse">
              <a:avLst/>
            </a:prstGeom>
            <a:noFill/>
            <a:ln w="12700" cap="flat" cmpd="sng" algn="ctr">
              <a:solidFill>
                <a:schemeClr val="bg1"/>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92" name="Rectangle: Rounded Corners 91">
              <a:extLst>
                <a:ext uri="{FF2B5EF4-FFF2-40B4-BE49-F238E27FC236}">
                  <a16:creationId xmlns:a16="http://schemas.microsoft.com/office/drawing/2014/main" id="{4FD985DA-06ED-4563-8A37-4F475C95637B}"/>
                </a:ext>
              </a:extLst>
            </p:cNvPr>
            <p:cNvSpPr/>
            <p:nvPr/>
          </p:nvSpPr>
          <p:spPr bwMode="auto">
            <a:xfrm>
              <a:off x="8377146" y="5375608"/>
              <a:ext cx="837615" cy="273626"/>
            </a:xfrm>
            <a:prstGeom prst="roundRect">
              <a:avLst/>
            </a:prstGeom>
            <a:no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mn-lt"/>
                  <a:ea typeface="+mn-ea"/>
                  <a:cs typeface="+mn-cs"/>
                </a:rPr>
                <a:t>MCG bearer</a:t>
              </a:r>
            </a:p>
          </p:txBody>
        </p:sp>
        <p:cxnSp>
          <p:nvCxnSpPr>
            <p:cNvPr id="95" name="Straight Arrow Connector 94">
              <a:extLst>
                <a:ext uri="{FF2B5EF4-FFF2-40B4-BE49-F238E27FC236}">
                  <a16:creationId xmlns:a16="http://schemas.microsoft.com/office/drawing/2014/main" id="{520FEB78-E5B6-441E-BF15-09D3F8B8EC1F}"/>
                </a:ext>
              </a:extLst>
            </p:cNvPr>
            <p:cNvCxnSpPr>
              <a:cxnSpLocks/>
              <a:stCxn id="92" idx="3"/>
            </p:cNvCxnSpPr>
            <p:nvPr/>
          </p:nvCxnSpPr>
          <p:spPr bwMode="auto">
            <a:xfrm flipV="1">
              <a:off x="9214761" y="5439963"/>
              <a:ext cx="408946" cy="72458"/>
            </a:xfrm>
            <a:prstGeom prst="straightConnector1">
              <a:avLst/>
            </a:prstGeom>
            <a:solidFill>
              <a:schemeClr val="accent1"/>
            </a:solidFill>
            <a:ln w="12700" cap="flat" cmpd="sng" algn="ctr">
              <a:solidFill>
                <a:schemeClr val="bg1"/>
              </a:solidFill>
              <a:prstDash val="solid"/>
              <a:round/>
              <a:headEnd type="none" w="med" len="med"/>
              <a:tailEnd type="triangle"/>
            </a:ln>
            <a:effectLst/>
          </p:spPr>
        </p:cxnSp>
        <p:sp>
          <p:nvSpPr>
            <p:cNvPr id="98" name="Rectangle: Rounded Corners 97">
              <a:extLst>
                <a:ext uri="{FF2B5EF4-FFF2-40B4-BE49-F238E27FC236}">
                  <a16:creationId xmlns:a16="http://schemas.microsoft.com/office/drawing/2014/main" id="{2EA9BC54-BA26-494E-9851-ABC634DE7F6B}"/>
                </a:ext>
              </a:extLst>
            </p:cNvPr>
            <p:cNvSpPr/>
            <p:nvPr/>
          </p:nvSpPr>
          <p:spPr bwMode="auto">
            <a:xfrm>
              <a:off x="10844432" y="5501032"/>
              <a:ext cx="837615" cy="273626"/>
            </a:xfrm>
            <a:prstGeom prst="roundRect">
              <a:avLst/>
            </a:prstGeom>
            <a:no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mn-lt"/>
                  <a:ea typeface="+mn-ea"/>
                  <a:cs typeface="+mn-cs"/>
                </a:rPr>
                <a:t>Split bearer</a:t>
              </a:r>
            </a:p>
          </p:txBody>
        </p:sp>
        <p:cxnSp>
          <p:nvCxnSpPr>
            <p:cNvPr id="99" name="Straight Arrow Connector 98">
              <a:extLst>
                <a:ext uri="{FF2B5EF4-FFF2-40B4-BE49-F238E27FC236}">
                  <a16:creationId xmlns:a16="http://schemas.microsoft.com/office/drawing/2014/main" id="{8CDE53AF-1D46-4B40-A686-E7702C40D68D}"/>
                </a:ext>
              </a:extLst>
            </p:cNvPr>
            <p:cNvCxnSpPr>
              <a:cxnSpLocks/>
              <a:stCxn id="98" idx="1"/>
              <a:endCxn id="91" idx="6"/>
            </p:cNvCxnSpPr>
            <p:nvPr/>
          </p:nvCxnSpPr>
          <p:spPr bwMode="auto">
            <a:xfrm flipH="1" flipV="1">
              <a:off x="10593971" y="5545175"/>
              <a:ext cx="250461" cy="92670"/>
            </a:xfrm>
            <a:prstGeom prst="straightConnector1">
              <a:avLst/>
            </a:prstGeom>
            <a:solidFill>
              <a:schemeClr val="accent1"/>
            </a:solidFill>
            <a:ln w="12700" cap="flat" cmpd="sng" algn="ctr">
              <a:solidFill>
                <a:schemeClr val="bg1"/>
              </a:solidFill>
              <a:prstDash val="solid"/>
              <a:round/>
              <a:headEnd type="none" w="med" len="med"/>
              <a:tailEnd type="triangle"/>
            </a:ln>
            <a:effectLst/>
          </p:spPr>
        </p:cxnSp>
      </p:grpSp>
      <p:grpSp>
        <p:nvGrpSpPr>
          <p:cNvPr id="107" name="Group 106">
            <a:extLst>
              <a:ext uri="{FF2B5EF4-FFF2-40B4-BE49-F238E27FC236}">
                <a16:creationId xmlns:a16="http://schemas.microsoft.com/office/drawing/2014/main" id="{C148516A-42AD-4BC1-A5F8-3EF3ADD62726}"/>
              </a:ext>
            </a:extLst>
          </p:cNvPr>
          <p:cNvGrpSpPr/>
          <p:nvPr/>
        </p:nvGrpSpPr>
        <p:grpSpPr>
          <a:xfrm>
            <a:off x="4271320" y="4280350"/>
            <a:ext cx="3459789" cy="2075282"/>
            <a:chOff x="4271320" y="4280350"/>
            <a:chExt cx="3459789" cy="2075282"/>
          </a:xfrm>
        </p:grpSpPr>
        <p:grpSp>
          <p:nvGrpSpPr>
            <p:cNvPr id="74" name="Group 73">
              <a:extLst>
                <a:ext uri="{FF2B5EF4-FFF2-40B4-BE49-F238E27FC236}">
                  <a16:creationId xmlns:a16="http://schemas.microsoft.com/office/drawing/2014/main" id="{A41F20E9-E7C0-4C7E-84F6-A522EBEED58F}"/>
                </a:ext>
              </a:extLst>
            </p:cNvPr>
            <p:cNvGrpSpPr/>
            <p:nvPr/>
          </p:nvGrpSpPr>
          <p:grpSpPr>
            <a:xfrm>
              <a:off x="4271320" y="4280350"/>
              <a:ext cx="3459789" cy="2075282"/>
              <a:chOff x="4325912" y="4236618"/>
              <a:chExt cx="3459789" cy="2075282"/>
            </a:xfrm>
          </p:grpSpPr>
          <p:sp>
            <p:nvSpPr>
              <p:cNvPr id="43" name="Oval 42">
                <a:extLst>
                  <a:ext uri="{FF2B5EF4-FFF2-40B4-BE49-F238E27FC236}">
                    <a16:creationId xmlns:a16="http://schemas.microsoft.com/office/drawing/2014/main" id="{650B23F5-DE36-4D34-8F61-E60DA719082A}"/>
                  </a:ext>
                </a:extLst>
              </p:cNvPr>
              <p:cNvSpPr/>
              <p:nvPr/>
            </p:nvSpPr>
            <p:spPr bwMode="auto">
              <a:xfrm>
                <a:off x="5516048" y="4687685"/>
                <a:ext cx="1098108" cy="720574"/>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FED57A"/>
                  </a:solidFill>
                  <a:effectLst/>
                  <a:uLnTx/>
                  <a:uFillTx/>
                  <a:latin typeface="+mn-lt"/>
                  <a:ea typeface="+mn-ea"/>
                  <a:cs typeface="+mn-cs"/>
                </a:endParaRPr>
              </a:p>
            </p:txBody>
          </p:sp>
          <p:sp>
            <p:nvSpPr>
              <p:cNvPr id="44" name="Freeform 3">
                <a:extLst>
                  <a:ext uri="{FF2B5EF4-FFF2-40B4-BE49-F238E27FC236}">
                    <a16:creationId xmlns:a16="http://schemas.microsoft.com/office/drawing/2014/main" id="{79A4FFC5-BE06-4368-BCDC-11AB8BDD6C44}"/>
                  </a:ext>
                </a:extLst>
              </p:cNvPr>
              <p:cNvSpPr>
                <a:spLocks noChangeAspect="1" noEditPoints="1"/>
              </p:cNvSpPr>
              <p:nvPr/>
            </p:nvSpPr>
            <p:spPr bwMode="auto">
              <a:xfrm>
                <a:off x="5821093" y="4236618"/>
                <a:ext cx="496015" cy="837513"/>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45" name="TextBox 44">
                <a:extLst>
                  <a:ext uri="{FF2B5EF4-FFF2-40B4-BE49-F238E27FC236}">
                    <a16:creationId xmlns:a16="http://schemas.microsoft.com/office/drawing/2014/main" id="{C4C38A37-D64B-4F2E-B073-2345B60FDCC0}"/>
                  </a:ext>
                </a:extLst>
              </p:cNvPr>
              <p:cNvSpPr txBox="1"/>
              <p:nvPr/>
            </p:nvSpPr>
            <p:spPr>
              <a:xfrm>
                <a:off x="5809071" y="5098541"/>
                <a:ext cx="5697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8585A">
                        <a:lumMod val="50000"/>
                      </a:srgbClr>
                    </a:solidFill>
                    <a:effectLst/>
                    <a:uLnTx/>
                    <a:uFillTx/>
                    <a:latin typeface="+mn-lt"/>
                    <a:ea typeface="+mn-ea"/>
                    <a:cs typeface="+mn-cs"/>
                  </a:rPr>
                  <a:t>LTE</a:t>
                </a:r>
              </a:p>
            </p:txBody>
          </p:sp>
          <p:sp>
            <p:nvSpPr>
              <p:cNvPr id="50" name="Freeform 6">
                <a:extLst>
                  <a:ext uri="{FF2B5EF4-FFF2-40B4-BE49-F238E27FC236}">
                    <a16:creationId xmlns:a16="http://schemas.microsoft.com/office/drawing/2014/main" id="{C5864A71-24A1-4B96-8DF7-543E011C4B33}"/>
                  </a:ext>
                </a:extLst>
              </p:cNvPr>
              <p:cNvSpPr>
                <a:spLocks noEditPoints="1"/>
              </p:cNvSpPr>
              <p:nvPr/>
            </p:nvSpPr>
            <p:spPr bwMode="auto">
              <a:xfrm>
                <a:off x="5190411" y="5580293"/>
                <a:ext cx="258942" cy="45741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sv-SE" sz="1600" b="0" i="0" u="none" strike="noStrike" kern="0" cap="none" spc="0" normalizeH="0" baseline="0" noProof="0">
                  <a:ln>
                    <a:noFill/>
                  </a:ln>
                  <a:solidFill>
                    <a:srgbClr val="FED57A"/>
                  </a:solidFill>
                  <a:effectLst/>
                  <a:uLnTx/>
                  <a:uFillTx/>
                  <a:latin typeface="+mn-lt"/>
                  <a:ea typeface="+mn-ea"/>
                  <a:cs typeface="+mn-cs"/>
                </a:endParaRPr>
              </a:p>
            </p:txBody>
          </p:sp>
          <p:sp>
            <p:nvSpPr>
              <p:cNvPr id="53" name="Freeform 6">
                <a:extLst>
                  <a:ext uri="{FF2B5EF4-FFF2-40B4-BE49-F238E27FC236}">
                    <a16:creationId xmlns:a16="http://schemas.microsoft.com/office/drawing/2014/main" id="{A8A0AA50-B684-44B3-9510-A32CE36B3760}"/>
                  </a:ext>
                </a:extLst>
              </p:cNvPr>
              <p:cNvSpPr>
                <a:spLocks noEditPoints="1"/>
              </p:cNvSpPr>
              <p:nvPr/>
            </p:nvSpPr>
            <p:spPr bwMode="auto">
              <a:xfrm>
                <a:off x="6708243" y="5580293"/>
                <a:ext cx="258942" cy="45741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sv-SE" sz="1600" b="0" i="0" u="none" strike="noStrike" kern="0" cap="none" spc="0" normalizeH="0" baseline="0" noProof="0">
                  <a:ln>
                    <a:noFill/>
                  </a:ln>
                  <a:solidFill>
                    <a:srgbClr val="FED57A"/>
                  </a:solidFill>
                  <a:effectLst/>
                  <a:uLnTx/>
                  <a:uFillTx/>
                  <a:latin typeface="+mn-lt"/>
                  <a:ea typeface="+mn-ea"/>
                  <a:cs typeface="+mn-cs"/>
                </a:endParaRPr>
              </a:p>
            </p:txBody>
          </p:sp>
          <p:sp>
            <p:nvSpPr>
              <p:cNvPr id="54" name="Rectangle: Rounded Corners 53">
                <a:extLst>
                  <a:ext uri="{FF2B5EF4-FFF2-40B4-BE49-F238E27FC236}">
                    <a16:creationId xmlns:a16="http://schemas.microsoft.com/office/drawing/2014/main" id="{D16175F2-A3BE-4952-9C7C-98C7ED14F719}"/>
                  </a:ext>
                </a:extLst>
              </p:cNvPr>
              <p:cNvSpPr/>
              <p:nvPr/>
            </p:nvSpPr>
            <p:spPr bwMode="auto">
              <a:xfrm>
                <a:off x="4968209" y="6037709"/>
                <a:ext cx="683667" cy="274191"/>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mn-cs"/>
                  </a:rPr>
                  <a:t>LTE-only</a:t>
                </a:r>
              </a:p>
            </p:txBody>
          </p:sp>
          <p:sp>
            <p:nvSpPr>
              <p:cNvPr id="60" name="Rectangle: Rounded Corners 59">
                <a:extLst>
                  <a:ext uri="{FF2B5EF4-FFF2-40B4-BE49-F238E27FC236}">
                    <a16:creationId xmlns:a16="http://schemas.microsoft.com/office/drawing/2014/main" id="{942F1E7A-CC7A-427D-80A3-FAB3E6A8D44E}"/>
                  </a:ext>
                </a:extLst>
              </p:cNvPr>
              <p:cNvSpPr/>
              <p:nvPr/>
            </p:nvSpPr>
            <p:spPr bwMode="auto">
              <a:xfrm>
                <a:off x="6496612" y="6037709"/>
                <a:ext cx="683667" cy="274191"/>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mn-cs"/>
                  </a:rPr>
                  <a:t>EN-DC</a:t>
                </a:r>
              </a:p>
            </p:txBody>
          </p:sp>
          <p:sp>
            <p:nvSpPr>
              <p:cNvPr id="61" name="Arrow: Right 60">
                <a:extLst>
                  <a:ext uri="{FF2B5EF4-FFF2-40B4-BE49-F238E27FC236}">
                    <a16:creationId xmlns:a16="http://schemas.microsoft.com/office/drawing/2014/main" id="{42A7DFD7-942B-45AE-8DA3-BC97A1F98FF6}"/>
                  </a:ext>
                </a:extLst>
              </p:cNvPr>
              <p:cNvSpPr/>
              <p:nvPr/>
            </p:nvSpPr>
            <p:spPr bwMode="auto">
              <a:xfrm rot="7083011">
                <a:off x="5107993" y="5001659"/>
                <a:ext cx="1133351" cy="167098"/>
              </a:xfrm>
              <a:prstGeom prst="rightArrow">
                <a:avLst/>
              </a:prstGeom>
              <a:solidFill>
                <a:srgbClr val="BED68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FED57A"/>
                  </a:solidFill>
                  <a:effectLst/>
                  <a:uLnTx/>
                  <a:uFillTx/>
                  <a:latin typeface="+mn-lt"/>
                  <a:ea typeface="+mn-ea"/>
                  <a:cs typeface="+mn-cs"/>
                </a:endParaRPr>
              </a:p>
            </p:txBody>
          </p:sp>
          <p:sp>
            <p:nvSpPr>
              <p:cNvPr id="62" name="Arrow: Right 61">
                <a:extLst>
                  <a:ext uri="{FF2B5EF4-FFF2-40B4-BE49-F238E27FC236}">
                    <a16:creationId xmlns:a16="http://schemas.microsoft.com/office/drawing/2014/main" id="{23086971-BD89-4D01-AA47-D105AE5E77B8}"/>
                  </a:ext>
                </a:extLst>
              </p:cNvPr>
              <p:cNvSpPr/>
              <p:nvPr/>
            </p:nvSpPr>
            <p:spPr bwMode="auto">
              <a:xfrm rot="3743226">
                <a:off x="5885327" y="5010979"/>
                <a:ext cx="1163928" cy="165009"/>
              </a:xfrm>
              <a:prstGeom prst="rightArrow">
                <a:avLst/>
              </a:prstGeom>
              <a:solidFill>
                <a:srgbClr val="BED68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0" cap="none" spc="0" normalizeH="0" baseline="0" noProof="0">
                  <a:ln>
                    <a:noFill/>
                  </a:ln>
                  <a:solidFill>
                    <a:srgbClr val="FED57A"/>
                  </a:solidFill>
                  <a:effectLst/>
                  <a:uLnTx/>
                  <a:uFillTx/>
                  <a:latin typeface="+mn-lt"/>
                  <a:ea typeface="+mn-ea"/>
                  <a:cs typeface="+mn-cs"/>
                </a:endParaRPr>
              </a:p>
            </p:txBody>
          </p:sp>
          <p:sp>
            <p:nvSpPr>
              <p:cNvPr id="63" name="Rectangle: Rounded Corners 62">
                <a:extLst>
                  <a:ext uri="{FF2B5EF4-FFF2-40B4-BE49-F238E27FC236}">
                    <a16:creationId xmlns:a16="http://schemas.microsoft.com/office/drawing/2014/main" id="{2625B6C6-4346-4E05-950F-4A350501547C}"/>
                  </a:ext>
                </a:extLst>
              </p:cNvPr>
              <p:cNvSpPr/>
              <p:nvPr/>
            </p:nvSpPr>
            <p:spPr bwMode="auto">
              <a:xfrm>
                <a:off x="6682222" y="4749062"/>
                <a:ext cx="1103479" cy="440923"/>
              </a:xfrm>
              <a:prstGeom prst="roundRect">
                <a:avLst/>
              </a:prstGeom>
              <a:no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mn-lt"/>
                    <a:ea typeface="+mn-ea"/>
                    <a:cs typeface="+mn-cs"/>
                  </a:rPr>
                  <a:t>RAN command: </a:t>
                </a:r>
                <a:br>
                  <a:rPr kumimoji="0" lang="en-US" sz="1000" b="0" i="0" u="none" strike="noStrike" kern="0" cap="none" spc="0" normalizeH="0" baseline="0" noProof="0">
                    <a:ln>
                      <a:noFill/>
                    </a:ln>
                    <a:solidFill>
                      <a:srgbClr val="FFFFFF"/>
                    </a:solidFill>
                    <a:effectLst/>
                    <a:uLnTx/>
                    <a:uFillTx/>
                    <a:latin typeface="+mn-lt"/>
                    <a:ea typeface="+mn-ea"/>
                    <a:cs typeface="+mn-cs"/>
                  </a:rPr>
                </a:br>
                <a:r>
                  <a:rPr kumimoji="0" lang="en-US" sz="1000" b="0" i="0" u="none" strike="noStrike" kern="0" cap="none" spc="0" normalizeH="0" baseline="0" noProof="0">
                    <a:ln>
                      <a:noFill/>
                    </a:ln>
                    <a:solidFill>
                      <a:srgbClr val="FFFFFF"/>
                    </a:solidFill>
                    <a:effectLst/>
                    <a:uLnTx/>
                    <a:uFillTx/>
                    <a:latin typeface="+mn-lt"/>
                    <a:ea typeface="+mn-ea"/>
                    <a:cs typeface="+mn-cs"/>
                  </a:rPr>
                  <a:t>move to LTE-only</a:t>
                </a:r>
              </a:p>
            </p:txBody>
          </p:sp>
          <p:cxnSp>
            <p:nvCxnSpPr>
              <p:cNvPr id="65" name="Straight Arrow Connector 64">
                <a:extLst>
                  <a:ext uri="{FF2B5EF4-FFF2-40B4-BE49-F238E27FC236}">
                    <a16:creationId xmlns:a16="http://schemas.microsoft.com/office/drawing/2014/main" id="{C5385ED8-0811-4215-A198-780EB96DFF09}"/>
                  </a:ext>
                </a:extLst>
              </p:cNvPr>
              <p:cNvCxnSpPr/>
              <p:nvPr/>
            </p:nvCxnSpPr>
            <p:spPr bwMode="auto">
              <a:xfrm flipH="1">
                <a:off x="6614156" y="5143500"/>
                <a:ext cx="195980" cy="207706"/>
              </a:xfrm>
              <a:prstGeom prst="straightConnector1">
                <a:avLst/>
              </a:prstGeom>
              <a:solidFill>
                <a:schemeClr val="accent1"/>
              </a:solidFill>
              <a:ln w="12700" cap="flat" cmpd="sng" algn="ctr">
                <a:solidFill>
                  <a:schemeClr val="bg1"/>
                </a:solidFill>
                <a:prstDash val="solid"/>
                <a:round/>
                <a:headEnd type="none" w="med" len="med"/>
                <a:tailEnd type="triangle"/>
              </a:ln>
              <a:effectLst/>
            </p:spPr>
          </p:cxnSp>
          <p:sp>
            <p:nvSpPr>
              <p:cNvPr id="66" name="Rectangle: Rounded Corners 65">
                <a:extLst>
                  <a:ext uri="{FF2B5EF4-FFF2-40B4-BE49-F238E27FC236}">
                    <a16:creationId xmlns:a16="http://schemas.microsoft.com/office/drawing/2014/main" id="{D9D11855-71FB-425E-AF6B-A86A00D2EC59}"/>
                  </a:ext>
                </a:extLst>
              </p:cNvPr>
              <p:cNvSpPr/>
              <p:nvPr/>
            </p:nvSpPr>
            <p:spPr bwMode="auto">
              <a:xfrm>
                <a:off x="4325912" y="4759999"/>
                <a:ext cx="1103479" cy="440923"/>
              </a:xfrm>
              <a:prstGeom prst="roundRect">
                <a:avLst/>
              </a:prstGeom>
              <a:no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mn-lt"/>
                    <a:ea typeface="+mn-ea"/>
                    <a:cs typeface="+mn-cs"/>
                  </a:rPr>
                  <a:t>RAN command: </a:t>
                </a:r>
                <a:br>
                  <a:rPr kumimoji="0" lang="en-US" sz="1000" b="0" i="0" u="none" strike="noStrike" kern="0" cap="none" spc="0" normalizeH="0" baseline="0" noProof="0">
                    <a:ln>
                      <a:noFill/>
                    </a:ln>
                    <a:solidFill>
                      <a:srgbClr val="FFFFFF"/>
                    </a:solidFill>
                    <a:effectLst/>
                    <a:uLnTx/>
                    <a:uFillTx/>
                    <a:latin typeface="+mn-lt"/>
                    <a:ea typeface="+mn-ea"/>
                    <a:cs typeface="+mn-cs"/>
                  </a:rPr>
                </a:br>
                <a:r>
                  <a:rPr kumimoji="0" lang="en-US" sz="1000" b="0" i="0" u="none" strike="noStrike" kern="0" cap="none" spc="0" normalizeH="0" baseline="0" noProof="0">
                    <a:ln>
                      <a:noFill/>
                    </a:ln>
                    <a:solidFill>
                      <a:srgbClr val="FFFFFF"/>
                    </a:solidFill>
                    <a:effectLst/>
                    <a:uLnTx/>
                    <a:uFillTx/>
                    <a:latin typeface="+mn-lt"/>
                    <a:ea typeface="+mn-ea"/>
                    <a:cs typeface="+mn-cs"/>
                  </a:rPr>
                  <a:t>move to EN-DC</a:t>
                </a:r>
              </a:p>
            </p:txBody>
          </p:sp>
          <p:cxnSp>
            <p:nvCxnSpPr>
              <p:cNvPr id="67" name="Straight Arrow Connector 66">
                <a:extLst>
                  <a:ext uri="{FF2B5EF4-FFF2-40B4-BE49-F238E27FC236}">
                    <a16:creationId xmlns:a16="http://schemas.microsoft.com/office/drawing/2014/main" id="{73D846D2-0439-441E-A67E-A436B6316B1F}"/>
                  </a:ext>
                </a:extLst>
              </p:cNvPr>
              <p:cNvCxnSpPr>
                <a:cxnSpLocks/>
              </p:cNvCxnSpPr>
              <p:nvPr/>
            </p:nvCxnSpPr>
            <p:spPr bwMode="auto">
              <a:xfrm>
                <a:off x="5319882" y="5167193"/>
                <a:ext cx="220058" cy="181946"/>
              </a:xfrm>
              <a:prstGeom prst="straightConnector1">
                <a:avLst/>
              </a:prstGeom>
              <a:solidFill>
                <a:schemeClr val="accent1"/>
              </a:solidFill>
              <a:ln w="12700" cap="flat" cmpd="sng" algn="ctr">
                <a:solidFill>
                  <a:schemeClr val="bg1"/>
                </a:solidFill>
                <a:prstDash val="solid"/>
                <a:round/>
                <a:headEnd type="none" w="med" len="med"/>
                <a:tailEnd type="triangle"/>
              </a:ln>
              <a:effectLst/>
            </p:spPr>
          </p:cxnSp>
          <p:sp>
            <p:nvSpPr>
              <p:cNvPr id="71" name="TextBox 70">
                <a:extLst>
                  <a:ext uri="{FF2B5EF4-FFF2-40B4-BE49-F238E27FC236}">
                    <a16:creationId xmlns:a16="http://schemas.microsoft.com/office/drawing/2014/main" id="{870FDF66-4D64-4746-9884-44357A5D8608}"/>
                  </a:ext>
                </a:extLst>
              </p:cNvPr>
              <p:cNvSpPr txBox="1"/>
              <p:nvPr/>
            </p:nvSpPr>
            <p:spPr>
              <a:xfrm>
                <a:off x="5524701" y="5738952"/>
                <a:ext cx="184731"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mn-lt"/>
                  <a:ea typeface="+mn-ea"/>
                  <a:cs typeface="+mn-cs"/>
                </a:endParaRPr>
              </a:p>
            </p:txBody>
          </p:sp>
        </p:grpSp>
        <p:sp>
          <p:nvSpPr>
            <p:cNvPr id="103" name="Rectangle: Rounded Corners 102">
              <a:extLst>
                <a:ext uri="{FF2B5EF4-FFF2-40B4-BE49-F238E27FC236}">
                  <a16:creationId xmlns:a16="http://schemas.microsoft.com/office/drawing/2014/main" id="{09D3124F-5DB0-44A6-98F1-D7A93BE3D0C8}"/>
                </a:ext>
              </a:extLst>
            </p:cNvPr>
            <p:cNvSpPr/>
            <p:nvPr/>
          </p:nvSpPr>
          <p:spPr bwMode="auto">
            <a:xfrm>
              <a:off x="5460679" y="5720875"/>
              <a:ext cx="1132613" cy="182183"/>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UE follows RAN commands</a:t>
              </a:r>
            </a:p>
          </p:txBody>
        </p:sp>
        <p:cxnSp>
          <p:nvCxnSpPr>
            <p:cNvPr id="105" name="Straight Arrow Connector 104">
              <a:extLst>
                <a:ext uri="{FF2B5EF4-FFF2-40B4-BE49-F238E27FC236}">
                  <a16:creationId xmlns:a16="http://schemas.microsoft.com/office/drawing/2014/main" id="{A289A2F0-AC20-4AD7-9AC8-CEDBBF4D66A2}"/>
                </a:ext>
              </a:extLst>
            </p:cNvPr>
            <p:cNvCxnSpPr>
              <a:cxnSpLocks/>
            </p:cNvCxnSpPr>
            <p:nvPr/>
          </p:nvCxnSpPr>
          <p:spPr bwMode="auto">
            <a:xfrm>
              <a:off x="5494409" y="5967350"/>
              <a:ext cx="1065155" cy="0"/>
            </a:xfrm>
            <a:prstGeom prst="straightConnector1">
              <a:avLst/>
            </a:prstGeom>
            <a:solidFill>
              <a:schemeClr val="accent1"/>
            </a:solidFill>
            <a:ln w="12700" cap="flat" cmpd="sng" algn="ctr">
              <a:solidFill>
                <a:schemeClr val="bg1"/>
              </a:solidFill>
              <a:prstDash val="solid"/>
              <a:round/>
              <a:headEnd type="triangle" w="med" len="med"/>
              <a:tailEnd type="triangle"/>
            </a:ln>
            <a:effectLst/>
          </p:spPr>
        </p:cxnSp>
      </p:grpSp>
    </p:spTree>
    <p:extLst>
      <p:ext uri="{BB962C8B-B14F-4D97-AF65-F5344CB8AC3E}">
        <p14:creationId xmlns:p14="http://schemas.microsoft.com/office/powerpoint/2010/main" val="340015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7" grpId="0" animBg="1"/>
      <p:bldP spid="73"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A31B9-7B4D-4EB7-BB85-3E07F27539E7}"/>
              </a:ext>
            </a:extLst>
          </p:cNvPr>
          <p:cNvSpPr>
            <a:spLocks noGrp="1"/>
          </p:cNvSpPr>
          <p:nvPr>
            <p:ph type="title"/>
          </p:nvPr>
        </p:nvSpPr>
        <p:spPr/>
        <p:txBody>
          <a:bodyPr>
            <a:normAutofit/>
          </a:bodyPr>
          <a:lstStyle/>
          <a:p>
            <a:r>
              <a:rPr lang="en-US" sz="3600"/>
              <a:t>EN-DC impact on 5G EPC</a:t>
            </a:r>
          </a:p>
        </p:txBody>
      </p:sp>
      <p:sp>
        <p:nvSpPr>
          <p:cNvPr id="2" name="Content Placeholder 1">
            <a:extLst>
              <a:ext uri="{FF2B5EF4-FFF2-40B4-BE49-F238E27FC236}">
                <a16:creationId xmlns:a16="http://schemas.microsoft.com/office/drawing/2014/main" id="{24B3F37C-2476-41CE-9E63-55B75D42ECE7}"/>
              </a:ext>
            </a:extLst>
          </p:cNvPr>
          <p:cNvSpPr>
            <a:spLocks noGrp="1"/>
          </p:cNvSpPr>
          <p:nvPr>
            <p:ph idx="4294967295"/>
          </p:nvPr>
        </p:nvSpPr>
        <p:spPr>
          <a:xfrm>
            <a:off x="4953000" y="1511300"/>
            <a:ext cx="7239000" cy="4895850"/>
          </a:xfrm>
        </p:spPr>
        <p:txBody>
          <a:bodyPr/>
          <a:lstStyle/>
          <a:p>
            <a:pPr>
              <a:buClr>
                <a:schemeClr val="bg1"/>
              </a:buClr>
            </a:pPr>
            <a:r>
              <a:rPr lang="en-US">
                <a:solidFill>
                  <a:schemeClr val="bg1"/>
                </a:solidFill>
              </a:rPr>
              <a:t>The bearer type used in RAN for a specific UE bearer </a:t>
            </a:r>
            <a:r>
              <a:rPr lang="en-US" b="1" u="sng">
                <a:solidFill>
                  <a:schemeClr val="bg1"/>
                </a:solidFill>
              </a:rPr>
              <a:t>is not visible in 5G EPC</a:t>
            </a:r>
          </a:p>
          <a:p>
            <a:pPr lvl="1">
              <a:buClr>
                <a:schemeClr val="bg1"/>
              </a:buClr>
            </a:pPr>
            <a:endParaRPr lang="en-US" sz="1600" b="1" u="sng">
              <a:solidFill>
                <a:schemeClr val="bg1"/>
              </a:solidFill>
            </a:endParaRPr>
          </a:p>
          <a:p>
            <a:pPr>
              <a:buClr>
                <a:schemeClr val="bg1"/>
              </a:buClr>
            </a:pPr>
            <a:r>
              <a:rPr lang="en-US">
                <a:solidFill>
                  <a:schemeClr val="bg1"/>
                </a:solidFill>
              </a:rPr>
              <a:t>5G EPC needs to mainly support “user plane path switch” or “Dynamic mobility switching” functionality (E-RAB Modification)</a:t>
            </a:r>
          </a:p>
          <a:p>
            <a:pPr lvl="1">
              <a:buClr>
                <a:schemeClr val="bg1"/>
              </a:buClr>
            </a:pPr>
            <a:r>
              <a:rPr lang="en-US" sz="1800">
                <a:solidFill>
                  <a:schemeClr val="bg1"/>
                </a:solidFill>
              </a:rPr>
              <a:t>For example, move S1-U GTP tunnel(s) from LTE </a:t>
            </a:r>
            <a:r>
              <a:rPr lang="en-US" sz="1800" err="1">
                <a:solidFill>
                  <a:schemeClr val="bg1"/>
                </a:solidFill>
              </a:rPr>
              <a:t>MeNB</a:t>
            </a:r>
            <a:r>
              <a:rPr lang="en-US" sz="1800">
                <a:solidFill>
                  <a:schemeClr val="bg1"/>
                </a:solidFill>
              </a:rPr>
              <a:t> to NR </a:t>
            </a:r>
            <a:r>
              <a:rPr lang="en-US" sz="1800" err="1">
                <a:solidFill>
                  <a:schemeClr val="bg1"/>
                </a:solidFill>
              </a:rPr>
              <a:t>SgNB</a:t>
            </a:r>
            <a:r>
              <a:rPr lang="en-US" sz="1800">
                <a:solidFill>
                  <a:schemeClr val="bg1"/>
                </a:solidFill>
              </a:rPr>
              <a:t> (and vice versa), as decided by LTE </a:t>
            </a:r>
            <a:r>
              <a:rPr lang="en-US" sz="1800" err="1">
                <a:solidFill>
                  <a:schemeClr val="bg1"/>
                </a:solidFill>
              </a:rPr>
              <a:t>MeNB</a:t>
            </a:r>
            <a:endParaRPr lang="en-US" sz="1800">
              <a:solidFill>
                <a:schemeClr val="bg1"/>
              </a:solidFill>
            </a:endParaRPr>
          </a:p>
          <a:p>
            <a:pPr lvl="1">
              <a:buClr>
                <a:schemeClr val="bg1"/>
              </a:buClr>
            </a:pPr>
            <a:endParaRPr lang="en-US" sz="1800">
              <a:solidFill>
                <a:schemeClr val="bg1"/>
              </a:solidFill>
            </a:endParaRPr>
          </a:p>
          <a:p>
            <a:pPr>
              <a:buClr>
                <a:schemeClr val="bg1"/>
              </a:buClr>
            </a:pPr>
            <a:r>
              <a:rPr lang="en-US">
                <a:solidFill>
                  <a:schemeClr val="bg1"/>
                </a:solidFill>
              </a:rPr>
              <a:t>5G EPC needs to also support additional  functionality and performance for EN-DC:</a:t>
            </a:r>
          </a:p>
          <a:p>
            <a:pPr lvl="1">
              <a:buClr>
                <a:schemeClr val="bg1"/>
              </a:buClr>
            </a:pPr>
            <a:r>
              <a:rPr lang="en-US" sz="1800">
                <a:solidFill>
                  <a:schemeClr val="bg1"/>
                </a:solidFill>
              </a:rPr>
              <a:t>Parameters for higher UE bit-rates, NR allowed or not etc.</a:t>
            </a:r>
          </a:p>
          <a:p>
            <a:pPr lvl="1">
              <a:buClr>
                <a:schemeClr val="bg1"/>
              </a:buClr>
            </a:pPr>
            <a:r>
              <a:rPr lang="en-US" sz="1800">
                <a:solidFill>
                  <a:schemeClr val="bg1"/>
                </a:solidFill>
              </a:rPr>
              <a:t>Functionality for Data Volume Reporting for Secondary RAT usage etc. </a:t>
            </a:r>
          </a:p>
          <a:p>
            <a:pPr lvl="1">
              <a:buClr>
                <a:schemeClr val="bg1"/>
              </a:buClr>
            </a:pPr>
            <a:r>
              <a:rPr lang="en-US" sz="1800">
                <a:solidFill>
                  <a:schemeClr val="bg1"/>
                </a:solidFill>
              </a:rPr>
              <a:t>5G traffic characteristics is met with CUPS, Higher UP capacity, higher UE peak bit rates</a:t>
            </a:r>
          </a:p>
          <a:p>
            <a:pPr lvl="1">
              <a:buClr>
                <a:schemeClr val="bg1"/>
              </a:buClr>
            </a:pPr>
            <a:endParaRPr lang="en-US" sz="1600">
              <a:solidFill>
                <a:schemeClr val="bg1"/>
              </a:solidFill>
            </a:endParaRPr>
          </a:p>
        </p:txBody>
      </p:sp>
      <p:sp>
        <p:nvSpPr>
          <p:cNvPr id="7" name="Freeform 6">
            <a:extLst>
              <a:ext uri="{FF2B5EF4-FFF2-40B4-BE49-F238E27FC236}">
                <a16:creationId xmlns:a16="http://schemas.microsoft.com/office/drawing/2014/main" id="{42D5ECC3-C368-4FC4-8901-D7BBB0EF12AE}"/>
              </a:ext>
            </a:extLst>
          </p:cNvPr>
          <p:cNvSpPr>
            <a:spLocks noEditPoints="1"/>
          </p:cNvSpPr>
          <p:nvPr/>
        </p:nvSpPr>
        <p:spPr bwMode="auto">
          <a:xfrm>
            <a:off x="2027525" y="5876334"/>
            <a:ext cx="314347" cy="53063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mn-lt"/>
              <a:ea typeface="+mn-ea"/>
              <a:cs typeface="+mn-cs"/>
            </a:endParaRPr>
          </a:p>
        </p:txBody>
      </p:sp>
      <p:sp>
        <p:nvSpPr>
          <p:cNvPr id="8" name="Freeform 6">
            <a:extLst>
              <a:ext uri="{FF2B5EF4-FFF2-40B4-BE49-F238E27FC236}">
                <a16:creationId xmlns:a16="http://schemas.microsoft.com/office/drawing/2014/main" id="{8AA83B9B-AD1F-4A9D-9938-5B0E3590DBB0}"/>
              </a:ext>
            </a:extLst>
          </p:cNvPr>
          <p:cNvSpPr>
            <a:spLocks/>
          </p:cNvSpPr>
          <p:nvPr/>
        </p:nvSpPr>
        <p:spPr bwMode="auto">
          <a:xfrm rot="11590155">
            <a:off x="1664616" y="5428359"/>
            <a:ext cx="345448" cy="324339"/>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58585A"/>
              </a:solidFill>
              <a:effectLst/>
              <a:uLnTx/>
              <a:uFillTx/>
              <a:latin typeface="+mn-lt"/>
              <a:ea typeface="+mn-ea"/>
              <a:cs typeface="+mn-cs"/>
            </a:endParaRPr>
          </a:p>
        </p:txBody>
      </p:sp>
      <p:sp>
        <p:nvSpPr>
          <p:cNvPr id="9" name="Freeform 6">
            <a:extLst>
              <a:ext uri="{FF2B5EF4-FFF2-40B4-BE49-F238E27FC236}">
                <a16:creationId xmlns:a16="http://schemas.microsoft.com/office/drawing/2014/main" id="{FCB9B945-FAD6-4F24-9122-936787857A61}"/>
              </a:ext>
            </a:extLst>
          </p:cNvPr>
          <p:cNvSpPr>
            <a:spLocks/>
          </p:cNvSpPr>
          <p:nvPr/>
        </p:nvSpPr>
        <p:spPr bwMode="auto">
          <a:xfrm rot="4198548">
            <a:off x="2345310" y="5466430"/>
            <a:ext cx="367416" cy="304947"/>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bg1"/>
            </a:solidFill>
            <a:round/>
            <a:headEnd type="triangle" w="med" len="med"/>
            <a:tailEnd type="triangle" w="med" len="med"/>
          </a:ln>
        </p:spPr>
        <p:txBody>
          <a:bodyPr wrap="none" lIns="71854" tIns="45627" rIns="71854" bIns="45627"/>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58585A"/>
              </a:solidFill>
              <a:effectLst/>
              <a:uLnTx/>
              <a:uFillTx/>
              <a:latin typeface="+mn-lt"/>
              <a:ea typeface="+mn-ea"/>
              <a:cs typeface="+mn-cs"/>
            </a:endParaRPr>
          </a:p>
        </p:txBody>
      </p:sp>
      <p:grpSp>
        <p:nvGrpSpPr>
          <p:cNvPr id="12" name="Group 11">
            <a:extLst>
              <a:ext uri="{FF2B5EF4-FFF2-40B4-BE49-F238E27FC236}">
                <a16:creationId xmlns:a16="http://schemas.microsoft.com/office/drawing/2014/main" id="{8872F9B0-6124-4256-9694-250A530F639F}"/>
              </a:ext>
            </a:extLst>
          </p:cNvPr>
          <p:cNvGrpSpPr/>
          <p:nvPr/>
        </p:nvGrpSpPr>
        <p:grpSpPr>
          <a:xfrm>
            <a:off x="1012034" y="1246814"/>
            <a:ext cx="2526955" cy="1155665"/>
            <a:chOff x="1416616" y="2456593"/>
            <a:chExt cx="1508780" cy="722485"/>
          </a:xfrm>
        </p:grpSpPr>
        <p:grpSp>
          <p:nvGrpSpPr>
            <p:cNvPr id="13" name="Group 12">
              <a:extLst>
                <a:ext uri="{FF2B5EF4-FFF2-40B4-BE49-F238E27FC236}">
                  <a16:creationId xmlns:a16="http://schemas.microsoft.com/office/drawing/2014/main" id="{860ABC5D-92E8-40C9-9BB4-1331A410714C}"/>
                </a:ext>
              </a:extLst>
            </p:cNvPr>
            <p:cNvGrpSpPr/>
            <p:nvPr/>
          </p:nvGrpSpPr>
          <p:grpSpPr>
            <a:xfrm>
              <a:off x="1416616" y="2456593"/>
              <a:ext cx="1508780" cy="722485"/>
              <a:chOff x="8582882" y="167662"/>
              <a:chExt cx="796584" cy="295959"/>
            </a:xfrm>
          </p:grpSpPr>
          <p:sp>
            <p:nvSpPr>
              <p:cNvPr id="16" name="AutoShape 15" descr="bpct-blend1">
                <a:extLst>
                  <a:ext uri="{FF2B5EF4-FFF2-40B4-BE49-F238E27FC236}">
                    <a16:creationId xmlns:a16="http://schemas.microsoft.com/office/drawing/2014/main" id="{91F341E9-5A1D-485D-9062-42A890CD9EA8}"/>
                  </a:ext>
                </a:extLst>
              </p:cNvPr>
              <p:cNvSpPr>
                <a:spLocks noChangeArrowheads="1"/>
              </p:cNvSpPr>
              <p:nvPr/>
            </p:nvSpPr>
            <p:spPr bwMode="auto">
              <a:xfrm>
                <a:off x="8608121" y="167662"/>
                <a:ext cx="746106" cy="295959"/>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050" b="1" i="0" u="none" strike="noStrike" kern="0" cap="none" spc="0" normalizeH="0" baseline="0" noProof="0">
                  <a:ln>
                    <a:noFill/>
                  </a:ln>
                  <a:solidFill>
                    <a:srgbClr val="00A9D4"/>
                  </a:solidFill>
                  <a:effectLst/>
                  <a:uLnTx/>
                  <a:uFillTx/>
                  <a:latin typeface="+mn-lt"/>
                  <a:ea typeface="+mn-ea"/>
                  <a:cs typeface="+mn-cs"/>
                </a:endParaRPr>
              </a:p>
            </p:txBody>
          </p:sp>
          <p:sp>
            <p:nvSpPr>
              <p:cNvPr id="17" name="Rectangle 36">
                <a:extLst>
                  <a:ext uri="{FF2B5EF4-FFF2-40B4-BE49-F238E27FC236}">
                    <a16:creationId xmlns:a16="http://schemas.microsoft.com/office/drawing/2014/main" id="{ABAEE339-AD5C-4F9A-96FB-3E912D7E5CAD}"/>
                  </a:ext>
                </a:extLst>
              </p:cNvPr>
              <p:cNvSpPr>
                <a:spLocks noChangeArrowheads="1"/>
              </p:cNvSpPr>
              <p:nvPr/>
            </p:nvSpPr>
            <p:spPr bwMode="auto">
              <a:xfrm>
                <a:off x="8582882" y="191001"/>
                <a:ext cx="796584" cy="94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800" b="1" i="0" u="none" strike="noStrike" kern="0" cap="none" spc="0" normalizeH="0" baseline="0" noProof="0">
                    <a:ln>
                      <a:noFill/>
                    </a:ln>
                    <a:solidFill>
                      <a:srgbClr val="FFFFFF"/>
                    </a:solidFill>
                    <a:effectLst/>
                    <a:uLnTx/>
                    <a:uFillTx/>
                    <a:latin typeface="+mn-lt"/>
                    <a:ea typeface="+mn-ea"/>
                    <a:cs typeface="+mn-cs"/>
                  </a:rPr>
                  <a:t>5G EPC</a:t>
                </a:r>
              </a:p>
            </p:txBody>
          </p:sp>
        </p:grpSp>
        <p:sp>
          <p:nvSpPr>
            <p:cNvPr id="14" name="Rectangle: Rounded Corners 13">
              <a:extLst>
                <a:ext uri="{FF2B5EF4-FFF2-40B4-BE49-F238E27FC236}">
                  <a16:creationId xmlns:a16="http://schemas.microsoft.com/office/drawing/2014/main" id="{DBBE48DB-A061-4002-B1FA-08289784EBA3}"/>
                </a:ext>
              </a:extLst>
            </p:cNvPr>
            <p:cNvSpPr/>
            <p:nvPr/>
          </p:nvSpPr>
          <p:spPr bwMode="auto">
            <a:xfrm>
              <a:off x="1648131" y="2801596"/>
              <a:ext cx="51295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mn-lt"/>
                  <a:ea typeface="+mn-ea"/>
                  <a:cs typeface="+mn-cs"/>
                </a:rPr>
                <a:t>MME</a:t>
              </a:r>
            </a:p>
          </p:txBody>
        </p:sp>
        <p:sp>
          <p:nvSpPr>
            <p:cNvPr id="15" name="Rectangle: Rounded Corners 14">
              <a:extLst>
                <a:ext uri="{FF2B5EF4-FFF2-40B4-BE49-F238E27FC236}">
                  <a16:creationId xmlns:a16="http://schemas.microsoft.com/office/drawing/2014/main" id="{42AB51DF-C4E5-4D76-A230-03314EA73C0E}"/>
                </a:ext>
              </a:extLst>
            </p:cNvPr>
            <p:cNvSpPr/>
            <p:nvPr/>
          </p:nvSpPr>
          <p:spPr bwMode="auto">
            <a:xfrm>
              <a:off x="2218590" y="2801596"/>
              <a:ext cx="507579" cy="271570"/>
            </a:xfrm>
            <a:prstGeom prst="roundRect">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mn-lt"/>
                  <a:ea typeface="+mn-ea"/>
                  <a:cs typeface="+mn-cs"/>
                </a:rPr>
                <a:t>SGW</a:t>
              </a:r>
            </a:p>
          </p:txBody>
        </p:sp>
      </p:grpSp>
      <p:grpSp>
        <p:nvGrpSpPr>
          <p:cNvPr id="20" name="Group 19">
            <a:extLst>
              <a:ext uri="{FF2B5EF4-FFF2-40B4-BE49-F238E27FC236}">
                <a16:creationId xmlns:a16="http://schemas.microsoft.com/office/drawing/2014/main" id="{91E98FDB-3B1E-41CD-8A92-4AFDA1DD88CD}"/>
              </a:ext>
            </a:extLst>
          </p:cNvPr>
          <p:cNvGrpSpPr/>
          <p:nvPr/>
        </p:nvGrpSpPr>
        <p:grpSpPr>
          <a:xfrm>
            <a:off x="1153280" y="2498414"/>
            <a:ext cx="2273655" cy="916449"/>
            <a:chOff x="8031752" y="2578839"/>
            <a:chExt cx="2273655" cy="916449"/>
          </a:xfrm>
        </p:grpSpPr>
        <p:sp>
          <p:nvSpPr>
            <p:cNvPr id="18" name="Arrow: Down 17">
              <a:extLst>
                <a:ext uri="{FF2B5EF4-FFF2-40B4-BE49-F238E27FC236}">
                  <a16:creationId xmlns:a16="http://schemas.microsoft.com/office/drawing/2014/main" id="{E32CC807-0FE5-4419-BCB7-54C31ADCD205}"/>
                </a:ext>
              </a:extLst>
            </p:cNvPr>
            <p:cNvSpPr/>
            <p:nvPr/>
          </p:nvSpPr>
          <p:spPr bwMode="auto">
            <a:xfrm rot="10800000">
              <a:off x="8031752" y="2578839"/>
              <a:ext cx="2273655" cy="916449"/>
            </a:xfrm>
            <a:prstGeom prst="downArrow">
              <a:avLst>
                <a:gd name="adj1" fmla="val 50000"/>
                <a:gd name="adj2" fmla="val 48511"/>
              </a:avLst>
            </a:prstGeom>
            <a:solidFill>
              <a:srgbClr val="FF00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19" name="TextBox 18">
              <a:extLst>
                <a:ext uri="{FF2B5EF4-FFF2-40B4-BE49-F238E27FC236}">
                  <a16:creationId xmlns:a16="http://schemas.microsoft.com/office/drawing/2014/main" id="{CB955D5D-9E13-4DF1-A87C-000C63F96604}"/>
                </a:ext>
              </a:extLst>
            </p:cNvPr>
            <p:cNvSpPr txBox="1"/>
            <p:nvPr/>
          </p:nvSpPr>
          <p:spPr>
            <a:xfrm>
              <a:off x="8617675" y="2893326"/>
              <a:ext cx="1167307"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2000" b="1" i="0" u="none" strike="noStrike" kern="1200" cap="none" spc="0" normalizeH="0" baseline="0" noProof="0" err="1">
                  <a:ln>
                    <a:noFill/>
                  </a:ln>
                  <a:solidFill>
                    <a:srgbClr val="FFFFFF"/>
                  </a:solidFill>
                  <a:effectLst/>
                  <a:uLnTx/>
                  <a:uFillTx/>
                  <a:latin typeface="+mn-lt"/>
                  <a:ea typeface="+mn-ea"/>
                  <a:cs typeface="+mn-cs"/>
                </a:rPr>
                <a:t>Impact</a:t>
              </a:r>
              <a:r>
                <a:rPr kumimoji="0" lang="sv-SE" sz="2000" b="1" i="0" u="none" strike="noStrike" kern="1200" cap="none" spc="0" normalizeH="0" baseline="0" noProof="0">
                  <a:ln>
                    <a:noFill/>
                  </a:ln>
                  <a:solidFill>
                    <a:srgbClr val="FFFFFF"/>
                  </a:solidFill>
                  <a:effectLst/>
                  <a:uLnTx/>
                  <a:uFillTx/>
                  <a:latin typeface="+mn-lt"/>
                  <a:ea typeface="+mn-ea"/>
                  <a:cs typeface="+mn-cs"/>
                </a:rPr>
                <a:t>?</a:t>
              </a:r>
              <a:endParaRPr kumimoji="0" lang="en-US" sz="2000" b="1" i="0" u="none" strike="noStrike" kern="1200" cap="none" spc="0" normalizeH="0" baseline="0" noProof="0">
                <a:ln>
                  <a:noFill/>
                </a:ln>
                <a:solidFill>
                  <a:srgbClr val="FFFFFF"/>
                </a:solidFill>
                <a:effectLst/>
                <a:uLnTx/>
                <a:uFillTx/>
                <a:latin typeface="+mn-lt"/>
                <a:ea typeface="+mn-ea"/>
                <a:cs typeface="+mn-cs"/>
              </a:endParaRPr>
            </a:p>
          </p:txBody>
        </p:sp>
      </p:grpSp>
      <p:grpSp>
        <p:nvGrpSpPr>
          <p:cNvPr id="21" name="Group 20">
            <a:extLst>
              <a:ext uri="{FF2B5EF4-FFF2-40B4-BE49-F238E27FC236}">
                <a16:creationId xmlns:a16="http://schemas.microsoft.com/office/drawing/2014/main" id="{A31C2D82-44D7-4D89-B6E4-A696BAC62D01}"/>
              </a:ext>
            </a:extLst>
          </p:cNvPr>
          <p:cNvGrpSpPr/>
          <p:nvPr/>
        </p:nvGrpSpPr>
        <p:grpSpPr>
          <a:xfrm>
            <a:off x="267039" y="3380365"/>
            <a:ext cx="4046135" cy="1905428"/>
            <a:chOff x="826347" y="1710197"/>
            <a:chExt cx="4046135" cy="1905428"/>
          </a:xfrm>
        </p:grpSpPr>
        <p:sp>
          <p:nvSpPr>
            <p:cNvPr id="23" name="Rectangle 22">
              <a:extLst>
                <a:ext uri="{FF2B5EF4-FFF2-40B4-BE49-F238E27FC236}">
                  <a16:creationId xmlns:a16="http://schemas.microsoft.com/office/drawing/2014/main" id="{A01F1B13-12DC-493E-9C8F-7BA107940247}"/>
                </a:ext>
              </a:extLst>
            </p:cNvPr>
            <p:cNvSpPr/>
            <p:nvPr/>
          </p:nvSpPr>
          <p:spPr bwMode="auto">
            <a:xfrm>
              <a:off x="826347" y="1818932"/>
              <a:ext cx="4046135" cy="179669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graphicFrame>
          <p:nvGraphicFramePr>
            <p:cNvPr id="24" name="Object 23">
              <a:extLst>
                <a:ext uri="{FF2B5EF4-FFF2-40B4-BE49-F238E27FC236}">
                  <a16:creationId xmlns:a16="http://schemas.microsoft.com/office/drawing/2014/main" id="{ABD4295F-BB83-49B0-95C6-79A1E315C102}"/>
                </a:ext>
              </a:extLst>
            </p:cNvPr>
            <p:cNvGraphicFramePr>
              <a:graphicFrameLocks noChangeAspect="1"/>
            </p:cNvGraphicFramePr>
            <p:nvPr/>
          </p:nvGraphicFramePr>
          <p:xfrm>
            <a:off x="956178" y="1710197"/>
            <a:ext cx="3785449" cy="1835573"/>
          </p:xfrm>
          <a:graphic>
            <a:graphicData uri="http://schemas.openxmlformats.org/presentationml/2006/ole">
              <mc:AlternateContent xmlns:mc="http://schemas.openxmlformats.org/markup-compatibility/2006">
                <mc:Choice xmlns:v="urn:schemas-microsoft-com:vml" Requires="v">
                  <p:oleObj spid="_x0000_s9220" r:id="rId4" imgW="4468425" imgH="2164711" progId="Visio.Drawing.11">
                    <p:embed/>
                  </p:oleObj>
                </mc:Choice>
                <mc:Fallback>
                  <p:oleObj r:id="rId4" imgW="4468425" imgH="2164711" progId="Visio.Drawing.11">
                    <p:embed/>
                    <p:pic>
                      <p:nvPicPr>
                        <p:cNvPr id="24" name="Object 23">
                          <a:extLst>
                            <a:ext uri="{FF2B5EF4-FFF2-40B4-BE49-F238E27FC236}">
                              <a16:creationId xmlns:a16="http://schemas.microsoft.com/office/drawing/2014/main" id="{ABD4295F-BB83-49B0-95C6-79A1E315C1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6178" y="1710197"/>
                          <a:ext cx="3785449" cy="1835573"/>
                        </a:xfrm>
                        <a:prstGeom prst="rect">
                          <a:avLst/>
                        </a:prstGeom>
                        <a:noFill/>
                      </p:spPr>
                    </p:pic>
                  </p:oleObj>
                </mc:Fallback>
              </mc:AlternateContent>
            </a:graphicData>
          </a:graphic>
        </p:graphicFrame>
      </p:grpSp>
      <p:sp>
        <p:nvSpPr>
          <p:cNvPr id="22" name="TextBox 21">
            <a:extLst>
              <a:ext uri="{FF2B5EF4-FFF2-40B4-BE49-F238E27FC236}">
                <a16:creationId xmlns:a16="http://schemas.microsoft.com/office/drawing/2014/main" id="{A4112710-7BDB-4505-A1ED-335F3822F107}"/>
              </a:ext>
            </a:extLst>
          </p:cNvPr>
          <p:cNvSpPr txBox="1"/>
          <p:nvPr/>
        </p:nvSpPr>
        <p:spPr>
          <a:xfrm>
            <a:off x="1945991" y="3482044"/>
            <a:ext cx="753732"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200" b="1" i="0" u="none" strike="noStrike" kern="1200" cap="none" spc="0" normalizeH="0" baseline="0" noProof="0">
                <a:ln>
                  <a:noFill/>
                </a:ln>
                <a:solidFill>
                  <a:srgbClr val="58585A"/>
                </a:solidFill>
                <a:effectLst/>
                <a:uLnTx/>
                <a:uFillTx/>
                <a:latin typeface="+mn-lt"/>
                <a:ea typeface="+mn-ea"/>
                <a:cs typeface="+mn-cs"/>
              </a:rPr>
              <a:t>EN-DC</a:t>
            </a:r>
            <a:endParaRPr kumimoji="0" lang="en-US" sz="1200" b="1" i="0" u="none" strike="noStrike" kern="1200" cap="none" spc="0" normalizeH="0" baseline="0" noProof="0">
              <a:ln>
                <a:noFill/>
              </a:ln>
              <a:solidFill>
                <a:srgbClr val="58585A"/>
              </a:solidFill>
              <a:effectLst/>
              <a:uLnTx/>
              <a:uFillTx/>
              <a:latin typeface="+mn-lt"/>
              <a:ea typeface="+mn-ea"/>
              <a:cs typeface="+mn-cs"/>
            </a:endParaRPr>
          </a:p>
        </p:txBody>
      </p:sp>
    </p:spTree>
    <p:extLst>
      <p:ext uri="{BB962C8B-B14F-4D97-AF65-F5344CB8AC3E}">
        <p14:creationId xmlns:p14="http://schemas.microsoft.com/office/powerpoint/2010/main" val="11214377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38"/>
          <p:cNvSpPr txBox="1">
            <a:spLocks noChangeArrowheads="1"/>
          </p:cNvSpPr>
          <p:nvPr/>
        </p:nvSpPr>
        <p:spPr bwMode="auto">
          <a:xfrm>
            <a:off x="3284539" y="4231204"/>
            <a:ext cx="17491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eNB </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selects first MME</a:t>
            </a:r>
          </a:p>
        </p:txBody>
      </p:sp>
      <p:sp>
        <p:nvSpPr>
          <p:cNvPr id="25603" name="TextBox 44"/>
          <p:cNvSpPr txBox="1">
            <a:spLocks noChangeArrowheads="1"/>
          </p:cNvSpPr>
          <p:nvPr/>
        </p:nvSpPr>
        <p:spPr bwMode="auto">
          <a:xfrm>
            <a:off x="4478340" y="3289817"/>
            <a:ext cx="14494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Reroute NAS </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Message </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Request</a:t>
            </a:r>
          </a:p>
        </p:txBody>
      </p:sp>
      <p:sp>
        <p:nvSpPr>
          <p:cNvPr id="59" name="Rounded Rectangle 58"/>
          <p:cNvSpPr/>
          <p:nvPr/>
        </p:nvSpPr>
        <p:spPr bwMode="auto">
          <a:xfrm>
            <a:off x="10207626" y="2783403"/>
            <a:ext cx="1712913" cy="939800"/>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Arial" charset="0"/>
            </a:endParaRPr>
          </a:p>
        </p:txBody>
      </p:sp>
      <p:sp>
        <p:nvSpPr>
          <p:cNvPr id="2" name="Rounded Rectangle 1"/>
          <p:cNvSpPr/>
          <p:nvPr/>
        </p:nvSpPr>
        <p:spPr bwMode="auto">
          <a:xfrm>
            <a:off x="2608263" y="2777053"/>
            <a:ext cx="1663700" cy="946150"/>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Arial" charset="0"/>
            </a:endParaRPr>
          </a:p>
        </p:txBody>
      </p:sp>
      <p:sp>
        <p:nvSpPr>
          <p:cNvPr id="25606" name="Title 2"/>
          <p:cNvSpPr>
            <a:spLocks noGrp="1"/>
          </p:cNvSpPr>
          <p:nvPr>
            <p:ph type="title"/>
          </p:nvPr>
        </p:nvSpPr>
        <p:spPr>
          <a:xfrm>
            <a:off x="479424" y="476250"/>
            <a:ext cx="9728202" cy="1081088"/>
          </a:xfrm>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a:normAutofit/>
          </a:bodyPr>
          <a:lstStyle/>
          <a:p>
            <a:r>
              <a:rPr lang="en-US"/>
              <a:t>Network partitioning in EPC based on DECOR</a:t>
            </a:r>
            <a:endParaRPr lang="en-US" altLang="en-US">
              <a:latin typeface="+mn-lt"/>
            </a:endParaRPr>
          </a:p>
        </p:txBody>
      </p:sp>
      <p:cxnSp>
        <p:nvCxnSpPr>
          <p:cNvPr id="25609" name="Straight Arrow Connector 31"/>
          <p:cNvCxnSpPr>
            <a:cxnSpLocks noChangeShapeType="1"/>
          </p:cNvCxnSpPr>
          <p:nvPr/>
        </p:nvCxnSpPr>
        <p:spPr bwMode="auto">
          <a:xfrm flipV="1">
            <a:off x="5851526" y="5675830"/>
            <a:ext cx="4763" cy="219075"/>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5610" name="Oval 33"/>
          <p:cNvSpPr>
            <a:spLocks noChangeArrowheads="1"/>
          </p:cNvSpPr>
          <p:nvPr/>
        </p:nvSpPr>
        <p:spPr bwMode="auto">
          <a:xfrm>
            <a:off x="5170488" y="5640903"/>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11" name="TextBox 34"/>
          <p:cNvSpPr txBox="1">
            <a:spLocks noChangeArrowheads="1"/>
          </p:cNvSpPr>
          <p:nvPr/>
        </p:nvSpPr>
        <p:spPr bwMode="auto">
          <a:xfrm>
            <a:off x="3532188" y="5631378"/>
            <a:ext cx="15872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Attach Request</a:t>
            </a:r>
          </a:p>
        </p:txBody>
      </p:sp>
      <p:sp>
        <p:nvSpPr>
          <p:cNvPr id="25612" name="Freeform 36"/>
          <p:cNvSpPr>
            <a:spLocks/>
          </p:cNvSpPr>
          <p:nvPr/>
        </p:nvSpPr>
        <p:spPr bwMode="auto">
          <a:xfrm>
            <a:off x="3806826" y="3640655"/>
            <a:ext cx="1958975" cy="1179513"/>
          </a:xfrm>
          <a:custGeom>
            <a:avLst/>
            <a:gdLst>
              <a:gd name="T0" fmla="*/ 2349050 w 1888993"/>
              <a:gd name="T1" fmla="*/ 1181186 h 1179095"/>
              <a:gd name="T2" fmla="*/ 874549 w 1888993"/>
              <a:gd name="T3" fmla="*/ 584654 h 1179095"/>
              <a:gd name="T4" fmla="*/ 40 w 1888993"/>
              <a:gd name="T5" fmla="*/ 0 h 1179095"/>
              <a:gd name="T6" fmla="*/ 0 60000 65536"/>
              <a:gd name="T7" fmla="*/ 0 60000 65536"/>
              <a:gd name="T8" fmla="*/ 0 60000 65536"/>
            </a:gdLst>
            <a:ahLst/>
            <a:cxnLst>
              <a:cxn ang="T6">
                <a:pos x="T0" y="T1"/>
              </a:cxn>
              <a:cxn ang="T7">
                <a:pos x="T2" y="T3"/>
              </a:cxn>
              <a:cxn ang="T8">
                <a:pos x="T4" y="T5"/>
              </a:cxn>
            </a:cxnLst>
            <a:rect l="0" t="0" r="r" b="b"/>
            <a:pathLst>
              <a:path w="1888993" h="1179095">
                <a:moveTo>
                  <a:pt x="1888993" y="1179095"/>
                </a:moveTo>
                <a:cubicBezTo>
                  <a:pt x="1879969" y="607093"/>
                  <a:pt x="1216879" y="727126"/>
                  <a:pt x="703271" y="583619"/>
                </a:cubicBezTo>
                <a:cubicBezTo>
                  <a:pt x="189663" y="440112"/>
                  <a:pt x="-2973" y="280235"/>
                  <a:pt x="34"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13" name="Oval 37"/>
          <p:cNvSpPr>
            <a:spLocks noChangeArrowheads="1"/>
          </p:cNvSpPr>
          <p:nvPr/>
        </p:nvSpPr>
        <p:spPr bwMode="auto">
          <a:xfrm>
            <a:off x="4038601" y="4234378"/>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2</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14" name="Freeform 39"/>
          <p:cNvSpPr>
            <a:spLocks/>
          </p:cNvSpPr>
          <p:nvPr/>
        </p:nvSpPr>
        <p:spPr bwMode="auto">
          <a:xfrm flipH="1">
            <a:off x="3862388" y="1976953"/>
            <a:ext cx="1998663" cy="850900"/>
          </a:xfrm>
          <a:custGeom>
            <a:avLst/>
            <a:gdLst>
              <a:gd name="T0" fmla="*/ 2717899 w 1879552"/>
              <a:gd name="T1" fmla="*/ 85384 h 1347537"/>
              <a:gd name="T2" fmla="*/ 577934 w 1879552"/>
              <a:gd name="T3" fmla="*/ 48029 h 1347537"/>
              <a:gd name="T4" fmla="*/ 3796 w 1879552"/>
              <a:gd name="T5" fmla="*/ 0 h 1347537"/>
              <a:gd name="T6" fmla="*/ 0 60000 65536"/>
              <a:gd name="T7" fmla="*/ 0 60000 65536"/>
              <a:gd name="T8" fmla="*/ 0 60000 65536"/>
            </a:gdLst>
            <a:ahLst/>
            <a:cxnLst>
              <a:cxn ang="T6">
                <a:pos x="T0" y="T1"/>
              </a:cxn>
              <a:cxn ang="T7">
                <a:pos x="T2" y="T3"/>
              </a:cxn>
              <a:cxn ang="T8">
                <a:pos x="T4" y="T5"/>
              </a:cxn>
            </a:cxnLst>
            <a:rect l="0" t="0" r="r" b="b"/>
            <a:pathLst>
              <a:path w="1879552" h="1347537">
                <a:moveTo>
                  <a:pt x="1879552" y="1347537"/>
                </a:moveTo>
                <a:cubicBezTo>
                  <a:pt x="1870528" y="775535"/>
                  <a:pt x="772647" y="838199"/>
                  <a:pt x="399668" y="757991"/>
                </a:cubicBezTo>
                <a:cubicBezTo>
                  <a:pt x="26689" y="677783"/>
                  <a:pt x="-12413" y="520866"/>
                  <a:pt x="2625"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15" name="TextBox 40"/>
          <p:cNvSpPr txBox="1">
            <a:spLocks noChangeArrowheads="1"/>
          </p:cNvSpPr>
          <p:nvPr/>
        </p:nvSpPr>
        <p:spPr bwMode="auto">
          <a:xfrm>
            <a:off x="3508712" y="1532681"/>
            <a:ext cx="22399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181818"/>
                </a:solidFill>
                <a:effectLst/>
                <a:uLnTx/>
                <a:uFillTx/>
                <a:latin typeface="Ericsson Hilda"/>
                <a:ea typeface="+mn-ea"/>
                <a:cs typeface="+mn-cs"/>
              </a:rPr>
              <a:t>Authentication Information Request</a:t>
            </a:r>
            <a:endParaRPr kumimoji="0" lang="en-US" alt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16" name="Oval 41"/>
          <p:cNvSpPr>
            <a:spLocks noChangeArrowheads="1"/>
          </p:cNvSpPr>
          <p:nvPr/>
        </p:nvSpPr>
        <p:spPr bwMode="auto">
          <a:xfrm>
            <a:off x="4800601" y="2115068"/>
            <a:ext cx="392113"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3</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17" name="Freeform 42"/>
          <p:cNvSpPr>
            <a:spLocks/>
          </p:cNvSpPr>
          <p:nvPr/>
        </p:nvSpPr>
        <p:spPr bwMode="auto">
          <a:xfrm flipH="1" flipV="1">
            <a:off x="4035426" y="3675578"/>
            <a:ext cx="1874839" cy="1150938"/>
          </a:xfrm>
          <a:custGeom>
            <a:avLst/>
            <a:gdLst>
              <a:gd name="T0" fmla="*/ 2084481 w 1835568"/>
              <a:gd name="T1" fmla="*/ 1019652 h 1179095"/>
              <a:gd name="T2" fmla="*/ 226295 w 1835568"/>
              <a:gd name="T3" fmla="*/ 447400 h 1179095"/>
              <a:gd name="T4" fmla="*/ 7685 w 1835568"/>
              <a:gd name="T5" fmla="*/ 0 h 1179095"/>
              <a:gd name="T6" fmla="*/ 0 60000 65536"/>
              <a:gd name="T7" fmla="*/ 0 60000 65536"/>
              <a:gd name="T8" fmla="*/ 0 60000 65536"/>
            </a:gdLst>
            <a:ahLst/>
            <a:cxnLst>
              <a:cxn ang="T6">
                <a:pos x="T0" y="T1"/>
              </a:cxn>
              <a:cxn ang="T7">
                <a:pos x="T2" y="T3"/>
              </a:cxn>
              <a:cxn ang="T8">
                <a:pos x="T4" y="T5"/>
              </a:cxn>
            </a:cxnLst>
            <a:rect l="0" t="0" r="r" b="b"/>
            <a:pathLst>
              <a:path w="1835568" h="1179095">
                <a:moveTo>
                  <a:pt x="1835568" y="1179095"/>
                </a:moveTo>
                <a:cubicBezTo>
                  <a:pt x="1826544" y="607093"/>
                  <a:pt x="504073" y="713874"/>
                  <a:pt x="199273" y="517358"/>
                </a:cubicBezTo>
                <a:cubicBezTo>
                  <a:pt x="-49380" y="360948"/>
                  <a:pt x="3760" y="280235"/>
                  <a:pt x="6767"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18" name="Oval 43"/>
          <p:cNvSpPr>
            <a:spLocks noChangeArrowheads="1"/>
          </p:cNvSpPr>
          <p:nvPr/>
        </p:nvSpPr>
        <p:spPr bwMode="auto">
          <a:xfrm>
            <a:off x="4413252" y="3704153"/>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5</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20" name="Freeform 54"/>
          <p:cNvSpPr>
            <a:spLocks/>
          </p:cNvSpPr>
          <p:nvPr/>
        </p:nvSpPr>
        <p:spPr bwMode="auto">
          <a:xfrm flipV="1">
            <a:off x="6137275" y="3723203"/>
            <a:ext cx="4611688" cy="2171700"/>
          </a:xfrm>
          <a:custGeom>
            <a:avLst/>
            <a:gdLst>
              <a:gd name="T0" fmla="*/ 352341904 w 1937427"/>
              <a:gd name="T1" fmla="*/ 1278717 h 2414519"/>
              <a:gd name="T2" fmla="*/ 156489213 w 1937427"/>
              <a:gd name="T3" fmla="*/ 855116 h 2414519"/>
              <a:gd name="T4" fmla="*/ 881121 w 1937427"/>
              <a:gd name="T5" fmla="*/ 583904 h 2414519"/>
              <a:gd name="T6" fmla="*/ 110428 w 1937427"/>
              <a:gd name="T7" fmla="*/ 0 h 24145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37427" h="2414519">
                <a:moveTo>
                  <a:pt x="1937427" y="2414519"/>
                </a:moveTo>
                <a:cubicBezTo>
                  <a:pt x="1920722" y="1516598"/>
                  <a:pt x="1228670" y="1616040"/>
                  <a:pt x="860489" y="1614659"/>
                </a:cubicBezTo>
                <a:cubicBezTo>
                  <a:pt x="492308" y="1613278"/>
                  <a:pt x="11504" y="1666186"/>
                  <a:pt x="4845" y="1102548"/>
                </a:cubicBezTo>
                <a:cubicBezTo>
                  <a:pt x="-1814" y="538910"/>
                  <a:pt x="190" y="1012224"/>
                  <a:pt x="607" y="0"/>
                </a:cubicBezTo>
              </a:path>
            </a:pathLst>
          </a:custGeom>
          <a:noFill/>
          <a:ln w="38100" cap="flat" cmpd="sng" algn="ctr">
            <a:solidFill>
              <a:schemeClr val="tx1"/>
            </a:solidFill>
            <a:prstDash val="solid"/>
            <a:round/>
            <a:headEnd type="arrow"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21" name="TextBox 47"/>
          <p:cNvSpPr txBox="1">
            <a:spLocks noChangeArrowheads="1"/>
          </p:cNvSpPr>
          <p:nvPr/>
        </p:nvSpPr>
        <p:spPr bwMode="auto">
          <a:xfrm>
            <a:off x="7688263" y="3488254"/>
            <a:ext cx="187262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err="1">
                <a:ln>
                  <a:noFill/>
                </a:ln>
                <a:solidFill>
                  <a:srgbClr val="181818"/>
                </a:solidFill>
                <a:effectLst/>
                <a:uLnTx/>
                <a:uFillTx/>
                <a:latin typeface="Ericsson Hilda"/>
                <a:ea typeface="+mn-ea"/>
                <a:cs typeface="+mn-cs"/>
              </a:rPr>
              <a:t>eNB</a:t>
            </a: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selects MME </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according</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to MMEGI</a:t>
            </a:r>
          </a:p>
        </p:txBody>
      </p:sp>
      <p:sp>
        <p:nvSpPr>
          <p:cNvPr id="25622" name="Oval 46"/>
          <p:cNvSpPr>
            <a:spLocks noChangeArrowheads="1"/>
          </p:cNvSpPr>
          <p:nvPr/>
        </p:nvSpPr>
        <p:spPr bwMode="auto">
          <a:xfrm>
            <a:off x="7739063" y="3950218"/>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6</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23" name="Freeform 45"/>
          <p:cNvSpPr>
            <a:spLocks/>
          </p:cNvSpPr>
          <p:nvPr/>
        </p:nvSpPr>
        <p:spPr bwMode="auto">
          <a:xfrm flipH="1">
            <a:off x="6045200" y="3640655"/>
            <a:ext cx="4459288" cy="1179513"/>
          </a:xfrm>
          <a:custGeom>
            <a:avLst/>
            <a:gdLst>
              <a:gd name="T0" fmla="*/ 384433208 w 1828855"/>
              <a:gd name="T1" fmla="*/ 1181186 h 1179095"/>
              <a:gd name="T2" fmla="*/ 133370879 w 1828855"/>
              <a:gd name="T3" fmla="*/ 651033 h 1179095"/>
              <a:gd name="T4" fmla="*/ 11380 w 1828855"/>
              <a:gd name="T5" fmla="*/ 0 h 1179095"/>
              <a:gd name="T6" fmla="*/ 0 60000 65536"/>
              <a:gd name="T7" fmla="*/ 0 60000 65536"/>
              <a:gd name="T8" fmla="*/ 0 60000 65536"/>
            </a:gdLst>
            <a:ahLst/>
            <a:cxnLst>
              <a:cxn ang="T6">
                <a:pos x="T0" y="T1"/>
              </a:cxn>
              <a:cxn ang="T7">
                <a:pos x="T2" y="T3"/>
              </a:cxn>
              <a:cxn ang="T8">
                <a:pos x="T4" y="T5"/>
              </a:cxn>
            </a:cxnLst>
            <a:rect l="0" t="0" r="r" b="b"/>
            <a:pathLst>
              <a:path w="1828855" h="1179095">
                <a:moveTo>
                  <a:pt x="1828855" y="1179095"/>
                </a:moveTo>
                <a:cubicBezTo>
                  <a:pt x="1819831" y="540833"/>
                  <a:pt x="1151185" y="700273"/>
                  <a:pt x="634482" y="649880"/>
                </a:cubicBezTo>
                <a:cubicBezTo>
                  <a:pt x="117779" y="599487"/>
                  <a:pt x="-2953" y="452513"/>
                  <a:pt x="54"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24" name="TextBox 55"/>
          <p:cNvSpPr txBox="1">
            <a:spLocks noChangeArrowheads="1"/>
          </p:cNvSpPr>
          <p:nvPr/>
        </p:nvSpPr>
        <p:spPr bwMode="auto">
          <a:xfrm>
            <a:off x="8702676" y="4542354"/>
            <a:ext cx="1931811" cy="584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Attach Procedure</a:t>
            </a:r>
            <a:br>
              <a:rPr kumimoji="0" lang="en-US" altLang="en-US" sz="1600" b="0" i="0" u="none" strike="noStrike" kern="1200" cap="none" spc="0" normalizeH="0" baseline="0" noProof="0">
                <a:ln>
                  <a:noFill/>
                </a:ln>
                <a:solidFill>
                  <a:srgbClr val="181818"/>
                </a:solidFill>
                <a:effectLst/>
                <a:uLnTx/>
                <a:uFillTx/>
                <a:latin typeface="Ericsson Hilda"/>
                <a:ea typeface="+mn-ea"/>
                <a:cs typeface="+mn-cs"/>
              </a:rPr>
            </a:b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continues …</a:t>
            </a:r>
          </a:p>
        </p:txBody>
      </p:sp>
      <p:sp>
        <p:nvSpPr>
          <p:cNvPr id="25625" name="Oval 56"/>
          <p:cNvSpPr>
            <a:spLocks noChangeArrowheads="1"/>
          </p:cNvSpPr>
          <p:nvPr/>
        </p:nvSpPr>
        <p:spPr bwMode="auto">
          <a:xfrm>
            <a:off x="8526463" y="4607443"/>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8</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58" name="TextBox 57"/>
          <p:cNvSpPr txBox="1"/>
          <p:nvPr/>
        </p:nvSpPr>
        <p:spPr>
          <a:xfrm>
            <a:off x="2566989" y="2832617"/>
            <a:ext cx="742511" cy="707886"/>
          </a:xfrm>
          <a:prstGeom prst="rect">
            <a:avLst/>
          </a:prstGeom>
          <a:noFill/>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t>DCN</a:t>
            </a:r>
            <a:b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b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t>#1</a:t>
            </a:r>
          </a:p>
        </p:txBody>
      </p:sp>
      <p:sp>
        <p:nvSpPr>
          <p:cNvPr id="60" name="TextBox 59"/>
          <p:cNvSpPr txBox="1"/>
          <p:nvPr/>
        </p:nvSpPr>
        <p:spPr>
          <a:xfrm>
            <a:off x="11178029" y="2870717"/>
            <a:ext cx="742511" cy="707886"/>
          </a:xfrm>
          <a:prstGeom prst="rect">
            <a:avLst/>
          </a:prstGeom>
          <a:noFill/>
        </p:spPr>
        <p:txBody>
          <a:bodyPr wrap="none">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t>DCN</a:t>
            </a:r>
            <a:b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b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Arial" charset="0"/>
              </a:rPr>
              <a:t>#2</a:t>
            </a:r>
          </a:p>
        </p:txBody>
      </p:sp>
      <p:sp>
        <p:nvSpPr>
          <p:cNvPr id="25628" name="Freeform 60"/>
          <p:cNvSpPr>
            <a:spLocks/>
          </p:cNvSpPr>
          <p:nvPr/>
        </p:nvSpPr>
        <p:spPr bwMode="auto">
          <a:xfrm>
            <a:off x="6146800" y="1976953"/>
            <a:ext cx="4357688" cy="865188"/>
          </a:xfrm>
          <a:custGeom>
            <a:avLst/>
            <a:gdLst>
              <a:gd name="T0" fmla="*/ 291960948 w 1879552"/>
              <a:gd name="T1" fmla="*/ 94301 h 1347537"/>
              <a:gd name="T2" fmla="*/ 62082554 w 1879552"/>
              <a:gd name="T3" fmla="*/ 53044 h 1347537"/>
              <a:gd name="T4" fmla="*/ 407787 w 1879552"/>
              <a:gd name="T5" fmla="*/ 0 h 1347537"/>
              <a:gd name="T6" fmla="*/ 0 60000 65536"/>
              <a:gd name="T7" fmla="*/ 0 60000 65536"/>
              <a:gd name="T8" fmla="*/ 0 60000 65536"/>
            </a:gdLst>
            <a:ahLst/>
            <a:cxnLst>
              <a:cxn ang="T6">
                <a:pos x="T0" y="T1"/>
              </a:cxn>
              <a:cxn ang="T7">
                <a:pos x="T2" y="T3"/>
              </a:cxn>
              <a:cxn ang="T8">
                <a:pos x="T4" y="T5"/>
              </a:cxn>
            </a:cxnLst>
            <a:rect l="0" t="0" r="r" b="b"/>
            <a:pathLst>
              <a:path w="1879552" h="1347537">
                <a:moveTo>
                  <a:pt x="1879552" y="1347537"/>
                </a:moveTo>
                <a:cubicBezTo>
                  <a:pt x="1870528" y="775535"/>
                  <a:pt x="772647" y="838199"/>
                  <a:pt x="399668" y="757991"/>
                </a:cubicBezTo>
                <a:cubicBezTo>
                  <a:pt x="26689" y="677783"/>
                  <a:pt x="-12413" y="520866"/>
                  <a:pt x="2625"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29" name="TextBox 61"/>
          <p:cNvSpPr txBox="1">
            <a:spLocks noChangeArrowheads="1"/>
          </p:cNvSpPr>
          <p:nvPr/>
        </p:nvSpPr>
        <p:spPr bwMode="auto">
          <a:xfrm>
            <a:off x="6940551" y="2045217"/>
            <a:ext cx="2795830" cy="338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   Authentication/Registration</a:t>
            </a:r>
          </a:p>
        </p:txBody>
      </p:sp>
      <p:sp>
        <p:nvSpPr>
          <p:cNvPr id="25630" name="Oval 62"/>
          <p:cNvSpPr>
            <a:spLocks noChangeArrowheads="1"/>
          </p:cNvSpPr>
          <p:nvPr/>
        </p:nvSpPr>
        <p:spPr bwMode="auto">
          <a:xfrm>
            <a:off x="6765926" y="2075378"/>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7</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33" name="Parallelogram 9"/>
          <p:cNvSpPr>
            <a:spLocks noChangeArrowheads="1"/>
          </p:cNvSpPr>
          <p:nvPr/>
        </p:nvSpPr>
        <p:spPr bwMode="auto">
          <a:xfrm>
            <a:off x="6591300" y="1183203"/>
            <a:ext cx="2000251" cy="247650"/>
          </a:xfrm>
          <a:prstGeom prst="parallelogram">
            <a:avLst>
              <a:gd name="adj" fmla="val 24979"/>
            </a:avLst>
          </a:prstGeom>
          <a:solidFill>
            <a:srgbClr val="F08A00"/>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0" tIns="0" rIns="0" bIns="0" anchor="ctr" anchorCtr="1"/>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UE Usage Type</a:t>
            </a:r>
          </a:p>
        </p:txBody>
      </p:sp>
      <p:cxnSp>
        <p:nvCxnSpPr>
          <p:cNvPr id="25634" name="Curved Connector 12"/>
          <p:cNvCxnSpPr>
            <a:cxnSpLocks noChangeShapeType="1"/>
            <a:stCxn id="25633" idx="5"/>
          </p:cNvCxnSpPr>
          <p:nvPr/>
        </p:nvCxnSpPr>
        <p:spPr bwMode="auto">
          <a:xfrm rot="10800000" flipV="1">
            <a:off x="5989640" y="1307028"/>
            <a:ext cx="642937" cy="242888"/>
          </a:xfrm>
          <a:prstGeom prst="curvedConnector3">
            <a:avLst>
              <a:gd name="adj1" fmla="val 50000"/>
            </a:avLst>
          </a:prstGeom>
          <a:noFill/>
          <a:ln w="19050" algn="ctr">
            <a:solidFill>
              <a:srgbClr val="F08A00"/>
            </a:solidFill>
            <a:round/>
            <a:headEnd/>
            <a:tailEnd/>
          </a:ln>
          <a:extLst>
            <a:ext uri="{909E8E84-426E-40DD-AFC4-6F175D3DCCD1}">
              <a14:hiddenFill xmlns:a14="http://schemas.microsoft.com/office/drawing/2010/main">
                <a:noFill/>
              </a14:hiddenFill>
            </a:ext>
          </a:extLst>
        </p:spPr>
      </p:cxnSp>
      <p:sp>
        <p:nvSpPr>
          <p:cNvPr id="25636" name="Freeform 69"/>
          <p:cNvSpPr>
            <a:spLocks/>
          </p:cNvSpPr>
          <p:nvPr/>
        </p:nvSpPr>
        <p:spPr bwMode="auto">
          <a:xfrm>
            <a:off x="2975519" y="2236619"/>
            <a:ext cx="697957" cy="765862"/>
          </a:xfrm>
          <a:custGeom>
            <a:avLst/>
            <a:gdLst>
              <a:gd name="T0" fmla="*/ 2876465 w 1879552"/>
              <a:gd name="T1" fmla="*/ 14538 h 1347537"/>
              <a:gd name="T2" fmla="*/ 611652 w 1879552"/>
              <a:gd name="T3" fmla="*/ 8178 h 1347537"/>
              <a:gd name="T4" fmla="*/ 4017 w 1879552"/>
              <a:gd name="T5" fmla="*/ 0 h 1347537"/>
              <a:gd name="T6" fmla="*/ 0 60000 65536"/>
              <a:gd name="T7" fmla="*/ 0 60000 65536"/>
              <a:gd name="T8" fmla="*/ 0 60000 65536"/>
              <a:gd name="connsiteX0" fmla="*/ 1532135 w 1532135"/>
              <a:gd name="connsiteY0" fmla="*/ 592521 h 1080152"/>
              <a:gd name="connsiteX1" fmla="*/ 52251 w 1532135"/>
              <a:gd name="connsiteY1" fmla="*/ 2975 h 1080152"/>
              <a:gd name="connsiteX2" fmla="*/ 1439906 w 1532135"/>
              <a:gd name="connsiteY2" fmla="*/ 974153 h 1080152"/>
              <a:gd name="connsiteX0" fmla="*/ 669435 w 669435"/>
              <a:gd name="connsiteY0" fmla="*/ 1240108 h 1700974"/>
              <a:gd name="connsiteX1" fmla="*/ 95421 w 669435"/>
              <a:gd name="connsiteY1" fmla="*/ 2123 h 1700974"/>
              <a:gd name="connsiteX2" fmla="*/ 577206 w 669435"/>
              <a:gd name="connsiteY2" fmla="*/ 1621740 h 1700974"/>
              <a:gd name="connsiteX0" fmla="*/ 731210 w 731210"/>
              <a:gd name="connsiteY0" fmla="*/ 1237985 h 1735657"/>
              <a:gd name="connsiteX1" fmla="*/ 157196 w 731210"/>
              <a:gd name="connsiteY1" fmla="*/ 0 h 1735657"/>
              <a:gd name="connsiteX2" fmla="*/ 638981 w 731210"/>
              <a:gd name="connsiteY2" fmla="*/ 1619617 h 1735657"/>
              <a:gd name="connsiteX0" fmla="*/ 811396 w 811396"/>
              <a:gd name="connsiteY0" fmla="*/ 1237985 h 1619617"/>
              <a:gd name="connsiteX1" fmla="*/ 237382 w 811396"/>
              <a:gd name="connsiteY1" fmla="*/ 0 h 1619617"/>
              <a:gd name="connsiteX2" fmla="*/ 719167 w 811396"/>
              <a:gd name="connsiteY2" fmla="*/ 1619617 h 1619617"/>
              <a:gd name="connsiteX0" fmla="*/ 721629 w 721629"/>
              <a:gd name="connsiteY0" fmla="*/ 1237985 h 1619617"/>
              <a:gd name="connsiteX1" fmla="*/ 147615 w 721629"/>
              <a:gd name="connsiteY1" fmla="*/ 0 h 1619617"/>
              <a:gd name="connsiteX2" fmla="*/ 629400 w 721629"/>
              <a:gd name="connsiteY2" fmla="*/ 1619617 h 1619617"/>
              <a:gd name="connsiteX0" fmla="*/ 721629 w 721629"/>
              <a:gd name="connsiteY0" fmla="*/ 1259659 h 1641291"/>
              <a:gd name="connsiteX1" fmla="*/ 147615 w 721629"/>
              <a:gd name="connsiteY1" fmla="*/ 21674 h 1641291"/>
              <a:gd name="connsiteX2" fmla="*/ 629400 w 721629"/>
              <a:gd name="connsiteY2" fmla="*/ 1641291 h 1641291"/>
              <a:gd name="connsiteX0" fmla="*/ 650165 w 650165"/>
              <a:gd name="connsiteY0" fmla="*/ 1259659 h 1641291"/>
              <a:gd name="connsiteX1" fmla="*/ 76151 w 650165"/>
              <a:gd name="connsiteY1" fmla="*/ 21674 h 1641291"/>
              <a:gd name="connsiteX2" fmla="*/ 557936 w 650165"/>
              <a:gd name="connsiteY2" fmla="*/ 1641291 h 1641291"/>
              <a:gd name="connsiteX0" fmla="*/ 650165 w 650165"/>
              <a:gd name="connsiteY0" fmla="*/ 1247679 h 1629311"/>
              <a:gd name="connsiteX1" fmla="*/ 76151 w 650165"/>
              <a:gd name="connsiteY1" fmla="*/ 9694 h 1629311"/>
              <a:gd name="connsiteX2" fmla="*/ 557936 w 650165"/>
              <a:gd name="connsiteY2" fmla="*/ 1629311 h 1629311"/>
            </a:gdLst>
            <a:ahLst/>
            <a:cxnLst>
              <a:cxn ang="0">
                <a:pos x="connsiteX0" y="connsiteY0"/>
              </a:cxn>
              <a:cxn ang="0">
                <a:pos x="connsiteX1" y="connsiteY1"/>
              </a:cxn>
              <a:cxn ang="0">
                <a:pos x="connsiteX2" y="connsiteY2"/>
              </a:cxn>
            </a:cxnLst>
            <a:rect l="l" t="t" r="r" b="b"/>
            <a:pathLst>
              <a:path w="650165" h="1629311">
                <a:moveTo>
                  <a:pt x="650165" y="1247679"/>
                </a:moveTo>
                <a:cubicBezTo>
                  <a:pt x="641141" y="675677"/>
                  <a:pt x="476171" y="-95366"/>
                  <a:pt x="76151" y="9694"/>
                </a:cubicBezTo>
                <a:cubicBezTo>
                  <a:pt x="-94020" y="392656"/>
                  <a:pt x="2081" y="1470863"/>
                  <a:pt x="557936" y="1629311"/>
                </a:cubicBezTo>
              </a:path>
            </a:pathLst>
          </a:custGeom>
          <a:noFill/>
          <a:ln w="38100" cap="flat" cmpd="sng" algn="ctr">
            <a:solidFill>
              <a:schemeClr val="tx1"/>
            </a:solidFill>
            <a:prstDash val="sysDash"/>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637" name="TextBox 70"/>
          <p:cNvSpPr txBox="1">
            <a:spLocks noChangeArrowheads="1"/>
          </p:cNvSpPr>
          <p:nvPr/>
        </p:nvSpPr>
        <p:spPr bwMode="auto">
          <a:xfrm>
            <a:off x="610488" y="1680918"/>
            <a:ext cx="241455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Decide DCN based on internal or external information (such as “UE Usage Type”)</a:t>
            </a:r>
            <a:endParaRPr kumimoji="0" lang="en-US" altLang="en-US" sz="1600" b="0" i="0" u="none" strike="noStrike" kern="1200" cap="none" spc="0" normalizeH="0" baseline="0" noProof="0">
              <a:ln>
                <a:noFill/>
              </a:ln>
              <a:solidFill>
                <a:srgbClr val="181818"/>
              </a:solidFill>
              <a:effectLst/>
              <a:uLnTx/>
              <a:uFillTx/>
              <a:latin typeface="Ericsson Hilda"/>
              <a:ea typeface="+mn-ea"/>
              <a:cs typeface="+mn-cs"/>
              <a:sym typeface="Wingdings" pitchFamily="2" charset="2"/>
            </a:endParaRPr>
          </a:p>
        </p:txBody>
      </p:sp>
      <p:sp>
        <p:nvSpPr>
          <p:cNvPr id="25638" name="Oval 71"/>
          <p:cNvSpPr>
            <a:spLocks noChangeArrowheads="1"/>
          </p:cNvSpPr>
          <p:nvPr/>
        </p:nvSpPr>
        <p:spPr bwMode="auto">
          <a:xfrm>
            <a:off x="3025040" y="1898373"/>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4</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25639" name="TextBox 72"/>
          <p:cNvSpPr txBox="1">
            <a:spLocks noChangeArrowheads="1"/>
          </p:cNvSpPr>
          <p:nvPr/>
        </p:nvSpPr>
        <p:spPr bwMode="auto">
          <a:xfrm>
            <a:off x="6127751" y="5990153"/>
            <a:ext cx="43364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n-ea"/>
                <a:cs typeface="+mn-cs"/>
              </a:rPr>
              <a:t>Slice 2 (DCN #2) is the target slice for this UE</a:t>
            </a:r>
          </a:p>
        </p:txBody>
      </p:sp>
      <p:sp>
        <p:nvSpPr>
          <p:cNvPr id="25640" name="TextBox 73"/>
          <p:cNvSpPr txBox="1">
            <a:spLocks noChangeArrowheads="1"/>
          </p:cNvSpPr>
          <p:nvPr/>
        </p:nvSpPr>
        <p:spPr bwMode="auto">
          <a:xfrm>
            <a:off x="33257" y="4692866"/>
            <a:ext cx="2797029" cy="1021237"/>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square" lIns="18000" tIns="18000" rIns="18000" bIns="18000">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1" u="none" strike="noStrike" kern="1200" cap="none" spc="0" normalizeH="0" baseline="0" noProof="0">
                <a:ln>
                  <a:noFill/>
                </a:ln>
                <a:solidFill>
                  <a:srgbClr val="FF0000"/>
                </a:solidFill>
                <a:effectLst/>
                <a:uLnTx/>
                <a:uFillTx/>
                <a:latin typeface="Ericsson Hilda"/>
                <a:ea typeface="+mn-ea"/>
                <a:cs typeface="+mn-cs"/>
              </a:rPr>
              <a:t>Note1: Simplified picture where not all response messages included in the figure for improved readability</a:t>
            </a:r>
          </a:p>
        </p:txBody>
      </p:sp>
      <p:grpSp>
        <p:nvGrpSpPr>
          <p:cNvPr id="72" name="Group 45"/>
          <p:cNvGrpSpPr>
            <a:grpSpLocks noChangeAspect="1"/>
          </p:cNvGrpSpPr>
          <p:nvPr/>
        </p:nvGrpSpPr>
        <p:grpSpPr bwMode="auto">
          <a:xfrm>
            <a:off x="5723666" y="1192048"/>
            <a:ext cx="534010" cy="765103"/>
            <a:chOff x="1057" y="1587"/>
            <a:chExt cx="363" cy="520"/>
          </a:xfrm>
        </p:grpSpPr>
        <p:sp>
          <p:nvSpPr>
            <p:cNvPr id="73"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74"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75"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HSS </a:t>
              </a:r>
            </a:p>
          </p:txBody>
        </p:sp>
        <p:sp>
          <p:nvSpPr>
            <p:cNvPr id="76"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77"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16" name="Group 557"/>
          <p:cNvGrpSpPr>
            <a:grpSpLocks noChangeAspect="1"/>
          </p:cNvGrpSpPr>
          <p:nvPr/>
        </p:nvGrpSpPr>
        <p:grpSpPr bwMode="auto">
          <a:xfrm>
            <a:off x="3567632" y="2851463"/>
            <a:ext cx="516970" cy="746394"/>
            <a:chOff x="3510" y="1858"/>
            <a:chExt cx="363" cy="520"/>
          </a:xfrm>
        </p:grpSpPr>
        <p:sp>
          <p:nvSpPr>
            <p:cNvPr id="11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MME</a:t>
              </a:r>
            </a:p>
          </p:txBody>
        </p:sp>
        <p:sp>
          <p:nvSpPr>
            <p:cNvPr id="12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22" name="Group 557"/>
          <p:cNvGrpSpPr>
            <a:grpSpLocks noChangeAspect="1"/>
          </p:cNvGrpSpPr>
          <p:nvPr/>
        </p:nvGrpSpPr>
        <p:grpSpPr bwMode="auto">
          <a:xfrm>
            <a:off x="10408597" y="2845827"/>
            <a:ext cx="516970" cy="746394"/>
            <a:chOff x="3510" y="1858"/>
            <a:chExt cx="363" cy="520"/>
          </a:xfrm>
        </p:grpSpPr>
        <p:sp>
          <p:nvSpPr>
            <p:cNvPr id="12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MME</a:t>
              </a:r>
            </a:p>
          </p:txBody>
        </p:sp>
        <p:sp>
          <p:nvSpPr>
            <p:cNvPr id="12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28" name="Group 278"/>
          <p:cNvGrpSpPr>
            <a:grpSpLocks noChangeAspect="1"/>
          </p:cNvGrpSpPr>
          <p:nvPr/>
        </p:nvGrpSpPr>
        <p:grpSpPr bwMode="auto">
          <a:xfrm>
            <a:off x="5692883" y="4836198"/>
            <a:ext cx="553824" cy="795180"/>
            <a:chOff x="3106" y="2389"/>
            <a:chExt cx="363" cy="520"/>
          </a:xfrm>
        </p:grpSpPr>
        <p:sp>
          <p:nvSpPr>
            <p:cNvPr id="12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13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13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 </a:t>
              </a:r>
              <a:r>
                <a:rPr kumimoji="0" lang="en-US" altLang="en-US" sz="1200" b="1" i="0" u="none" strike="noStrike" kern="1200" cap="none" spc="0" normalizeH="0" baseline="0" noProof="0" err="1">
                  <a:ln>
                    <a:noFill/>
                  </a:ln>
                  <a:solidFill>
                    <a:srgbClr val="181818"/>
                  </a:solidFill>
                  <a:effectLst/>
                  <a:uLnTx/>
                  <a:uFillTx/>
                  <a:latin typeface="Ericsson Hilda"/>
                  <a:ea typeface="Segoe UI" panose="020B0502040204020203" pitchFamily="34" charset="0"/>
                  <a:cs typeface="Segoe UI" panose="020B0502040204020203" pitchFamily="34" charset="0"/>
                </a:rPr>
                <a:t>eNB</a:t>
              </a:r>
              <a:endPar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endParaRPr>
            </a:p>
          </p:txBody>
        </p:sp>
        <p:sp>
          <p:nvSpPr>
            <p:cNvPr id="13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13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134" name="Freeform 6"/>
          <p:cNvSpPr>
            <a:spLocks noChangeAspect="1" noEditPoints="1"/>
          </p:cNvSpPr>
          <p:nvPr/>
        </p:nvSpPr>
        <p:spPr bwMode="auto">
          <a:xfrm>
            <a:off x="5837970" y="5955645"/>
            <a:ext cx="308830" cy="57795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2">
              <a:lumMod val="90000"/>
              <a:lumOff val="10000"/>
            </a:schemeClr>
          </a:solidFill>
          <a:ln>
            <a:noFill/>
          </a:ln>
        </p:spPr>
        <p:txBody>
          <a:bodyPr lIns="91438" tIns="45719" rIns="91438" bIns="45719"/>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ＭＳ Ｐゴシック" pitchFamily="34" charset="-128"/>
              <a:cs typeface="+mn-cs"/>
            </a:endParaRPr>
          </a:p>
        </p:txBody>
      </p:sp>
      <p:sp>
        <p:nvSpPr>
          <p:cNvPr id="61" name="TextBox 73"/>
          <p:cNvSpPr txBox="1">
            <a:spLocks noChangeArrowheads="1"/>
          </p:cNvSpPr>
          <p:nvPr/>
        </p:nvSpPr>
        <p:spPr bwMode="auto">
          <a:xfrm>
            <a:off x="33257" y="5762482"/>
            <a:ext cx="2797029" cy="528794"/>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square" lIns="18000" tIns="18000" rIns="18000" bIns="18000">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1" u="none" strike="noStrike" kern="1200" cap="none" spc="0" normalizeH="0" baseline="0" noProof="0">
                <a:ln>
                  <a:noFill/>
                </a:ln>
                <a:solidFill>
                  <a:srgbClr val="FF0000"/>
                </a:solidFill>
                <a:effectLst/>
                <a:uLnTx/>
                <a:uFillTx/>
                <a:latin typeface="Ericsson Hilda"/>
                <a:ea typeface="+mn-ea"/>
                <a:cs typeface="+mn-cs"/>
              </a:rPr>
              <a:t>Note2: Gateway Selection is not included for simplicity</a:t>
            </a:r>
          </a:p>
        </p:txBody>
      </p:sp>
    </p:spTree>
    <p:extLst>
      <p:ext uri="{BB962C8B-B14F-4D97-AF65-F5344CB8AC3E}">
        <p14:creationId xmlns:p14="http://schemas.microsoft.com/office/powerpoint/2010/main" val="36431115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6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6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6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602"/>
                                        </p:tgtEl>
                                        <p:attrNameLst>
                                          <p:attrName>style.visibility</p:attrName>
                                        </p:attrNameLst>
                                      </p:cBhvr>
                                      <p:to>
                                        <p:strVal val="visible"/>
                                      </p:to>
                                    </p:set>
                                  </p:childTnLst>
                                </p:cTn>
                              </p:par>
                              <p:par>
                                <p:cTn id="17" presetID="22" presetClass="entr" presetSubtype="4" fill="hold" grpId="0" nodeType="withEffect">
                                  <p:stCondLst>
                                    <p:cond delay="0"/>
                                  </p:stCondLst>
                                  <p:childTnLst>
                                    <p:set>
                                      <p:cBhvr>
                                        <p:cTn id="18" dur="1" fill="hold">
                                          <p:stCondLst>
                                            <p:cond delay="0"/>
                                          </p:stCondLst>
                                        </p:cTn>
                                        <p:tgtEl>
                                          <p:spTgt spid="25612"/>
                                        </p:tgtEl>
                                        <p:attrNameLst>
                                          <p:attrName>style.visibility</p:attrName>
                                        </p:attrNameLst>
                                      </p:cBhvr>
                                      <p:to>
                                        <p:strVal val="visible"/>
                                      </p:to>
                                    </p:set>
                                    <p:animEffect transition="in" filter="wipe(down)">
                                      <p:cBhvr>
                                        <p:cTn id="19" dur="500"/>
                                        <p:tgtEl>
                                          <p:spTgt spid="2561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25615"/>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25616"/>
                                        </p:tgtEl>
                                        <p:attrNameLst>
                                          <p:attrName>style.visibility</p:attrName>
                                        </p:attrNameLst>
                                      </p:cBhvr>
                                      <p:to>
                                        <p:strVal val="visible"/>
                                      </p:to>
                                    </p:set>
                                  </p:childTnLst>
                                </p:cTn>
                              </p:par>
                              <p:par>
                                <p:cTn id="26" presetID="22" presetClass="entr" presetSubtype="4" fill="hold" grpId="0" nodeType="withEffect">
                                  <p:stCondLst>
                                    <p:cond delay="0"/>
                                  </p:stCondLst>
                                  <p:childTnLst>
                                    <p:set>
                                      <p:cBhvr>
                                        <p:cTn id="27" dur="1" fill="hold">
                                          <p:stCondLst>
                                            <p:cond delay="0"/>
                                          </p:stCondLst>
                                        </p:cTn>
                                        <p:tgtEl>
                                          <p:spTgt spid="25614"/>
                                        </p:tgtEl>
                                        <p:attrNameLst>
                                          <p:attrName>style.visibility</p:attrName>
                                        </p:attrNameLst>
                                      </p:cBhvr>
                                      <p:to>
                                        <p:strVal val="visible"/>
                                      </p:to>
                                    </p:set>
                                    <p:animEffect transition="in" filter="wipe(down)">
                                      <p:cBhvr>
                                        <p:cTn id="28" dur="500"/>
                                        <p:tgtEl>
                                          <p:spTgt spid="25614"/>
                                        </p:tgtEl>
                                      </p:cBhvr>
                                    </p:animEffect>
                                  </p:childTnLst>
                                </p:cTn>
                              </p:par>
                            </p:childTnLst>
                          </p:cTn>
                        </p:par>
                        <p:par>
                          <p:cTn id="29" fill="hold">
                            <p:stCondLst>
                              <p:cond delay="500"/>
                            </p:stCondLst>
                            <p:childTnLst>
                              <p:par>
                                <p:cTn id="30" presetID="1" presetClass="entr" presetSubtype="0" fill="hold" nodeType="afterEffect">
                                  <p:stCondLst>
                                    <p:cond delay="0"/>
                                  </p:stCondLst>
                                  <p:childTnLst>
                                    <p:set>
                                      <p:cBhvr>
                                        <p:cTn id="31" dur="1" fill="hold">
                                          <p:stCondLst>
                                            <p:cond delay="0"/>
                                          </p:stCondLst>
                                        </p:cTn>
                                        <p:tgtEl>
                                          <p:spTgt spid="25634"/>
                                        </p:tgtEl>
                                        <p:attrNameLst>
                                          <p:attrName>style.visibility</p:attrName>
                                        </p:attrNameLst>
                                      </p:cBhvr>
                                      <p:to>
                                        <p:strVal val="visible"/>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256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6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638"/>
                                        </p:tgtEl>
                                        <p:attrNameLst>
                                          <p:attrName>style.visibility</p:attrName>
                                        </p:attrNameLst>
                                      </p:cBhvr>
                                      <p:to>
                                        <p:strVal val="visible"/>
                                      </p:to>
                                    </p:set>
                                  </p:childTnLst>
                                </p:cTn>
                              </p:par>
                              <p:par>
                                <p:cTn id="41" presetID="10" presetClass="entr" presetSubtype="0" fill="hold" grpId="0" nodeType="withEffect">
                                  <p:stCondLst>
                                    <p:cond delay="0"/>
                                  </p:stCondLst>
                                  <p:childTnLst>
                                    <p:set>
                                      <p:cBhvr>
                                        <p:cTn id="42" dur="1" fill="hold">
                                          <p:stCondLst>
                                            <p:cond delay="0"/>
                                          </p:stCondLst>
                                        </p:cTn>
                                        <p:tgtEl>
                                          <p:spTgt spid="25636"/>
                                        </p:tgtEl>
                                        <p:attrNameLst>
                                          <p:attrName>style.visibility</p:attrName>
                                        </p:attrNameLst>
                                      </p:cBhvr>
                                      <p:to>
                                        <p:strVal val="visible"/>
                                      </p:to>
                                    </p:set>
                                    <p:animEffect transition="in" filter="fade">
                                      <p:cBhvr>
                                        <p:cTn id="43" dur="500"/>
                                        <p:tgtEl>
                                          <p:spTgt spid="25636"/>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25618"/>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603"/>
                                        </p:tgtEl>
                                        <p:attrNameLst>
                                          <p:attrName>style.visibility</p:attrName>
                                        </p:attrNameLst>
                                      </p:cBhvr>
                                      <p:to>
                                        <p:strVal val="visible"/>
                                      </p:to>
                                    </p:set>
                                  </p:childTnLst>
                                </p:cTn>
                              </p:par>
                              <p:par>
                                <p:cTn id="50" presetID="22" presetClass="entr" presetSubtype="1" fill="hold" grpId="0" nodeType="withEffect">
                                  <p:stCondLst>
                                    <p:cond delay="0"/>
                                  </p:stCondLst>
                                  <p:childTnLst>
                                    <p:set>
                                      <p:cBhvr>
                                        <p:cTn id="51" dur="1" fill="hold">
                                          <p:stCondLst>
                                            <p:cond delay="0"/>
                                          </p:stCondLst>
                                        </p:cTn>
                                        <p:tgtEl>
                                          <p:spTgt spid="25617"/>
                                        </p:tgtEl>
                                        <p:attrNameLst>
                                          <p:attrName>style.visibility</p:attrName>
                                        </p:attrNameLst>
                                      </p:cBhvr>
                                      <p:to>
                                        <p:strVal val="visible"/>
                                      </p:to>
                                    </p:set>
                                    <p:animEffect transition="in" filter="wipe(up)">
                                      <p:cBhvr>
                                        <p:cTn id="52" dur="500"/>
                                        <p:tgtEl>
                                          <p:spTgt spid="25617"/>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6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621"/>
                                        </p:tgtEl>
                                        <p:attrNameLst>
                                          <p:attrName>style.visibility</p:attrName>
                                        </p:attrNameLst>
                                      </p:cBhvr>
                                      <p:to>
                                        <p:strVal val="visible"/>
                                      </p:to>
                                    </p:set>
                                  </p:childTnLst>
                                </p:cTn>
                              </p:par>
                              <p:par>
                                <p:cTn id="59" presetID="22" presetClass="entr" presetSubtype="4" fill="hold" grpId="0" nodeType="withEffect">
                                  <p:stCondLst>
                                    <p:cond delay="0"/>
                                  </p:stCondLst>
                                  <p:childTnLst>
                                    <p:set>
                                      <p:cBhvr>
                                        <p:cTn id="60" dur="1" fill="hold">
                                          <p:stCondLst>
                                            <p:cond delay="0"/>
                                          </p:stCondLst>
                                        </p:cTn>
                                        <p:tgtEl>
                                          <p:spTgt spid="25623"/>
                                        </p:tgtEl>
                                        <p:attrNameLst>
                                          <p:attrName>style.visibility</p:attrName>
                                        </p:attrNameLst>
                                      </p:cBhvr>
                                      <p:to>
                                        <p:strVal val="visible"/>
                                      </p:to>
                                    </p:set>
                                    <p:animEffect transition="in" filter="wipe(down)">
                                      <p:cBhvr>
                                        <p:cTn id="61" dur="500"/>
                                        <p:tgtEl>
                                          <p:spTgt spid="25623"/>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25629"/>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25630"/>
                                        </p:tgtEl>
                                        <p:attrNameLst>
                                          <p:attrName>style.visibility</p:attrName>
                                        </p:attrNameLst>
                                      </p:cBhvr>
                                      <p:to>
                                        <p:strVal val="visible"/>
                                      </p:to>
                                    </p:set>
                                  </p:childTnLst>
                                </p:cTn>
                              </p:par>
                              <p:par>
                                <p:cTn id="68" presetID="22" presetClass="entr" presetSubtype="4" fill="hold" grpId="0" nodeType="withEffect">
                                  <p:stCondLst>
                                    <p:cond delay="0"/>
                                  </p:stCondLst>
                                  <p:childTnLst>
                                    <p:set>
                                      <p:cBhvr>
                                        <p:cTn id="69" dur="1" fill="hold">
                                          <p:stCondLst>
                                            <p:cond delay="0"/>
                                          </p:stCondLst>
                                        </p:cTn>
                                        <p:tgtEl>
                                          <p:spTgt spid="25628"/>
                                        </p:tgtEl>
                                        <p:attrNameLst>
                                          <p:attrName>style.visibility</p:attrName>
                                        </p:attrNameLst>
                                      </p:cBhvr>
                                      <p:to>
                                        <p:strVal val="visible"/>
                                      </p:to>
                                    </p:set>
                                    <p:animEffect transition="in" filter="wipe(down)">
                                      <p:cBhvr>
                                        <p:cTn id="70" dur="500"/>
                                        <p:tgtEl>
                                          <p:spTgt spid="25628"/>
                                        </p:tgtEl>
                                      </p:cBhvr>
                                    </p:animEffec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562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5624"/>
                                        </p:tgtEl>
                                        <p:attrNameLst>
                                          <p:attrName>style.visibility</p:attrName>
                                        </p:attrNameLst>
                                      </p:cBhvr>
                                      <p:to>
                                        <p:strVal val="visible"/>
                                      </p:to>
                                    </p:set>
                                  </p:childTnLst>
                                </p:cTn>
                              </p:par>
                              <p:par>
                                <p:cTn id="77" presetID="16" presetClass="entr" presetSubtype="42" fill="hold" grpId="0" nodeType="withEffect">
                                  <p:stCondLst>
                                    <p:cond delay="0"/>
                                  </p:stCondLst>
                                  <p:childTnLst>
                                    <p:set>
                                      <p:cBhvr>
                                        <p:cTn id="78" dur="1" fill="hold">
                                          <p:stCondLst>
                                            <p:cond delay="0"/>
                                          </p:stCondLst>
                                        </p:cTn>
                                        <p:tgtEl>
                                          <p:spTgt spid="25620"/>
                                        </p:tgtEl>
                                        <p:attrNameLst>
                                          <p:attrName>style.visibility</p:attrName>
                                        </p:attrNameLst>
                                      </p:cBhvr>
                                      <p:to>
                                        <p:strVal val="visible"/>
                                      </p:to>
                                    </p:set>
                                    <p:animEffect transition="in" filter="barn(outHorizontal)">
                                      <p:cBhvr>
                                        <p:cTn id="79" dur="500"/>
                                        <p:tgtEl>
                                          <p:spTgt spid="256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2" grpId="0"/>
      <p:bldP spid="25603" grpId="0"/>
      <p:bldP spid="25610" grpId="0" animBg="1"/>
      <p:bldP spid="25611" grpId="0"/>
      <p:bldP spid="25612" grpId="0" animBg="1"/>
      <p:bldP spid="25613" grpId="0" animBg="1"/>
      <p:bldP spid="25614" grpId="0" animBg="1"/>
      <p:bldP spid="25615" grpId="0"/>
      <p:bldP spid="25616" grpId="0" animBg="1"/>
      <p:bldP spid="25617" grpId="0" animBg="1"/>
      <p:bldP spid="25618" grpId="0" animBg="1"/>
      <p:bldP spid="25620" grpId="0" animBg="1"/>
      <p:bldP spid="25621" grpId="0"/>
      <p:bldP spid="25622" grpId="0" animBg="1"/>
      <p:bldP spid="25623" grpId="0" animBg="1"/>
      <p:bldP spid="25624" grpId="0" animBg="1"/>
      <p:bldP spid="25625" grpId="0" animBg="1"/>
      <p:bldP spid="25628" grpId="0" animBg="1"/>
      <p:bldP spid="25629" grpId="0" animBg="1"/>
      <p:bldP spid="25630" grpId="0" animBg="1"/>
      <p:bldP spid="25633" grpId="0" animBg="1"/>
      <p:bldP spid="25636" grpId="0" animBg="1"/>
      <p:bldP spid="25637" grpId="0"/>
      <p:bldP spid="25638"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6" name="Rounded Rectangle 65"/>
          <p:cNvSpPr/>
          <p:nvPr/>
        </p:nvSpPr>
        <p:spPr bwMode="auto">
          <a:xfrm>
            <a:off x="712648" y="2353160"/>
            <a:ext cx="3536039"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67" name="Rounded Rectangle 66"/>
          <p:cNvSpPr/>
          <p:nvPr/>
        </p:nvSpPr>
        <p:spPr bwMode="auto">
          <a:xfrm>
            <a:off x="4267201" y="2353160"/>
            <a:ext cx="5506643"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3" name="Title 2"/>
          <p:cNvSpPr>
            <a:spLocks noGrp="1"/>
          </p:cNvSpPr>
          <p:nvPr>
            <p:ph type="title"/>
          </p:nvPr>
        </p:nvSpPr>
        <p:spPr>
          <a:xfrm>
            <a:off x="479424" y="476250"/>
            <a:ext cx="9610507" cy="1081088"/>
          </a:xfrm>
        </p:spPr>
        <p:txBody>
          <a:bodyPr>
            <a:normAutofit/>
          </a:bodyPr>
          <a:lstStyle/>
          <a:p>
            <a:r>
              <a:rPr lang="en-US"/>
              <a:t>Network partitioning in EPC based on </a:t>
            </a:r>
            <a:r>
              <a:rPr lang="en-US" err="1"/>
              <a:t>eDECOR</a:t>
            </a:r>
            <a:endParaRPr lang="en-US">
              <a:latin typeface="+mn-lt"/>
            </a:endParaRPr>
          </a:p>
        </p:txBody>
      </p:sp>
      <p:sp>
        <p:nvSpPr>
          <p:cNvPr id="2" name="Rectangle 2"/>
          <p:cNvSpPr>
            <a:spLocks noChangeArrowheads="1"/>
          </p:cNvSpPr>
          <p:nvPr/>
        </p:nvSpPr>
        <p:spPr bwMode="auto">
          <a:xfrm>
            <a:off x="0"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38" name="Freeform 6"/>
          <p:cNvSpPr>
            <a:spLocks noChangeAspect="1" noEditPoints="1"/>
          </p:cNvSpPr>
          <p:nvPr/>
        </p:nvSpPr>
        <p:spPr bwMode="auto">
          <a:xfrm>
            <a:off x="4044531" y="5948183"/>
            <a:ext cx="452685" cy="540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55" name="Freeform 54"/>
          <p:cNvSpPr/>
          <p:nvPr/>
        </p:nvSpPr>
        <p:spPr bwMode="auto">
          <a:xfrm flipV="1">
            <a:off x="4457951" y="3724525"/>
            <a:ext cx="4130637" cy="2172343"/>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3055186 w 3055186"/>
              <a:gd name="connsiteY0" fmla="*/ 2137703 h 2137703"/>
              <a:gd name="connsiteX1" fmla="*/ 1418891 w 3055186"/>
              <a:gd name="connsiteY1" fmla="*/ 1475966 h 2137703"/>
              <a:gd name="connsiteX2" fmla="*/ 605 w 3055186"/>
              <a:gd name="connsiteY2" fmla="*/ 5037 h 2137703"/>
              <a:gd name="connsiteX3" fmla="*/ 1226385 w 3055186"/>
              <a:gd name="connsiteY3" fmla="*/ 958608 h 2137703"/>
              <a:gd name="connsiteX0" fmla="*/ 2008439 w 2008439"/>
              <a:gd name="connsiteY0" fmla="*/ 2347300 h 2347300"/>
              <a:gd name="connsiteX1" fmla="*/ 1418891 w 2008439"/>
              <a:gd name="connsiteY1" fmla="*/ 1475966 h 2347300"/>
              <a:gd name="connsiteX2" fmla="*/ 605 w 2008439"/>
              <a:gd name="connsiteY2" fmla="*/ 5037 h 2347300"/>
              <a:gd name="connsiteX3" fmla="*/ 1226385 w 2008439"/>
              <a:gd name="connsiteY3" fmla="*/ 958608 h 2347300"/>
              <a:gd name="connsiteX0" fmla="*/ 2008439 w 2008439"/>
              <a:gd name="connsiteY0" fmla="*/ 2347300 h 2347300"/>
              <a:gd name="connsiteX1" fmla="*/ 757154 w 2008439"/>
              <a:gd name="connsiteY1" fmla="*/ 1192395 h 2347300"/>
              <a:gd name="connsiteX2" fmla="*/ 605 w 2008439"/>
              <a:gd name="connsiteY2" fmla="*/ 5037 h 2347300"/>
              <a:gd name="connsiteX3" fmla="*/ 1226385 w 2008439"/>
              <a:gd name="connsiteY3" fmla="*/ 958608 h 2347300"/>
              <a:gd name="connsiteX0" fmla="*/ 2024281 w 2024281"/>
              <a:gd name="connsiteY0" fmla="*/ 2347300 h 2347300"/>
              <a:gd name="connsiteX1" fmla="*/ 772996 w 2024281"/>
              <a:gd name="connsiteY1" fmla="*/ 1192395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24281 w 2024281"/>
              <a:gd name="connsiteY0" fmla="*/ 2347300 h 2347300"/>
              <a:gd name="connsiteX1" fmla="*/ 724870 w 2024281"/>
              <a:gd name="connsiteY1" fmla="*/ 1549942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69725 w 2069725"/>
              <a:gd name="connsiteY0" fmla="*/ 2436675 h 2436675"/>
              <a:gd name="connsiteX1" fmla="*/ 770314 w 2069725"/>
              <a:gd name="connsiteY1" fmla="*/ 1639317 h 2436675"/>
              <a:gd name="connsiteX2" fmla="*/ 350649 w 2069725"/>
              <a:gd name="connsiteY2" fmla="*/ 1462955 h 2436675"/>
              <a:gd name="connsiteX3" fmla="*/ 61891 w 2069725"/>
              <a:gd name="connsiteY3" fmla="*/ 94412 h 2436675"/>
              <a:gd name="connsiteX4" fmla="*/ 292 w 2069725"/>
              <a:gd name="connsiteY4" fmla="*/ 0 h 2436675"/>
              <a:gd name="connsiteX0" fmla="*/ 2069433 w 2069433"/>
              <a:gd name="connsiteY0" fmla="*/ 2436675 h 2436675"/>
              <a:gd name="connsiteX1" fmla="*/ 770022 w 2069433"/>
              <a:gd name="connsiteY1" fmla="*/ 1639317 h 2436675"/>
              <a:gd name="connsiteX2" fmla="*/ 350357 w 2069433"/>
              <a:gd name="connsiteY2" fmla="*/ 1462955 h 2436675"/>
              <a:gd name="connsiteX3" fmla="*/ 0 w 2069433"/>
              <a:gd name="connsiteY3" fmla="*/ 0 h 2436675"/>
              <a:gd name="connsiteX0" fmla="*/ 2021307 w 2021307"/>
              <a:gd name="connsiteY0" fmla="*/ 2387358 h 2387358"/>
              <a:gd name="connsiteX1" fmla="*/ 721896 w 2021307"/>
              <a:gd name="connsiteY1" fmla="*/ 1590000 h 2387358"/>
              <a:gd name="connsiteX2" fmla="*/ 302231 w 2021307"/>
              <a:gd name="connsiteY2" fmla="*/ 1413638 h 2387358"/>
              <a:gd name="connsiteX3" fmla="*/ 0 w 2021307"/>
              <a:gd name="connsiteY3" fmla="*/ 0 h 2387358"/>
              <a:gd name="connsiteX0" fmla="*/ 2034083 w 2034083"/>
              <a:gd name="connsiteY0" fmla="*/ 2387358 h 2387358"/>
              <a:gd name="connsiteX1" fmla="*/ 734672 w 2034083"/>
              <a:gd name="connsiteY1" fmla="*/ 1590000 h 2387358"/>
              <a:gd name="connsiteX2" fmla="*/ 315007 w 2034083"/>
              <a:gd name="connsiteY2" fmla="*/ 1413638 h 2387358"/>
              <a:gd name="connsiteX3" fmla="*/ 12776 w 2034083"/>
              <a:gd name="connsiteY3" fmla="*/ 0 h 2387358"/>
              <a:gd name="connsiteX0" fmla="*/ 2050839 w 2050839"/>
              <a:gd name="connsiteY0" fmla="*/ 2387358 h 2387358"/>
              <a:gd name="connsiteX1" fmla="*/ 751428 w 2050839"/>
              <a:gd name="connsiteY1" fmla="*/ 1590000 h 2387358"/>
              <a:gd name="connsiteX2" fmla="*/ 151289 w 2050839"/>
              <a:gd name="connsiteY2" fmla="*/ 1450625 h 2387358"/>
              <a:gd name="connsiteX3" fmla="*/ 29532 w 2050839"/>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829795 w 2044985"/>
              <a:gd name="connsiteY1" fmla="*/ 1614659 h 2387358"/>
              <a:gd name="connsiteX2" fmla="*/ 181529 w 2044985"/>
              <a:gd name="connsiteY2" fmla="*/ 1401307 h 2387358"/>
              <a:gd name="connsiteX3" fmla="*/ 23678 w 2044985"/>
              <a:gd name="connsiteY3" fmla="*/ 0 h 2387358"/>
              <a:gd name="connsiteX0" fmla="*/ 2065994 w 2065994"/>
              <a:gd name="connsiteY0" fmla="*/ 2387358 h 2387358"/>
              <a:gd name="connsiteX1" fmla="*/ 85080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2002482 w 2002482"/>
              <a:gd name="connsiteY0" fmla="*/ 2428099 h 2428099"/>
              <a:gd name="connsiteX1" fmla="*/ 925544 w 2002482"/>
              <a:gd name="connsiteY1" fmla="*/ 1628239 h 2428099"/>
              <a:gd name="connsiteX2" fmla="*/ 69900 w 2002482"/>
              <a:gd name="connsiteY2" fmla="*/ 1116128 h 2428099"/>
              <a:gd name="connsiteX3" fmla="*/ 42620 w 2002482"/>
              <a:gd name="connsiteY3" fmla="*/ 0 h 2428099"/>
              <a:gd name="connsiteX0" fmla="*/ 2004453 w 2004453"/>
              <a:gd name="connsiteY0" fmla="*/ 2428099 h 2428099"/>
              <a:gd name="connsiteX1" fmla="*/ 927515 w 2004453"/>
              <a:gd name="connsiteY1" fmla="*/ 1628239 h 2428099"/>
              <a:gd name="connsiteX2" fmla="*/ 71871 w 2004453"/>
              <a:gd name="connsiteY2" fmla="*/ 1116128 h 2428099"/>
              <a:gd name="connsiteX3" fmla="*/ 44591 w 2004453"/>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96171 w 1996171"/>
              <a:gd name="connsiteY0" fmla="*/ 2414519 h 2414519"/>
              <a:gd name="connsiteX1" fmla="*/ 919233 w 1996171"/>
              <a:gd name="connsiteY1" fmla="*/ 1614659 h 2414519"/>
              <a:gd name="connsiteX2" fmla="*/ 63589 w 1996171"/>
              <a:gd name="connsiteY2" fmla="*/ 1102548 h 2414519"/>
              <a:gd name="connsiteX3" fmla="*/ 59351 w 1996171"/>
              <a:gd name="connsiteY3" fmla="*/ 0 h 2414519"/>
              <a:gd name="connsiteX0" fmla="*/ 2001618 w 2001618"/>
              <a:gd name="connsiteY0" fmla="*/ 2414519 h 2414519"/>
              <a:gd name="connsiteX1" fmla="*/ 924680 w 2001618"/>
              <a:gd name="connsiteY1" fmla="*/ 1614659 h 2414519"/>
              <a:gd name="connsiteX2" fmla="*/ 69036 w 2001618"/>
              <a:gd name="connsiteY2" fmla="*/ 1102548 h 2414519"/>
              <a:gd name="connsiteX3" fmla="*/ 64798 w 2001618"/>
              <a:gd name="connsiteY3" fmla="*/ 0 h 2414519"/>
              <a:gd name="connsiteX0" fmla="*/ 1946612 w 1946612"/>
              <a:gd name="connsiteY0" fmla="*/ 2414519 h 2414519"/>
              <a:gd name="connsiteX1" fmla="*/ 869674 w 1946612"/>
              <a:gd name="connsiteY1" fmla="*/ 1614659 h 2414519"/>
              <a:gd name="connsiteX2" fmla="*/ 14030 w 1946612"/>
              <a:gd name="connsiteY2" fmla="*/ 1102548 h 2414519"/>
              <a:gd name="connsiteX3" fmla="*/ 9792 w 1946612"/>
              <a:gd name="connsiteY3" fmla="*/ 0 h 2414519"/>
              <a:gd name="connsiteX0" fmla="*/ 1949048 w 1949048"/>
              <a:gd name="connsiteY0" fmla="*/ 2414519 h 2414519"/>
              <a:gd name="connsiteX1" fmla="*/ 872110 w 1949048"/>
              <a:gd name="connsiteY1" fmla="*/ 1614659 h 2414519"/>
              <a:gd name="connsiteX2" fmla="*/ 16466 w 1949048"/>
              <a:gd name="connsiteY2" fmla="*/ 1102548 h 2414519"/>
              <a:gd name="connsiteX3" fmla="*/ 12228 w 1949048"/>
              <a:gd name="connsiteY3" fmla="*/ 0 h 2414519"/>
              <a:gd name="connsiteX0" fmla="*/ 1943021 w 1943021"/>
              <a:gd name="connsiteY0" fmla="*/ 2414519 h 2414519"/>
              <a:gd name="connsiteX1" fmla="*/ 866083 w 1943021"/>
              <a:gd name="connsiteY1" fmla="*/ 1614659 h 2414519"/>
              <a:gd name="connsiteX2" fmla="*/ 10439 w 1943021"/>
              <a:gd name="connsiteY2" fmla="*/ 1102548 h 2414519"/>
              <a:gd name="connsiteX3" fmla="*/ 6201 w 1943021"/>
              <a:gd name="connsiteY3" fmla="*/ 0 h 2414519"/>
              <a:gd name="connsiteX0" fmla="*/ 1937427 w 1937427"/>
              <a:gd name="connsiteY0" fmla="*/ 2414519 h 2414519"/>
              <a:gd name="connsiteX1" fmla="*/ 860489 w 1937427"/>
              <a:gd name="connsiteY1" fmla="*/ 1614659 h 2414519"/>
              <a:gd name="connsiteX2" fmla="*/ 4845 w 1937427"/>
              <a:gd name="connsiteY2" fmla="*/ 1102548 h 2414519"/>
              <a:gd name="connsiteX3" fmla="*/ 607 w 1937427"/>
              <a:gd name="connsiteY3" fmla="*/ 0 h 2414519"/>
            </a:gdLst>
            <a:ahLst/>
            <a:cxnLst>
              <a:cxn ang="0">
                <a:pos x="connsiteX0" y="connsiteY0"/>
              </a:cxn>
              <a:cxn ang="0">
                <a:pos x="connsiteX1" y="connsiteY1"/>
              </a:cxn>
              <a:cxn ang="0">
                <a:pos x="connsiteX2" y="connsiteY2"/>
              </a:cxn>
              <a:cxn ang="0">
                <a:pos x="connsiteX3" y="connsiteY3"/>
              </a:cxn>
            </a:cxnLst>
            <a:rect l="l" t="t" r="r" b="b"/>
            <a:pathLst>
              <a:path w="1937427" h="2414519">
                <a:moveTo>
                  <a:pt x="1937427" y="2414519"/>
                </a:moveTo>
                <a:cubicBezTo>
                  <a:pt x="1920722" y="1516598"/>
                  <a:pt x="1228670" y="1616040"/>
                  <a:pt x="860489" y="1614659"/>
                </a:cubicBezTo>
                <a:cubicBezTo>
                  <a:pt x="492308" y="1613278"/>
                  <a:pt x="11504" y="1666186"/>
                  <a:pt x="4845" y="1102548"/>
                </a:cubicBezTo>
                <a:cubicBezTo>
                  <a:pt x="-1814" y="538910"/>
                  <a:pt x="190" y="1012224"/>
                  <a:pt x="607"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58" name="Freeform 57"/>
          <p:cNvSpPr/>
          <p:nvPr/>
        </p:nvSpPr>
        <p:spPr bwMode="auto">
          <a:xfrm flipH="1">
            <a:off x="4364918" y="3642477"/>
            <a:ext cx="3939189" cy="1179095"/>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28819 w 1828819"/>
              <a:gd name="connsiteY0" fmla="*/ 1179095 h 1179095"/>
              <a:gd name="connsiteX1" fmla="*/ 634446 w 1828819"/>
              <a:gd name="connsiteY1" fmla="*/ 649880 h 1179095"/>
              <a:gd name="connsiteX2" fmla="*/ 18 w 1828819"/>
              <a:gd name="connsiteY2" fmla="*/ 0 h 1179095"/>
              <a:gd name="connsiteX0" fmla="*/ 1828824 w 1828824"/>
              <a:gd name="connsiteY0" fmla="*/ 1179095 h 1179095"/>
              <a:gd name="connsiteX1" fmla="*/ 634451 w 1828824"/>
              <a:gd name="connsiteY1" fmla="*/ 649880 h 1179095"/>
              <a:gd name="connsiteX2" fmla="*/ 23 w 1828824"/>
              <a:gd name="connsiteY2" fmla="*/ 0 h 1179095"/>
              <a:gd name="connsiteX0" fmla="*/ 1828824 w 1828824"/>
              <a:gd name="connsiteY0" fmla="*/ 1179095 h 1179095"/>
              <a:gd name="connsiteX1" fmla="*/ 634451 w 1828824"/>
              <a:gd name="connsiteY1" fmla="*/ 649880 h 1179095"/>
              <a:gd name="connsiteX2" fmla="*/ 23 w 1828824"/>
              <a:gd name="connsiteY2" fmla="*/ 0 h 1179095"/>
              <a:gd name="connsiteX0" fmla="*/ 1828855 w 1828855"/>
              <a:gd name="connsiteY0" fmla="*/ 1179095 h 1179095"/>
              <a:gd name="connsiteX1" fmla="*/ 634482 w 1828855"/>
              <a:gd name="connsiteY1" fmla="*/ 649880 h 1179095"/>
              <a:gd name="connsiteX2" fmla="*/ 54 w 1828855"/>
              <a:gd name="connsiteY2" fmla="*/ 0 h 1179095"/>
              <a:gd name="connsiteX0" fmla="*/ 1828855 w 1828855"/>
              <a:gd name="connsiteY0" fmla="*/ 1179095 h 1179095"/>
              <a:gd name="connsiteX1" fmla="*/ 634482 w 1828855"/>
              <a:gd name="connsiteY1" fmla="*/ 649880 h 1179095"/>
              <a:gd name="connsiteX2" fmla="*/ 54 w 1828855"/>
              <a:gd name="connsiteY2" fmla="*/ 0 h 1179095"/>
            </a:gdLst>
            <a:ahLst/>
            <a:cxnLst>
              <a:cxn ang="0">
                <a:pos x="connsiteX0" y="connsiteY0"/>
              </a:cxn>
              <a:cxn ang="0">
                <a:pos x="connsiteX1" y="connsiteY1"/>
              </a:cxn>
              <a:cxn ang="0">
                <a:pos x="connsiteX2" y="connsiteY2"/>
              </a:cxn>
            </a:cxnLst>
            <a:rect l="l" t="t" r="r" b="b"/>
            <a:pathLst>
              <a:path w="1828855" h="1179095">
                <a:moveTo>
                  <a:pt x="1828855" y="1179095"/>
                </a:moveTo>
                <a:cubicBezTo>
                  <a:pt x="1819831" y="540833"/>
                  <a:pt x="1151185" y="700273"/>
                  <a:pt x="634482" y="649880"/>
                </a:cubicBezTo>
                <a:cubicBezTo>
                  <a:pt x="117779" y="599487"/>
                  <a:pt x="-2953" y="452513"/>
                  <a:pt x="54"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cxnSp>
        <p:nvCxnSpPr>
          <p:cNvPr id="90" name="Curved Connector 89"/>
          <p:cNvCxnSpPr>
            <a:stCxn id="89" idx="5"/>
          </p:cNvCxnSpPr>
          <p:nvPr/>
        </p:nvCxnSpPr>
        <p:spPr bwMode="auto">
          <a:xfrm rot="10800000" flipV="1">
            <a:off x="4351027" y="6059212"/>
            <a:ext cx="744327" cy="235668"/>
          </a:xfrm>
          <a:prstGeom prst="curvedConnector3">
            <a:avLst>
              <a:gd name="adj1" fmla="val 50000"/>
            </a:avLst>
          </a:prstGeom>
          <a:solidFill>
            <a:schemeClr val="accent1"/>
          </a:solidFill>
          <a:ln w="19050" cap="flat" cmpd="sng" algn="ctr">
            <a:solidFill>
              <a:srgbClr val="F08A00"/>
            </a:solidFill>
            <a:prstDash val="solid"/>
            <a:round/>
            <a:headEnd type="none" w="med" len="med"/>
            <a:tailEnd type="none" w="med" len="med"/>
          </a:ln>
          <a:effectLst/>
        </p:spPr>
      </p:cxnSp>
      <p:sp>
        <p:nvSpPr>
          <p:cNvPr id="97" name="テキスト ボックス 17"/>
          <p:cNvSpPr txBox="1">
            <a:spLocks noChangeArrowheads="1"/>
          </p:cNvSpPr>
          <p:nvPr/>
        </p:nvSpPr>
        <p:spPr bwMode="auto">
          <a:xfrm>
            <a:off x="2308268" y="2829037"/>
            <a:ext cx="202651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S1-Setup (MME-eNB): </a:t>
            </a:r>
            <a:b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b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DCN-ID=1</a:t>
            </a:r>
            <a:endParaRPr kumimoji="1" lang="ja-JP" altLang="en-US"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endParaRPr>
          </a:p>
        </p:txBody>
      </p:sp>
      <p:sp>
        <p:nvSpPr>
          <p:cNvPr id="99" name="テキスト ボックス 17"/>
          <p:cNvSpPr txBox="1">
            <a:spLocks noChangeArrowheads="1"/>
          </p:cNvSpPr>
          <p:nvPr/>
        </p:nvSpPr>
        <p:spPr bwMode="auto">
          <a:xfrm>
            <a:off x="6182614" y="2829037"/>
            <a:ext cx="202651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S1-Setup (MME-eNB): </a:t>
            </a:r>
            <a:b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b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DCN-ID=2</a:t>
            </a:r>
            <a:endParaRPr kumimoji="1" lang="ja-JP" altLang="en-US"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endParaRPr>
          </a:p>
        </p:txBody>
      </p:sp>
      <p:sp>
        <p:nvSpPr>
          <p:cNvPr id="57" name="Freeform 56"/>
          <p:cNvSpPr/>
          <p:nvPr/>
        </p:nvSpPr>
        <p:spPr bwMode="auto">
          <a:xfrm>
            <a:off x="5345405" y="2103317"/>
            <a:ext cx="3058146" cy="642510"/>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85459 w 1885459"/>
              <a:gd name="connsiteY0" fmla="*/ 1347537 h 1347537"/>
              <a:gd name="connsiteX1" fmla="*/ 249164 w 1885459"/>
              <a:gd name="connsiteY1" fmla="*/ 685800 h 1347537"/>
              <a:gd name="connsiteX2" fmla="*/ 8532 w 1885459"/>
              <a:gd name="connsiteY2" fmla="*/ 0 h 1347537"/>
              <a:gd name="connsiteX0" fmla="*/ 1885459 w 1885459"/>
              <a:gd name="connsiteY0" fmla="*/ 1347537 h 1347537"/>
              <a:gd name="connsiteX1" fmla="*/ 249164 w 1885459"/>
              <a:gd name="connsiteY1" fmla="*/ 685800 h 1347537"/>
              <a:gd name="connsiteX2" fmla="*/ 8532 w 1885459"/>
              <a:gd name="connsiteY2" fmla="*/ 0 h 1347537"/>
              <a:gd name="connsiteX0" fmla="*/ 1890797 w 1890797"/>
              <a:gd name="connsiteY0" fmla="*/ 1347537 h 1347537"/>
              <a:gd name="connsiteX1" fmla="*/ 254502 w 1890797"/>
              <a:gd name="connsiteY1" fmla="*/ 685800 h 1347537"/>
              <a:gd name="connsiteX2" fmla="*/ 13870 w 1890797"/>
              <a:gd name="connsiteY2" fmla="*/ 0 h 1347537"/>
              <a:gd name="connsiteX0" fmla="*/ 1878384 w 1878384"/>
              <a:gd name="connsiteY0" fmla="*/ 1347537 h 1347537"/>
              <a:gd name="connsiteX1" fmla="*/ 398500 w 1878384"/>
              <a:gd name="connsiteY1" fmla="*/ 757991 h 1347537"/>
              <a:gd name="connsiteX2" fmla="*/ 1457 w 1878384"/>
              <a:gd name="connsiteY2" fmla="*/ 0 h 1347537"/>
              <a:gd name="connsiteX0" fmla="*/ 1879552 w 1879552"/>
              <a:gd name="connsiteY0" fmla="*/ 1347537 h 1347537"/>
              <a:gd name="connsiteX1" fmla="*/ 399668 w 1879552"/>
              <a:gd name="connsiteY1" fmla="*/ 757991 h 1347537"/>
              <a:gd name="connsiteX2" fmla="*/ 2625 w 1879552"/>
              <a:gd name="connsiteY2" fmla="*/ 0 h 1347537"/>
              <a:gd name="connsiteX0" fmla="*/ 1882549 w 1882549"/>
              <a:gd name="connsiteY0" fmla="*/ 1347537 h 1347537"/>
              <a:gd name="connsiteX1" fmla="*/ 351566 w 1882549"/>
              <a:gd name="connsiteY1" fmla="*/ 995755 h 1347537"/>
              <a:gd name="connsiteX2" fmla="*/ 5622 w 1882549"/>
              <a:gd name="connsiteY2" fmla="*/ 0 h 1347537"/>
              <a:gd name="connsiteX0" fmla="*/ 1857000 w 1857000"/>
              <a:gd name="connsiteY0" fmla="*/ 1551337 h 1551337"/>
              <a:gd name="connsiteX1" fmla="*/ 351566 w 1857000"/>
              <a:gd name="connsiteY1" fmla="*/ 995755 h 1551337"/>
              <a:gd name="connsiteX2" fmla="*/ 5622 w 1857000"/>
              <a:gd name="connsiteY2" fmla="*/ 0 h 1551337"/>
              <a:gd name="connsiteX0" fmla="*/ 1857000 w 1857000"/>
              <a:gd name="connsiteY0" fmla="*/ 1551337 h 1551337"/>
              <a:gd name="connsiteX1" fmla="*/ 351566 w 1857000"/>
              <a:gd name="connsiteY1" fmla="*/ 995755 h 1551337"/>
              <a:gd name="connsiteX2" fmla="*/ 5622 w 1857000"/>
              <a:gd name="connsiteY2" fmla="*/ 0 h 1551337"/>
              <a:gd name="connsiteX0" fmla="*/ 1857000 w 1857000"/>
              <a:gd name="connsiteY0" fmla="*/ 1551337 h 1551337"/>
              <a:gd name="connsiteX1" fmla="*/ 351566 w 1857000"/>
              <a:gd name="connsiteY1" fmla="*/ 995755 h 1551337"/>
              <a:gd name="connsiteX2" fmla="*/ 5622 w 1857000"/>
              <a:gd name="connsiteY2" fmla="*/ 0 h 1551337"/>
              <a:gd name="connsiteX0" fmla="*/ 1859758 w 1859758"/>
              <a:gd name="connsiteY0" fmla="*/ 1551337 h 1551337"/>
              <a:gd name="connsiteX1" fmla="*/ 354324 w 1859758"/>
              <a:gd name="connsiteY1" fmla="*/ 995755 h 1551337"/>
              <a:gd name="connsiteX2" fmla="*/ 8380 w 1859758"/>
              <a:gd name="connsiteY2" fmla="*/ 0 h 1551337"/>
              <a:gd name="connsiteX0" fmla="*/ 1852894 w 1852894"/>
              <a:gd name="connsiteY0" fmla="*/ 1551337 h 1551337"/>
              <a:gd name="connsiteX1" fmla="*/ 347460 w 1852894"/>
              <a:gd name="connsiteY1" fmla="*/ 995755 h 1551337"/>
              <a:gd name="connsiteX2" fmla="*/ 1516 w 1852894"/>
              <a:gd name="connsiteY2" fmla="*/ 0 h 1551337"/>
              <a:gd name="connsiteX0" fmla="*/ 1851378 w 1851378"/>
              <a:gd name="connsiteY0" fmla="*/ 1551337 h 1551337"/>
              <a:gd name="connsiteX1" fmla="*/ 345944 w 1851378"/>
              <a:gd name="connsiteY1" fmla="*/ 995755 h 1551337"/>
              <a:gd name="connsiteX2" fmla="*/ 0 w 1851378"/>
              <a:gd name="connsiteY2" fmla="*/ 0 h 1551337"/>
            </a:gdLst>
            <a:ahLst/>
            <a:cxnLst>
              <a:cxn ang="0">
                <a:pos x="connsiteX0" y="connsiteY0"/>
              </a:cxn>
              <a:cxn ang="0">
                <a:pos x="connsiteX1" y="connsiteY1"/>
              </a:cxn>
              <a:cxn ang="0">
                <a:pos x="connsiteX2" y="connsiteY2"/>
              </a:cxn>
            </a:cxnLst>
            <a:rect l="l" t="t" r="r" b="b"/>
            <a:pathLst>
              <a:path w="1851378" h="1551337">
                <a:moveTo>
                  <a:pt x="1851378" y="1551337"/>
                </a:moveTo>
                <a:cubicBezTo>
                  <a:pt x="1850871" y="673639"/>
                  <a:pt x="718923" y="1075963"/>
                  <a:pt x="345944" y="995755"/>
                </a:cubicBezTo>
                <a:cubicBezTo>
                  <a:pt x="-52584" y="949515"/>
                  <a:pt x="36061" y="826566"/>
                  <a:pt x="0"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3" name="Rectangular Callout 62"/>
          <p:cNvSpPr/>
          <p:nvPr/>
        </p:nvSpPr>
        <p:spPr bwMode="auto">
          <a:xfrm>
            <a:off x="7610036" y="1674058"/>
            <a:ext cx="2089321" cy="551262"/>
          </a:xfrm>
          <a:prstGeom prst="wedgeRectCallout">
            <a:avLst>
              <a:gd name="adj1" fmla="val -50566"/>
              <a:gd name="adj2" fmla="val 88760"/>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58585A"/>
                </a:solidFill>
                <a:effectLst/>
                <a:uLnTx/>
                <a:uFillTx/>
                <a:latin typeface="Ericsson Hilda"/>
                <a:ea typeface="+mn-ea"/>
                <a:cs typeface="+mn-cs"/>
              </a:rPr>
              <a:t>Fetching UE Usage type</a:t>
            </a:r>
            <a:br>
              <a:rPr kumimoji="0" lang="en-US" sz="1400" b="0" i="0" u="none" strike="noStrike" kern="1200" cap="none" spc="0" normalizeH="0" baseline="0" noProof="0">
                <a:ln>
                  <a:noFill/>
                </a:ln>
                <a:solidFill>
                  <a:srgbClr val="58585A"/>
                </a:solidFill>
                <a:effectLst/>
                <a:uLnTx/>
                <a:uFillTx/>
                <a:latin typeface="Ericsson Hilda"/>
                <a:ea typeface="+mn-ea"/>
                <a:cs typeface="+mn-cs"/>
              </a:rPr>
            </a:br>
            <a:r>
              <a:rPr kumimoji="0" lang="en-US" sz="1400" b="0" i="0" u="none" strike="noStrike" kern="1200" cap="none" spc="0" normalizeH="0" baseline="0" noProof="0">
                <a:ln>
                  <a:noFill/>
                </a:ln>
                <a:solidFill>
                  <a:srgbClr val="58585A"/>
                </a:solidFill>
                <a:effectLst/>
                <a:uLnTx/>
                <a:uFillTx/>
                <a:latin typeface="Ericsson Hilda"/>
                <a:ea typeface="+mn-ea"/>
                <a:cs typeface="+mn-cs"/>
              </a:rPr>
              <a:t>(Conditional)</a:t>
            </a:r>
          </a:p>
        </p:txBody>
      </p:sp>
      <p:grpSp>
        <p:nvGrpSpPr>
          <p:cNvPr id="56" name="Group 45"/>
          <p:cNvGrpSpPr>
            <a:grpSpLocks noChangeAspect="1"/>
          </p:cNvGrpSpPr>
          <p:nvPr/>
        </p:nvGrpSpPr>
        <p:grpSpPr bwMode="auto">
          <a:xfrm>
            <a:off x="5078400" y="1338214"/>
            <a:ext cx="534010" cy="765103"/>
            <a:chOff x="1057" y="1587"/>
            <a:chExt cx="363" cy="520"/>
          </a:xfrm>
        </p:grpSpPr>
        <p:sp>
          <p:nvSpPr>
            <p:cNvPr id="59"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60"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64"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HSS </a:t>
              </a:r>
            </a:p>
          </p:txBody>
        </p:sp>
        <p:sp>
          <p:nvSpPr>
            <p:cNvPr id="6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en-US" sz="900" b="0" i="0" u="none" strike="noStrike" kern="1200" cap="none" spc="0" normalizeH="0" baseline="0" noProof="0">
                <a:ln>
                  <a:noFill/>
                </a:ln>
                <a:solidFill>
                  <a:srgbClr val="58585A"/>
                </a:solidFill>
                <a:effectLst/>
                <a:uLnTx/>
                <a:uFillTx/>
                <a:latin typeface="Ericsson Hilda"/>
                <a:ea typeface="+mn-ea"/>
                <a:cs typeface="Arial" charset="0"/>
              </a:endParaRPr>
            </a:p>
          </p:txBody>
        </p:sp>
        <p:sp>
          <p:nvSpPr>
            <p:cNvPr id="79"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80" name="Group 557"/>
          <p:cNvGrpSpPr>
            <a:grpSpLocks noChangeAspect="1"/>
          </p:cNvGrpSpPr>
          <p:nvPr/>
        </p:nvGrpSpPr>
        <p:grpSpPr bwMode="auto">
          <a:xfrm>
            <a:off x="10174323" y="2858403"/>
            <a:ext cx="516970" cy="746394"/>
            <a:chOff x="3510" y="1858"/>
            <a:chExt cx="363" cy="520"/>
          </a:xfrm>
        </p:grpSpPr>
        <p:sp>
          <p:nvSpPr>
            <p:cNvPr id="81"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2"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3"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MME</a:t>
              </a:r>
            </a:p>
          </p:txBody>
        </p:sp>
        <p:sp>
          <p:nvSpPr>
            <p:cNvPr id="84"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5"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86" name="Group 278"/>
          <p:cNvGrpSpPr>
            <a:grpSpLocks noChangeAspect="1"/>
          </p:cNvGrpSpPr>
          <p:nvPr/>
        </p:nvGrpSpPr>
        <p:grpSpPr bwMode="auto">
          <a:xfrm>
            <a:off x="4004775" y="4878934"/>
            <a:ext cx="553824" cy="795180"/>
            <a:chOff x="3106" y="2389"/>
            <a:chExt cx="363" cy="520"/>
          </a:xfrm>
        </p:grpSpPr>
        <p:sp>
          <p:nvSpPr>
            <p:cNvPr id="8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8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9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 </a:t>
              </a:r>
              <a:r>
                <a:rPr kumimoji="0" lang="en-US" altLang="en-US" sz="1200" b="1" i="0" u="none" strike="noStrike" kern="1200" cap="none" spc="0" normalizeH="0" baseline="0" noProof="0" err="1">
                  <a:ln>
                    <a:noFill/>
                  </a:ln>
                  <a:solidFill>
                    <a:srgbClr val="181818"/>
                  </a:solidFill>
                  <a:effectLst/>
                  <a:uLnTx/>
                  <a:uFillTx/>
                  <a:latin typeface="Ericsson Hilda"/>
                  <a:ea typeface="Segoe UI" panose="020B0502040204020203" pitchFamily="34" charset="0"/>
                  <a:cs typeface="Segoe UI" panose="020B0502040204020203" pitchFamily="34" charset="0"/>
                </a:rPr>
                <a:t>eNB</a:t>
              </a:r>
              <a:endPar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endParaRPr>
            </a:p>
          </p:txBody>
        </p:sp>
        <p:sp>
          <p:nvSpPr>
            <p:cNvPr id="9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1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9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77" name="Parallelogram 76"/>
          <p:cNvSpPr/>
          <p:nvPr/>
        </p:nvSpPr>
        <p:spPr bwMode="auto">
          <a:xfrm>
            <a:off x="5737455" y="1306032"/>
            <a:ext cx="2001152" cy="247500"/>
          </a:xfrm>
          <a:prstGeom prst="parallelogram">
            <a:avLst/>
          </a:prstGeom>
          <a:solidFill>
            <a:srgbClr val="F08A0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0" tIns="0" rIns="0" bIns="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Ericsson Hilda"/>
                <a:ea typeface="+mn-ea"/>
                <a:cs typeface="+mn-cs"/>
              </a:rPr>
              <a:t>UE Usage Type</a:t>
            </a:r>
          </a:p>
        </p:txBody>
      </p:sp>
      <p:cxnSp>
        <p:nvCxnSpPr>
          <p:cNvPr id="78" name="Curved Connector 77"/>
          <p:cNvCxnSpPr>
            <a:stCxn id="77" idx="5"/>
            <a:endCxn id="59" idx="3"/>
          </p:cNvCxnSpPr>
          <p:nvPr/>
        </p:nvCxnSpPr>
        <p:spPr bwMode="auto">
          <a:xfrm rot="10800000" flipV="1">
            <a:off x="5603585" y="1429782"/>
            <a:ext cx="164809" cy="395450"/>
          </a:xfrm>
          <a:prstGeom prst="curvedConnector3">
            <a:avLst>
              <a:gd name="adj1" fmla="val 50000"/>
            </a:avLst>
          </a:prstGeom>
          <a:solidFill>
            <a:schemeClr val="accent1"/>
          </a:solidFill>
          <a:ln w="19050" cap="flat" cmpd="sng" algn="ctr">
            <a:solidFill>
              <a:srgbClr val="F08A00"/>
            </a:solidFill>
            <a:prstDash val="solid"/>
            <a:round/>
            <a:headEnd type="none" w="med" len="med"/>
            <a:tailEnd type="none" w="med" len="med"/>
          </a:ln>
          <a:effectLst/>
        </p:spPr>
      </p:cxnSp>
      <p:grpSp>
        <p:nvGrpSpPr>
          <p:cNvPr id="94" name="Group 557"/>
          <p:cNvGrpSpPr>
            <a:grpSpLocks noChangeAspect="1"/>
          </p:cNvGrpSpPr>
          <p:nvPr/>
        </p:nvGrpSpPr>
        <p:grpSpPr bwMode="auto">
          <a:xfrm>
            <a:off x="8145066" y="2852459"/>
            <a:ext cx="516970" cy="746394"/>
            <a:chOff x="3510" y="1858"/>
            <a:chExt cx="363" cy="520"/>
          </a:xfrm>
        </p:grpSpPr>
        <p:sp>
          <p:nvSpPr>
            <p:cNvPr id="95"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96"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98"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MME</a:t>
              </a:r>
            </a:p>
          </p:txBody>
        </p:sp>
        <p:sp>
          <p:nvSpPr>
            <p:cNvPr id="108"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09"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10" name="Group 557"/>
          <p:cNvGrpSpPr>
            <a:grpSpLocks noChangeAspect="1"/>
          </p:cNvGrpSpPr>
          <p:nvPr/>
        </p:nvGrpSpPr>
        <p:grpSpPr bwMode="auto">
          <a:xfrm>
            <a:off x="1886891" y="2858403"/>
            <a:ext cx="516970" cy="746394"/>
            <a:chOff x="3510" y="1858"/>
            <a:chExt cx="363" cy="520"/>
          </a:xfrm>
        </p:grpSpPr>
        <p:sp>
          <p:nvSpPr>
            <p:cNvPr id="11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81818"/>
                  </a:solidFill>
                  <a:effectLst/>
                  <a:uLnTx/>
                  <a:uFillTx/>
                  <a:latin typeface="Ericsson Hilda"/>
                  <a:ea typeface="Segoe UI" panose="020B0502040204020203" pitchFamily="34" charset="0"/>
                  <a:cs typeface="Segoe UI" panose="020B0502040204020203" pitchFamily="34" charset="0"/>
                </a:rPr>
                <a:t>MME</a:t>
              </a:r>
            </a:p>
          </p:txBody>
        </p:sp>
        <p:sp>
          <p:nvSpPr>
            <p:cNvPr id="11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altLang="en-US" sz="9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68" name="TextBox 67"/>
          <p:cNvSpPr txBox="1"/>
          <p:nvPr/>
        </p:nvSpPr>
        <p:spPr>
          <a:xfrm>
            <a:off x="1027866" y="2338649"/>
            <a:ext cx="1305171" cy="400110"/>
          </a:xfrm>
          <a:prstGeom prst="rect">
            <a:avLst/>
          </a:prstGeom>
          <a:noFill/>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mn-cs"/>
              </a:rPr>
              <a:t>Slice #1</a:t>
            </a:r>
          </a:p>
        </p:txBody>
      </p:sp>
      <p:sp>
        <p:nvSpPr>
          <p:cNvPr id="69" name="TextBox 68"/>
          <p:cNvSpPr txBox="1"/>
          <p:nvPr/>
        </p:nvSpPr>
        <p:spPr>
          <a:xfrm>
            <a:off x="10195268" y="2322774"/>
            <a:ext cx="1175995" cy="400110"/>
          </a:xfrm>
          <a:prstGeom prst="rect">
            <a:avLst/>
          </a:prstGeom>
          <a:noFill/>
        </p:spPr>
        <p:txBody>
          <a:bodyPr wrap="square">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mn-cs"/>
              </a:rPr>
              <a:t>Slice #3</a:t>
            </a:r>
          </a:p>
        </p:txBody>
      </p:sp>
      <p:sp>
        <p:nvSpPr>
          <p:cNvPr id="51" name="Freeform 50"/>
          <p:cNvSpPr/>
          <p:nvPr/>
        </p:nvSpPr>
        <p:spPr bwMode="auto">
          <a:xfrm flipV="1">
            <a:off x="4926396" y="3724525"/>
            <a:ext cx="5469675" cy="1274433"/>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3055186 w 3055186"/>
              <a:gd name="connsiteY0" fmla="*/ 2137703 h 2137703"/>
              <a:gd name="connsiteX1" fmla="*/ 1418891 w 3055186"/>
              <a:gd name="connsiteY1" fmla="*/ 1475966 h 2137703"/>
              <a:gd name="connsiteX2" fmla="*/ 605 w 3055186"/>
              <a:gd name="connsiteY2" fmla="*/ 5037 h 2137703"/>
              <a:gd name="connsiteX3" fmla="*/ 1226385 w 3055186"/>
              <a:gd name="connsiteY3" fmla="*/ 958608 h 2137703"/>
              <a:gd name="connsiteX0" fmla="*/ 2008439 w 2008439"/>
              <a:gd name="connsiteY0" fmla="*/ 2347300 h 2347300"/>
              <a:gd name="connsiteX1" fmla="*/ 1418891 w 2008439"/>
              <a:gd name="connsiteY1" fmla="*/ 1475966 h 2347300"/>
              <a:gd name="connsiteX2" fmla="*/ 605 w 2008439"/>
              <a:gd name="connsiteY2" fmla="*/ 5037 h 2347300"/>
              <a:gd name="connsiteX3" fmla="*/ 1226385 w 2008439"/>
              <a:gd name="connsiteY3" fmla="*/ 958608 h 2347300"/>
              <a:gd name="connsiteX0" fmla="*/ 2008439 w 2008439"/>
              <a:gd name="connsiteY0" fmla="*/ 2347300 h 2347300"/>
              <a:gd name="connsiteX1" fmla="*/ 757154 w 2008439"/>
              <a:gd name="connsiteY1" fmla="*/ 1192395 h 2347300"/>
              <a:gd name="connsiteX2" fmla="*/ 605 w 2008439"/>
              <a:gd name="connsiteY2" fmla="*/ 5037 h 2347300"/>
              <a:gd name="connsiteX3" fmla="*/ 1226385 w 2008439"/>
              <a:gd name="connsiteY3" fmla="*/ 958608 h 2347300"/>
              <a:gd name="connsiteX0" fmla="*/ 2024281 w 2024281"/>
              <a:gd name="connsiteY0" fmla="*/ 2347300 h 2347300"/>
              <a:gd name="connsiteX1" fmla="*/ 772996 w 2024281"/>
              <a:gd name="connsiteY1" fmla="*/ 1192395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24281 w 2024281"/>
              <a:gd name="connsiteY0" fmla="*/ 2347300 h 2347300"/>
              <a:gd name="connsiteX1" fmla="*/ 724870 w 2024281"/>
              <a:gd name="connsiteY1" fmla="*/ 1549942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69725 w 2069725"/>
              <a:gd name="connsiteY0" fmla="*/ 2436675 h 2436675"/>
              <a:gd name="connsiteX1" fmla="*/ 770314 w 2069725"/>
              <a:gd name="connsiteY1" fmla="*/ 1639317 h 2436675"/>
              <a:gd name="connsiteX2" fmla="*/ 350649 w 2069725"/>
              <a:gd name="connsiteY2" fmla="*/ 1462955 h 2436675"/>
              <a:gd name="connsiteX3" fmla="*/ 61891 w 2069725"/>
              <a:gd name="connsiteY3" fmla="*/ 94412 h 2436675"/>
              <a:gd name="connsiteX4" fmla="*/ 292 w 2069725"/>
              <a:gd name="connsiteY4" fmla="*/ 0 h 2436675"/>
              <a:gd name="connsiteX0" fmla="*/ 2069433 w 2069433"/>
              <a:gd name="connsiteY0" fmla="*/ 2436675 h 2436675"/>
              <a:gd name="connsiteX1" fmla="*/ 770022 w 2069433"/>
              <a:gd name="connsiteY1" fmla="*/ 1639317 h 2436675"/>
              <a:gd name="connsiteX2" fmla="*/ 350357 w 2069433"/>
              <a:gd name="connsiteY2" fmla="*/ 1462955 h 2436675"/>
              <a:gd name="connsiteX3" fmla="*/ 0 w 2069433"/>
              <a:gd name="connsiteY3" fmla="*/ 0 h 2436675"/>
              <a:gd name="connsiteX0" fmla="*/ 2021307 w 2021307"/>
              <a:gd name="connsiteY0" fmla="*/ 2387358 h 2387358"/>
              <a:gd name="connsiteX1" fmla="*/ 721896 w 2021307"/>
              <a:gd name="connsiteY1" fmla="*/ 1590000 h 2387358"/>
              <a:gd name="connsiteX2" fmla="*/ 302231 w 2021307"/>
              <a:gd name="connsiteY2" fmla="*/ 1413638 h 2387358"/>
              <a:gd name="connsiteX3" fmla="*/ 0 w 2021307"/>
              <a:gd name="connsiteY3" fmla="*/ 0 h 2387358"/>
              <a:gd name="connsiteX0" fmla="*/ 2034083 w 2034083"/>
              <a:gd name="connsiteY0" fmla="*/ 2387358 h 2387358"/>
              <a:gd name="connsiteX1" fmla="*/ 734672 w 2034083"/>
              <a:gd name="connsiteY1" fmla="*/ 1590000 h 2387358"/>
              <a:gd name="connsiteX2" fmla="*/ 315007 w 2034083"/>
              <a:gd name="connsiteY2" fmla="*/ 1413638 h 2387358"/>
              <a:gd name="connsiteX3" fmla="*/ 12776 w 2034083"/>
              <a:gd name="connsiteY3" fmla="*/ 0 h 2387358"/>
              <a:gd name="connsiteX0" fmla="*/ 2050839 w 2050839"/>
              <a:gd name="connsiteY0" fmla="*/ 2387358 h 2387358"/>
              <a:gd name="connsiteX1" fmla="*/ 751428 w 2050839"/>
              <a:gd name="connsiteY1" fmla="*/ 1590000 h 2387358"/>
              <a:gd name="connsiteX2" fmla="*/ 151289 w 2050839"/>
              <a:gd name="connsiteY2" fmla="*/ 1450625 h 2387358"/>
              <a:gd name="connsiteX3" fmla="*/ 29532 w 2050839"/>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829795 w 2044985"/>
              <a:gd name="connsiteY1" fmla="*/ 1614659 h 2387358"/>
              <a:gd name="connsiteX2" fmla="*/ 181529 w 2044985"/>
              <a:gd name="connsiteY2" fmla="*/ 1401307 h 2387358"/>
              <a:gd name="connsiteX3" fmla="*/ 23678 w 2044985"/>
              <a:gd name="connsiteY3" fmla="*/ 0 h 2387358"/>
              <a:gd name="connsiteX0" fmla="*/ 2065994 w 2065994"/>
              <a:gd name="connsiteY0" fmla="*/ 2387358 h 2387358"/>
              <a:gd name="connsiteX1" fmla="*/ 85080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2002482 w 2002482"/>
              <a:gd name="connsiteY0" fmla="*/ 2428099 h 2428099"/>
              <a:gd name="connsiteX1" fmla="*/ 925544 w 2002482"/>
              <a:gd name="connsiteY1" fmla="*/ 1628239 h 2428099"/>
              <a:gd name="connsiteX2" fmla="*/ 69900 w 2002482"/>
              <a:gd name="connsiteY2" fmla="*/ 1116128 h 2428099"/>
              <a:gd name="connsiteX3" fmla="*/ 42620 w 2002482"/>
              <a:gd name="connsiteY3" fmla="*/ 0 h 2428099"/>
              <a:gd name="connsiteX0" fmla="*/ 2004453 w 2004453"/>
              <a:gd name="connsiteY0" fmla="*/ 2428099 h 2428099"/>
              <a:gd name="connsiteX1" fmla="*/ 927515 w 2004453"/>
              <a:gd name="connsiteY1" fmla="*/ 1628239 h 2428099"/>
              <a:gd name="connsiteX2" fmla="*/ 71871 w 2004453"/>
              <a:gd name="connsiteY2" fmla="*/ 1116128 h 2428099"/>
              <a:gd name="connsiteX3" fmla="*/ 44591 w 2004453"/>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96171 w 1996171"/>
              <a:gd name="connsiteY0" fmla="*/ 2414519 h 2414519"/>
              <a:gd name="connsiteX1" fmla="*/ 919233 w 1996171"/>
              <a:gd name="connsiteY1" fmla="*/ 1614659 h 2414519"/>
              <a:gd name="connsiteX2" fmla="*/ 63589 w 1996171"/>
              <a:gd name="connsiteY2" fmla="*/ 1102548 h 2414519"/>
              <a:gd name="connsiteX3" fmla="*/ 59351 w 1996171"/>
              <a:gd name="connsiteY3" fmla="*/ 0 h 2414519"/>
              <a:gd name="connsiteX0" fmla="*/ 2001618 w 2001618"/>
              <a:gd name="connsiteY0" fmla="*/ 2414519 h 2414519"/>
              <a:gd name="connsiteX1" fmla="*/ 924680 w 2001618"/>
              <a:gd name="connsiteY1" fmla="*/ 1614659 h 2414519"/>
              <a:gd name="connsiteX2" fmla="*/ 69036 w 2001618"/>
              <a:gd name="connsiteY2" fmla="*/ 1102548 h 2414519"/>
              <a:gd name="connsiteX3" fmla="*/ 64798 w 2001618"/>
              <a:gd name="connsiteY3" fmla="*/ 0 h 2414519"/>
              <a:gd name="connsiteX0" fmla="*/ 1946612 w 1946612"/>
              <a:gd name="connsiteY0" fmla="*/ 2414519 h 2414519"/>
              <a:gd name="connsiteX1" fmla="*/ 869674 w 1946612"/>
              <a:gd name="connsiteY1" fmla="*/ 1614659 h 2414519"/>
              <a:gd name="connsiteX2" fmla="*/ 14030 w 1946612"/>
              <a:gd name="connsiteY2" fmla="*/ 1102548 h 2414519"/>
              <a:gd name="connsiteX3" fmla="*/ 9792 w 1946612"/>
              <a:gd name="connsiteY3" fmla="*/ 0 h 2414519"/>
              <a:gd name="connsiteX0" fmla="*/ 1949048 w 1949048"/>
              <a:gd name="connsiteY0" fmla="*/ 2414519 h 2414519"/>
              <a:gd name="connsiteX1" fmla="*/ 872110 w 1949048"/>
              <a:gd name="connsiteY1" fmla="*/ 1614659 h 2414519"/>
              <a:gd name="connsiteX2" fmla="*/ 16466 w 1949048"/>
              <a:gd name="connsiteY2" fmla="*/ 1102548 h 2414519"/>
              <a:gd name="connsiteX3" fmla="*/ 12228 w 1949048"/>
              <a:gd name="connsiteY3" fmla="*/ 0 h 2414519"/>
              <a:gd name="connsiteX0" fmla="*/ 1943021 w 1943021"/>
              <a:gd name="connsiteY0" fmla="*/ 2414519 h 2414519"/>
              <a:gd name="connsiteX1" fmla="*/ 866083 w 1943021"/>
              <a:gd name="connsiteY1" fmla="*/ 1614659 h 2414519"/>
              <a:gd name="connsiteX2" fmla="*/ 10439 w 1943021"/>
              <a:gd name="connsiteY2" fmla="*/ 1102548 h 2414519"/>
              <a:gd name="connsiteX3" fmla="*/ 6201 w 1943021"/>
              <a:gd name="connsiteY3" fmla="*/ 0 h 2414519"/>
              <a:gd name="connsiteX0" fmla="*/ 1937427 w 1937427"/>
              <a:gd name="connsiteY0" fmla="*/ 2414519 h 2414519"/>
              <a:gd name="connsiteX1" fmla="*/ 860489 w 1937427"/>
              <a:gd name="connsiteY1" fmla="*/ 1614659 h 2414519"/>
              <a:gd name="connsiteX2" fmla="*/ 4845 w 1937427"/>
              <a:gd name="connsiteY2" fmla="*/ 1102548 h 2414519"/>
              <a:gd name="connsiteX3" fmla="*/ 607 w 1937427"/>
              <a:gd name="connsiteY3" fmla="*/ 0 h 2414519"/>
              <a:gd name="connsiteX0" fmla="*/ 1932602 w 1932602"/>
              <a:gd name="connsiteY0" fmla="*/ 1624033 h 1624033"/>
              <a:gd name="connsiteX1" fmla="*/ 855664 w 1932602"/>
              <a:gd name="connsiteY1" fmla="*/ 824173 h 1624033"/>
              <a:gd name="connsiteX2" fmla="*/ 20 w 1932602"/>
              <a:gd name="connsiteY2" fmla="*/ 312062 h 1624033"/>
              <a:gd name="connsiteX3" fmla="*/ 1685921 w 1932602"/>
              <a:gd name="connsiteY3" fmla="*/ 0 h 1624033"/>
              <a:gd name="connsiteX0" fmla="*/ 1932618 w 1932618"/>
              <a:gd name="connsiteY0" fmla="*/ 1709036 h 1709036"/>
              <a:gd name="connsiteX1" fmla="*/ 855680 w 1932618"/>
              <a:gd name="connsiteY1" fmla="*/ 909176 h 1709036"/>
              <a:gd name="connsiteX2" fmla="*/ 36 w 1932618"/>
              <a:gd name="connsiteY2" fmla="*/ 397065 h 1709036"/>
              <a:gd name="connsiteX3" fmla="*/ 1685937 w 1932618"/>
              <a:gd name="connsiteY3" fmla="*/ 85003 h 1709036"/>
              <a:gd name="connsiteX0" fmla="*/ 1837314 w 1837314"/>
              <a:gd name="connsiteY0" fmla="*/ 1684062 h 1684062"/>
              <a:gd name="connsiteX1" fmla="*/ 760376 w 1837314"/>
              <a:gd name="connsiteY1" fmla="*/ 884202 h 1684062"/>
              <a:gd name="connsiteX2" fmla="*/ 41 w 1837314"/>
              <a:gd name="connsiteY2" fmla="*/ 439846 h 1684062"/>
              <a:gd name="connsiteX3" fmla="*/ 1590633 w 1837314"/>
              <a:gd name="connsiteY3" fmla="*/ 60029 h 1684062"/>
              <a:gd name="connsiteX0" fmla="*/ 1837273 w 1837273"/>
              <a:gd name="connsiteY0" fmla="*/ 1637581 h 1637581"/>
              <a:gd name="connsiteX1" fmla="*/ 760335 w 1837273"/>
              <a:gd name="connsiteY1" fmla="*/ 837721 h 1637581"/>
              <a:gd name="connsiteX2" fmla="*/ 0 w 1837273"/>
              <a:gd name="connsiteY2" fmla="*/ 393365 h 1637581"/>
              <a:gd name="connsiteX3" fmla="*/ 1590592 w 1837273"/>
              <a:gd name="connsiteY3" fmla="*/ 13548 h 1637581"/>
              <a:gd name="connsiteX0" fmla="*/ 1912426 w 1912426"/>
              <a:gd name="connsiteY0" fmla="*/ 1637581 h 1637581"/>
              <a:gd name="connsiteX1" fmla="*/ 835488 w 1912426"/>
              <a:gd name="connsiteY1" fmla="*/ 837721 h 1637581"/>
              <a:gd name="connsiteX2" fmla="*/ 75153 w 1912426"/>
              <a:gd name="connsiteY2" fmla="*/ 393365 h 1637581"/>
              <a:gd name="connsiteX3" fmla="*/ 1665745 w 1912426"/>
              <a:gd name="connsiteY3" fmla="*/ 13548 h 1637581"/>
              <a:gd name="connsiteX0" fmla="*/ 1912426 w 1912426"/>
              <a:gd name="connsiteY0" fmla="*/ 1296871 h 1296871"/>
              <a:gd name="connsiteX1" fmla="*/ 835488 w 1912426"/>
              <a:gd name="connsiteY1" fmla="*/ 497011 h 1296871"/>
              <a:gd name="connsiteX2" fmla="*/ 75153 w 1912426"/>
              <a:gd name="connsiteY2" fmla="*/ 52655 h 1296871"/>
              <a:gd name="connsiteX3" fmla="*/ 1710222 w 1912426"/>
              <a:gd name="connsiteY3" fmla="*/ 463323 h 1296871"/>
              <a:gd name="connsiteX0" fmla="*/ 1912426 w 1912426"/>
              <a:gd name="connsiteY0" fmla="*/ 1345096 h 1345096"/>
              <a:gd name="connsiteX1" fmla="*/ 835488 w 1912426"/>
              <a:gd name="connsiteY1" fmla="*/ 545236 h 1345096"/>
              <a:gd name="connsiteX2" fmla="*/ 75153 w 1912426"/>
              <a:gd name="connsiteY2" fmla="*/ 100880 h 1345096"/>
              <a:gd name="connsiteX3" fmla="*/ 1710222 w 1912426"/>
              <a:gd name="connsiteY3" fmla="*/ 511548 h 1345096"/>
              <a:gd name="connsiteX0" fmla="*/ 1915580 w 1915580"/>
              <a:gd name="connsiteY0" fmla="*/ 1345096 h 1345096"/>
              <a:gd name="connsiteX1" fmla="*/ 838642 w 1915580"/>
              <a:gd name="connsiteY1" fmla="*/ 545236 h 1345096"/>
              <a:gd name="connsiteX2" fmla="*/ 78307 w 1915580"/>
              <a:gd name="connsiteY2" fmla="*/ 100880 h 1345096"/>
              <a:gd name="connsiteX3" fmla="*/ 1713376 w 1915580"/>
              <a:gd name="connsiteY3" fmla="*/ 511548 h 1345096"/>
              <a:gd name="connsiteX0" fmla="*/ 1886723 w 1886723"/>
              <a:gd name="connsiteY0" fmla="*/ 1446730 h 1446730"/>
              <a:gd name="connsiteX1" fmla="*/ 835201 w 1886723"/>
              <a:gd name="connsiteY1" fmla="*/ 545236 h 1446730"/>
              <a:gd name="connsiteX2" fmla="*/ 74866 w 1886723"/>
              <a:gd name="connsiteY2" fmla="*/ 100880 h 1446730"/>
              <a:gd name="connsiteX3" fmla="*/ 1709935 w 1886723"/>
              <a:gd name="connsiteY3" fmla="*/ 511548 h 1446730"/>
              <a:gd name="connsiteX0" fmla="*/ 1891268 w 1891268"/>
              <a:gd name="connsiteY0" fmla="*/ 1446730 h 1446730"/>
              <a:gd name="connsiteX1" fmla="*/ 839746 w 1891268"/>
              <a:gd name="connsiteY1" fmla="*/ 545236 h 1446730"/>
              <a:gd name="connsiteX2" fmla="*/ 79411 w 1891268"/>
              <a:gd name="connsiteY2" fmla="*/ 100880 h 1446730"/>
              <a:gd name="connsiteX3" fmla="*/ 1714480 w 1891268"/>
              <a:gd name="connsiteY3" fmla="*/ 511548 h 1446730"/>
              <a:gd name="connsiteX0" fmla="*/ 1891784 w 1891784"/>
              <a:gd name="connsiteY0" fmla="*/ 1446730 h 1446730"/>
              <a:gd name="connsiteX1" fmla="*/ 833908 w 1891784"/>
              <a:gd name="connsiteY1" fmla="*/ 477480 h 1446730"/>
              <a:gd name="connsiteX2" fmla="*/ 79927 w 1891784"/>
              <a:gd name="connsiteY2" fmla="*/ 100880 h 1446730"/>
              <a:gd name="connsiteX3" fmla="*/ 1714996 w 1891784"/>
              <a:gd name="connsiteY3" fmla="*/ 511548 h 1446730"/>
              <a:gd name="connsiteX0" fmla="*/ 1891784 w 1891784"/>
              <a:gd name="connsiteY0" fmla="*/ 1392138 h 1392138"/>
              <a:gd name="connsiteX1" fmla="*/ 833908 w 1891784"/>
              <a:gd name="connsiteY1" fmla="*/ 422888 h 1392138"/>
              <a:gd name="connsiteX2" fmla="*/ 79927 w 1891784"/>
              <a:gd name="connsiteY2" fmla="*/ 46288 h 1392138"/>
              <a:gd name="connsiteX3" fmla="*/ 1714996 w 1891784"/>
              <a:gd name="connsiteY3" fmla="*/ 456956 h 1392138"/>
              <a:gd name="connsiteX0" fmla="*/ 1907978 w 1907978"/>
              <a:gd name="connsiteY0" fmla="*/ 1392138 h 1392138"/>
              <a:gd name="connsiteX1" fmla="*/ 850102 w 1907978"/>
              <a:gd name="connsiteY1" fmla="*/ 422888 h 1392138"/>
              <a:gd name="connsiteX2" fmla="*/ 96121 w 1907978"/>
              <a:gd name="connsiteY2" fmla="*/ 46288 h 1392138"/>
              <a:gd name="connsiteX3" fmla="*/ 1731190 w 1907978"/>
              <a:gd name="connsiteY3" fmla="*/ 456956 h 1392138"/>
              <a:gd name="connsiteX0" fmla="*/ 1907978 w 2674745"/>
              <a:gd name="connsiteY0" fmla="*/ 1356371 h 1356371"/>
              <a:gd name="connsiteX1" fmla="*/ 850102 w 2674745"/>
              <a:gd name="connsiteY1" fmla="*/ 387121 h 1356371"/>
              <a:gd name="connsiteX2" fmla="*/ 96121 w 2674745"/>
              <a:gd name="connsiteY2" fmla="*/ 10521 h 1356371"/>
              <a:gd name="connsiteX3" fmla="*/ 2674745 w 2674745"/>
              <a:gd name="connsiteY3" fmla="*/ 1030992 h 1356371"/>
              <a:gd name="connsiteX0" fmla="*/ 1819659 w 2586426"/>
              <a:gd name="connsiteY0" fmla="*/ 1346540 h 1346540"/>
              <a:gd name="connsiteX1" fmla="*/ 761783 w 2586426"/>
              <a:gd name="connsiteY1" fmla="*/ 377290 h 1346540"/>
              <a:gd name="connsiteX2" fmla="*/ 7802 w 2586426"/>
              <a:gd name="connsiteY2" fmla="*/ 690 h 1346540"/>
              <a:gd name="connsiteX3" fmla="*/ 1203330 w 2586426"/>
              <a:gd name="connsiteY3" fmla="*/ 305247 h 1346540"/>
              <a:gd name="connsiteX4" fmla="*/ 2586426 w 2586426"/>
              <a:gd name="connsiteY4" fmla="*/ 1021161 h 1346540"/>
              <a:gd name="connsiteX0" fmla="*/ 1819659 w 2586426"/>
              <a:gd name="connsiteY0" fmla="*/ 1351952 h 1351952"/>
              <a:gd name="connsiteX1" fmla="*/ 761783 w 2586426"/>
              <a:gd name="connsiteY1" fmla="*/ 382702 h 1351952"/>
              <a:gd name="connsiteX2" fmla="*/ 7802 w 2586426"/>
              <a:gd name="connsiteY2" fmla="*/ 6102 h 1351952"/>
              <a:gd name="connsiteX3" fmla="*/ 1203330 w 2586426"/>
              <a:gd name="connsiteY3" fmla="*/ 152562 h 1351952"/>
              <a:gd name="connsiteX4" fmla="*/ 2586426 w 2586426"/>
              <a:gd name="connsiteY4" fmla="*/ 1026573 h 1351952"/>
              <a:gd name="connsiteX0" fmla="*/ 1819659 w 2586426"/>
              <a:gd name="connsiteY0" fmla="*/ 1351952 h 1351952"/>
              <a:gd name="connsiteX1" fmla="*/ 761783 w 2586426"/>
              <a:gd name="connsiteY1" fmla="*/ 382702 h 1351952"/>
              <a:gd name="connsiteX2" fmla="*/ 7802 w 2586426"/>
              <a:gd name="connsiteY2" fmla="*/ 6102 h 1351952"/>
              <a:gd name="connsiteX3" fmla="*/ 1203330 w 2586426"/>
              <a:gd name="connsiteY3" fmla="*/ 152562 h 1351952"/>
              <a:gd name="connsiteX4" fmla="*/ 2586426 w 2586426"/>
              <a:gd name="connsiteY4" fmla="*/ 1026573 h 1351952"/>
              <a:gd name="connsiteX0" fmla="*/ 1813016 w 2579783"/>
              <a:gd name="connsiteY0" fmla="*/ 1416509 h 1416509"/>
              <a:gd name="connsiteX1" fmla="*/ 755140 w 2579783"/>
              <a:gd name="connsiteY1" fmla="*/ 447259 h 1416509"/>
              <a:gd name="connsiteX2" fmla="*/ 1159 w 2579783"/>
              <a:gd name="connsiteY2" fmla="*/ 70659 h 1416509"/>
              <a:gd name="connsiteX3" fmla="*/ 1196687 w 2579783"/>
              <a:gd name="connsiteY3" fmla="*/ 217119 h 1416509"/>
              <a:gd name="connsiteX4" fmla="*/ 2579783 w 2579783"/>
              <a:gd name="connsiteY4" fmla="*/ 1091130 h 1416509"/>
              <a:gd name="connsiteX0" fmla="*/ 1813016 w 2579783"/>
              <a:gd name="connsiteY0" fmla="*/ 1416509 h 1416509"/>
              <a:gd name="connsiteX1" fmla="*/ 755140 w 2579783"/>
              <a:gd name="connsiteY1" fmla="*/ 447259 h 1416509"/>
              <a:gd name="connsiteX2" fmla="*/ 1159 w 2579783"/>
              <a:gd name="connsiteY2" fmla="*/ 70659 h 1416509"/>
              <a:gd name="connsiteX3" fmla="*/ 1196687 w 2579783"/>
              <a:gd name="connsiteY3" fmla="*/ 217119 h 1416509"/>
              <a:gd name="connsiteX4" fmla="*/ 2579783 w 2579783"/>
              <a:gd name="connsiteY4" fmla="*/ 1091130 h 1416509"/>
              <a:gd name="connsiteX0" fmla="*/ 1813016 w 2565487"/>
              <a:gd name="connsiteY0" fmla="*/ 1416509 h 1416509"/>
              <a:gd name="connsiteX1" fmla="*/ 755140 w 2565487"/>
              <a:gd name="connsiteY1" fmla="*/ 447259 h 1416509"/>
              <a:gd name="connsiteX2" fmla="*/ 1159 w 2565487"/>
              <a:gd name="connsiteY2" fmla="*/ 70659 h 1416509"/>
              <a:gd name="connsiteX3" fmla="*/ 1196687 w 2565487"/>
              <a:gd name="connsiteY3" fmla="*/ 217119 h 1416509"/>
              <a:gd name="connsiteX4" fmla="*/ 2565487 w 2565487"/>
              <a:gd name="connsiteY4" fmla="*/ 1226642 h 1416509"/>
              <a:gd name="connsiteX0" fmla="*/ 1813016 w 2565487"/>
              <a:gd name="connsiteY0" fmla="*/ 1416509 h 1416509"/>
              <a:gd name="connsiteX1" fmla="*/ 755140 w 2565487"/>
              <a:gd name="connsiteY1" fmla="*/ 447259 h 1416509"/>
              <a:gd name="connsiteX2" fmla="*/ 1159 w 2565487"/>
              <a:gd name="connsiteY2" fmla="*/ 70659 h 1416509"/>
              <a:gd name="connsiteX3" fmla="*/ 1196687 w 2565487"/>
              <a:gd name="connsiteY3" fmla="*/ 217119 h 1416509"/>
              <a:gd name="connsiteX4" fmla="*/ 2565487 w 2565487"/>
              <a:gd name="connsiteY4" fmla="*/ 1226642 h 141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87" h="1416509">
                <a:moveTo>
                  <a:pt x="1813016" y="1416509"/>
                </a:moveTo>
                <a:cubicBezTo>
                  <a:pt x="1796311" y="518588"/>
                  <a:pt x="1120655" y="434422"/>
                  <a:pt x="755140" y="447259"/>
                </a:cubicBezTo>
                <a:cubicBezTo>
                  <a:pt x="389625" y="460096"/>
                  <a:pt x="-24778" y="229471"/>
                  <a:pt x="1159" y="70659"/>
                </a:cubicBezTo>
                <a:cubicBezTo>
                  <a:pt x="27096" y="-88153"/>
                  <a:pt x="766916" y="47041"/>
                  <a:pt x="1196687" y="217119"/>
                </a:cubicBezTo>
                <a:cubicBezTo>
                  <a:pt x="1626458" y="387197"/>
                  <a:pt x="2401687" y="892763"/>
                  <a:pt x="2565487" y="1226642"/>
                </a:cubicBezTo>
              </a:path>
            </a:pathLst>
          </a:custGeom>
          <a:noFill/>
          <a:ln w="38100" cap="flat" cmpd="sng" algn="ctr">
            <a:solidFill>
              <a:schemeClr val="bg2"/>
            </a:solidFill>
            <a:prstDash val="dash"/>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52" name="TextBox 51"/>
          <p:cNvSpPr txBox="1"/>
          <p:nvPr/>
        </p:nvSpPr>
        <p:spPr>
          <a:xfrm>
            <a:off x="8355650" y="2322774"/>
            <a:ext cx="1175995" cy="400110"/>
          </a:xfrm>
          <a:prstGeom prst="rect">
            <a:avLst/>
          </a:prstGeom>
          <a:noFill/>
        </p:spPr>
        <p:txBody>
          <a:bodyPr wrap="square">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FFFFFF">
                    <a:lumMod val="75000"/>
                  </a:srgbClr>
                </a:solidFill>
                <a:effectLst/>
                <a:uLnTx/>
                <a:uFillTx/>
                <a:latin typeface="Ericsson Hilda"/>
                <a:ea typeface="+mn-ea"/>
                <a:cs typeface="+mn-cs"/>
              </a:rPr>
              <a:t>Slice #2</a:t>
            </a:r>
          </a:p>
        </p:txBody>
      </p:sp>
      <p:sp>
        <p:nvSpPr>
          <p:cNvPr id="54" name="Rounded Rectangle 53"/>
          <p:cNvSpPr/>
          <p:nvPr/>
        </p:nvSpPr>
        <p:spPr bwMode="auto">
          <a:xfrm>
            <a:off x="9773843" y="2353160"/>
            <a:ext cx="2086509"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Ericsson Hilda"/>
              <a:ea typeface="+mn-ea"/>
              <a:cs typeface="+mn-cs"/>
            </a:endParaRPr>
          </a:p>
        </p:txBody>
      </p:sp>
      <p:sp>
        <p:nvSpPr>
          <p:cNvPr id="112" name="Rectangular Callout 111"/>
          <p:cNvSpPr/>
          <p:nvPr/>
        </p:nvSpPr>
        <p:spPr bwMode="auto">
          <a:xfrm>
            <a:off x="8588588" y="4472473"/>
            <a:ext cx="3061545" cy="804051"/>
          </a:xfrm>
          <a:prstGeom prst="wedgeRectCallout">
            <a:avLst>
              <a:gd name="adj1" fmla="val -50340"/>
              <a:gd name="adj2" fmla="val -129579"/>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58585A"/>
                </a:solidFill>
                <a:effectLst/>
                <a:uLnTx/>
                <a:uFillTx/>
                <a:latin typeface="Ericsson Hilda"/>
                <a:ea typeface="+mn-ea"/>
                <a:cs typeface="+mn-cs"/>
              </a:rPr>
              <a:t>MME may evaluate the DCN selection towards UE Usage Type and possibly perform a NAS reroute</a:t>
            </a:r>
          </a:p>
        </p:txBody>
      </p:sp>
      <p:sp>
        <p:nvSpPr>
          <p:cNvPr id="111" name="Rectangular Callout 110"/>
          <p:cNvSpPr/>
          <p:nvPr/>
        </p:nvSpPr>
        <p:spPr bwMode="auto">
          <a:xfrm>
            <a:off x="515454" y="4726844"/>
            <a:ext cx="2742873" cy="705657"/>
          </a:xfrm>
          <a:prstGeom prst="wedgeRectCallout">
            <a:avLst>
              <a:gd name="adj1" fmla="val 84851"/>
              <a:gd name="adj2" fmla="val -25276"/>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58585A"/>
                </a:solidFill>
                <a:effectLst/>
                <a:uLnTx/>
                <a:uFillTx/>
                <a:latin typeface="Ericsson Hilda"/>
                <a:ea typeface="+mn-ea"/>
                <a:cs typeface="+mn-cs"/>
              </a:rPr>
              <a:t>NNSF selects a DCN based on CN Selection assistance parameter (DCN-ID)</a:t>
            </a:r>
            <a:endParaRPr kumimoji="0" lang="en-US" sz="1400" b="0" i="0" u="none" strike="sngStrike" kern="1200" cap="none" spc="0" normalizeH="0" baseline="0" noProof="0">
              <a:ln>
                <a:noFill/>
              </a:ln>
              <a:solidFill>
                <a:srgbClr val="58585A"/>
              </a:solidFill>
              <a:effectLst/>
              <a:uLnTx/>
              <a:uFillTx/>
              <a:latin typeface="Ericsson Hilda"/>
              <a:ea typeface="+mn-ea"/>
              <a:cs typeface="+mn-cs"/>
            </a:endParaRPr>
          </a:p>
        </p:txBody>
      </p:sp>
      <p:sp>
        <p:nvSpPr>
          <p:cNvPr id="89" name="Parallelogram 88"/>
          <p:cNvSpPr/>
          <p:nvPr/>
        </p:nvSpPr>
        <p:spPr bwMode="auto">
          <a:xfrm>
            <a:off x="4952362" y="5630241"/>
            <a:ext cx="1983532" cy="857943"/>
          </a:xfrm>
          <a:prstGeom prst="parallelogram">
            <a:avLst/>
          </a:prstGeom>
          <a:solidFill>
            <a:srgbClr val="F08A0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18000" tIns="18000" rIns="18000" bIns="1800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br>
              <a:rPr kumimoji="0" lang="en-US" sz="1200" b="1" i="0" u="none" strike="noStrike" kern="1200" cap="none" spc="0" normalizeH="0" baseline="0" noProof="0">
                <a:ln>
                  <a:noFill/>
                </a:ln>
                <a:solidFill>
                  <a:srgbClr val="FFFFFF"/>
                </a:solidFill>
                <a:effectLst/>
                <a:uLnTx/>
                <a:uFillTx/>
                <a:latin typeface="Ericsson Hilda"/>
                <a:ea typeface="+mn-ea"/>
                <a:cs typeface="+mn-cs"/>
              </a:rPr>
            </a:br>
            <a:r>
              <a:rPr kumimoji="0" lang="en-US" sz="1200" b="1" i="0" u="none" strike="noStrike" kern="1200" cap="none" spc="0" normalizeH="0" baseline="0" noProof="0">
                <a:ln>
                  <a:noFill/>
                </a:ln>
                <a:solidFill>
                  <a:srgbClr val="FFFFFF"/>
                </a:solidFill>
                <a:effectLst/>
                <a:uLnTx/>
                <a:uFillTx/>
                <a:latin typeface="Ericsson Hilda"/>
                <a:ea typeface="+mn-ea"/>
                <a:cs typeface="+mn-cs"/>
              </a:rPr>
              <a:t>CN Selection</a:t>
            </a:r>
            <a:br>
              <a:rPr kumimoji="0" lang="en-US" sz="1200" b="1" i="0" u="none" strike="noStrike" kern="1200" cap="none" spc="0" normalizeH="0" baseline="0" noProof="0">
                <a:ln>
                  <a:noFill/>
                </a:ln>
                <a:solidFill>
                  <a:srgbClr val="FFFFFF"/>
                </a:solidFill>
                <a:effectLst/>
                <a:uLnTx/>
                <a:uFillTx/>
                <a:latin typeface="Ericsson Hilda"/>
                <a:ea typeface="+mn-ea"/>
                <a:cs typeface="+mn-cs"/>
              </a:rPr>
            </a:br>
            <a:r>
              <a:rPr kumimoji="0" lang="en-US" sz="1200" b="1" i="0" u="none" strike="noStrike" kern="1200" cap="none" spc="0" normalizeH="0" baseline="0" noProof="0">
                <a:ln>
                  <a:noFill/>
                </a:ln>
                <a:solidFill>
                  <a:srgbClr val="FFFFFF"/>
                </a:solidFill>
                <a:effectLst/>
                <a:uLnTx/>
                <a:uFillTx/>
                <a:latin typeface="Ericsson Hilda"/>
                <a:ea typeface="+mn-ea"/>
                <a:cs typeface="+mn-cs"/>
              </a:rPr>
              <a:t>assistance</a:t>
            </a:r>
            <a:br>
              <a:rPr kumimoji="0" lang="en-US" sz="1200" b="1" i="0" u="none" strike="noStrike" kern="1200" cap="none" spc="0" normalizeH="0" baseline="0" noProof="0">
                <a:ln>
                  <a:noFill/>
                </a:ln>
                <a:solidFill>
                  <a:srgbClr val="FFFFFF"/>
                </a:solidFill>
                <a:effectLst/>
                <a:uLnTx/>
                <a:uFillTx/>
                <a:latin typeface="Ericsson Hilda"/>
                <a:ea typeface="+mn-ea"/>
                <a:cs typeface="+mn-cs"/>
              </a:rPr>
            </a:br>
            <a:r>
              <a:rPr kumimoji="0" lang="en-US" sz="1200" b="1" i="0" u="none" strike="noStrike" kern="1200" cap="none" spc="0" normalizeH="0" baseline="0" noProof="0">
                <a:ln>
                  <a:noFill/>
                </a:ln>
                <a:solidFill>
                  <a:srgbClr val="FFFFFF"/>
                </a:solidFill>
                <a:effectLst/>
                <a:uLnTx/>
                <a:uFillTx/>
                <a:latin typeface="Ericsson Hilda"/>
                <a:ea typeface="+mn-ea"/>
                <a:cs typeface="+mn-cs"/>
              </a:rPr>
              <a:t>parameter (DCN-ID)</a:t>
            </a:r>
            <a:br>
              <a:rPr kumimoji="0" lang="en-US" sz="1200" b="1" i="0" u="none" strike="noStrike" kern="1200" cap="none" spc="0" normalizeH="0" baseline="0" noProof="0">
                <a:ln>
                  <a:noFill/>
                </a:ln>
                <a:solidFill>
                  <a:srgbClr val="FFFFFF"/>
                </a:solidFill>
                <a:effectLst/>
                <a:uLnTx/>
                <a:uFillTx/>
                <a:latin typeface="Ericsson Hilda"/>
                <a:ea typeface="+mn-ea"/>
                <a:cs typeface="+mn-cs"/>
              </a:rPr>
            </a:br>
            <a:endParaRPr kumimoji="0" lang="en-US" sz="1200" b="1" i="0" u="none" strike="noStrike" kern="1200" cap="none" spc="0" normalizeH="0" baseline="0" noProof="0">
              <a:ln>
                <a:noFill/>
              </a:ln>
              <a:solidFill>
                <a:srgbClr val="FFFFFF"/>
              </a:solidFill>
              <a:effectLst/>
              <a:uLnTx/>
              <a:uFillTx/>
              <a:latin typeface="Ericsson Hilda"/>
              <a:ea typeface="+mn-ea"/>
              <a:cs typeface="+mn-cs"/>
            </a:endParaRPr>
          </a:p>
        </p:txBody>
      </p:sp>
      <p:sp>
        <p:nvSpPr>
          <p:cNvPr id="61" name="TextBox 72"/>
          <p:cNvSpPr txBox="1">
            <a:spLocks noChangeArrowheads="1"/>
          </p:cNvSpPr>
          <p:nvPr/>
        </p:nvSpPr>
        <p:spPr bwMode="auto">
          <a:xfrm>
            <a:off x="215414" y="5931714"/>
            <a:ext cx="27286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n-ea"/>
                <a:cs typeface="+mn-cs"/>
              </a:rPr>
              <a:t>DCN = Dedicated Core Network</a:t>
            </a:r>
          </a:p>
        </p:txBody>
      </p:sp>
      <p:sp>
        <p:nvSpPr>
          <p:cNvPr id="62" name="Rectangular Callout 62"/>
          <p:cNvSpPr/>
          <p:nvPr/>
        </p:nvSpPr>
        <p:spPr bwMode="auto">
          <a:xfrm>
            <a:off x="7329657" y="5917306"/>
            <a:ext cx="2444185" cy="551262"/>
          </a:xfrm>
          <a:prstGeom prst="wedgeRectCallout">
            <a:avLst>
              <a:gd name="adj1" fmla="val -73884"/>
              <a:gd name="adj2" fmla="val 384"/>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a:ln>
                  <a:noFill/>
                </a:ln>
                <a:solidFill>
                  <a:srgbClr val="58585A"/>
                </a:solidFill>
                <a:effectLst/>
                <a:uLnTx/>
                <a:uFillTx/>
                <a:latin typeface="Ericsson Hilda"/>
                <a:ea typeface="+mn-ea"/>
                <a:cs typeface="+mn-cs"/>
              </a:rPr>
              <a:t>Pre-configured (</a:t>
            </a:r>
            <a:r>
              <a:rPr kumimoji="0" lang="en-US" sz="1400" b="0" i="0" u="none" strike="noStrike" kern="1200" cap="none" spc="0" normalizeH="0" baseline="0" noProof="0" err="1">
                <a:ln>
                  <a:noFill/>
                </a:ln>
                <a:solidFill>
                  <a:srgbClr val="58585A"/>
                </a:solidFill>
                <a:effectLst/>
                <a:uLnTx/>
                <a:uFillTx/>
                <a:latin typeface="Ericsson Hilda"/>
                <a:ea typeface="+mn-ea"/>
                <a:cs typeface="+mn-cs"/>
              </a:rPr>
              <a:t>std</a:t>
            </a:r>
            <a:r>
              <a:rPr kumimoji="0" lang="en-US" sz="1400" b="0" i="0" u="none" strike="noStrike" kern="1200" cap="none" spc="0" normalizeH="0" baseline="0" noProof="0">
                <a:ln>
                  <a:noFill/>
                </a:ln>
                <a:solidFill>
                  <a:srgbClr val="58585A"/>
                </a:solidFill>
                <a:effectLst/>
                <a:uLnTx/>
                <a:uFillTx/>
                <a:latin typeface="Ericsson Hilda"/>
                <a:ea typeface="+mn-ea"/>
                <a:cs typeface="+mn-cs"/>
              </a:rPr>
              <a:t> value) or received at Attach/TAU</a:t>
            </a:r>
          </a:p>
        </p:txBody>
      </p:sp>
      <p:sp>
        <p:nvSpPr>
          <p:cNvPr id="71" name="Oval 33"/>
          <p:cNvSpPr>
            <a:spLocks noChangeArrowheads="1"/>
          </p:cNvSpPr>
          <p:nvPr/>
        </p:nvSpPr>
        <p:spPr bwMode="auto">
          <a:xfrm>
            <a:off x="3065847" y="337206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72" name="Oval 33"/>
          <p:cNvSpPr>
            <a:spLocks noChangeArrowheads="1"/>
          </p:cNvSpPr>
          <p:nvPr/>
        </p:nvSpPr>
        <p:spPr bwMode="auto">
          <a:xfrm>
            <a:off x="6935894" y="335225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73" name="Oval 33"/>
          <p:cNvSpPr>
            <a:spLocks noChangeArrowheads="1"/>
          </p:cNvSpPr>
          <p:nvPr/>
        </p:nvSpPr>
        <p:spPr bwMode="auto">
          <a:xfrm>
            <a:off x="4870951" y="616788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2</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5" name="Straight Arrow Connector 4"/>
          <p:cNvCxnSpPr/>
          <p:nvPr/>
        </p:nvCxnSpPr>
        <p:spPr bwMode="auto">
          <a:xfrm flipV="1">
            <a:off x="4112770" y="5432501"/>
            <a:ext cx="0" cy="747581"/>
          </a:xfrm>
          <a:prstGeom prst="straightConnector1">
            <a:avLst/>
          </a:prstGeom>
          <a:noFill/>
          <a:ln w="38100" cap="flat" cmpd="sng" algn="ctr">
            <a:solidFill>
              <a:schemeClr val="tx1"/>
            </a:solidFill>
            <a:prstDash val="solid"/>
            <a:round/>
            <a:headEnd type="none" w="med" len="med"/>
            <a:tailEnd type="arrow" w="med" len="med"/>
          </a:ln>
          <a:effectLst/>
        </p:spPr>
      </p:cxnSp>
      <p:sp>
        <p:nvSpPr>
          <p:cNvPr id="74" name="Oval 33"/>
          <p:cNvSpPr>
            <a:spLocks noChangeArrowheads="1"/>
          </p:cNvSpPr>
          <p:nvPr/>
        </p:nvSpPr>
        <p:spPr bwMode="auto">
          <a:xfrm>
            <a:off x="3512120" y="5414512"/>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3</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75" name="Oval 33"/>
          <p:cNvSpPr>
            <a:spLocks noChangeArrowheads="1"/>
          </p:cNvSpPr>
          <p:nvPr/>
        </p:nvSpPr>
        <p:spPr bwMode="auto">
          <a:xfrm>
            <a:off x="7738607" y="375868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4</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76" name="Oval 33"/>
          <p:cNvSpPr>
            <a:spLocks noChangeArrowheads="1"/>
          </p:cNvSpPr>
          <p:nvPr/>
        </p:nvSpPr>
        <p:spPr bwMode="auto">
          <a:xfrm>
            <a:off x="6473926" y="2085661"/>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5</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100" name="Oval 33"/>
          <p:cNvSpPr>
            <a:spLocks noChangeArrowheads="1"/>
          </p:cNvSpPr>
          <p:nvPr/>
        </p:nvSpPr>
        <p:spPr bwMode="auto">
          <a:xfrm>
            <a:off x="8677586" y="357591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6</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101" name="Oval 33"/>
          <p:cNvSpPr>
            <a:spLocks noChangeArrowheads="1"/>
          </p:cNvSpPr>
          <p:nvPr/>
        </p:nvSpPr>
        <p:spPr bwMode="auto">
          <a:xfrm>
            <a:off x="9220511" y="417878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6</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102" name="TextBox 72"/>
          <p:cNvSpPr txBox="1">
            <a:spLocks noChangeArrowheads="1"/>
          </p:cNvSpPr>
          <p:nvPr/>
        </p:nvSpPr>
        <p:spPr bwMode="auto">
          <a:xfrm>
            <a:off x="215414" y="6163961"/>
            <a:ext cx="35349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n-ea"/>
                <a:cs typeface="+mn-cs"/>
              </a:rPr>
              <a:t>NNSF = Network Node Selection Function</a:t>
            </a:r>
          </a:p>
        </p:txBody>
      </p:sp>
      <p:sp>
        <p:nvSpPr>
          <p:cNvPr id="105" name="テキスト ボックス 17"/>
          <p:cNvSpPr txBox="1">
            <a:spLocks noChangeArrowheads="1"/>
          </p:cNvSpPr>
          <p:nvPr/>
        </p:nvSpPr>
        <p:spPr bwMode="auto">
          <a:xfrm>
            <a:off x="9959542" y="3571029"/>
            <a:ext cx="202651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S1-Setup (MME-eNB): </a:t>
            </a:r>
            <a:b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br>
            <a:r>
              <a:rPr kumimoji="1" lang="en-US" altLang="ja-JP"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rPr>
              <a:t>DCN-ID=3</a:t>
            </a:r>
            <a:endParaRPr kumimoji="1" lang="ja-JP" altLang="en-US" sz="1400" b="0" i="0" u="none" strike="noStrike" kern="1200" cap="none" spc="0" normalizeH="0" baseline="0" noProof="0">
              <a:ln>
                <a:noFill/>
              </a:ln>
              <a:solidFill>
                <a:srgbClr val="58585A"/>
              </a:solidFill>
              <a:effectLst/>
              <a:uLnTx/>
              <a:uFillTx/>
              <a:latin typeface="Ericsson Hilda"/>
              <a:ea typeface="ＭＳ Ｐゴシック" pitchFamily="34" charset="-128"/>
              <a:cs typeface="+mn-cs"/>
            </a:endParaRPr>
          </a:p>
        </p:txBody>
      </p:sp>
      <p:sp>
        <p:nvSpPr>
          <p:cNvPr id="106" name="Oval 33"/>
          <p:cNvSpPr>
            <a:spLocks noChangeArrowheads="1"/>
          </p:cNvSpPr>
          <p:nvPr/>
        </p:nvSpPr>
        <p:spPr bwMode="auto">
          <a:xfrm>
            <a:off x="10712822" y="4094249"/>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Tree>
    <p:extLst>
      <p:ext uri="{BB962C8B-B14F-4D97-AF65-F5344CB8AC3E}">
        <p14:creationId xmlns:p14="http://schemas.microsoft.com/office/powerpoint/2010/main" val="3739847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5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1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8" grpId="0" animBg="1"/>
      <p:bldP spid="97" grpId="0"/>
      <p:bldP spid="99" grpId="0"/>
      <p:bldP spid="57" grpId="0" animBg="1"/>
      <p:bldP spid="63" grpId="0" animBg="1"/>
      <p:bldP spid="77" grpId="0" animBg="1"/>
      <p:bldP spid="51" grpId="0" animBg="1"/>
      <p:bldP spid="112" grpId="0" animBg="1"/>
      <p:bldP spid="111" grpId="0" animBg="1"/>
      <p:bldP spid="89" grpId="0" animBg="1"/>
      <p:bldP spid="61" grpId="0"/>
      <p:bldP spid="62" grpId="0" animBg="1"/>
      <p:bldP spid="71" grpId="0" animBg="1"/>
      <p:bldP spid="72" grpId="0" animBg="1"/>
      <p:bldP spid="73" grpId="0" animBg="1"/>
      <p:bldP spid="74" grpId="0" animBg="1"/>
      <p:bldP spid="75" grpId="0" animBg="1"/>
      <p:bldP spid="76" grpId="0" animBg="1"/>
      <p:bldP spid="100" grpId="0" animBg="1"/>
      <p:bldP spid="101" grpId="0" animBg="1"/>
      <p:bldP spid="102" grpId="0"/>
      <p:bldP spid="105" grpId="0"/>
      <p:bldP spid="106"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A66E8D5-842D-4467-9CD8-B692DBF17699}"/>
              </a:ext>
            </a:extLst>
          </p:cNvPr>
          <p:cNvSpPr>
            <a:spLocks noGrp="1"/>
          </p:cNvSpPr>
          <p:nvPr>
            <p:ph type="subTitle" idx="1"/>
          </p:nvPr>
        </p:nvSpPr>
        <p:spPr/>
        <p:txBody>
          <a:bodyPr/>
          <a:lstStyle/>
          <a:p>
            <a:r>
              <a:rPr lang="en-US"/>
              <a:t>www.ericsson.com/digital-services</a:t>
            </a:r>
          </a:p>
        </p:txBody>
      </p:sp>
    </p:spTree>
    <p:extLst>
      <p:ext uri="{BB962C8B-B14F-4D97-AF65-F5344CB8AC3E}">
        <p14:creationId xmlns:p14="http://schemas.microsoft.com/office/powerpoint/2010/main" val="222381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844BC7CD-D490-4AB6-8C24-2E3FD62B00E1}"/>
              </a:ext>
            </a:extLst>
          </p:cNvPr>
          <p:cNvSpPr/>
          <p:nvPr/>
        </p:nvSpPr>
        <p:spPr bwMode="auto">
          <a:xfrm>
            <a:off x="378262" y="1881071"/>
            <a:ext cx="2489241" cy="3516284"/>
          </a:xfrm>
          <a:prstGeom prst="rect">
            <a:avLst/>
          </a:prstGeom>
          <a:solidFill>
            <a:schemeClr val="bg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2000" b="0" i="0" u="none" strike="noStrike" cap="none" normalizeH="0" baseline="0">
                <a:ln>
                  <a:noFill/>
                </a:ln>
                <a:effectLst/>
                <a:latin typeface="+mn-lt"/>
              </a:rPr>
              <a:t>EPC</a:t>
            </a:r>
          </a:p>
        </p:txBody>
      </p:sp>
      <p:sp>
        <p:nvSpPr>
          <p:cNvPr id="2" name="Title 1">
            <a:extLst>
              <a:ext uri="{FF2B5EF4-FFF2-40B4-BE49-F238E27FC236}">
                <a16:creationId xmlns:a16="http://schemas.microsoft.com/office/drawing/2014/main" id="{2E0247E9-2EAA-4C1B-B5F1-46648B6B9192}"/>
              </a:ext>
            </a:extLst>
          </p:cNvPr>
          <p:cNvSpPr>
            <a:spLocks noGrp="1"/>
          </p:cNvSpPr>
          <p:nvPr>
            <p:ph type="title"/>
          </p:nvPr>
        </p:nvSpPr>
        <p:spPr>
          <a:xfrm>
            <a:off x="479424" y="476250"/>
            <a:ext cx="8353425" cy="1081088"/>
          </a:xfrm>
        </p:spPr>
        <p:txBody>
          <a:bodyPr/>
          <a:lstStyle/>
          <a:p>
            <a:r>
              <a:rPr lang="en-US">
                <a:solidFill>
                  <a:srgbClr val="58585A"/>
                </a:solidFill>
              </a:rPr>
              <a:t>5G CORE architecture overview</a:t>
            </a:r>
            <a:br>
              <a:rPr lang="en-US">
                <a:solidFill>
                  <a:srgbClr val="58585A"/>
                </a:solidFill>
              </a:rPr>
            </a:br>
            <a:r>
              <a:rPr lang="en-US" sz="2400" kern="1200" spc="0">
                <a:solidFill>
                  <a:srgbClr val="181818"/>
                </a:solidFill>
                <a:latin typeface="Ericsson Hilda Light" panose="00000400000000000000" pitchFamily="2" charset="0"/>
                <a:ea typeface="Segoe UI" panose="020B0502040204020203" pitchFamily="34" charset="0"/>
                <a:cs typeface="Segoe UI" panose="020B0502040204020203" pitchFamily="34" charset="0"/>
              </a:rPr>
              <a:t>Mapping the EPC functions to new 5G CN functions</a:t>
            </a:r>
            <a:endParaRPr lang="sv-SE" sz="3600">
              <a:latin typeface="Ericsson Hilda Light" panose="00000400000000000000" pitchFamily="2" charset="0"/>
            </a:endParaRPr>
          </a:p>
        </p:txBody>
      </p:sp>
      <p:grpSp>
        <p:nvGrpSpPr>
          <p:cNvPr id="66" name="Group 65">
            <a:extLst>
              <a:ext uri="{FF2B5EF4-FFF2-40B4-BE49-F238E27FC236}">
                <a16:creationId xmlns:a16="http://schemas.microsoft.com/office/drawing/2014/main" id="{98C8C7DB-93E3-4A7E-B086-E1B5EE518B5C}"/>
              </a:ext>
            </a:extLst>
          </p:cNvPr>
          <p:cNvGrpSpPr/>
          <p:nvPr/>
        </p:nvGrpSpPr>
        <p:grpSpPr>
          <a:xfrm>
            <a:off x="578121" y="2603716"/>
            <a:ext cx="2265728" cy="2327222"/>
            <a:chOff x="286020" y="1811612"/>
            <a:chExt cx="2265728" cy="2327222"/>
          </a:xfrm>
        </p:grpSpPr>
        <p:cxnSp>
          <p:nvCxnSpPr>
            <p:cNvPr id="64" name="Connector: Elbow 63">
              <a:extLst>
                <a:ext uri="{FF2B5EF4-FFF2-40B4-BE49-F238E27FC236}">
                  <a16:creationId xmlns:a16="http://schemas.microsoft.com/office/drawing/2014/main" id="{3C68C03C-D3AA-4D30-8865-2C833A971F66}"/>
                </a:ext>
              </a:extLst>
            </p:cNvPr>
            <p:cNvCxnSpPr>
              <a:cxnSpLocks/>
            </p:cNvCxnSpPr>
            <p:nvPr/>
          </p:nvCxnSpPr>
          <p:spPr bwMode="auto">
            <a:xfrm flipV="1">
              <a:off x="286020" y="3759474"/>
              <a:ext cx="2265728" cy="379360"/>
            </a:xfrm>
            <a:prstGeom prst="bentConnector3">
              <a:avLst>
                <a:gd name="adj1" fmla="val 47065"/>
              </a:avLst>
            </a:prstGeom>
            <a:solidFill>
              <a:schemeClr val="accent1"/>
            </a:solidFill>
            <a:ln w="28575" cap="flat" cmpd="sng" algn="ctr">
              <a:solidFill>
                <a:schemeClr val="tx1"/>
              </a:solidFill>
              <a:prstDash val="solid"/>
              <a:round/>
              <a:headEnd type="none" w="med" len="med"/>
              <a:tailEnd type="none"/>
            </a:ln>
            <a:effectLst/>
          </p:spPr>
        </p:cxnSp>
        <p:sp>
          <p:nvSpPr>
            <p:cNvPr id="3" name="Rectangle: Rounded Corners 2">
              <a:extLst>
                <a:ext uri="{FF2B5EF4-FFF2-40B4-BE49-F238E27FC236}">
                  <a16:creationId xmlns:a16="http://schemas.microsoft.com/office/drawing/2014/main" id="{0E7F3009-4B8C-4965-A9AD-54925140B4D3}"/>
                </a:ext>
              </a:extLst>
            </p:cNvPr>
            <p:cNvSpPr/>
            <p:nvPr/>
          </p:nvSpPr>
          <p:spPr bwMode="auto">
            <a:xfrm>
              <a:off x="534669" y="2627487"/>
              <a:ext cx="718511"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4" name="Rectangle: Rounded Corners 3">
              <a:extLst>
                <a:ext uri="{FF2B5EF4-FFF2-40B4-BE49-F238E27FC236}">
                  <a16:creationId xmlns:a16="http://schemas.microsoft.com/office/drawing/2014/main" id="{5FB0F330-73FA-4F78-939E-F7D562674C46}"/>
                </a:ext>
              </a:extLst>
            </p:cNvPr>
            <p:cNvSpPr/>
            <p:nvPr/>
          </p:nvSpPr>
          <p:spPr bwMode="auto">
            <a:xfrm>
              <a:off x="534670" y="3446060"/>
              <a:ext cx="718511"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5" name="Rectangle: Rounded Corners 4">
              <a:extLst>
                <a:ext uri="{FF2B5EF4-FFF2-40B4-BE49-F238E27FC236}">
                  <a16:creationId xmlns:a16="http://schemas.microsoft.com/office/drawing/2014/main" id="{171B4925-5CEE-4666-A65D-62BE0F28E88A}"/>
                </a:ext>
              </a:extLst>
            </p:cNvPr>
            <p:cNvSpPr/>
            <p:nvPr/>
          </p:nvSpPr>
          <p:spPr bwMode="auto">
            <a:xfrm>
              <a:off x="1464119" y="3446061"/>
              <a:ext cx="995568"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7" name="Rectangle: Rounded Corners 6">
              <a:extLst>
                <a:ext uri="{FF2B5EF4-FFF2-40B4-BE49-F238E27FC236}">
                  <a16:creationId xmlns:a16="http://schemas.microsoft.com/office/drawing/2014/main" id="{3393BBFF-E7BE-4581-B0F7-25A787CCCE8A}"/>
                </a:ext>
              </a:extLst>
            </p:cNvPr>
            <p:cNvSpPr/>
            <p:nvPr/>
          </p:nvSpPr>
          <p:spPr bwMode="auto">
            <a:xfrm>
              <a:off x="1555987" y="3546974"/>
              <a:ext cx="334164" cy="194714"/>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GW</a:t>
              </a:r>
            </a:p>
          </p:txBody>
        </p:sp>
        <p:sp>
          <p:nvSpPr>
            <p:cNvPr id="8" name="Rectangle: Rounded Corners 7">
              <a:extLst>
                <a:ext uri="{FF2B5EF4-FFF2-40B4-BE49-F238E27FC236}">
                  <a16:creationId xmlns:a16="http://schemas.microsoft.com/office/drawing/2014/main" id="{B524C0D0-7A48-46CB-A3E5-C63DAA980EFB}"/>
                </a:ext>
              </a:extLst>
            </p:cNvPr>
            <p:cNvSpPr/>
            <p:nvPr/>
          </p:nvSpPr>
          <p:spPr bwMode="auto">
            <a:xfrm>
              <a:off x="1660195" y="2627487"/>
              <a:ext cx="718511"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9" name="Rectangle: Rounded Corners 8">
              <a:extLst>
                <a:ext uri="{FF2B5EF4-FFF2-40B4-BE49-F238E27FC236}">
                  <a16:creationId xmlns:a16="http://schemas.microsoft.com/office/drawing/2014/main" id="{5B3E1E48-4EEA-4DC6-95BE-2B833A011295}"/>
                </a:ext>
              </a:extLst>
            </p:cNvPr>
            <p:cNvSpPr/>
            <p:nvPr/>
          </p:nvSpPr>
          <p:spPr bwMode="auto">
            <a:xfrm>
              <a:off x="534669" y="1811612"/>
              <a:ext cx="717045"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10" name="Rectangle: Rounded Corners 9">
              <a:extLst>
                <a:ext uri="{FF2B5EF4-FFF2-40B4-BE49-F238E27FC236}">
                  <a16:creationId xmlns:a16="http://schemas.microsoft.com/office/drawing/2014/main" id="{D4F061A8-A830-4698-8140-D23A075F1F31}"/>
                </a:ext>
              </a:extLst>
            </p:cNvPr>
            <p:cNvSpPr/>
            <p:nvPr/>
          </p:nvSpPr>
          <p:spPr bwMode="auto">
            <a:xfrm>
              <a:off x="680353" y="3552049"/>
              <a:ext cx="434860" cy="189904"/>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MME</a:t>
              </a:r>
            </a:p>
          </p:txBody>
        </p:sp>
        <p:sp>
          <p:nvSpPr>
            <p:cNvPr id="11" name="Rectangle: Rounded Corners 10">
              <a:extLst>
                <a:ext uri="{FF2B5EF4-FFF2-40B4-BE49-F238E27FC236}">
                  <a16:creationId xmlns:a16="http://schemas.microsoft.com/office/drawing/2014/main" id="{B22CEC7C-4141-4E13-96B7-0BE39E5F7F8B}"/>
                </a:ext>
              </a:extLst>
            </p:cNvPr>
            <p:cNvSpPr/>
            <p:nvPr/>
          </p:nvSpPr>
          <p:spPr bwMode="auto">
            <a:xfrm>
              <a:off x="680353" y="2738750"/>
              <a:ext cx="434860" cy="184631"/>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HSS</a:t>
              </a:r>
            </a:p>
          </p:txBody>
        </p:sp>
        <p:sp>
          <p:nvSpPr>
            <p:cNvPr id="12" name="Rectangle: Rounded Corners 11">
              <a:extLst>
                <a:ext uri="{FF2B5EF4-FFF2-40B4-BE49-F238E27FC236}">
                  <a16:creationId xmlns:a16="http://schemas.microsoft.com/office/drawing/2014/main" id="{DB4F7F68-46B1-4705-BCD8-DCB0B51D046C}"/>
                </a:ext>
              </a:extLst>
            </p:cNvPr>
            <p:cNvSpPr/>
            <p:nvPr/>
          </p:nvSpPr>
          <p:spPr bwMode="auto">
            <a:xfrm>
              <a:off x="1805880" y="2736158"/>
              <a:ext cx="434860" cy="178055"/>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CRF</a:t>
              </a:r>
            </a:p>
          </p:txBody>
        </p:sp>
        <p:cxnSp>
          <p:nvCxnSpPr>
            <p:cNvPr id="13" name="Straight Connector 12">
              <a:extLst>
                <a:ext uri="{FF2B5EF4-FFF2-40B4-BE49-F238E27FC236}">
                  <a16:creationId xmlns:a16="http://schemas.microsoft.com/office/drawing/2014/main" id="{10B7B01C-2C32-478D-A80A-F8A2DE50D3C0}"/>
                </a:ext>
              </a:extLst>
            </p:cNvPr>
            <p:cNvCxnSpPr>
              <a:cxnSpLocks/>
              <a:stCxn id="3" idx="2"/>
              <a:endCxn id="4" idx="0"/>
            </p:cNvCxnSpPr>
            <p:nvPr/>
          </p:nvCxnSpPr>
          <p:spPr bwMode="auto">
            <a:xfrm>
              <a:off x="893925" y="3118755"/>
              <a:ext cx="1" cy="327305"/>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14" name="Straight Connector 13">
              <a:extLst>
                <a:ext uri="{FF2B5EF4-FFF2-40B4-BE49-F238E27FC236}">
                  <a16:creationId xmlns:a16="http://schemas.microsoft.com/office/drawing/2014/main" id="{18387FD2-4248-4131-ABA8-FAC33C65DD34}"/>
                </a:ext>
              </a:extLst>
            </p:cNvPr>
            <p:cNvCxnSpPr>
              <a:cxnSpLocks/>
              <a:stCxn id="8" idx="2"/>
            </p:cNvCxnSpPr>
            <p:nvPr/>
          </p:nvCxnSpPr>
          <p:spPr bwMode="auto">
            <a:xfrm flipH="1">
              <a:off x="2019450" y="3118755"/>
              <a:ext cx="1" cy="324607"/>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17" name="Straight Connector 16">
              <a:extLst>
                <a:ext uri="{FF2B5EF4-FFF2-40B4-BE49-F238E27FC236}">
                  <a16:creationId xmlns:a16="http://schemas.microsoft.com/office/drawing/2014/main" id="{B17A57C4-616C-45DB-B4E9-47ACE4022845}"/>
                </a:ext>
              </a:extLst>
            </p:cNvPr>
            <p:cNvCxnSpPr>
              <a:cxnSpLocks/>
              <a:endCxn id="4" idx="1"/>
            </p:cNvCxnSpPr>
            <p:nvPr/>
          </p:nvCxnSpPr>
          <p:spPr bwMode="auto">
            <a:xfrm>
              <a:off x="286020" y="3691694"/>
              <a:ext cx="248650"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18" name="Rectangle: Rounded Corners 17">
              <a:extLst>
                <a:ext uri="{FF2B5EF4-FFF2-40B4-BE49-F238E27FC236}">
                  <a16:creationId xmlns:a16="http://schemas.microsoft.com/office/drawing/2014/main" id="{326FA445-6D64-44C8-91C3-8B5B83966EDB}"/>
                </a:ext>
              </a:extLst>
            </p:cNvPr>
            <p:cNvSpPr/>
            <p:nvPr/>
          </p:nvSpPr>
          <p:spPr bwMode="auto">
            <a:xfrm>
              <a:off x="687514" y="1859341"/>
              <a:ext cx="434860" cy="181816"/>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UDR</a:t>
              </a:r>
            </a:p>
          </p:txBody>
        </p:sp>
        <p:cxnSp>
          <p:nvCxnSpPr>
            <p:cNvPr id="19" name="Connector: Elbow 18">
              <a:extLst>
                <a:ext uri="{FF2B5EF4-FFF2-40B4-BE49-F238E27FC236}">
                  <a16:creationId xmlns:a16="http://schemas.microsoft.com/office/drawing/2014/main" id="{A63B5886-024E-4571-A99A-EF8EBD8AE662}"/>
                </a:ext>
              </a:extLst>
            </p:cNvPr>
            <p:cNvCxnSpPr>
              <a:cxnSpLocks/>
              <a:stCxn id="3" idx="0"/>
              <a:endCxn id="9" idx="2"/>
            </p:cNvCxnSpPr>
            <p:nvPr/>
          </p:nvCxnSpPr>
          <p:spPr bwMode="auto">
            <a:xfrm rot="16200000" flipV="1">
              <a:off x="731256" y="2464817"/>
              <a:ext cx="324607" cy="733"/>
            </a:xfrm>
            <a:prstGeom prst="bentConnector3">
              <a:avLst>
                <a:gd name="adj1" fmla="val 50000"/>
              </a:avLst>
            </a:prstGeom>
            <a:solidFill>
              <a:schemeClr val="accent1"/>
            </a:solidFill>
            <a:ln w="3175" cap="flat" cmpd="sng" algn="ctr">
              <a:solidFill>
                <a:schemeClr val="tx1"/>
              </a:solidFill>
              <a:prstDash val="solid"/>
              <a:round/>
              <a:headEnd type="none" w="med" len="med"/>
              <a:tailEnd type="none"/>
            </a:ln>
            <a:effectLst/>
          </p:spPr>
        </p:cxnSp>
        <p:cxnSp>
          <p:nvCxnSpPr>
            <p:cNvPr id="20" name="Connector: Elbow 19">
              <a:extLst>
                <a:ext uri="{FF2B5EF4-FFF2-40B4-BE49-F238E27FC236}">
                  <a16:creationId xmlns:a16="http://schemas.microsoft.com/office/drawing/2014/main" id="{DBECB384-3F53-447F-8E68-418E7101720B}"/>
                </a:ext>
              </a:extLst>
            </p:cNvPr>
            <p:cNvCxnSpPr>
              <a:cxnSpLocks/>
              <a:stCxn id="9" idx="3"/>
              <a:endCxn id="8" idx="0"/>
            </p:cNvCxnSpPr>
            <p:nvPr/>
          </p:nvCxnSpPr>
          <p:spPr bwMode="auto">
            <a:xfrm>
              <a:off x="1251714" y="2057246"/>
              <a:ext cx="767737" cy="570241"/>
            </a:xfrm>
            <a:prstGeom prst="bentConnector2">
              <a:avLst/>
            </a:prstGeom>
            <a:solidFill>
              <a:schemeClr val="accent1"/>
            </a:solidFill>
            <a:ln w="3175" cap="flat" cmpd="sng" algn="ctr">
              <a:solidFill>
                <a:schemeClr val="tx1"/>
              </a:solidFill>
              <a:prstDash val="solid"/>
              <a:round/>
              <a:headEnd type="none" w="med" len="med"/>
              <a:tailEnd type="none"/>
            </a:ln>
            <a:effectLst/>
          </p:spPr>
        </p:cxnSp>
        <p:sp>
          <p:nvSpPr>
            <p:cNvPr id="21" name="TextBox 20">
              <a:extLst>
                <a:ext uri="{FF2B5EF4-FFF2-40B4-BE49-F238E27FC236}">
                  <a16:creationId xmlns:a16="http://schemas.microsoft.com/office/drawing/2014/main" id="{94EE054B-BA41-4B25-8BC0-AFD3E46852DB}"/>
                </a:ext>
              </a:extLst>
            </p:cNvPr>
            <p:cNvSpPr txBox="1"/>
            <p:nvPr/>
          </p:nvSpPr>
          <p:spPr bwMode="auto">
            <a:xfrm>
              <a:off x="379614" y="2268085"/>
              <a:ext cx="402922"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CUDB</a:t>
              </a:r>
            </a:p>
          </p:txBody>
        </p:sp>
        <p:sp>
          <p:nvSpPr>
            <p:cNvPr id="22" name="TextBox 21">
              <a:extLst>
                <a:ext uri="{FF2B5EF4-FFF2-40B4-BE49-F238E27FC236}">
                  <a16:creationId xmlns:a16="http://schemas.microsoft.com/office/drawing/2014/main" id="{53954F70-467B-4587-861F-B3A6C7F45F53}"/>
                </a:ext>
              </a:extLst>
            </p:cNvPr>
            <p:cNvSpPr txBox="1"/>
            <p:nvPr/>
          </p:nvSpPr>
          <p:spPr bwMode="auto">
            <a:xfrm>
              <a:off x="315496" y="3094958"/>
              <a:ext cx="499102"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HSS-FE</a:t>
              </a:r>
            </a:p>
          </p:txBody>
        </p:sp>
        <p:sp>
          <p:nvSpPr>
            <p:cNvPr id="23" name="TextBox 22">
              <a:extLst>
                <a:ext uri="{FF2B5EF4-FFF2-40B4-BE49-F238E27FC236}">
                  <a16:creationId xmlns:a16="http://schemas.microsoft.com/office/drawing/2014/main" id="{4AD67CFD-A689-437F-B283-43722BFD7CBC}"/>
                </a:ext>
              </a:extLst>
            </p:cNvPr>
            <p:cNvSpPr txBox="1"/>
            <p:nvPr/>
          </p:nvSpPr>
          <p:spPr bwMode="auto">
            <a:xfrm>
              <a:off x="1566837" y="3088125"/>
              <a:ext cx="382083"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SAPC</a:t>
              </a:r>
            </a:p>
          </p:txBody>
        </p:sp>
        <p:sp>
          <p:nvSpPr>
            <p:cNvPr id="24" name="TextBox 23">
              <a:extLst>
                <a:ext uri="{FF2B5EF4-FFF2-40B4-BE49-F238E27FC236}">
                  <a16:creationId xmlns:a16="http://schemas.microsoft.com/office/drawing/2014/main" id="{6CEDC228-1BA4-4341-B061-A751DEBA49B3}"/>
                </a:ext>
              </a:extLst>
            </p:cNvPr>
            <p:cNvSpPr txBox="1"/>
            <p:nvPr/>
          </p:nvSpPr>
          <p:spPr bwMode="auto">
            <a:xfrm>
              <a:off x="1819348" y="3908163"/>
              <a:ext cx="311551"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EPG</a:t>
              </a:r>
            </a:p>
          </p:txBody>
        </p:sp>
        <p:sp>
          <p:nvSpPr>
            <p:cNvPr id="25" name="TextBox 24">
              <a:extLst>
                <a:ext uri="{FF2B5EF4-FFF2-40B4-BE49-F238E27FC236}">
                  <a16:creationId xmlns:a16="http://schemas.microsoft.com/office/drawing/2014/main" id="{A6742AFE-41DC-4A22-BEF0-1C67A7EB1BF0}"/>
                </a:ext>
              </a:extLst>
            </p:cNvPr>
            <p:cNvSpPr txBox="1"/>
            <p:nvPr/>
          </p:nvSpPr>
          <p:spPr bwMode="auto">
            <a:xfrm>
              <a:off x="456610" y="3897681"/>
              <a:ext cx="725126"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SGSN-MME</a:t>
              </a:r>
            </a:p>
          </p:txBody>
        </p:sp>
        <p:cxnSp>
          <p:nvCxnSpPr>
            <p:cNvPr id="26" name="Straight Connector 25">
              <a:extLst>
                <a:ext uri="{FF2B5EF4-FFF2-40B4-BE49-F238E27FC236}">
                  <a16:creationId xmlns:a16="http://schemas.microsoft.com/office/drawing/2014/main" id="{905B2F3B-E44D-4F3F-832D-69DA034E53DD}"/>
                </a:ext>
              </a:extLst>
            </p:cNvPr>
            <p:cNvCxnSpPr>
              <a:cxnSpLocks/>
              <a:stCxn id="4" idx="3"/>
              <a:endCxn id="5" idx="1"/>
            </p:cNvCxnSpPr>
            <p:nvPr/>
          </p:nvCxnSpPr>
          <p:spPr bwMode="auto">
            <a:xfrm>
              <a:off x="1253181" y="3691694"/>
              <a:ext cx="210938" cy="1"/>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27" name="Rectangle: Rounded Corners 26">
              <a:extLst>
                <a:ext uri="{FF2B5EF4-FFF2-40B4-BE49-F238E27FC236}">
                  <a16:creationId xmlns:a16="http://schemas.microsoft.com/office/drawing/2014/main" id="{31841543-8A59-4A11-8C39-A0B5DD58E433}"/>
                </a:ext>
              </a:extLst>
            </p:cNvPr>
            <p:cNvSpPr/>
            <p:nvPr/>
          </p:nvSpPr>
          <p:spPr bwMode="auto">
            <a:xfrm>
              <a:off x="687514" y="2068294"/>
              <a:ext cx="434860" cy="181816"/>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PR</a:t>
              </a:r>
            </a:p>
          </p:txBody>
        </p:sp>
        <p:sp>
          <p:nvSpPr>
            <p:cNvPr id="270" name="Rectangle: Rounded Corners 269">
              <a:extLst>
                <a:ext uri="{FF2B5EF4-FFF2-40B4-BE49-F238E27FC236}">
                  <a16:creationId xmlns:a16="http://schemas.microsoft.com/office/drawing/2014/main" id="{C7821A28-18DC-4BAF-856F-AB83A235D07F}"/>
                </a:ext>
              </a:extLst>
            </p:cNvPr>
            <p:cNvSpPr/>
            <p:nvPr/>
          </p:nvSpPr>
          <p:spPr bwMode="auto">
            <a:xfrm>
              <a:off x="2020633" y="3546974"/>
              <a:ext cx="334164" cy="194714"/>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GW</a:t>
              </a:r>
            </a:p>
          </p:txBody>
        </p:sp>
      </p:grpSp>
      <p:pic>
        <p:nvPicPr>
          <p:cNvPr id="265" name="Content Placeholder 11">
            <a:extLst>
              <a:ext uri="{FF2B5EF4-FFF2-40B4-BE49-F238E27FC236}">
                <a16:creationId xmlns:a16="http://schemas.microsoft.com/office/drawing/2014/main" id="{75C45FF7-B3A6-47D5-8E08-970FBC21F65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9598" y="4601920"/>
            <a:ext cx="241086" cy="467001"/>
          </a:xfrm>
          <a:prstGeom prst="rect">
            <a:avLst/>
          </a:prstGeom>
        </p:spPr>
      </p:pic>
      <p:grpSp>
        <p:nvGrpSpPr>
          <p:cNvPr id="6" name="Group 5">
            <a:extLst>
              <a:ext uri="{FF2B5EF4-FFF2-40B4-BE49-F238E27FC236}">
                <a16:creationId xmlns:a16="http://schemas.microsoft.com/office/drawing/2014/main" id="{6CEDD522-2361-4E3D-AC91-A541D70A87CC}"/>
              </a:ext>
            </a:extLst>
          </p:cNvPr>
          <p:cNvGrpSpPr/>
          <p:nvPr/>
        </p:nvGrpSpPr>
        <p:grpSpPr>
          <a:xfrm>
            <a:off x="2783928" y="1881071"/>
            <a:ext cx="2844431" cy="3516284"/>
            <a:chOff x="2783928" y="1983811"/>
            <a:chExt cx="2844431" cy="3516284"/>
          </a:xfrm>
        </p:grpSpPr>
        <p:sp>
          <p:nvSpPr>
            <p:cNvPr id="68" name="Rectangle 67">
              <a:extLst>
                <a:ext uri="{FF2B5EF4-FFF2-40B4-BE49-F238E27FC236}">
                  <a16:creationId xmlns:a16="http://schemas.microsoft.com/office/drawing/2014/main" id="{D669D26A-17DD-4C54-A8A3-F8DDE203D218}"/>
                </a:ext>
              </a:extLst>
            </p:cNvPr>
            <p:cNvSpPr/>
            <p:nvPr/>
          </p:nvSpPr>
          <p:spPr bwMode="auto">
            <a:xfrm>
              <a:off x="3139118" y="1983811"/>
              <a:ext cx="2489241" cy="3516284"/>
            </a:xfrm>
            <a:prstGeom prst="rect">
              <a:avLst/>
            </a:prstGeom>
            <a:solidFill>
              <a:schemeClr val="bg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2000" b="0" i="0" u="none" strike="noStrike" cap="none" normalizeH="0" baseline="0">
                  <a:ln>
                    <a:noFill/>
                  </a:ln>
                  <a:effectLst/>
                  <a:latin typeface="+mn-lt"/>
                </a:rPr>
                <a:t>EPC with CUPS</a:t>
              </a:r>
            </a:p>
          </p:txBody>
        </p:sp>
        <p:cxnSp>
          <p:nvCxnSpPr>
            <p:cNvPr id="34" name="Straight Connector 33">
              <a:extLst>
                <a:ext uri="{FF2B5EF4-FFF2-40B4-BE49-F238E27FC236}">
                  <a16:creationId xmlns:a16="http://schemas.microsoft.com/office/drawing/2014/main" id="{0146E8E8-9BD7-4D85-8F2B-7D5987AFAEC8}"/>
                </a:ext>
              </a:extLst>
            </p:cNvPr>
            <p:cNvCxnSpPr>
              <a:cxnSpLocks/>
            </p:cNvCxnSpPr>
            <p:nvPr/>
          </p:nvCxnSpPr>
          <p:spPr bwMode="auto">
            <a:xfrm>
              <a:off x="3318824" y="5080216"/>
              <a:ext cx="2237796" cy="0"/>
            </a:xfrm>
            <a:prstGeom prst="line">
              <a:avLst/>
            </a:prstGeom>
            <a:solidFill>
              <a:schemeClr val="accent1"/>
            </a:solidFill>
            <a:ln w="28575" cap="flat" cmpd="sng" algn="ctr">
              <a:solidFill>
                <a:schemeClr val="tx1"/>
              </a:solidFill>
              <a:prstDash val="solid"/>
              <a:round/>
              <a:headEnd type="none" w="med" len="med"/>
              <a:tailEnd type="none"/>
            </a:ln>
            <a:effectLst/>
          </p:spPr>
        </p:cxnSp>
        <p:sp>
          <p:nvSpPr>
            <p:cNvPr id="37" name="Rectangle: Rounded Corners 36">
              <a:extLst>
                <a:ext uri="{FF2B5EF4-FFF2-40B4-BE49-F238E27FC236}">
                  <a16:creationId xmlns:a16="http://schemas.microsoft.com/office/drawing/2014/main" id="{26A70463-D56E-4ACB-A3EA-D3D4B3605A63}"/>
                </a:ext>
              </a:extLst>
            </p:cNvPr>
            <p:cNvSpPr/>
            <p:nvPr/>
          </p:nvSpPr>
          <p:spPr bwMode="auto">
            <a:xfrm>
              <a:off x="4371026" y="4340905"/>
              <a:ext cx="1042538" cy="424206"/>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35" name="Rectangle: Rounded Corners 34">
              <a:extLst>
                <a:ext uri="{FF2B5EF4-FFF2-40B4-BE49-F238E27FC236}">
                  <a16:creationId xmlns:a16="http://schemas.microsoft.com/office/drawing/2014/main" id="{5963F38B-B56D-48D7-907B-CB0890D8C7D3}"/>
                </a:ext>
              </a:extLst>
            </p:cNvPr>
            <p:cNvSpPr/>
            <p:nvPr/>
          </p:nvSpPr>
          <p:spPr bwMode="auto">
            <a:xfrm>
              <a:off x="3569525" y="3522331"/>
              <a:ext cx="718512"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36" name="Rectangle: Rounded Corners 35">
              <a:extLst>
                <a:ext uri="{FF2B5EF4-FFF2-40B4-BE49-F238E27FC236}">
                  <a16:creationId xmlns:a16="http://schemas.microsoft.com/office/drawing/2014/main" id="{97BE6D9C-A09C-4E9C-9B6A-F0860F581B51}"/>
                </a:ext>
              </a:extLst>
            </p:cNvPr>
            <p:cNvSpPr/>
            <p:nvPr/>
          </p:nvSpPr>
          <p:spPr bwMode="auto">
            <a:xfrm>
              <a:off x="3569526" y="4340904"/>
              <a:ext cx="718512"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38" name="Rectangle: Rounded Corners 37">
              <a:extLst>
                <a:ext uri="{FF2B5EF4-FFF2-40B4-BE49-F238E27FC236}">
                  <a16:creationId xmlns:a16="http://schemas.microsoft.com/office/drawing/2014/main" id="{9A83EC23-8E01-48AF-9A97-B274EE88A0FA}"/>
                </a:ext>
              </a:extLst>
            </p:cNvPr>
            <p:cNvSpPr/>
            <p:nvPr/>
          </p:nvSpPr>
          <p:spPr bwMode="auto">
            <a:xfrm>
              <a:off x="4907203" y="4452165"/>
              <a:ext cx="434860" cy="1912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GW-C</a:t>
              </a:r>
            </a:p>
          </p:txBody>
        </p:sp>
        <p:sp>
          <p:nvSpPr>
            <p:cNvPr id="40" name="Rectangle: Rounded Corners 39">
              <a:extLst>
                <a:ext uri="{FF2B5EF4-FFF2-40B4-BE49-F238E27FC236}">
                  <a16:creationId xmlns:a16="http://schemas.microsoft.com/office/drawing/2014/main" id="{A9004A7A-EDEF-4961-9C7B-570C1B634133}"/>
                </a:ext>
              </a:extLst>
            </p:cNvPr>
            <p:cNvSpPr/>
            <p:nvPr/>
          </p:nvSpPr>
          <p:spPr bwMode="auto">
            <a:xfrm>
              <a:off x="4695051" y="3522331"/>
              <a:ext cx="718512"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41" name="Rectangle: Rounded Corners 40">
              <a:extLst>
                <a:ext uri="{FF2B5EF4-FFF2-40B4-BE49-F238E27FC236}">
                  <a16:creationId xmlns:a16="http://schemas.microsoft.com/office/drawing/2014/main" id="{356EE644-026E-451A-9831-5807C7E49615}"/>
                </a:ext>
              </a:extLst>
            </p:cNvPr>
            <p:cNvSpPr/>
            <p:nvPr/>
          </p:nvSpPr>
          <p:spPr bwMode="auto">
            <a:xfrm>
              <a:off x="3579161" y="2712680"/>
              <a:ext cx="701447" cy="491268"/>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42" name="Rectangle: Rounded Corners 41">
              <a:extLst>
                <a:ext uri="{FF2B5EF4-FFF2-40B4-BE49-F238E27FC236}">
                  <a16:creationId xmlns:a16="http://schemas.microsoft.com/office/drawing/2014/main" id="{B1DAFA4B-C956-4B76-81F0-F12022A1BD93}"/>
                </a:ext>
              </a:extLst>
            </p:cNvPr>
            <p:cNvSpPr/>
            <p:nvPr/>
          </p:nvSpPr>
          <p:spPr bwMode="auto">
            <a:xfrm>
              <a:off x="3715209" y="4446893"/>
              <a:ext cx="434860" cy="189904"/>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MME</a:t>
              </a:r>
            </a:p>
          </p:txBody>
        </p:sp>
        <p:sp>
          <p:nvSpPr>
            <p:cNvPr id="43" name="Rectangle: Rounded Corners 42">
              <a:extLst>
                <a:ext uri="{FF2B5EF4-FFF2-40B4-BE49-F238E27FC236}">
                  <a16:creationId xmlns:a16="http://schemas.microsoft.com/office/drawing/2014/main" id="{323693E3-1A55-4D89-AF94-1965137422E0}"/>
                </a:ext>
              </a:extLst>
            </p:cNvPr>
            <p:cNvSpPr/>
            <p:nvPr/>
          </p:nvSpPr>
          <p:spPr bwMode="auto">
            <a:xfrm>
              <a:off x="3715209" y="3633593"/>
              <a:ext cx="434860" cy="184631"/>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HSS</a:t>
              </a:r>
            </a:p>
          </p:txBody>
        </p:sp>
        <p:sp>
          <p:nvSpPr>
            <p:cNvPr id="44" name="Rectangle: Rounded Corners 43">
              <a:extLst>
                <a:ext uri="{FF2B5EF4-FFF2-40B4-BE49-F238E27FC236}">
                  <a16:creationId xmlns:a16="http://schemas.microsoft.com/office/drawing/2014/main" id="{8A1E2DAD-85DC-44E8-B2C6-D1582DFCFC71}"/>
                </a:ext>
              </a:extLst>
            </p:cNvPr>
            <p:cNvSpPr/>
            <p:nvPr/>
          </p:nvSpPr>
          <p:spPr bwMode="auto">
            <a:xfrm>
              <a:off x="4840736" y="3631002"/>
              <a:ext cx="434860" cy="178055"/>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CRF</a:t>
              </a:r>
            </a:p>
          </p:txBody>
        </p:sp>
        <p:cxnSp>
          <p:nvCxnSpPr>
            <p:cNvPr id="45" name="Straight Connector 44">
              <a:extLst>
                <a:ext uri="{FF2B5EF4-FFF2-40B4-BE49-F238E27FC236}">
                  <a16:creationId xmlns:a16="http://schemas.microsoft.com/office/drawing/2014/main" id="{18123BD2-E779-46FE-8687-F291F8BFE5B5}"/>
                </a:ext>
              </a:extLst>
            </p:cNvPr>
            <p:cNvCxnSpPr>
              <a:cxnSpLocks/>
              <a:stCxn id="35" idx="2"/>
              <a:endCxn id="36" idx="0"/>
            </p:cNvCxnSpPr>
            <p:nvPr/>
          </p:nvCxnSpPr>
          <p:spPr bwMode="auto">
            <a:xfrm>
              <a:off x="3928781" y="4013599"/>
              <a:ext cx="1" cy="327305"/>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46" name="Straight Connector 45">
              <a:extLst>
                <a:ext uri="{FF2B5EF4-FFF2-40B4-BE49-F238E27FC236}">
                  <a16:creationId xmlns:a16="http://schemas.microsoft.com/office/drawing/2014/main" id="{259F5F4B-1DDC-4A90-BCB2-D143D6EE6BA7}"/>
                </a:ext>
              </a:extLst>
            </p:cNvPr>
            <p:cNvCxnSpPr>
              <a:cxnSpLocks/>
              <a:stCxn id="40" idx="2"/>
            </p:cNvCxnSpPr>
            <p:nvPr/>
          </p:nvCxnSpPr>
          <p:spPr bwMode="auto">
            <a:xfrm>
              <a:off x="5054307" y="4013599"/>
              <a:ext cx="0" cy="338929"/>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47" name="Straight Connector 46">
              <a:extLst>
                <a:ext uri="{FF2B5EF4-FFF2-40B4-BE49-F238E27FC236}">
                  <a16:creationId xmlns:a16="http://schemas.microsoft.com/office/drawing/2014/main" id="{5FA0BB9F-4F48-4925-AB93-B3C18D1461E7}"/>
                </a:ext>
              </a:extLst>
            </p:cNvPr>
            <p:cNvCxnSpPr>
              <a:cxnSpLocks/>
              <a:endCxn id="36" idx="1"/>
            </p:cNvCxnSpPr>
            <p:nvPr/>
          </p:nvCxnSpPr>
          <p:spPr bwMode="auto">
            <a:xfrm>
              <a:off x="3320875" y="4586538"/>
              <a:ext cx="248650"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48" name="Rectangle: Rounded Corners 47">
              <a:extLst>
                <a:ext uri="{FF2B5EF4-FFF2-40B4-BE49-F238E27FC236}">
                  <a16:creationId xmlns:a16="http://schemas.microsoft.com/office/drawing/2014/main" id="{0ECECE29-D9FE-4B36-A212-35197794B010}"/>
                </a:ext>
              </a:extLst>
            </p:cNvPr>
            <p:cNvSpPr/>
            <p:nvPr/>
          </p:nvSpPr>
          <p:spPr bwMode="auto">
            <a:xfrm>
              <a:off x="3704271" y="2760409"/>
              <a:ext cx="434860" cy="181816"/>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UDR</a:t>
              </a:r>
            </a:p>
          </p:txBody>
        </p:sp>
        <p:cxnSp>
          <p:nvCxnSpPr>
            <p:cNvPr id="49" name="Connector: Elbow 48">
              <a:extLst>
                <a:ext uri="{FF2B5EF4-FFF2-40B4-BE49-F238E27FC236}">
                  <a16:creationId xmlns:a16="http://schemas.microsoft.com/office/drawing/2014/main" id="{802D9C03-9385-4DF2-800C-AEED0AC1D0F4}"/>
                </a:ext>
              </a:extLst>
            </p:cNvPr>
            <p:cNvCxnSpPr>
              <a:cxnSpLocks/>
              <a:stCxn id="35" idx="0"/>
              <a:endCxn id="41" idx="2"/>
            </p:cNvCxnSpPr>
            <p:nvPr/>
          </p:nvCxnSpPr>
          <p:spPr bwMode="auto">
            <a:xfrm rot="5400000" flipH="1" flipV="1">
              <a:off x="3770142" y="3362588"/>
              <a:ext cx="318383" cy="1104"/>
            </a:xfrm>
            <a:prstGeom prst="bentConnector3">
              <a:avLst>
                <a:gd name="adj1" fmla="val 50000"/>
              </a:avLst>
            </a:prstGeom>
            <a:solidFill>
              <a:schemeClr val="accent1"/>
            </a:solidFill>
            <a:ln w="3175" cap="flat" cmpd="sng" algn="ctr">
              <a:solidFill>
                <a:schemeClr val="tx1"/>
              </a:solidFill>
              <a:prstDash val="solid"/>
              <a:round/>
              <a:headEnd type="none" w="med" len="med"/>
              <a:tailEnd type="none"/>
            </a:ln>
            <a:effectLst/>
          </p:spPr>
        </p:cxnSp>
        <p:cxnSp>
          <p:nvCxnSpPr>
            <p:cNvPr id="50" name="Connector: Elbow 49">
              <a:extLst>
                <a:ext uri="{FF2B5EF4-FFF2-40B4-BE49-F238E27FC236}">
                  <a16:creationId xmlns:a16="http://schemas.microsoft.com/office/drawing/2014/main" id="{1F77D89C-8230-4B4B-B04A-AED88C3CA40A}"/>
                </a:ext>
              </a:extLst>
            </p:cNvPr>
            <p:cNvCxnSpPr>
              <a:cxnSpLocks/>
              <a:stCxn id="41" idx="3"/>
              <a:endCxn id="40" idx="0"/>
            </p:cNvCxnSpPr>
            <p:nvPr/>
          </p:nvCxnSpPr>
          <p:spPr bwMode="auto">
            <a:xfrm>
              <a:off x="4280608" y="2958314"/>
              <a:ext cx="773699" cy="564017"/>
            </a:xfrm>
            <a:prstGeom prst="bentConnector2">
              <a:avLst/>
            </a:prstGeom>
            <a:solidFill>
              <a:schemeClr val="accent1"/>
            </a:solidFill>
            <a:ln w="3175" cap="flat" cmpd="sng" algn="ctr">
              <a:solidFill>
                <a:schemeClr val="tx1"/>
              </a:solidFill>
              <a:prstDash val="solid"/>
              <a:round/>
              <a:headEnd type="none" w="med" len="med"/>
              <a:tailEnd type="none"/>
            </a:ln>
            <a:effectLst/>
          </p:spPr>
        </p:cxnSp>
        <p:sp>
          <p:nvSpPr>
            <p:cNvPr id="51" name="TextBox 50">
              <a:extLst>
                <a:ext uri="{FF2B5EF4-FFF2-40B4-BE49-F238E27FC236}">
                  <a16:creationId xmlns:a16="http://schemas.microsoft.com/office/drawing/2014/main" id="{06116CDE-BC92-477C-B071-5C8C49B47093}"/>
                </a:ext>
              </a:extLst>
            </p:cNvPr>
            <p:cNvSpPr txBox="1"/>
            <p:nvPr/>
          </p:nvSpPr>
          <p:spPr bwMode="auto">
            <a:xfrm>
              <a:off x="3438523" y="3162929"/>
              <a:ext cx="402922"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CUDB</a:t>
              </a:r>
            </a:p>
          </p:txBody>
        </p:sp>
        <p:sp>
          <p:nvSpPr>
            <p:cNvPr id="52" name="TextBox 51">
              <a:extLst>
                <a:ext uri="{FF2B5EF4-FFF2-40B4-BE49-F238E27FC236}">
                  <a16:creationId xmlns:a16="http://schemas.microsoft.com/office/drawing/2014/main" id="{F9967FEC-AAEF-4106-B8C6-37C984C80F07}"/>
                </a:ext>
              </a:extLst>
            </p:cNvPr>
            <p:cNvSpPr txBox="1"/>
            <p:nvPr/>
          </p:nvSpPr>
          <p:spPr bwMode="auto">
            <a:xfrm>
              <a:off x="3350351" y="3989802"/>
              <a:ext cx="499102"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HSS-FE</a:t>
              </a:r>
            </a:p>
          </p:txBody>
        </p:sp>
        <p:sp>
          <p:nvSpPr>
            <p:cNvPr id="53" name="TextBox 52">
              <a:extLst>
                <a:ext uri="{FF2B5EF4-FFF2-40B4-BE49-F238E27FC236}">
                  <a16:creationId xmlns:a16="http://schemas.microsoft.com/office/drawing/2014/main" id="{9B2E8B18-AD0C-46EB-927A-D679F23C7B6B}"/>
                </a:ext>
              </a:extLst>
            </p:cNvPr>
            <p:cNvSpPr txBox="1"/>
            <p:nvPr/>
          </p:nvSpPr>
          <p:spPr bwMode="auto">
            <a:xfrm>
              <a:off x="4601693" y="3982968"/>
              <a:ext cx="382083"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SAPC</a:t>
              </a:r>
            </a:p>
          </p:txBody>
        </p:sp>
        <p:sp>
          <p:nvSpPr>
            <p:cNvPr id="55" name="TextBox 54">
              <a:extLst>
                <a:ext uri="{FF2B5EF4-FFF2-40B4-BE49-F238E27FC236}">
                  <a16:creationId xmlns:a16="http://schemas.microsoft.com/office/drawing/2014/main" id="{B38B5864-E227-4C6E-8C48-043EA5CA49A1}"/>
                </a:ext>
              </a:extLst>
            </p:cNvPr>
            <p:cNvSpPr txBox="1"/>
            <p:nvPr/>
          </p:nvSpPr>
          <p:spPr bwMode="auto">
            <a:xfrm>
              <a:off x="3491465" y="4792525"/>
              <a:ext cx="725126"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SGSN-MME</a:t>
              </a:r>
            </a:p>
          </p:txBody>
        </p:sp>
        <p:sp>
          <p:nvSpPr>
            <p:cNvPr id="57" name="Rectangle: Rounded Corners 56">
              <a:extLst>
                <a:ext uri="{FF2B5EF4-FFF2-40B4-BE49-F238E27FC236}">
                  <a16:creationId xmlns:a16="http://schemas.microsoft.com/office/drawing/2014/main" id="{10F05522-4653-4377-9F5D-76542E523DE3}"/>
                </a:ext>
              </a:extLst>
            </p:cNvPr>
            <p:cNvSpPr/>
            <p:nvPr/>
          </p:nvSpPr>
          <p:spPr bwMode="auto">
            <a:xfrm>
              <a:off x="3704271" y="2969362"/>
              <a:ext cx="434860" cy="181816"/>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PR</a:t>
              </a:r>
            </a:p>
          </p:txBody>
        </p:sp>
        <p:sp>
          <p:nvSpPr>
            <p:cNvPr id="278" name="Rectangle: Rounded Corners 277">
              <a:extLst>
                <a:ext uri="{FF2B5EF4-FFF2-40B4-BE49-F238E27FC236}">
                  <a16:creationId xmlns:a16="http://schemas.microsoft.com/office/drawing/2014/main" id="{8556BC40-E9FA-4609-A9CE-459478F675A2}"/>
                </a:ext>
              </a:extLst>
            </p:cNvPr>
            <p:cNvSpPr/>
            <p:nvPr/>
          </p:nvSpPr>
          <p:spPr bwMode="auto">
            <a:xfrm>
              <a:off x="4417344" y="4452165"/>
              <a:ext cx="434860" cy="1912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GW-C</a:t>
              </a:r>
            </a:p>
          </p:txBody>
        </p:sp>
        <p:sp>
          <p:nvSpPr>
            <p:cNvPr id="70" name="Arrow: Right 69">
              <a:extLst>
                <a:ext uri="{FF2B5EF4-FFF2-40B4-BE49-F238E27FC236}">
                  <a16:creationId xmlns:a16="http://schemas.microsoft.com/office/drawing/2014/main" id="{7A885610-1272-4FAE-86C7-673A27E337A2}"/>
                </a:ext>
              </a:extLst>
            </p:cNvPr>
            <p:cNvSpPr/>
            <p:nvPr/>
          </p:nvSpPr>
          <p:spPr bwMode="auto">
            <a:xfrm>
              <a:off x="2783928" y="2963138"/>
              <a:ext cx="346200" cy="390027"/>
            </a:xfrm>
            <a:prstGeom prst="rightArrow">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267" name="Content Placeholder 11">
              <a:extLst>
                <a:ext uri="{FF2B5EF4-FFF2-40B4-BE49-F238E27FC236}">
                  <a16:creationId xmlns:a16="http://schemas.microsoft.com/office/drawing/2014/main" id="{AD31DCB8-1BD8-4B85-8233-A8CF750268B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45651" y="4704660"/>
              <a:ext cx="241086" cy="467001"/>
            </a:xfrm>
            <a:prstGeom prst="rect">
              <a:avLst/>
            </a:prstGeom>
          </p:spPr>
        </p:pic>
        <p:cxnSp>
          <p:nvCxnSpPr>
            <p:cNvPr id="56" name="Straight Connector 55">
              <a:extLst>
                <a:ext uri="{FF2B5EF4-FFF2-40B4-BE49-F238E27FC236}">
                  <a16:creationId xmlns:a16="http://schemas.microsoft.com/office/drawing/2014/main" id="{E76C330F-5568-470C-9D0D-5C455EF723DC}"/>
                </a:ext>
              </a:extLst>
            </p:cNvPr>
            <p:cNvCxnSpPr>
              <a:cxnSpLocks/>
              <a:stCxn id="36" idx="3"/>
            </p:cNvCxnSpPr>
            <p:nvPr/>
          </p:nvCxnSpPr>
          <p:spPr bwMode="auto">
            <a:xfrm>
              <a:off x="4288038" y="4586538"/>
              <a:ext cx="82988"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54" name="TextBox 53">
              <a:extLst>
                <a:ext uri="{FF2B5EF4-FFF2-40B4-BE49-F238E27FC236}">
                  <a16:creationId xmlns:a16="http://schemas.microsoft.com/office/drawing/2014/main" id="{F63DC171-73ED-4A17-8F59-D1ED1A91BA78}"/>
                </a:ext>
              </a:extLst>
            </p:cNvPr>
            <p:cNvSpPr txBox="1"/>
            <p:nvPr/>
          </p:nvSpPr>
          <p:spPr bwMode="auto">
            <a:xfrm>
              <a:off x="5142509" y="4154296"/>
              <a:ext cx="436585"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EPG-C</a:t>
              </a:r>
            </a:p>
          </p:txBody>
        </p:sp>
        <p:sp>
          <p:nvSpPr>
            <p:cNvPr id="440" name="Rectangle: Rounded Corners 439">
              <a:extLst>
                <a:ext uri="{FF2B5EF4-FFF2-40B4-BE49-F238E27FC236}">
                  <a16:creationId xmlns:a16="http://schemas.microsoft.com/office/drawing/2014/main" id="{87041E89-F9A7-4E76-B836-3A35C67D3023}"/>
                </a:ext>
              </a:extLst>
            </p:cNvPr>
            <p:cNvSpPr/>
            <p:nvPr/>
          </p:nvSpPr>
          <p:spPr bwMode="auto">
            <a:xfrm>
              <a:off x="4371025" y="4873187"/>
              <a:ext cx="1042538" cy="424206"/>
            </a:xfrm>
            <a:prstGeom prst="roundRect">
              <a:avLst>
                <a:gd name="adj" fmla="val 8688"/>
              </a:avLst>
            </a:prstGeom>
            <a:solidFill>
              <a:schemeClr val="accent1">
                <a:lumMod val="40000"/>
                <a:lumOff val="60000"/>
              </a:schemeClr>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39" name="Rectangle: Rounded Corners 38">
              <a:extLst>
                <a:ext uri="{FF2B5EF4-FFF2-40B4-BE49-F238E27FC236}">
                  <a16:creationId xmlns:a16="http://schemas.microsoft.com/office/drawing/2014/main" id="{69CE418F-A512-4F87-B76A-6B9A24AA8AB6}"/>
                </a:ext>
              </a:extLst>
            </p:cNvPr>
            <p:cNvSpPr/>
            <p:nvPr/>
          </p:nvSpPr>
          <p:spPr bwMode="auto">
            <a:xfrm>
              <a:off x="4907203" y="4989674"/>
              <a:ext cx="434860" cy="1912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lang="en-US" sz="800">
                  <a:latin typeface="Ericsson Hilda"/>
                </a:rPr>
                <a:t>P</a:t>
              </a:r>
              <a:r>
                <a:rPr kumimoji="0" lang="en-US" sz="800" b="0" i="0" u="none" strike="noStrike" kern="1200" cap="none" spc="0" normalizeH="0" baseline="0" noProof="0">
                  <a:ln>
                    <a:noFill/>
                  </a:ln>
                  <a:effectLst/>
                  <a:uLnTx/>
                  <a:uFillTx/>
                  <a:latin typeface="Ericsson Hilda"/>
                  <a:ea typeface="+mn-ea"/>
                  <a:cs typeface="+mn-cs"/>
                </a:rPr>
                <a:t>GW-U</a:t>
              </a:r>
            </a:p>
          </p:txBody>
        </p:sp>
        <p:sp>
          <p:nvSpPr>
            <p:cNvPr id="279" name="Rectangle: Rounded Corners 278">
              <a:extLst>
                <a:ext uri="{FF2B5EF4-FFF2-40B4-BE49-F238E27FC236}">
                  <a16:creationId xmlns:a16="http://schemas.microsoft.com/office/drawing/2014/main" id="{6190CF7A-8F55-47FA-8FF2-A18E4CBFDBAC}"/>
                </a:ext>
              </a:extLst>
            </p:cNvPr>
            <p:cNvSpPr/>
            <p:nvPr/>
          </p:nvSpPr>
          <p:spPr bwMode="auto">
            <a:xfrm>
              <a:off x="4417344" y="4989674"/>
              <a:ext cx="434860" cy="1912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GW-U</a:t>
              </a:r>
            </a:p>
          </p:txBody>
        </p:sp>
        <p:cxnSp>
          <p:nvCxnSpPr>
            <p:cNvPr id="282" name="Straight Connector 281">
              <a:extLst>
                <a:ext uri="{FF2B5EF4-FFF2-40B4-BE49-F238E27FC236}">
                  <a16:creationId xmlns:a16="http://schemas.microsoft.com/office/drawing/2014/main" id="{9E267B27-6388-4FD8-85E3-F6356E041447}"/>
                </a:ext>
              </a:extLst>
            </p:cNvPr>
            <p:cNvCxnSpPr>
              <a:cxnSpLocks/>
            </p:cNvCxnSpPr>
            <p:nvPr/>
          </p:nvCxnSpPr>
          <p:spPr bwMode="auto">
            <a:xfrm>
              <a:off x="5136700" y="4654318"/>
              <a:ext cx="0" cy="338929"/>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283" name="Straight Connector 282">
              <a:extLst>
                <a:ext uri="{FF2B5EF4-FFF2-40B4-BE49-F238E27FC236}">
                  <a16:creationId xmlns:a16="http://schemas.microsoft.com/office/drawing/2014/main" id="{ECCDC4C7-FC59-4F34-A890-2E8374CE9135}"/>
                </a:ext>
              </a:extLst>
            </p:cNvPr>
            <p:cNvCxnSpPr>
              <a:cxnSpLocks/>
            </p:cNvCxnSpPr>
            <p:nvPr/>
          </p:nvCxnSpPr>
          <p:spPr bwMode="auto">
            <a:xfrm>
              <a:off x="4647522" y="4654318"/>
              <a:ext cx="0" cy="338929"/>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441" name="TextBox 440">
              <a:extLst>
                <a:ext uri="{FF2B5EF4-FFF2-40B4-BE49-F238E27FC236}">
                  <a16:creationId xmlns:a16="http://schemas.microsoft.com/office/drawing/2014/main" id="{A6BDEBF3-D22C-447E-AB39-D5A86E417036}"/>
                </a:ext>
              </a:extLst>
            </p:cNvPr>
            <p:cNvSpPr txBox="1"/>
            <p:nvPr/>
          </p:nvSpPr>
          <p:spPr bwMode="auto">
            <a:xfrm>
              <a:off x="5138282" y="5275248"/>
              <a:ext cx="446203" cy="19024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EPG-U</a:t>
              </a:r>
            </a:p>
          </p:txBody>
        </p:sp>
      </p:grpSp>
      <p:grpSp>
        <p:nvGrpSpPr>
          <p:cNvPr id="449" name="Group 448">
            <a:extLst>
              <a:ext uri="{FF2B5EF4-FFF2-40B4-BE49-F238E27FC236}">
                <a16:creationId xmlns:a16="http://schemas.microsoft.com/office/drawing/2014/main" id="{FF38C599-7548-4E51-B88F-FF8CEE0CAD5E}"/>
              </a:ext>
            </a:extLst>
          </p:cNvPr>
          <p:cNvGrpSpPr/>
          <p:nvPr/>
        </p:nvGrpSpPr>
        <p:grpSpPr>
          <a:xfrm>
            <a:off x="5531681" y="1881071"/>
            <a:ext cx="6480210" cy="4658058"/>
            <a:chOff x="5531681" y="1881071"/>
            <a:chExt cx="6480210" cy="4658058"/>
          </a:xfrm>
        </p:grpSpPr>
        <p:sp>
          <p:nvSpPr>
            <p:cNvPr id="72" name="Rectangle 71">
              <a:extLst>
                <a:ext uri="{FF2B5EF4-FFF2-40B4-BE49-F238E27FC236}">
                  <a16:creationId xmlns:a16="http://schemas.microsoft.com/office/drawing/2014/main" id="{FDCAA3DC-ADAB-4114-988E-A1A4435B9C89}"/>
                </a:ext>
              </a:extLst>
            </p:cNvPr>
            <p:cNvSpPr/>
            <p:nvPr/>
          </p:nvSpPr>
          <p:spPr bwMode="auto">
            <a:xfrm>
              <a:off x="5875109" y="1881071"/>
              <a:ext cx="6136782" cy="4658058"/>
            </a:xfrm>
            <a:prstGeom prst="rect">
              <a:avLst/>
            </a:prstGeom>
            <a:solidFill>
              <a:schemeClr val="bg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2000" b="0" i="0" u="none" strike="noStrike" cap="none" normalizeH="0" baseline="0">
                  <a:ln>
                    <a:noFill/>
                  </a:ln>
                  <a:effectLst/>
                  <a:latin typeface="+mn-lt"/>
                </a:rPr>
                <a:t>5GC architecture</a:t>
              </a:r>
            </a:p>
          </p:txBody>
        </p:sp>
        <p:sp>
          <p:nvSpPr>
            <p:cNvPr id="155" name="Rectangle: Rounded Corners 154">
              <a:extLst>
                <a:ext uri="{FF2B5EF4-FFF2-40B4-BE49-F238E27FC236}">
                  <a16:creationId xmlns:a16="http://schemas.microsoft.com/office/drawing/2014/main" id="{DF5A0B18-2533-451F-A4D8-1131FC4F0878}"/>
                </a:ext>
              </a:extLst>
            </p:cNvPr>
            <p:cNvSpPr/>
            <p:nvPr/>
          </p:nvSpPr>
          <p:spPr bwMode="auto">
            <a:xfrm>
              <a:off x="7199786" y="4249788"/>
              <a:ext cx="2843957" cy="1969812"/>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6" name="Rectangle: Rounded Corners 155">
              <a:extLst>
                <a:ext uri="{FF2B5EF4-FFF2-40B4-BE49-F238E27FC236}">
                  <a16:creationId xmlns:a16="http://schemas.microsoft.com/office/drawing/2014/main" id="{E48851D6-FAFA-4281-B3CA-69A7DCDBC00A}"/>
                </a:ext>
              </a:extLst>
            </p:cNvPr>
            <p:cNvSpPr/>
            <p:nvPr/>
          </p:nvSpPr>
          <p:spPr bwMode="auto">
            <a:xfrm>
              <a:off x="6275407" y="2354217"/>
              <a:ext cx="3178233" cy="1837571"/>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7" name="Rectangle: Rounded Corners 156">
              <a:extLst>
                <a:ext uri="{FF2B5EF4-FFF2-40B4-BE49-F238E27FC236}">
                  <a16:creationId xmlns:a16="http://schemas.microsoft.com/office/drawing/2014/main" id="{A0743042-B155-4624-8AB9-C746443D1793}"/>
                </a:ext>
              </a:extLst>
            </p:cNvPr>
            <p:cNvSpPr/>
            <p:nvPr/>
          </p:nvSpPr>
          <p:spPr bwMode="auto">
            <a:xfrm>
              <a:off x="7191503" y="2432225"/>
              <a:ext cx="4220549" cy="2683783"/>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8" name="Freeform 88">
              <a:extLst>
                <a:ext uri="{FF2B5EF4-FFF2-40B4-BE49-F238E27FC236}">
                  <a16:creationId xmlns:a16="http://schemas.microsoft.com/office/drawing/2014/main" id="{F76E51F8-6069-4248-8EF6-84E4A4609A54}"/>
                </a:ext>
              </a:extLst>
            </p:cNvPr>
            <p:cNvSpPr>
              <a:spLocks/>
            </p:cNvSpPr>
            <p:nvPr/>
          </p:nvSpPr>
          <p:spPr bwMode="auto">
            <a:xfrm rot="583048" flipH="1">
              <a:off x="6154309" y="5057968"/>
              <a:ext cx="289162" cy="94754"/>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254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700" b="1" i="0" u="none" strike="noStrike" kern="1200" cap="none" spc="0" normalizeH="0" baseline="0" noProof="0">
                <a:ln>
                  <a:noFill/>
                </a:ln>
                <a:solidFill>
                  <a:srgbClr val="181818"/>
                </a:solidFill>
                <a:effectLst/>
                <a:uLnTx/>
                <a:uFillTx/>
                <a:latin typeface="Ericsson Hilda"/>
                <a:ea typeface="+mn-ea"/>
                <a:cs typeface="+mn-cs"/>
              </a:endParaRPr>
            </a:p>
          </p:txBody>
        </p:sp>
        <p:sp>
          <p:nvSpPr>
            <p:cNvPr id="159" name="Text Box 144">
              <a:extLst>
                <a:ext uri="{FF2B5EF4-FFF2-40B4-BE49-F238E27FC236}">
                  <a16:creationId xmlns:a16="http://schemas.microsoft.com/office/drawing/2014/main" id="{2917F337-BEE6-4E69-9529-6405A17EEBB1}"/>
                </a:ext>
              </a:extLst>
            </p:cNvPr>
            <p:cNvSpPr txBox="1">
              <a:spLocks noChangeAspect="1" noChangeArrowheads="1"/>
            </p:cNvSpPr>
            <p:nvPr/>
          </p:nvSpPr>
          <p:spPr bwMode="auto">
            <a:xfrm>
              <a:off x="6514572" y="5094121"/>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160" name="Text Box 144">
              <a:extLst>
                <a:ext uri="{FF2B5EF4-FFF2-40B4-BE49-F238E27FC236}">
                  <a16:creationId xmlns:a16="http://schemas.microsoft.com/office/drawing/2014/main" id="{DF89E29B-7124-49DF-ABAE-185663DE4821}"/>
                </a:ext>
              </a:extLst>
            </p:cNvPr>
            <p:cNvSpPr txBox="1">
              <a:spLocks noChangeAspect="1" noChangeArrowheads="1"/>
            </p:cNvSpPr>
            <p:nvPr/>
          </p:nvSpPr>
          <p:spPr bwMode="auto">
            <a:xfrm>
              <a:off x="6511536" y="5382014"/>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161" name="Text Box 144">
              <a:extLst>
                <a:ext uri="{FF2B5EF4-FFF2-40B4-BE49-F238E27FC236}">
                  <a16:creationId xmlns:a16="http://schemas.microsoft.com/office/drawing/2014/main" id="{B47203C4-8C04-4898-A345-E72F6922DCB9}"/>
                </a:ext>
              </a:extLst>
            </p:cNvPr>
            <p:cNvSpPr txBox="1">
              <a:spLocks noChangeAspect="1" noChangeArrowheads="1"/>
            </p:cNvSpPr>
            <p:nvPr/>
          </p:nvSpPr>
          <p:spPr bwMode="auto">
            <a:xfrm>
              <a:off x="9761957" y="5391134"/>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162" name="Text Box 144">
              <a:extLst>
                <a:ext uri="{FF2B5EF4-FFF2-40B4-BE49-F238E27FC236}">
                  <a16:creationId xmlns:a16="http://schemas.microsoft.com/office/drawing/2014/main" id="{9606CFE5-FDD5-4C8E-AC7E-AD159D4980DB}"/>
                </a:ext>
              </a:extLst>
            </p:cNvPr>
            <p:cNvSpPr txBox="1">
              <a:spLocks noChangeAspect="1" noChangeArrowheads="1"/>
            </p:cNvSpPr>
            <p:nvPr/>
          </p:nvSpPr>
          <p:spPr bwMode="auto">
            <a:xfrm>
              <a:off x="9333570" y="5156079"/>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sp>
          <p:nvSpPr>
            <p:cNvPr id="163" name="Line 30">
              <a:extLst>
                <a:ext uri="{FF2B5EF4-FFF2-40B4-BE49-F238E27FC236}">
                  <a16:creationId xmlns:a16="http://schemas.microsoft.com/office/drawing/2014/main" id="{029B8838-6EEF-4761-9B8E-26DCB0E2E218}"/>
                </a:ext>
              </a:extLst>
            </p:cNvPr>
            <p:cNvSpPr>
              <a:spLocks noChangeShapeType="1"/>
            </p:cNvSpPr>
            <p:nvPr/>
          </p:nvSpPr>
          <p:spPr bwMode="auto">
            <a:xfrm flipV="1">
              <a:off x="6521077" y="5516744"/>
              <a:ext cx="3924929"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164" name="Text Box 144">
              <a:extLst>
                <a:ext uri="{FF2B5EF4-FFF2-40B4-BE49-F238E27FC236}">
                  <a16:creationId xmlns:a16="http://schemas.microsoft.com/office/drawing/2014/main" id="{FA5889A5-5D19-4F53-A937-0C0D30A54030}"/>
                </a:ext>
              </a:extLst>
            </p:cNvPr>
            <p:cNvSpPr txBox="1">
              <a:spLocks noChangeAspect="1" noChangeArrowheads="1"/>
            </p:cNvSpPr>
            <p:nvPr/>
          </p:nvSpPr>
          <p:spPr bwMode="auto">
            <a:xfrm>
              <a:off x="6530797" y="4670752"/>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165" name="Straight Connector 164">
              <a:extLst>
                <a:ext uri="{FF2B5EF4-FFF2-40B4-BE49-F238E27FC236}">
                  <a16:creationId xmlns:a16="http://schemas.microsoft.com/office/drawing/2014/main" id="{D3C5A2BD-77BB-4249-B54A-13107C5F6732}"/>
                </a:ext>
              </a:extLst>
            </p:cNvPr>
            <p:cNvCxnSpPr>
              <a:cxnSpLocks/>
              <a:stCxn id="225" idx="2"/>
              <a:endCxn id="218" idx="0"/>
            </p:cNvCxnSpPr>
            <p:nvPr/>
          </p:nvCxnSpPr>
          <p:spPr bwMode="auto">
            <a:xfrm>
              <a:off x="9588628" y="5007534"/>
              <a:ext cx="439" cy="30074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6" name="Text Box 144">
              <a:extLst>
                <a:ext uri="{FF2B5EF4-FFF2-40B4-BE49-F238E27FC236}">
                  <a16:creationId xmlns:a16="http://schemas.microsoft.com/office/drawing/2014/main" id="{3097B25A-ED6B-460A-9880-2CC2BB246D1E}"/>
                </a:ext>
              </a:extLst>
            </p:cNvPr>
            <p:cNvSpPr txBox="1">
              <a:spLocks noChangeAspect="1" noChangeArrowheads="1"/>
            </p:cNvSpPr>
            <p:nvPr/>
          </p:nvSpPr>
          <p:spPr bwMode="auto">
            <a:xfrm>
              <a:off x="8096804" y="4365637"/>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m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7" name="Text Box 144">
              <a:extLst>
                <a:ext uri="{FF2B5EF4-FFF2-40B4-BE49-F238E27FC236}">
                  <a16:creationId xmlns:a16="http://schemas.microsoft.com/office/drawing/2014/main" id="{ADBBFD66-A69B-447A-8885-BD59C9986ECC}"/>
                </a:ext>
              </a:extLst>
            </p:cNvPr>
            <p:cNvSpPr txBox="1">
              <a:spLocks noChangeAspect="1" noChangeArrowheads="1"/>
            </p:cNvSpPr>
            <p:nvPr/>
          </p:nvSpPr>
          <p:spPr bwMode="auto">
            <a:xfrm>
              <a:off x="6294836" y="4015817"/>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us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8" name="Text Box 144">
              <a:extLst>
                <a:ext uri="{FF2B5EF4-FFF2-40B4-BE49-F238E27FC236}">
                  <a16:creationId xmlns:a16="http://schemas.microsoft.com/office/drawing/2014/main" id="{B5AF5B65-FF64-464B-9A49-A2DAEAFE40FE}"/>
                </a:ext>
              </a:extLst>
            </p:cNvPr>
            <p:cNvSpPr txBox="1">
              <a:spLocks noChangeAspect="1" noChangeArrowheads="1"/>
            </p:cNvSpPr>
            <p:nvPr/>
          </p:nvSpPr>
          <p:spPr bwMode="auto">
            <a:xfrm>
              <a:off x="8221116" y="4018620"/>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pc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9" name="Text Box 144">
              <a:extLst>
                <a:ext uri="{FF2B5EF4-FFF2-40B4-BE49-F238E27FC236}">
                  <a16:creationId xmlns:a16="http://schemas.microsoft.com/office/drawing/2014/main" id="{A63B4E52-73D0-42E4-85D3-C24DE71C627A}"/>
                </a:ext>
              </a:extLst>
            </p:cNvPr>
            <p:cNvSpPr txBox="1">
              <a:spLocks noChangeAspect="1" noChangeArrowheads="1"/>
            </p:cNvSpPr>
            <p:nvPr/>
          </p:nvSpPr>
          <p:spPr bwMode="auto">
            <a:xfrm>
              <a:off x="7592827" y="4030523"/>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m</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0" name="Text Box 144">
              <a:extLst>
                <a:ext uri="{FF2B5EF4-FFF2-40B4-BE49-F238E27FC236}">
                  <a16:creationId xmlns:a16="http://schemas.microsoft.com/office/drawing/2014/main" id="{535FBBA2-7200-452D-BF97-9BA468C4BD3F}"/>
                </a:ext>
              </a:extLst>
            </p:cNvPr>
            <p:cNvSpPr txBox="1">
              <a:spLocks noChangeAspect="1" noChangeArrowheads="1"/>
            </p:cNvSpPr>
            <p:nvPr/>
          </p:nvSpPr>
          <p:spPr bwMode="auto">
            <a:xfrm>
              <a:off x="9513617" y="4367940"/>
              <a:ext cx="668066"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71" name="Group 74">
              <a:extLst>
                <a:ext uri="{FF2B5EF4-FFF2-40B4-BE49-F238E27FC236}">
                  <a16:creationId xmlns:a16="http://schemas.microsoft.com/office/drawing/2014/main" id="{A234F766-6C37-4497-A497-6B03D77B6BE3}"/>
                </a:ext>
              </a:extLst>
            </p:cNvPr>
            <p:cNvGrpSpPr>
              <a:grpSpLocks/>
            </p:cNvGrpSpPr>
            <p:nvPr/>
          </p:nvGrpSpPr>
          <p:grpSpPr bwMode="auto">
            <a:xfrm>
              <a:off x="10384343" y="5080781"/>
              <a:ext cx="1535817" cy="812594"/>
              <a:chOff x="9344462" y="5130211"/>
              <a:chExt cx="2250397" cy="1719278"/>
            </a:xfrm>
          </p:grpSpPr>
          <p:sp>
            <p:nvSpPr>
              <p:cNvPr id="172" name="Freeform 34">
                <a:extLst>
                  <a:ext uri="{FF2B5EF4-FFF2-40B4-BE49-F238E27FC236}">
                    <a16:creationId xmlns:a16="http://schemas.microsoft.com/office/drawing/2014/main" id="{06C2A554-F3E3-43E4-99EE-2FE77D344E29}"/>
                  </a:ext>
                </a:extLst>
              </p:cNvPr>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73" name="Text Box 35">
                <a:extLst>
                  <a:ext uri="{FF2B5EF4-FFF2-40B4-BE49-F238E27FC236}">
                    <a16:creationId xmlns:a16="http://schemas.microsoft.com/office/drawing/2014/main" id="{B75BFABF-D01F-4333-A2F2-CE62DFE2FB1E}"/>
                  </a:ext>
                </a:extLst>
              </p:cNvPr>
              <p:cNvSpPr txBox="1">
                <a:spLocks noChangeAspect="1" noChangeArrowheads="1"/>
              </p:cNvSpPr>
              <p:nvPr/>
            </p:nvSpPr>
            <p:spPr bwMode="auto">
              <a:xfrm>
                <a:off x="9547267" y="5684074"/>
                <a:ext cx="1808285" cy="940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5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Network </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9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9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p>
            </p:txBody>
          </p:sp>
        </p:grpSp>
        <p:sp>
          <p:nvSpPr>
            <p:cNvPr id="174" name="Text Box 144">
              <a:extLst>
                <a:ext uri="{FF2B5EF4-FFF2-40B4-BE49-F238E27FC236}">
                  <a16:creationId xmlns:a16="http://schemas.microsoft.com/office/drawing/2014/main" id="{A1AD16BB-2748-4AC3-B9B5-B2921FEBF99D}"/>
                </a:ext>
              </a:extLst>
            </p:cNvPr>
            <p:cNvSpPr txBox="1">
              <a:spLocks noChangeAspect="1" noChangeArrowheads="1"/>
            </p:cNvSpPr>
            <p:nvPr/>
          </p:nvSpPr>
          <p:spPr bwMode="auto">
            <a:xfrm>
              <a:off x="6989815" y="4020853"/>
              <a:ext cx="713288"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r</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5" name="Oval 174">
              <a:extLst>
                <a:ext uri="{FF2B5EF4-FFF2-40B4-BE49-F238E27FC236}">
                  <a16:creationId xmlns:a16="http://schemas.microsoft.com/office/drawing/2014/main" id="{02996CFF-72B5-479D-BC6E-1D203075D621}"/>
                </a:ext>
              </a:extLst>
            </p:cNvPr>
            <p:cNvSpPr/>
            <p:nvPr/>
          </p:nvSpPr>
          <p:spPr bwMode="auto">
            <a:xfrm>
              <a:off x="7127140" y="3895955"/>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76" name="Text Box 144">
              <a:extLst>
                <a:ext uri="{FF2B5EF4-FFF2-40B4-BE49-F238E27FC236}">
                  <a16:creationId xmlns:a16="http://schemas.microsoft.com/office/drawing/2014/main" id="{FD13754E-4A63-467D-90DA-8E387E5C6A35}"/>
                </a:ext>
              </a:extLst>
            </p:cNvPr>
            <p:cNvSpPr txBox="1">
              <a:spLocks noChangeAspect="1" noChangeArrowheads="1"/>
            </p:cNvSpPr>
            <p:nvPr/>
          </p:nvSpPr>
          <p:spPr bwMode="auto">
            <a:xfrm>
              <a:off x="8985601" y="4011710"/>
              <a:ext cx="691806"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ss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77" name="Straight Connector 176">
              <a:extLst>
                <a:ext uri="{FF2B5EF4-FFF2-40B4-BE49-F238E27FC236}">
                  <a16:creationId xmlns:a16="http://schemas.microsoft.com/office/drawing/2014/main" id="{B8853A4F-2335-4A01-B56B-4F4CFFA655D4}"/>
                </a:ext>
              </a:extLst>
            </p:cNvPr>
            <p:cNvCxnSpPr>
              <a:cxnSpLocks/>
            </p:cNvCxnSpPr>
            <p:nvPr/>
          </p:nvCxnSpPr>
          <p:spPr bwMode="auto">
            <a:xfrm>
              <a:off x="6599230" y="4151834"/>
              <a:ext cx="5130070"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78" name="Straight Connector 177">
              <a:extLst>
                <a:ext uri="{FF2B5EF4-FFF2-40B4-BE49-F238E27FC236}">
                  <a16:creationId xmlns:a16="http://schemas.microsoft.com/office/drawing/2014/main" id="{EBC80CB4-02A8-4D4F-AAAE-64E7B2ABD4DB}"/>
                </a:ext>
              </a:extLst>
            </p:cNvPr>
            <p:cNvCxnSpPr>
              <a:cxnSpLocks/>
            </p:cNvCxnSpPr>
            <p:nvPr/>
          </p:nvCxnSpPr>
          <p:spPr bwMode="auto">
            <a:xfrm>
              <a:off x="7193312" y="3806747"/>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79" name="Straight Connector 178">
              <a:extLst>
                <a:ext uri="{FF2B5EF4-FFF2-40B4-BE49-F238E27FC236}">
                  <a16:creationId xmlns:a16="http://schemas.microsoft.com/office/drawing/2014/main" id="{31C14685-8155-4EDA-A32C-61A13BBDC7D8}"/>
                </a:ext>
              </a:extLst>
            </p:cNvPr>
            <p:cNvCxnSpPr>
              <a:cxnSpLocks/>
            </p:cNvCxnSpPr>
            <p:nvPr/>
          </p:nvCxnSpPr>
          <p:spPr bwMode="auto">
            <a:xfrm>
              <a:off x="6544168" y="3795806"/>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0" name="Straight Connector 179">
              <a:extLst>
                <a:ext uri="{FF2B5EF4-FFF2-40B4-BE49-F238E27FC236}">
                  <a16:creationId xmlns:a16="http://schemas.microsoft.com/office/drawing/2014/main" id="{0F34041A-E261-4883-8518-6B44D017C5C7}"/>
                </a:ext>
              </a:extLst>
            </p:cNvPr>
            <p:cNvCxnSpPr>
              <a:cxnSpLocks/>
            </p:cNvCxnSpPr>
            <p:nvPr/>
          </p:nvCxnSpPr>
          <p:spPr bwMode="auto">
            <a:xfrm>
              <a:off x="7827495" y="3801518"/>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1" name="Straight Connector 180">
              <a:extLst>
                <a:ext uri="{FF2B5EF4-FFF2-40B4-BE49-F238E27FC236}">
                  <a16:creationId xmlns:a16="http://schemas.microsoft.com/office/drawing/2014/main" id="{14EDD67B-8C93-4FF5-A208-BCF3D6E78533}"/>
                </a:ext>
              </a:extLst>
            </p:cNvPr>
            <p:cNvCxnSpPr>
              <a:cxnSpLocks/>
              <a:endCxn id="224" idx="0"/>
            </p:cNvCxnSpPr>
            <p:nvPr/>
          </p:nvCxnSpPr>
          <p:spPr bwMode="auto">
            <a:xfrm>
              <a:off x="8268009" y="4188192"/>
              <a:ext cx="6474" cy="39882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2" name="Straight Connector 181">
              <a:extLst>
                <a:ext uri="{FF2B5EF4-FFF2-40B4-BE49-F238E27FC236}">
                  <a16:creationId xmlns:a16="http://schemas.microsoft.com/office/drawing/2014/main" id="{BB756A16-E5B5-43B6-B539-CF828D690739}"/>
                </a:ext>
              </a:extLst>
            </p:cNvPr>
            <p:cNvCxnSpPr>
              <a:cxnSpLocks/>
              <a:endCxn id="225" idx="0"/>
            </p:cNvCxnSpPr>
            <p:nvPr/>
          </p:nvCxnSpPr>
          <p:spPr bwMode="auto">
            <a:xfrm>
              <a:off x="9578093" y="4177654"/>
              <a:ext cx="10536" cy="4182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3" name="Straight Connector 182">
              <a:extLst>
                <a:ext uri="{FF2B5EF4-FFF2-40B4-BE49-F238E27FC236}">
                  <a16:creationId xmlns:a16="http://schemas.microsoft.com/office/drawing/2014/main" id="{E93C1A28-E647-466D-926E-E2547BE7B07D}"/>
                </a:ext>
              </a:extLst>
            </p:cNvPr>
            <p:cNvCxnSpPr>
              <a:cxnSpLocks/>
            </p:cNvCxnSpPr>
            <p:nvPr/>
          </p:nvCxnSpPr>
          <p:spPr bwMode="auto">
            <a:xfrm>
              <a:off x="8491653" y="3796056"/>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4" name="Straight Connector 183">
              <a:extLst>
                <a:ext uri="{FF2B5EF4-FFF2-40B4-BE49-F238E27FC236}">
                  <a16:creationId xmlns:a16="http://schemas.microsoft.com/office/drawing/2014/main" id="{3355044B-8290-4C9A-AB8B-EF474D657106}"/>
                </a:ext>
              </a:extLst>
            </p:cNvPr>
            <p:cNvCxnSpPr>
              <a:cxnSpLocks/>
            </p:cNvCxnSpPr>
            <p:nvPr/>
          </p:nvCxnSpPr>
          <p:spPr bwMode="auto">
            <a:xfrm>
              <a:off x="9148400" y="3790490"/>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5" name="Straight Connector 184">
              <a:extLst>
                <a:ext uri="{FF2B5EF4-FFF2-40B4-BE49-F238E27FC236}">
                  <a16:creationId xmlns:a16="http://schemas.microsoft.com/office/drawing/2014/main" id="{014C3697-A27E-40C5-9A9E-B265EE6EE7A9}"/>
                </a:ext>
              </a:extLst>
            </p:cNvPr>
            <p:cNvCxnSpPr>
              <a:cxnSpLocks/>
            </p:cNvCxnSpPr>
            <p:nvPr/>
          </p:nvCxnSpPr>
          <p:spPr bwMode="auto">
            <a:xfrm>
              <a:off x="10446007" y="3796056"/>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6" name="Straight Connector 185">
              <a:extLst>
                <a:ext uri="{FF2B5EF4-FFF2-40B4-BE49-F238E27FC236}">
                  <a16:creationId xmlns:a16="http://schemas.microsoft.com/office/drawing/2014/main" id="{97DA1147-76BC-4E55-9A89-60104D5EA21E}"/>
                </a:ext>
              </a:extLst>
            </p:cNvPr>
            <p:cNvCxnSpPr>
              <a:cxnSpLocks/>
            </p:cNvCxnSpPr>
            <p:nvPr/>
          </p:nvCxnSpPr>
          <p:spPr bwMode="auto">
            <a:xfrm>
              <a:off x="11619780" y="3806747"/>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87" name="Oval 186">
              <a:extLst>
                <a:ext uri="{FF2B5EF4-FFF2-40B4-BE49-F238E27FC236}">
                  <a16:creationId xmlns:a16="http://schemas.microsoft.com/office/drawing/2014/main" id="{2DC1BE39-520B-44CC-8023-9BFB446618E7}"/>
                </a:ext>
              </a:extLst>
            </p:cNvPr>
            <p:cNvSpPr/>
            <p:nvPr/>
          </p:nvSpPr>
          <p:spPr bwMode="auto">
            <a:xfrm>
              <a:off x="6478569" y="3889808"/>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8" name="Oval 187">
              <a:extLst>
                <a:ext uri="{FF2B5EF4-FFF2-40B4-BE49-F238E27FC236}">
                  <a16:creationId xmlns:a16="http://schemas.microsoft.com/office/drawing/2014/main" id="{E3266ECC-BD42-46C6-B98D-E0D7D970AB8A}"/>
                </a:ext>
              </a:extLst>
            </p:cNvPr>
            <p:cNvSpPr/>
            <p:nvPr/>
          </p:nvSpPr>
          <p:spPr bwMode="auto">
            <a:xfrm>
              <a:off x="7773052" y="3901093"/>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9" name="Oval 188">
              <a:extLst>
                <a:ext uri="{FF2B5EF4-FFF2-40B4-BE49-F238E27FC236}">
                  <a16:creationId xmlns:a16="http://schemas.microsoft.com/office/drawing/2014/main" id="{B60D93D2-FAF7-4207-9A34-8342F83DF6A1}"/>
                </a:ext>
              </a:extLst>
            </p:cNvPr>
            <p:cNvSpPr/>
            <p:nvPr/>
          </p:nvSpPr>
          <p:spPr bwMode="auto">
            <a:xfrm>
              <a:off x="8432189" y="3895682"/>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0" name="Oval 189">
              <a:extLst>
                <a:ext uri="{FF2B5EF4-FFF2-40B4-BE49-F238E27FC236}">
                  <a16:creationId xmlns:a16="http://schemas.microsoft.com/office/drawing/2014/main" id="{97BFDDAA-F13A-4406-8BCF-15C22C7F463D}"/>
                </a:ext>
              </a:extLst>
            </p:cNvPr>
            <p:cNvSpPr/>
            <p:nvPr/>
          </p:nvSpPr>
          <p:spPr bwMode="auto">
            <a:xfrm>
              <a:off x="9089064" y="3889993"/>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1" name="Oval 190">
              <a:extLst>
                <a:ext uri="{FF2B5EF4-FFF2-40B4-BE49-F238E27FC236}">
                  <a16:creationId xmlns:a16="http://schemas.microsoft.com/office/drawing/2014/main" id="{46C49097-E57A-4992-A4C5-A188963F8DE1}"/>
                </a:ext>
              </a:extLst>
            </p:cNvPr>
            <p:cNvSpPr/>
            <p:nvPr/>
          </p:nvSpPr>
          <p:spPr bwMode="auto">
            <a:xfrm>
              <a:off x="10384343" y="3885392"/>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2" name="Oval 191">
              <a:extLst>
                <a:ext uri="{FF2B5EF4-FFF2-40B4-BE49-F238E27FC236}">
                  <a16:creationId xmlns:a16="http://schemas.microsoft.com/office/drawing/2014/main" id="{C6184552-DBD3-43A5-991A-C0CDC812831B}"/>
                </a:ext>
              </a:extLst>
            </p:cNvPr>
            <p:cNvSpPr/>
            <p:nvPr/>
          </p:nvSpPr>
          <p:spPr bwMode="auto">
            <a:xfrm>
              <a:off x="11565825" y="3895955"/>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3" name="Oval 192">
              <a:extLst>
                <a:ext uri="{FF2B5EF4-FFF2-40B4-BE49-F238E27FC236}">
                  <a16:creationId xmlns:a16="http://schemas.microsoft.com/office/drawing/2014/main" id="{2D1FF810-0395-4559-BBC8-21C8CE51FA82}"/>
                </a:ext>
              </a:extLst>
            </p:cNvPr>
            <p:cNvSpPr/>
            <p:nvPr/>
          </p:nvSpPr>
          <p:spPr bwMode="auto">
            <a:xfrm>
              <a:off x="8212080" y="4309690"/>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4" name="Oval 193">
              <a:extLst>
                <a:ext uri="{FF2B5EF4-FFF2-40B4-BE49-F238E27FC236}">
                  <a16:creationId xmlns:a16="http://schemas.microsoft.com/office/drawing/2014/main" id="{04016646-2F93-4C33-B3D1-C13F99D67A44}"/>
                </a:ext>
              </a:extLst>
            </p:cNvPr>
            <p:cNvSpPr/>
            <p:nvPr/>
          </p:nvSpPr>
          <p:spPr bwMode="auto">
            <a:xfrm>
              <a:off x="9518968" y="4304035"/>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5" name="Text Box 144">
              <a:extLst>
                <a:ext uri="{FF2B5EF4-FFF2-40B4-BE49-F238E27FC236}">
                  <a16:creationId xmlns:a16="http://schemas.microsoft.com/office/drawing/2014/main" id="{6BF5A88C-E662-4BA8-8197-1ADCB50879BC}"/>
                </a:ext>
              </a:extLst>
            </p:cNvPr>
            <p:cNvSpPr txBox="1">
              <a:spLocks noChangeAspect="1" noChangeArrowheads="1"/>
            </p:cNvSpPr>
            <p:nvPr/>
          </p:nvSpPr>
          <p:spPr bwMode="auto">
            <a:xfrm>
              <a:off x="10258240" y="4019818"/>
              <a:ext cx="691806"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s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96" name="Straight Connector 133">
              <a:extLst>
                <a:ext uri="{FF2B5EF4-FFF2-40B4-BE49-F238E27FC236}">
                  <a16:creationId xmlns:a16="http://schemas.microsoft.com/office/drawing/2014/main" id="{E9A97A18-7CF2-4E6A-BE96-82491F2A4C70}"/>
                </a:ext>
              </a:extLst>
            </p:cNvPr>
            <p:cNvCxnSpPr>
              <a:cxnSpLocks/>
              <a:stCxn id="160" idx="1"/>
              <a:endCxn id="224" idx="1"/>
            </p:cNvCxnSpPr>
            <p:nvPr/>
          </p:nvCxnSpPr>
          <p:spPr bwMode="auto">
            <a:xfrm flipV="1">
              <a:off x="6511536" y="4792822"/>
              <a:ext cx="1600777" cy="651389"/>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97" name="Text Box 144">
              <a:extLst>
                <a:ext uri="{FF2B5EF4-FFF2-40B4-BE49-F238E27FC236}">
                  <a16:creationId xmlns:a16="http://schemas.microsoft.com/office/drawing/2014/main" id="{724D46ED-5F2B-46EA-B662-1F86FCA6C505}"/>
                </a:ext>
              </a:extLst>
            </p:cNvPr>
            <p:cNvSpPr txBox="1">
              <a:spLocks noChangeAspect="1" noChangeArrowheads="1"/>
            </p:cNvSpPr>
            <p:nvPr/>
          </p:nvSpPr>
          <p:spPr bwMode="auto">
            <a:xfrm>
              <a:off x="6382368" y="2513703"/>
              <a:ext cx="1010634" cy="13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050" b="0" i="0" u="none" strike="noStrike" kern="1200" cap="none" spc="0" normalizeH="0" baseline="0" noProof="0">
                  <a:ln>
                    <a:noFill/>
                  </a:ln>
                  <a:solidFill>
                    <a:srgbClr val="181818"/>
                  </a:solidFill>
                  <a:effectLst/>
                  <a:uLnTx/>
                  <a:uFillTx/>
                  <a:latin typeface="Ericsson Hilda"/>
                  <a:ea typeface="MS PGothic" charset="-128"/>
                  <a:cs typeface="+mn-cs"/>
                </a:rPr>
                <a:t>5GC</a:t>
              </a:r>
            </a:p>
          </p:txBody>
        </p:sp>
        <p:cxnSp>
          <p:nvCxnSpPr>
            <p:cNvPr id="198" name="Straight Connector 197">
              <a:extLst>
                <a:ext uri="{FF2B5EF4-FFF2-40B4-BE49-F238E27FC236}">
                  <a16:creationId xmlns:a16="http://schemas.microsoft.com/office/drawing/2014/main" id="{553A589F-AD2B-42DC-8F32-E467422C83FC}"/>
                </a:ext>
              </a:extLst>
            </p:cNvPr>
            <p:cNvCxnSpPr>
              <a:cxnSpLocks/>
              <a:stCxn id="236" idx="2"/>
            </p:cNvCxnSpPr>
            <p:nvPr/>
          </p:nvCxnSpPr>
          <p:spPr bwMode="auto">
            <a:xfrm flipH="1">
              <a:off x="7500902" y="3109770"/>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99" name="Text Box 144">
              <a:extLst>
                <a:ext uri="{FF2B5EF4-FFF2-40B4-BE49-F238E27FC236}">
                  <a16:creationId xmlns:a16="http://schemas.microsoft.com/office/drawing/2014/main" id="{19D08EA8-73DE-49A3-9A9D-816022E31B4D}"/>
                </a:ext>
              </a:extLst>
            </p:cNvPr>
            <p:cNvSpPr txBox="1">
              <a:spLocks noChangeAspect="1" noChangeArrowheads="1"/>
            </p:cNvSpPr>
            <p:nvPr/>
          </p:nvSpPr>
          <p:spPr bwMode="auto">
            <a:xfrm>
              <a:off x="7323066" y="3180556"/>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s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200" name="Oval 199">
              <a:extLst>
                <a:ext uri="{FF2B5EF4-FFF2-40B4-BE49-F238E27FC236}">
                  <a16:creationId xmlns:a16="http://schemas.microsoft.com/office/drawing/2014/main" id="{668E40C0-9EBC-4D62-B336-BE2B48512F2B}"/>
                </a:ext>
              </a:extLst>
            </p:cNvPr>
            <p:cNvSpPr/>
            <p:nvPr/>
          </p:nvSpPr>
          <p:spPr bwMode="auto">
            <a:xfrm>
              <a:off x="7435559" y="3184279"/>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1" name="Text Box 144">
              <a:extLst>
                <a:ext uri="{FF2B5EF4-FFF2-40B4-BE49-F238E27FC236}">
                  <a16:creationId xmlns:a16="http://schemas.microsoft.com/office/drawing/2014/main" id="{420C1CE0-1FB1-4514-9DB5-2C7FD1F3AE10}"/>
                </a:ext>
              </a:extLst>
            </p:cNvPr>
            <p:cNvSpPr txBox="1">
              <a:spLocks noChangeAspect="1" noChangeArrowheads="1"/>
            </p:cNvSpPr>
            <p:nvPr/>
          </p:nvSpPr>
          <p:spPr bwMode="auto">
            <a:xfrm>
              <a:off x="8691143" y="3197644"/>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5g-eir</a:t>
              </a:r>
            </a:p>
          </p:txBody>
        </p:sp>
        <p:sp>
          <p:nvSpPr>
            <p:cNvPr id="202" name="Text Box 144">
              <a:extLst>
                <a:ext uri="{FF2B5EF4-FFF2-40B4-BE49-F238E27FC236}">
                  <a16:creationId xmlns:a16="http://schemas.microsoft.com/office/drawing/2014/main" id="{D097E0B8-70D7-456A-869A-9619FE50ABA9}"/>
                </a:ext>
              </a:extLst>
            </p:cNvPr>
            <p:cNvSpPr txBox="1">
              <a:spLocks noChangeAspect="1" noChangeArrowheads="1"/>
            </p:cNvSpPr>
            <p:nvPr/>
          </p:nvSpPr>
          <p:spPr bwMode="auto">
            <a:xfrm>
              <a:off x="9257932" y="3198043"/>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ch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03" name="Straight Connector 202">
              <a:extLst>
                <a:ext uri="{FF2B5EF4-FFF2-40B4-BE49-F238E27FC236}">
                  <a16:creationId xmlns:a16="http://schemas.microsoft.com/office/drawing/2014/main" id="{2D155CD5-287F-457E-A1A0-14B54444DD16}"/>
                </a:ext>
              </a:extLst>
            </p:cNvPr>
            <p:cNvCxnSpPr>
              <a:cxnSpLocks/>
            </p:cNvCxnSpPr>
            <p:nvPr/>
          </p:nvCxnSpPr>
          <p:spPr bwMode="auto">
            <a:xfrm>
              <a:off x="10955833" y="2955535"/>
              <a:ext cx="639316" cy="0"/>
            </a:xfrm>
            <a:prstGeom prst="line">
              <a:avLst/>
            </a:prstGeom>
            <a:solidFill>
              <a:schemeClr val="accent1"/>
            </a:solidFill>
            <a:ln w="3175" cap="flat" cmpd="sng" algn="ctr">
              <a:solidFill>
                <a:schemeClr val="tx1"/>
              </a:solidFill>
              <a:prstDash val="solid"/>
              <a:round/>
              <a:headEnd type="none" w="med" len="med"/>
              <a:tailEnd type="none"/>
            </a:ln>
            <a:effectLst/>
          </p:spPr>
        </p:cxnSp>
        <p:cxnSp>
          <p:nvCxnSpPr>
            <p:cNvPr id="204" name="Straight Connector 203">
              <a:extLst>
                <a:ext uri="{FF2B5EF4-FFF2-40B4-BE49-F238E27FC236}">
                  <a16:creationId xmlns:a16="http://schemas.microsoft.com/office/drawing/2014/main" id="{A670E2EA-93E9-4567-AFF2-B4E094D7CE4B}"/>
                </a:ext>
              </a:extLst>
            </p:cNvPr>
            <p:cNvCxnSpPr>
              <a:cxnSpLocks/>
            </p:cNvCxnSpPr>
            <p:nvPr/>
          </p:nvCxnSpPr>
          <p:spPr bwMode="auto">
            <a:xfrm>
              <a:off x="6852403" y="2995730"/>
              <a:ext cx="8656" cy="115570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05" name="Text Box 144">
              <a:extLst>
                <a:ext uri="{FF2B5EF4-FFF2-40B4-BE49-F238E27FC236}">
                  <a16:creationId xmlns:a16="http://schemas.microsoft.com/office/drawing/2014/main" id="{04065E67-BDAC-4F80-BB21-2491512A7336}"/>
                </a:ext>
              </a:extLst>
            </p:cNvPr>
            <p:cNvSpPr txBox="1">
              <a:spLocks noChangeAspect="1" noChangeArrowheads="1"/>
            </p:cNvSpPr>
            <p:nvPr/>
          </p:nvSpPr>
          <p:spPr bwMode="auto">
            <a:xfrm>
              <a:off x="6631506" y="3177484"/>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r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206" name="Oval 205">
              <a:extLst>
                <a:ext uri="{FF2B5EF4-FFF2-40B4-BE49-F238E27FC236}">
                  <a16:creationId xmlns:a16="http://schemas.microsoft.com/office/drawing/2014/main" id="{BFB18122-EC98-489D-80FD-D9439E4A08E7}"/>
                </a:ext>
              </a:extLst>
            </p:cNvPr>
            <p:cNvSpPr/>
            <p:nvPr/>
          </p:nvSpPr>
          <p:spPr bwMode="auto">
            <a:xfrm>
              <a:off x="6789565" y="3177588"/>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7" name="Text Box 144">
              <a:extLst>
                <a:ext uri="{FF2B5EF4-FFF2-40B4-BE49-F238E27FC236}">
                  <a16:creationId xmlns:a16="http://schemas.microsoft.com/office/drawing/2014/main" id="{6EC9662F-3D4E-483E-8DCA-CF96CF2B8C53}"/>
                </a:ext>
              </a:extLst>
            </p:cNvPr>
            <p:cNvSpPr txBox="1">
              <a:spLocks noChangeAspect="1" noChangeArrowheads="1"/>
            </p:cNvSpPr>
            <p:nvPr/>
          </p:nvSpPr>
          <p:spPr bwMode="auto">
            <a:xfrm>
              <a:off x="10464065" y="4374959"/>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wda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08" name="Straight Connector 207">
              <a:extLst>
                <a:ext uri="{FF2B5EF4-FFF2-40B4-BE49-F238E27FC236}">
                  <a16:creationId xmlns:a16="http://schemas.microsoft.com/office/drawing/2014/main" id="{CCF3F67C-71BE-4D40-A57C-1A499BE5C819}"/>
                </a:ext>
              </a:extLst>
            </p:cNvPr>
            <p:cNvCxnSpPr>
              <a:cxnSpLocks/>
              <a:endCxn id="252" idx="0"/>
            </p:cNvCxnSpPr>
            <p:nvPr/>
          </p:nvCxnSpPr>
          <p:spPr bwMode="auto">
            <a:xfrm>
              <a:off x="10574290" y="4193464"/>
              <a:ext cx="11010" cy="3997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09" name="Oval 208">
              <a:extLst>
                <a:ext uri="{FF2B5EF4-FFF2-40B4-BE49-F238E27FC236}">
                  <a16:creationId xmlns:a16="http://schemas.microsoft.com/office/drawing/2014/main" id="{8C1F63A6-7553-4261-AFA8-EE50241E4CB7}"/>
                </a:ext>
              </a:extLst>
            </p:cNvPr>
            <p:cNvSpPr/>
            <p:nvPr/>
          </p:nvSpPr>
          <p:spPr bwMode="auto">
            <a:xfrm>
              <a:off x="10518361" y="4314962"/>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10" name="Straight Connector 209">
              <a:extLst>
                <a:ext uri="{FF2B5EF4-FFF2-40B4-BE49-F238E27FC236}">
                  <a16:creationId xmlns:a16="http://schemas.microsoft.com/office/drawing/2014/main" id="{B3E1C242-9C73-4765-9D93-D373D2DAA931}"/>
                </a:ext>
              </a:extLst>
            </p:cNvPr>
            <p:cNvCxnSpPr>
              <a:cxnSpLocks/>
              <a:stCxn id="224" idx="2"/>
              <a:endCxn id="222" idx="0"/>
            </p:cNvCxnSpPr>
            <p:nvPr/>
          </p:nvCxnSpPr>
          <p:spPr bwMode="auto">
            <a:xfrm flipH="1">
              <a:off x="8268009" y="4998632"/>
              <a:ext cx="6474" cy="77872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11" name="Text Box 144">
              <a:extLst>
                <a:ext uri="{FF2B5EF4-FFF2-40B4-BE49-F238E27FC236}">
                  <a16:creationId xmlns:a16="http://schemas.microsoft.com/office/drawing/2014/main" id="{8B6489C1-AE8F-49B5-A3C9-94516CE0A65F}"/>
                </a:ext>
              </a:extLst>
            </p:cNvPr>
            <p:cNvSpPr txBox="1">
              <a:spLocks noChangeAspect="1" noChangeArrowheads="1"/>
            </p:cNvSpPr>
            <p:nvPr/>
          </p:nvSpPr>
          <p:spPr bwMode="auto">
            <a:xfrm>
              <a:off x="8003109" y="5163159"/>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212" name="Line 30">
              <a:extLst>
                <a:ext uri="{FF2B5EF4-FFF2-40B4-BE49-F238E27FC236}">
                  <a16:creationId xmlns:a16="http://schemas.microsoft.com/office/drawing/2014/main" id="{6E742117-2D80-4644-BCF4-06045231DDDA}"/>
                </a:ext>
              </a:extLst>
            </p:cNvPr>
            <p:cNvSpPr>
              <a:spLocks noChangeShapeType="1"/>
            </p:cNvSpPr>
            <p:nvPr/>
          </p:nvSpPr>
          <p:spPr bwMode="auto">
            <a:xfrm flipV="1">
              <a:off x="8517289" y="5509664"/>
              <a:ext cx="909607" cy="473928"/>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13" name="Text Box 144">
              <a:extLst>
                <a:ext uri="{FF2B5EF4-FFF2-40B4-BE49-F238E27FC236}">
                  <a16:creationId xmlns:a16="http://schemas.microsoft.com/office/drawing/2014/main" id="{52E8C226-3543-4B39-8B3A-5C0ED2CE7021}"/>
                </a:ext>
              </a:extLst>
            </p:cNvPr>
            <p:cNvSpPr txBox="1">
              <a:spLocks noChangeAspect="1" noChangeArrowheads="1"/>
            </p:cNvSpPr>
            <p:nvPr/>
          </p:nvSpPr>
          <p:spPr bwMode="auto">
            <a:xfrm>
              <a:off x="8379348" y="5643141"/>
              <a:ext cx="893909" cy="12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214" name="Line 30">
              <a:extLst>
                <a:ext uri="{FF2B5EF4-FFF2-40B4-BE49-F238E27FC236}">
                  <a16:creationId xmlns:a16="http://schemas.microsoft.com/office/drawing/2014/main" id="{0F296324-9B10-4221-ABBC-94643BACDCDA}"/>
                </a:ext>
              </a:extLst>
            </p:cNvPr>
            <p:cNvSpPr>
              <a:spLocks noChangeShapeType="1"/>
            </p:cNvSpPr>
            <p:nvPr/>
          </p:nvSpPr>
          <p:spPr bwMode="auto">
            <a:xfrm>
              <a:off x="6914437" y="6010292"/>
              <a:ext cx="1139769"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15" name="TextBox 214">
              <a:extLst>
                <a:ext uri="{FF2B5EF4-FFF2-40B4-BE49-F238E27FC236}">
                  <a16:creationId xmlns:a16="http://schemas.microsoft.com/office/drawing/2014/main" id="{EE16A8FA-1BF0-4E85-BF91-8B94313F9281}"/>
                </a:ext>
              </a:extLst>
            </p:cNvPr>
            <p:cNvSpPr txBox="1"/>
            <p:nvPr/>
          </p:nvSpPr>
          <p:spPr bwMode="auto">
            <a:xfrm>
              <a:off x="6063713" y="5183487"/>
              <a:ext cx="457365" cy="554154"/>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NG-RAN</a:t>
              </a:r>
            </a:p>
          </p:txBody>
        </p:sp>
        <p:sp>
          <p:nvSpPr>
            <p:cNvPr id="216" name="TextBox 215">
              <a:extLst>
                <a:ext uri="{FF2B5EF4-FFF2-40B4-BE49-F238E27FC236}">
                  <a16:creationId xmlns:a16="http://schemas.microsoft.com/office/drawing/2014/main" id="{14B4D1B4-0C4F-45AC-91B6-4D9B5AA91045}"/>
                </a:ext>
              </a:extLst>
            </p:cNvPr>
            <p:cNvSpPr txBox="1"/>
            <p:nvPr/>
          </p:nvSpPr>
          <p:spPr bwMode="auto">
            <a:xfrm>
              <a:off x="6594967" y="5687022"/>
              <a:ext cx="518946" cy="669472"/>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Segoe UI" panose="020B0502040204020203" pitchFamily="34" charset="0"/>
                  <a:cs typeface="Arial" panose="020B0604020202020204" pitchFamily="34" charset="0"/>
                </a:rPr>
                <a:t>Non-3GPP access</a:t>
              </a:r>
            </a:p>
          </p:txBody>
        </p:sp>
        <p:sp>
          <p:nvSpPr>
            <p:cNvPr id="219" name="TextBox 218">
              <a:extLst>
                <a:ext uri="{FF2B5EF4-FFF2-40B4-BE49-F238E27FC236}">
                  <a16:creationId xmlns:a16="http://schemas.microsoft.com/office/drawing/2014/main" id="{58702532-7612-4A6B-AE39-DC43B33B3661}"/>
                </a:ext>
              </a:extLst>
            </p:cNvPr>
            <p:cNvSpPr txBox="1"/>
            <p:nvPr/>
          </p:nvSpPr>
          <p:spPr bwMode="auto">
            <a:xfrm>
              <a:off x="7016108" y="3391255"/>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R</a:t>
              </a:r>
            </a:p>
          </p:txBody>
        </p:sp>
        <p:sp>
          <p:nvSpPr>
            <p:cNvPr id="222" name="TextBox 221">
              <a:extLst>
                <a:ext uri="{FF2B5EF4-FFF2-40B4-BE49-F238E27FC236}">
                  <a16:creationId xmlns:a16="http://schemas.microsoft.com/office/drawing/2014/main" id="{FD52D25C-0044-4C45-91F8-D061347A9125}"/>
                </a:ext>
              </a:extLst>
            </p:cNvPr>
            <p:cNvSpPr txBox="1"/>
            <p:nvPr/>
          </p:nvSpPr>
          <p:spPr bwMode="auto">
            <a:xfrm>
              <a:off x="8042213" y="5777354"/>
              <a:ext cx="451593"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900" b="0" i="0" u="none" strike="noStrike" kern="1200" cap="none" spc="0" normalizeH="0" baseline="0" noProof="0">
                  <a:ln>
                    <a:noFill/>
                  </a:ln>
                  <a:solidFill>
                    <a:srgbClr val="181818"/>
                  </a:solidFill>
                  <a:effectLst/>
                  <a:uLnTx/>
                  <a:uFillTx/>
                  <a:latin typeface="Ericsson Hilda"/>
                  <a:ea typeface="+mn-ea"/>
                  <a:cs typeface="+mn-cs"/>
                </a:rPr>
                <a:t>N3IWF</a:t>
              </a: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3" name="TextBox 222">
              <a:extLst>
                <a:ext uri="{FF2B5EF4-FFF2-40B4-BE49-F238E27FC236}">
                  <a16:creationId xmlns:a16="http://schemas.microsoft.com/office/drawing/2014/main" id="{385FCF26-8F95-45EE-AFD8-5C2CE97469E5}"/>
                </a:ext>
              </a:extLst>
            </p:cNvPr>
            <p:cNvSpPr txBox="1"/>
            <p:nvPr/>
          </p:nvSpPr>
          <p:spPr bwMode="auto">
            <a:xfrm>
              <a:off x="6676616" y="2698150"/>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26" name="TextBox 225">
              <a:extLst>
                <a:ext uri="{FF2B5EF4-FFF2-40B4-BE49-F238E27FC236}">
                  <a16:creationId xmlns:a16="http://schemas.microsoft.com/office/drawing/2014/main" id="{C83F9BFD-E91F-4309-8F16-5D93620904D3}"/>
                </a:ext>
              </a:extLst>
            </p:cNvPr>
            <p:cNvSpPr txBox="1"/>
            <p:nvPr/>
          </p:nvSpPr>
          <p:spPr bwMode="auto">
            <a:xfrm>
              <a:off x="8976950" y="3379513"/>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227" name="TextBox 226">
              <a:extLst>
                <a:ext uri="{FF2B5EF4-FFF2-40B4-BE49-F238E27FC236}">
                  <a16:creationId xmlns:a16="http://schemas.microsoft.com/office/drawing/2014/main" id="{D2DF8785-97E1-44D4-8132-F8AADB4E0D45}"/>
                </a:ext>
              </a:extLst>
            </p:cNvPr>
            <p:cNvSpPr txBox="1"/>
            <p:nvPr/>
          </p:nvSpPr>
          <p:spPr bwMode="auto">
            <a:xfrm>
              <a:off x="10934811" y="3375329"/>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EF</a:t>
              </a:r>
            </a:p>
          </p:txBody>
        </p:sp>
        <p:sp>
          <p:nvSpPr>
            <p:cNvPr id="228" name="TextBox 227">
              <a:extLst>
                <a:ext uri="{FF2B5EF4-FFF2-40B4-BE49-F238E27FC236}">
                  <a16:creationId xmlns:a16="http://schemas.microsoft.com/office/drawing/2014/main" id="{6279F481-F3B2-480B-B330-105ECC76C190}"/>
                </a:ext>
              </a:extLst>
            </p:cNvPr>
            <p:cNvSpPr txBox="1"/>
            <p:nvPr/>
          </p:nvSpPr>
          <p:spPr bwMode="auto">
            <a:xfrm>
              <a:off x="11446089" y="3384186"/>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F</a:t>
              </a:r>
            </a:p>
          </p:txBody>
        </p:sp>
        <p:sp>
          <p:nvSpPr>
            <p:cNvPr id="230" name="TextBox 229">
              <a:extLst>
                <a:ext uri="{FF2B5EF4-FFF2-40B4-BE49-F238E27FC236}">
                  <a16:creationId xmlns:a16="http://schemas.microsoft.com/office/drawing/2014/main" id="{84BD9969-EAEB-44EB-B15B-3C5A675FE900}"/>
                </a:ext>
              </a:extLst>
            </p:cNvPr>
            <p:cNvSpPr txBox="1"/>
            <p:nvPr/>
          </p:nvSpPr>
          <p:spPr bwMode="auto">
            <a:xfrm>
              <a:off x="9302925" y="2716183"/>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CHF</a:t>
              </a:r>
            </a:p>
          </p:txBody>
        </p:sp>
        <p:sp>
          <p:nvSpPr>
            <p:cNvPr id="231" name="TextBox 230">
              <a:extLst>
                <a:ext uri="{FF2B5EF4-FFF2-40B4-BE49-F238E27FC236}">
                  <a16:creationId xmlns:a16="http://schemas.microsoft.com/office/drawing/2014/main" id="{FFDEB0A5-21E4-4E71-B39C-90D1DA49815A}"/>
                </a:ext>
              </a:extLst>
            </p:cNvPr>
            <p:cNvSpPr txBox="1"/>
            <p:nvPr/>
          </p:nvSpPr>
          <p:spPr bwMode="auto">
            <a:xfrm>
              <a:off x="10613697" y="2730943"/>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EPP</a:t>
              </a:r>
            </a:p>
          </p:txBody>
        </p:sp>
        <p:sp>
          <p:nvSpPr>
            <p:cNvPr id="232" name="TextBox 231">
              <a:extLst>
                <a:ext uri="{FF2B5EF4-FFF2-40B4-BE49-F238E27FC236}">
                  <a16:creationId xmlns:a16="http://schemas.microsoft.com/office/drawing/2014/main" id="{70D1398E-F1A9-421F-BC67-04B7B2BA8AC2}"/>
                </a:ext>
              </a:extLst>
            </p:cNvPr>
            <p:cNvSpPr txBox="1"/>
            <p:nvPr/>
          </p:nvSpPr>
          <p:spPr bwMode="auto">
            <a:xfrm>
              <a:off x="9972045" y="2721719"/>
              <a:ext cx="33218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GMLC</a:t>
              </a:r>
            </a:p>
          </p:txBody>
        </p:sp>
        <p:sp>
          <p:nvSpPr>
            <p:cNvPr id="233" name="TextBox 232">
              <a:extLst>
                <a:ext uri="{FF2B5EF4-FFF2-40B4-BE49-F238E27FC236}">
                  <a16:creationId xmlns:a16="http://schemas.microsoft.com/office/drawing/2014/main" id="{19440F58-6A35-45AB-BFFE-BDD4FAFC7CD1}"/>
                </a:ext>
              </a:extLst>
            </p:cNvPr>
            <p:cNvSpPr txBox="1"/>
            <p:nvPr/>
          </p:nvSpPr>
          <p:spPr bwMode="auto">
            <a:xfrm>
              <a:off x="10283298" y="3373717"/>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SF</a:t>
              </a:r>
            </a:p>
          </p:txBody>
        </p:sp>
        <p:sp>
          <p:nvSpPr>
            <p:cNvPr id="234" name="TextBox 233">
              <a:extLst>
                <a:ext uri="{FF2B5EF4-FFF2-40B4-BE49-F238E27FC236}">
                  <a16:creationId xmlns:a16="http://schemas.microsoft.com/office/drawing/2014/main" id="{009FBC3D-FCD8-4AB4-8608-C0E456F7EF8E}"/>
                </a:ext>
              </a:extLst>
            </p:cNvPr>
            <p:cNvSpPr txBox="1"/>
            <p:nvPr/>
          </p:nvSpPr>
          <p:spPr bwMode="auto">
            <a:xfrm>
              <a:off x="7983780" y="2701489"/>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BSF</a:t>
              </a:r>
            </a:p>
          </p:txBody>
        </p:sp>
        <p:sp>
          <p:nvSpPr>
            <p:cNvPr id="235" name="TextBox 234">
              <a:extLst>
                <a:ext uri="{FF2B5EF4-FFF2-40B4-BE49-F238E27FC236}">
                  <a16:creationId xmlns:a16="http://schemas.microsoft.com/office/drawing/2014/main" id="{03D4E4D7-FDD9-4044-A4F2-328DC42576AF}"/>
                </a:ext>
              </a:extLst>
            </p:cNvPr>
            <p:cNvSpPr txBox="1"/>
            <p:nvPr/>
          </p:nvSpPr>
          <p:spPr bwMode="auto">
            <a:xfrm>
              <a:off x="9629953" y="3375329"/>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LMF</a:t>
              </a:r>
            </a:p>
          </p:txBody>
        </p:sp>
        <p:sp>
          <p:nvSpPr>
            <p:cNvPr id="236" name="TextBox 235">
              <a:extLst>
                <a:ext uri="{FF2B5EF4-FFF2-40B4-BE49-F238E27FC236}">
                  <a16:creationId xmlns:a16="http://schemas.microsoft.com/office/drawing/2014/main" id="{30739297-0D49-4382-9DD0-67EAE6FA0305}"/>
                </a:ext>
              </a:extLst>
            </p:cNvPr>
            <p:cNvSpPr txBox="1"/>
            <p:nvPr/>
          </p:nvSpPr>
          <p:spPr bwMode="auto">
            <a:xfrm>
              <a:off x="7339443" y="2698150"/>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SF</a:t>
              </a:r>
            </a:p>
          </p:txBody>
        </p:sp>
        <p:cxnSp>
          <p:nvCxnSpPr>
            <p:cNvPr id="237" name="Straight Connector 236">
              <a:extLst>
                <a:ext uri="{FF2B5EF4-FFF2-40B4-BE49-F238E27FC236}">
                  <a16:creationId xmlns:a16="http://schemas.microsoft.com/office/drawing/2014/main" id="{59D697AD-2005-4082-90E1-ECE60FB97D01}"/>
                </a:ext>
              </a:extLst>
            </p:cNvPr>
            <p:cNvCxnSpPr>
              <a:cxnSpLocks/>
            </p:cNvCxnSpPr>
            <p:nvPr/>
          </p:nvCxnSpPr>
          <p:spPr bwMode="auto">
            <a:xfrm flipH="1">
              <a:off x="8165975" y="3118854"/>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38" name="Text Box 144">
              <a:extLst>
                <a:ext uri="{FF2B5EF4-FFF2-40B4-BE49-F238E27FC236}">
                  <a16:creationId xmlns:a16="http://schemas.microsoft.com/office/drawing/2014/main" id="{4514DAD9-DE9E-413F-8B93-84EEFFBF0A77}"/>
                </a:ext>
              </a:extLst>
            </p:cNvPr>
            <p:cNvSpPr txBox="1">
              <a:spLocks noChangeAspect="1" noChangeArrowheads="1"/>
            </p:cNvSpPr>
            <p:nvPr/>
          </p:nvSpPr>
          <p:spPr bwMode="auto">
            <a:xfrm>
              <a:off x="7957053" y="3189640"/>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bs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239" name="Oval 238">
              <a:extLst>
                <a:ext uri="{FF2B5EF4-FFF2-40B4-BE49-F238E27FC236}">
                  <a16:creationId xmlns:a16="http://schemas.microsoft.com/office/drawing/2014/main" id="{031D7EAA-D50C-49FF-95E9-E017D19B94D4}"/>
                </a:ext>
              </a:extLst>
            </p:cNvPr>
            <p:cNvSpPr/>
            <p:nvPr/>
          </p:nvSpPr>
          <p:spPr bwMode="auto">
            <a:xfrm>
              <a:off x="8100632" y="3193363"/>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40" name="Straight Connector 239">
              <a:extLst>
                <a:ext uri="{FF2B5EF4-FFF2-40B4-BE49-F238E27FC236}">
                  <a16:creationId xmlns:a16="http://schemas.microsoft.com/office/drawing/2014/main" id="{DA359C37-149D-4464-90E7-205A275C884B}"/>
                </a:ext>
              </a:extLst>
            </p:cNvPr>
            <p:cNvCxnSpPr>
              <a:cxnSpLocks/>
            </p:cNvCxnSpPr>
            <p:nvPr/>
          </p:nvCxnSpPr>
          <p:spPr bwMode="auto">
            <a:xfrm flipH="1">
              <a:off x="8815363" y="3120711"/>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41" name="Oval 240">
              <a:extLst>
                <a:ext uri="{FF2B5EF4-FFF2-40B4-BE49-F238E27FC236}">
                  <a16:creationId xmlns:a16="http://schemas.microsoft.com/office/drawing/2014/main" id="{D96006C4-9B78-4F48-8F80-E2BD5167A622}"/>
                </a:ext>
              </a:extLst>
            </p:cNvPr>
            <p:cNvSpPr/>
            <p:nvPr/>
          </p:nvSpPr>
          <p:spPr bwMode="auto">
            <a:xfrm>
              <a:off x="8750020" y="3195219"/>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42" name="Straight Connector 241">
              <a:extLst>
                <a:ext uri="{FF2B5EF4-FFF2-40B4-BE49-F238E27FC236}">
                  <a16:creationId xmlns:a16="http://schemas.microsoft.com/office/drawing/2014/main" id="{B144FF07-7C84-4DDB-8DF9-D4E8738042DF}"/>
                </a:ext>
              </a:extLst>
            </p:cNvPr>
            <p:cNvCxnSpPr>
              <a:cxnSpLocks/>
            </p:cNvCxnSpPr>
            <p:nvPr/>
          </p:nvCxnSpPr>
          <p:spPr bwMode="auto">
            <a:xfrm flipH="1">
              <a:off x="9458318" y="3129794"/>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43" name="Oval 242">
              <a:extLst>
                <a:ext uri="{FF2B5EF4-FFF2-40B4-BE49-F238E27FC236}">
                  <a16:creationId xmlns:a16="http://schemas.microsoft.com/office/drawing/2014/main" id="{74C4A8C9-A264-4D4E-A748-F6CDFD229B37}"/>
                </a:ext>
              </a:extLst>
            </p:cNvPr>
            <p:cNvSpPr/>
            <p:nvPr/>
          </p:nvSpPr>
          <p:spPr bwMode="auto">
            <a:xfrm>
              <a:off x="9392975" y="3204303"/>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44" name="Straight Connector 243">
              <a:extLst>
                <a:ext uri="{FF2B5EF4-FFF2-40B4-BE49-F238E27FC236}">
                  <a16:creationId xmlns:a16="http://schemas.microsoft.com/office/drawing/2014/main" id="{031C3177-F663-49A4-9881-797BC6E8F047}"/>
                </a:ext>
              </a:extLst>
            </p:cNvPr>
            <p:cNvCxnSpPr>
              <a:cxnSpLocks/>
            </p:cNvCxnSpPr>
            <p:nvPr/>
          </p:nvCxnSpPr>
          <p:spPr bwMode="auto">
            <a:xfrm flipH="1">
              <a:off x="10774008" y="3155362"/>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45" name="Oval 244">
              <a:extLst>
                <a:ext uri="{FF2B5EF4-FFF2-40B4-BE49-F238E27FC236}">
                  <a16:creationId xmlns:a16="http://schemas.microsoft.com/office/drawing/2014/main" id="{9EAF6A26-FF46-4944-B1F7-83A363DD8B82}"/>
                </a:ext>
              </a:extLst>
            </p:cNvPr>
            <p:cNvSpPr/>
            <p:nvPr/>
          </p:nvSpPr>
          <p:spPr bwMode="auto">
            <a:xfrm>
              <a:off x="10708665" y="3229871"/>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46" name="Text Box 144">
              <a:extLst>
                <a:ext uri="{FF2B5EF4-FFF2-40B4-BE49-F238E27FC236}">
                  <a16:creationId xmlns:a16="http://schemas.microsoft.com/office/drawing/2014/main" id="{298A9F3B-3EF7-4ADD-982F-441C6AE6FFF1}"/>
                </a:ext>
              </a:extLst>
            </p:cNvPr>
            <p:cNvSpPr txBox="1">
              <a:spLocks noChangeAspect="1" noChangeArrowheads="1"/>
            </p:cNvSpPr>
            <p:nvPr/>
          </p:nvSpPr>
          <p:spPr bwMode="auto">
            <a:xfrm>
              <a:off x="9618185" y="4022476"/>
              <a:ext cx="691806"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lm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47" name="Straight Connector 246">
              <a:extLst>
                <a:ext uri="{FF2B5EF4-FFF2-40B4-BE49-F238E27FC236}">
                  <a16:creationId xmlns:a16="http://schemas.microsoft.com/office/drawing/2014/main" id="{044FAF36-E660-4E73-93E4-0373845F6D5A}"/>
                </a:ext>
              </a:extLst>
            </p:cNvPr>
            <p:cNvCxnSpPr>
              <a:cxnSpLocks/>
            </p:cNvCxnSpPr>
            <p:nvPr/>
          </p:nvCxnSpPr>
          <p:spPr bwMode="auto">
            <a:xfrm>
              <a:off x="9796527" y="3801257"/>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48" name="Oval 247">
              <a:extLst>
                <a:ext uri="{FF2B5EF4-FFF2-40B4-BE49-F238E27FC236}">
                  <a16:creationId xmlns:a16="http://schemas.microsoft.com/office/drawing/2014/main" id="{CC442613-22AC-4E9A-9470-C1E8E52FD7C7}"/>
                </a:ext>
              </a:extLst>
            </p:cNvPr>
            <p:cNvSpPr/>
            <p:nvPr/>
          </p:nvSpPr>
          <p:spPr bwMode="auto">
            <a:xfrm>
              <a:off x="9737191" y="3900760"/>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49" name="Text Box 144">
              <a:extLst>
                <a:ext uri="{FF2B5EF4-FFF2-40B4-BE49-F238E27FC236}">
                  <a16:creationId xmlns:a16="http://schemas.microsoft.com/office/drawing/2014/main" id="{3B2B70DA-6C17-48D3-9B86-60DC1CD3FD09}"/>
                </a:ext>
              </a:extLst>
            </p:cNvPr>
            <p:cNvSpPr txBox="1">
              <a:spLocks noChangeAspect="1" noChangeArrowheads="1"/>
            </p:cNvSpPr>
            <p:nvPr/>
          </p:nvSpPr>
          <p:spPr bwMode="auto">
            <a:xfrm>
              <a:off x="9987971" y="3208772"/>
              <a:ext cx="893909"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gmlc</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50" name="Straight Connector 249">
              <a:extLst>
                <a:ext uri="{FF2B5EF4-FFF2-40B4-BE49-F238E27FC236}">
                  <a16:creationId xmlns:a16="http://schemas.microsoft.com/office/drawing/2014/main" id="{AB26D7E1-04B5-4884-99E7-EC9FF3649160}"/>
                </a:ext>
              </a:extLst>
            </p:cNvPr>
            <p:cNvCxnSpPr>
              <a:cxnSpLocks/>
            </p:cNvCxnSpPr>
            <p:nvPr/>
          </p:nvCxnSpPr>
          <p:spPr bwMode="auto">
            <a:xfrm flipH="1">
              <a:off x="10133435" y="3140524"/>
              <a:ext cx="712" cy="102049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51" name="Oval 250">
              <a:extLst>
                <a:ext uri="{FF2B5EF4-FFF2-40B4-BE49-F238E27FC236}">
                  <a16:creationId xmlns:a16="http://schemas.microsoft.com/office/drawing/2014/main" id="{E7641E70-48AE-4218-ABBC-CB33CB0826F3}"/>
                </a:ext>
              </a:extLst>
            </p:cNvPr>
            <p:cNvSpPr/>
            <p:nvPr/>
          </p:nvSpPr>
          <p:spPr bwMode="auto">
            <a:xfrm>
              <a:off x="10068092" y="3215032"/>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2" name="TextBox 251">
              <a:extLst>
                <a:ext uri="{FF2B5EF4-FFF2-40B4-BE49-F238E27FC236}">
                  <a16:creationId xmlns:a16="http://schemas.microsoft.com/office/drawing/2014/main" id="{4D59E313-1E46-495E-83D7-DACCAF125D36}"/>
                </a:ext>
              </a:extLst>
            </p:cNvPr>
            <p:cNvSpPr txBox="1"/>
            <p:nvPr/>
          </p:nvSpPr>
          <p:spPr bwMode="auto">
            <a:xfrm>
              <a:off x="10347875" y="4593254"/>
              <a:ext cx="474852"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WDAF</a:t>
              </a:r>
            </a:p>
          </p:txBody>
        </p:sp>
        <p:cxnSp>
          <p:nvCxnSpPr>
            <p:cNvPr id="253" name="Straight Connector 252">
              <a:extLst>
                <a:ext uri="{FF2B5EF4-FFF2-40B4-BE49-F238E27FC236}">
                  <a16:creationId xmlns:a16="http://schemas.microsoft.com/office/drawing/2014/main" id="{11D51EF5-16D5-43F6-8B90-BAF75422BF5F}"/>
                </a:ext>
              </a:extLst>
            </p:cNvPr>
            <p:cNvCxnSpPr>
              <a:cxnSpLocks/>
            </p:cNvCxnSpPr>
            <p:nvPr/>
          </p:nvCxnSpPr>
          <p:spPr bwMode="auto">
            <a:xfrm>
              <a:off x="11085539" y="3785732"/>
              <a:ext cx="6474" cy="34200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54" name="Oval 253">
              <a:extLst>
                <a:ext uri="{FF2B5EF4-FFF2-40B4-BE49-F238E27FC236}">
                  <a16:creationId xmlns:a16="http://schemas.microsoft.com/office/drawing/2014/main" id="{5C049102-1927-4C28-A682-706AF3078AEB}"/>
                </a:ext>
              </a:extLst>
            </p:cNvPr>
            <p:cNvSpPr/>
            <p:nvPr/>
          </p:nvSpPr>
          <p:spPr bwMode="auto">
            <a:xfrm>
              <a:off x="11023876" y="3875068"/>
              <a:ext cx="131198" cy="10044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5" name="Text Box 144">
              <a:extLst>
                <a:ext uri="{FF2B5EF4-FFF2-40B4-BE49-F238E27FC236}">
                  <a16:creationId xmlns:a16="http://schemas.microsoft.com/office/drawing/2014/main" id="{9173434E-6F9A-40F1-BF19-7EB329DAEC28}"/>
                </a:ext>
              </a:extLst>
            </p:cNvPr>
            <p:cNvSpPr txBox="1">
              <a:spLocks noChangeAspect="1" noChangeArrowheads="1"/>
            </p:cNvSpPr>
            <p:nvPr/>
          </p:nvSpPr>
          <p:spPr bwMode="auto">
            <a:xfrm>
              <a:off x="10913547" y="4015664"/>
              <a:ext cx="691806" cy="9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ef</a:t>
              </a:r>
              <a:endParaRPr kumimoji="0" lang="en-US" altLang="en-US" sz="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256" name="Group 255">
              <a:extLst>
                <a:ext uri="{FF2B5EF4-FFF2-40B4-BE49-F238E27FC236}">
                  <a16:creationId xmlns:a16="http://schemas.microsoft.com/office/drawing/2014/main" id="{0C7E24FD-F9AB-44D9-85FB-0124732F0B82}"/>
                </a:ext>
              </a:extLst>
            </p:cNvPr>
            <p:cNvGrpSpPr>
              <a:grpSpLocks noChangeAspect="1"/>
            </p:cNvGrpSpPr>
            <p:nvPr/>
          </p:nvGrpSpPr>
          <p:grpSpPr>
            <a:xfrm>
              <a:off x="6161582" y="4733254"/>
              <a:ext cx="278650" cy="309702"/>
              <a:chOff x="10129764" y="745508"/>
              <a:chExt cx="221963" cy="310748"/>
            </a:xfrm>
          </p:grpSpPr>
          <p:grpSp>
            <p:nvGrpSpPr>
              <p:cNvPr id="257" name="Group 256">
                <a:extLst>
                  <a:ext uri="{FF2B5EF4-FFF2-40B4-BE49-F238E27FC236}">
                    <a16:creationId xmlns:a16="http://schemas.microsoft.com/office/drawing/2014/main" id="{F105488A-05D6-4BE7-98D8-FB9BB00D5647}"/>
                  </a:ext>
                </a:extLst>
              </p:cNvPr>
              <p:cNvGrpSpPr>
                <a:grpSpLocks noChangeAspect="1"/>
              </p:cNvGrpSpPr>
              <p:nvPr/>
            </p:nvGrpSpPr>
            <p:grpSpPr>
              <a:xfrm>
                <a:off x="10129764" y="745508"/>
                <a:ext cx="221963" cy="310748"/>
                <a:chOff x="1373325" y="5272742"/>
                <a:chExt cx="428625" cy="600075"/>
              </a:xfrm>
            </p:grpSpPr>
            <p:sp>
              <p:nvSpPr>
                <p:cNvPr id="259" name="Rectangle 258">
                  <a:extLst>
                    <a:ext uri="{FF2B5EF4-FFF2-40B4-BE49-F238E27FC236}">
                      <a16:creationId xmlns:a16="http://schemas.microsoft.com/office/drawing/2014/main" id="{75C71CD2-4F0D-4221-AC9D-AC7B07F406F4}"/>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0" name="Graphic 259">
                  <a:extLst>
                    <a:ext uri="{FF2B5EF4-FFF2-40B4-BE49-F238E27FC236}">
                      <a16:creationId xmlns:a16="http://schemas.microsoft.com/office/drawing/2014/main" id="{E3DB290B-A91E-4EF5-A3D1-02311F32F7A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58" name="TextBox 257">
                <a:extLst>
                  <a:ext uri="{FF2B5EF4-FFF2-40B4-BE49-F238E27FC236}">
                    <a16:creationId xmlns:a16="http://schemas.microsoft.com/office/drawing/2014/main" id="{918268E3-4654-425F-959C-1750BBB25C17}"/>
                  </a:ext>
                </a:extLst>
              </p:cNvPr>
              <p:cNvSpPr txBox="1"/>
              <p:nvPr/>
            </p:nvSpPr>
            <p:spPr bwMode="auto">
              <a:xfrm>
                <a:off x="10129764" y="760261"/>
                <a:ext cx="60776" cy="175442"/>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9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261" name="Straight Connector 133">
              <a:extLst>
                <a:ext uri="{FF2B5EF4-FFF2-40B4-BE49-F238E27FC236}">
                  <a16:creationId xmlns:a16="http://schemas.microsoft.com/office/drawing/2014/main" id="{F96A304A-1BC4-4A52-9A98-F3E9931CD8ED}"/>
                </a:ext>
              </a:extLst>
            </p:cNvPr>
            <p:cNvCxnSpPr>
              <a:cxnSpLocks/>
              <a:stCxn id="262" idx="3"/>
            </p:cNvCxnSpPr>
            <p:nvPr/>
          </p:nvCxnSpPr>
          <p:spPr bwMode="auto">
            <a:xfrm flipV="1">
              <a:off x="6404865" y="4662370"/>
              <a:ext cx="1707448" cy="217237"/>
            </a:xfrm>
            <a:prstGeom prst="straightConnector1">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62" name="Text Box 144">
              <a:extLst>
                <a:ext uri="{FF2B5EF4-FFF2-40B4-BE49-F238E27FC236}">
                  <a16:creationId xmlns:a16="http://schemas.microsoft.com/office/drawing/2014/main" id="{9EF631F9-99A5-4385-A5BA-6268950ABE72}"/>
                </a:ext>
              </a:extLst>
            </p:cNvPr>
            <p:cNvSpPr txBox="1">
              <a:spLocks noChangeAspect="1" noChangeArrowheads="1"/>
            </p:cNvSpPr>
            <p:nvPr/>
          </p:nvSpPr>
          <p:spPr bwMode="auto">
            <a:xfrm>
              <a:off x="6192493" y="4710158"/>
              <a:ext cx="212372" cy="33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9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 UE</a:t>
              </a:r>
            </a:p>
          </p:txBody>
        </p:sp>
        <p:sp>
          <p:nvSpPr>
            <p:cNvPr id="263" name="Rectangle 262">
              <a:extLst>
                <a:ext uri="{FF2B5EF4-FFF2-40B4-BE49-F238E27FC236}">
                  <a16:creationId xmlns:a16="http://schemas.microsoft.com/office/drawing/2014/main" id="{4FF2F04B-10C6-4205-8466-A24A04CAAAAE}"/>
                </a:ext>
              </a:extLst>
            </p:cNvPr>
            <p:cNvSpPr/>
            <p:nvPr/>
          </p:nvSpPr>
          <p:spPr>
            <a:xfrm>
              <a:off x="9263969" y="5870041"/>
              <a:ext cx="2499231"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1" u="none" strike="noStrike" kern="0" cap="none" spc="0" normalizeH="0" baseline="0" noProof="0">
                  <a:ln>
                    <a:noFill/>
                  </a:ln>
                  <a:solidFill>
                    <a:srgbClr val="58585A"/>
                  </a:solidFill>
                  <a:effectLst/>
                  <a:uLnTx/>
                  <a:uFillTx/>
                  <a:latin typeface="+mn-lt"/>
                  <a:ea typeface="+mn-ea"/>
                  <a:cs typeface="Arial" panose="020B0604020202020204" pitchFamily="34" charset="0"/>
                </a:rPr>
                <a:t>SBA (Service-Based Architecture</a:t>
              </a:r>
              <a:r>
                <a:rPr kumimoji="0" lang="en-US" sz="900" b="0" i="1" u="none" strike="noStrike" kern="0" cap="none" spc="0" normalizeH="0" baseline="0" noProof="0">
                  <a:ln>
                    <a:noFill/>
                  </a:ln>
                  <a:solidFill>
                    <a:srgbClr val="58585A"/>
                  </a:solidFill>
                  <a:effectLst/>
                  <a:uLnTx/>
                  <a:uFillTx/>
                  <a:latin typeface="+mn-lt"/>
                  <a:ea typeface="+mn-ea"/>
                  <a:cs typeface="Arial" panose="020B0604020202020204" pitchFamily="34" charset="0"/>
                </a:rPr>
                <a:t>): Network Functions within the 5GC Control Plane (CP) use Service-Based Interfaces (SBI) for their interactions</a:t>
              </a:r>
              <a:endParaRPr kumimoji="0" lang="en-US" sz="900" b="0" i="1" u="none" strike="noStrike" kern="1200" cap="none" spc="0" normalizeH="0" baseline="0" noProof="0">
                <a:ln>
                  <a:noFill/>
                </a:ln>
                <a:solidFill>
                  <a:srgbClr val="58585A"/>
                </a:solidFill>
                <a:effectLst/>
                <a:uLnTx/>
                <a:uFillTx/>
                <a:latin typeface="+mn-lt"/>
                <a:ea typeface="+mn-ea"/>
                <a:cs typeface="Arial" panose="020B0604020202020204" pitchFamily="34" charset="0"/>
              </a:endParaRPr>
            </a:p>
          </p:txBody>
        </p:sp>
        <p:sp>
          <p:nvSpPr>
            <p:cNvPr id="221" name="TextBox 220">
              <a:extLst>
                <a:ext uri="{FF2B5EF4-FFF2-40B4-BE49-F238E27FC236}">
                  <a16:creationId xmlns:a16="http://schemas.microsoft.com/office/drawing/2014/main" id="{377E84A1-20D5-4DAC-A607-96C1061D5D4E}"/>
                </a:ext>
              </a:extLst>
            </p:cNvPr>
            <p:cNvSpPr txBox="1"/>
            <p:nvPr/>
          </p:nvSpPr>
          <p:spPr bwMode="auto">
            <a:xfrm>
              <a:off x="8329028" y="3389497"/>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224" name="TextBox 223">
              <a:extLst>
                <a:ext uri="{FF2B5EF4-FFF2-40B4-BE49-F238E27FC236}">
                  <a16:creationId xmlns:a16="http://schemas.microsoft.com/office/drawing/2014/main" id="{1E9A41AE-7069-403A-AD90-64A9E69B7D64}"/>
                </a:ext>
              </a:extLst>
            </p:cNvPr>
            <p:cNvSpPr txBox="1"/>
            <p:nvPr/>
          </p:nvSpPr>
          <p:spPr bwMode="auto">
            <a:xfrm>
              <a:off x="8112313" y="4587012"/>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25" name="TextBox 224">
              <a:extLst>
                <a:ext uri="{FF2B5EF4-FFF2-40B4-BE49-F238E27FC236}">
                  <a16:creationId xmlns:a16="http://schemas.microsoft.com/office/drawing/2014/main" id="{555CD60C-23DD-4AAE-A4F9-947B9C00CD6B}"/>
                </a:ext>
              </a:extLst>
            </p:cNvPr>
            <p:cNvSpPr txBox="1"/>
            <p:nvPr/>
          </p:nvSpPr>
          <p:spPr bwMode="auto">
            <a:xfrm>
              <a:off x="9426458" y="4595914"/>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18" name="TextBox 217">
              <a:extLst>
                <a:ext uri="{FF2B5EF4-FFF2-40B4-BE49-F238E27FC236}">
                  <a16:creationId xmlns:a16="http://schemas.microsoft.com/office/drawing/2014/main" id="{5B83CD6C-7F39-4F8F-9740-BFB424527C28}"/>
                </a:ext>
              </a:extLst>
            </p:cNvPr>
            <p:cNvSpPr txBox="1"/>
            <p:nvPr/>
          </p:nvSpPr>
          <p:spPr bwMode="auto">
            <a:xfrm>
              <a:off x="9426896" y="5308276"/>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17" name="TextBox 216">
              <a:extLst>
                <a:ext uri="{FF2B5EF4-FFF2-40B4-BE49-F238E27FC236}">
                  <a16:creationId xmlns:a16="http://schemas.microsoft.com/office/drawing/2014/main" id="{8ADFDAA8-BC84-4C1F-B734-3918CE7BFC0C}"/>
                </a:ext>
              </a:extLst>
            </p:cNvPr>
            <p:cNvSpPr txBox="1"/>
            <p:nvPr/>
          </p:nvSpPr>
          <p:spPr bwMode="auto">
            <a:xfrm>
              <a:off x="6359791" y="3386945"/>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USF</a:t>
              </a:r>
            </a:p>
          </p:txBody>
        </p:sp>
        <p:sp>
          <p:nvSpPr>
            <p:cNvPr id="220" name="TextBox 219">
              <a:extLst>
                <a:ext uri="{FF2B5EF4-FFF2-40B4-BE49-F238E27FC236}">
                  <a16:creationId xmlns:a16="http://schemas.microsoft.com/office/drawing/2014/main" id="{723D909C-B413-4D3F-8320-02704E5B4736}"/>
                </a:ext>
              </a:extLst>
            </p:cNvPr>
            <p:cNvSpPr txBox="1"/>
            <p:nvPr/>
          </p:nvSpPr>
          <p:spPr bwMode="auto">
            <a:xfrm>
              <a:off x="7669797" y="3380492"/>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Arrow: Right 70">
              <a:extLst>
                <a:ext uri="{FF2B5EF4-FFF2-40B4-BE49-F238E27FC236}">
                  <a16:creationId xmlns:a16="http://schemas.microsoft.com/office/drawing/2014/main" id="{71789D7F-4A2B-4A9D-9CE4-16F586E0101A}"/>
                </a:ext>
              </a:extLst>
            </p:cNvPr>
            <p:cNvSpPr/>
            <p:nvPr/>
          </p:nvSpPr>
          <p:spPr bwMode="auto">
            <a:xfrm>
              <a:off x="5531681" y="2860398"/>
              <a:ext cx="346200" cy="390027"/>
            </a:xfrm>
            <a:prstGeom prst="rightArrow">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grpSp>
        <p:nvGrpSpPr>
          <p:cNvPr id="460" name="Group 459">
            <a:extLst>
              <a:ext uri="{FF2B5EF4-FFF2-40B4-BE49-F238E27FC236}">
                <a16:creationId xmlns:a16="http://schemas.microsoft.com/office/drawing/2014/main" id="{9FC3590C-C080-4C42-854C-3E1752F37C3F}"/>
              </a:ext>
            </a:extLst>
          </p:cNvPr>
          <p:cNvGrpSpPr/>
          <p:nvPr/>
        </p:nvGrpSpPr>
        <p:grpSpPr>
          <a:xfrm>
            <a:off x="8228620" y="1278447"/>
            <a:ext cx="2193202" cy="2554338"/>
            <a:chOff x="8228620" y="1278447"/>
            <a:chExt cx="2193202" cy="2554338"/>
          </a:xfrm>
        </p:grpSpPr>
        <p:grpSp>
          <p:nvGrpSpPr>
            <p:cNvPr id="15" name="Group 14">
              <a:extLst>
                <a:ext uri="{FF2B5EF4-FFF2-40B4-BE49-F238E27FC236}">
                  <a16:creationId xmlns:a16="http://schemas.microsoft.com/office/drawing/2014/main" id="{F30FBA1F-B41F-430C-8E1C-4768BDDAC126}"/>
                </a:ext>
              </a:extLst>
            </p:cNvPr>
            <p:cNvGrpSpPr/>
            <p:nvPr/>
          </p:nvGrpSpPr>
          <p:grpSpPr>
            <a:xfrm>
              <a:off x="8228620" y="3232031"/>
              <a:ext cx="530309" cy="600754"/>
              <a:chOff x="8223304" y="3316815"/>
              <a:chExt cx="530309" cy="563751"/>
            </a:xfrm>
          </p:grpSpPr>
          <p:sp>
            <p:nvSpPr>
              <p:cNvPr id="471" name="Rectangle: Rounded Corners 470">
                <a:extLst>
                  <a:ext uri="{FF2B5EF4-FFF2-40B4-BE49-F238E27FC236}">
                    <a16:creationId xmlns:a16="http://schemas.microsoft.com/office/drawing/2014/main" id="{9A3670DC-2516-48A5-BE4E-693701622EFE}"/>
                  </a:ext>
                </a:extLst>
              </p:cNvPr>
              <p:cNvSpPr/>
              <p:nvPr/>
            </p:nvSpPr>
            <p:spPr bwMode="auto">
              <a:xfrm>
                <a:off x="8223304" y="3316815"/>
                <a:ext cx="530309" cy="563751"/>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475" name="Rectangle: Rounded Corners 474">
                <a:extLst>
                  <a:ext uri="{FF2B5EF4-FFF2-40B4-BE49-F238E27FC236}">
                    <a16:creationId xmlns:a16="http://schemas.microsoft.com/office/drawing/2014/main" id="{A93B7DDF-A16E-4DB5-A2FD-6DE26C61BA8A}"/>
                  </a:ext>
                </a:extLst>
              </p:cNvPr>
              <p:cNvSpPr/>
              <p:nvPr/>
            </p:nvSpPr>
            <p:spPr bwMode="auto">
              <a:xfrm>
                <a:off x="8258581" y="3317321"/>
                <a:ext cx="434860" cy="178055"/>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CRF</a:t>
                </a:r>
              </a:p>
            </p:txBody>
          </p:sp>
        </p:grpSp>
        <p:sp>
          <p:nvSpPr>
            <p:cNvPr id="266" name="Callout: Line 265">
              <a:extLst>
                <a:ext uri="{FF2B5EF4-FFF2-40B4-BE49-F238E27FC236}">
                  <a16:creationId xmlns:a16="http://schemas.microsoft.com/office/drawing/2014/main" id="{555AF2E8-9BC3-4467-A8EA-35BE5A154F73}"/>
                </a:ext>
              </a:extLst>
            </p:cNvPr>
            <p:cNvSpPr/>
            <p:nvPr/>
          </p:nvSpPr>
          <p:spPr bwMode="auto">
            <a:xfrm>
              <a:off x="8732259" y="1278447"/>
              <a:ext cx="1689563" cy="693996"/>
            </a:xfrm>
            <a:prstGeom prst="borderCallout1">
              <a:avLst>
                <a:gd name="adj1" fmla="val 49037"/>
                <a:gd name="adj2" fmla="val -30"/>
                <a:gd name="adj3" fmla="val 279103"/>
                <a:gd name="adj4" fmla="val -14760"/>
              </a:avLst>
            </a:prstGeom>
            <a:solidFill>
              <a:schemeClr val="bg1"/>
            </a:solidFill>
            <a:ln w="31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1200" b="0" i="0" u="none" strike="noStrike" cap="none" normalizeH="0" baseline="0">
                  <a:ln>
                    <a:noFill/>
                  </a:ln>
                  <a:effectLst/>
                  <a:latin typeface="+mn-lt"/>
                </a:rPr>
                <a:t>PCF provides similar function as PCRF in EPC.</a:t>
              </a:r>
              <a:endParaRPr kumimoji="0" lang="en-US" sz="1200" b="0" i="0" u="none" strike="noStrike" cap="none" normalizeH="0" baseline="0" err="1">
                <a:ln>
                  <a:noFill/>
                </a:ln>
                <a:effectLst/>
                <a:latin typeface="+mn-lt"/>
              </a:endParaRPr>
            </a:p>
          </p:txBody>
        </p:sp>
      </p:grpSp>
      <p:grpSp>
        <p:nvGrpSpPr>
          <p:cNvPr id="463" name="Group 462">
            <a:extLst>
              <a:ext uri="{FF2B5EF4-FFF2-40B4-BE49-F238E27FC236}">
                <a16:creationId xmlns:a16="http://schemas.microsoft.com/office/drawing/2014/main" id="{33C276D9-1AB8-4D01-B939-DC4457FBB409}"/>
              </a:ext>
            </a:extLst>
          </p:cNvPr>
          <p:cNvGrpSpPr/>
          <p:nvPr/>
        </p:nvGrpSpPr>
        <p:grpSpPr>
          <a:xfrm>
            <a:off x="8942761" y="2010939"/>
            <a:ext cx="3181727" cy="3088062"/>
            <a:chOff x="8942761" y="2010939"/>
            <a:chExt cx="3181727" cy="3088062"/>
          </a:xfrm>
        </p:grpSpPr>
        <p:grpSp>
          <p:nvGrpSpPr>
            <p:cNvPr id="454" name="Group 453">
              <a:extLst>
                <a:ext uri="{FF2B5EF4-FFF2-40B4-BE49-F238E27FC236}">
                  <a16:creationId xmlns:a16="http://schemas.microsoft.com/office/drawing/2014/main" id="{5F4BBFA6-5489-44CA-9A29-98AFF873B6F9}"/>
                </a:ext>
              </a:extLst>
            </p:cNvPr>
            <p:cNvGrpSpPr/>
            <p:nvPr/>
          </p:nvGrpSpPr>
          <p:grpSpPr>
            <a:xfrm>
              <a:off x="8942761" y="4436047"/>
              <a:ext cx="1287643" cy="662954"/>
              <a:chOff x="8942761" y="4181606"/>
              <a:chExt cx="1287643" cy="662954"/>
            </a:xfrm>
          </p:grpSpPr>
          <p:grpSp>
            <p:nvGrpSpPr>
              <p:cNvPr id="29" name="Group 28">
                <a:extLst>
                  <a:ext uri="{FF2B5EF4-FFF2-40B4-BE49-F238E27FC236}">
                    <a16:creationId xmlns:a16="http://schemas.microsoft.com/office/drawing/2014/main" id="{DB7B68F8-9A15-4A00-8F54-F0A980EBDB45}"/>
                  </a:ext>
                </a:extLst>
              </p:cNvPr>
              <p:cNvGrpSpPr/>
              <p:nvPr/>
            </p:nvGrpSpPr>
            <p:grpSpPr>
              <a:xfrm>
                <a:off x="8942761" y="4181606"/>
                <a:ext cx="1287643" cy="662954"/>
                <a:chOff x="8948081" y="4539412"/>
                <a:chExt cx="1287643" cy="662954"/>
              </a:xfrm>
            </p:grpSpPr>
            <p:sp>
              <p:nvSpPr>
                <p:cNvPr id="277" name="Rectangle: Rounded Corners 276">
                  <a:extLst>
                    <a:ext uri="{FF2B5EF4-FFF2-40B4-BE49-F238E27FC236}">
                      <a16:creationId xmlns:a16="http://schemas.microsoft.com/office/drawing/2014/main" id="{3CDFB7D1-FEC0-427A-B083-1B31ECEF42CE}"/>
                    </a:ext>
                  </a:extLst>
                </p:cNvPr>
                <p:cNvSpPr/>
                <p:nvPr/>
              </p:nvSpPr>
              <p:spPr bwMode="auto">
                <a:xfrm>
                  <a:off x="9320471" y="4539412"/>
                  <a:ext cx="530309" cy="642170"/>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116" name="Rectangle: Rounded Corners 115">
                  <a:extLst>
                    <a:ext uri="{FF2B5EF4-FFF2-40B4-BE49-F238E27FC236}">
                      <a16:creationId xmlns:a16="http://schemas.microsoft.com/office/drawing/2014/main" id="{672E7C15-3EE7-4550-A78D-3FF7F2BFA360}"/>
                    </a:ext>
                  </a:extLst>
                </p:cNvPr>
                <p:cNvSpPr/>
                <p:nvPr/>
              </p:nvSpPr>
              <p:spPr bwMode="auto">
                <a:xfrm>
                  <a:off x="9772452" y="5020569"/>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GW-C</a:t>
                  </a:r>
                </a:p>
              </p:txBody>
            </p:sp>
            <p:sp>
              <p:nvSpPr>
                <p:cNvPr id="276" name="Rectangle: Rounded Corners 275">
                  <a:extLst>
                    <a:ext uri="{FF2B5EF4-FFF2-40B4-BE49-F238E27FC236}">
                      <a16:creationId xmlns:a16="http://schemas.microsoft.com/office/drawing/2014/main" id="{12FCEF2C-3EAA-48C3-9A31-A7FDC41C2C2F}"/>
                    </a:ext>
                  </a:extLst>
                </p:cNvPr>
                <p:cNvSpPr/>
                <p:nvPr/>
              </p:nvSpPr>
              <p:spPr bwMode="auto">
                <a:xfrm>
                  <a:off x="8948081" y="5011163"/>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MME</a:t>
                  </a:r>
                </a:p>
              </p:txBody>
            </p:sp>
            <p:sp>
              <p:nvSpPr>
                <p:cNvPr id="114" name="Rectangle: Rounded Corners 113">
                  <a:extLst>
                    <a:ext uri="{FF2B5EF4-FFF2-40B4-BE49-F238E27FC236}">
                      <a16:creationId xmlns:a16="http://schemas.microsoft.com/office/drawing/2014/main" id="{89F44E34-200B-4B30-A212-CB60F22A800D}"/>
                    </a:ext>
                  </a:extLst>
                </p:cNvPr>
                <p:cNvSpPr/>
                <p:nvPr/>
              </p:nvSpPr>
              <p:spPr bwMode="auto">
                <a:xfrm>
                  <a:off x="9363453" y="5015418"/>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GW-C</a:t>
                  </a:r>
                </a:p>
              </p:txBody>
            </p:sp>
          </p:grpSp>
          <p:sp>
            <p:nvSpPr>
              <p:cNvPr id="290" name="TextBox 289">
                <a:extLst>
                  <a:ext uri="{FF2B5EF4-FFF2-40B4-BE49-F238E27FC236}">
                    <a16:creationId xmlns:a16="http://schemas.microsoft.com/office/drawing/2014/main" id="{55FE605B-A631-4162-B95D-650B0C176CC9}"/>
                  </a:ext>
                </a:extLst>
              </p:cNvPr>
              <p:cNvSpPr txBox="1"/>
              <p:nvPr/>
            </p:nvSpPr>
            <p:spPr bwMode="auto">
              <a:xfrm>
                <a:off x="9419610" y="4246772"/>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SMF</a:t>
                </a:r>
              </a:p>
            </p:txBody>
          </p:sp>
        </p:grpSp>
        <p:sp>
          <p:nvSpPr>
            <p:cNvPr id="271" name="Callout: Line 270">
              <a:extLst>
                <a:ext uri="{FF2B5EF4-FFF2-40B4-BE49-F238E27FC236}">
                  <a16:creationId xmlns:a16="http://schemas.microsoft.com/office/drawing/2014/main" id="{BC4F4163-7F46-4585-9BBA-71292A077D5B}"/>
                </a:ext>
              </a:extLst>
            </p:cNvPr>
            <p:cNvSpPr/>
            <p:nvPr/>
          </p:nvSpPr>
          <p:spPr bwMode="auto">
            <a:xfrm>
              <a:off x="10434925" y="2010939"/>
              <a:ext cx="1689563" cy="693996"/>
            </a:xfrm>
            <a:prstGeom prst="borderCallout1">
              <a:avLst>
                <a:gd name="adj1" fmla="val 49037"/>
                <a:gd name="adj2" fmla="val -30"/>
                <a:gd name="adj3" fmla="val 346574"/>
                <a:gd name="adj4" fmla="val -43376"/>
              </a:avLst>
            </a:prstGeom>
            <a:solidFill>
              <a:schemeClr val="bg1"/>
            </a:solidFill>
            <a:ln w="31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1200" b="0" i="0" u="none" strike="noStrike" cap="none" normalizeH="0" baseline="0">
                  <a:ln>
                    <a:noFill/>
                  </a:ln>
                  <a:effectLst/>
                  <a:latin typeface="+mn-lt"/>
                </a:rPr>
                <a:t>SMF provides similar function as SGW/PGW-CP in EPC.</a:t>
              </a:r>
              <a:endParaRPr kumimoji="0" lang="en-US" sz="1200" b="0" i="0" u="none" strike="noStrike" cap="none" normalizeH="0" baseline="0" err="1">
                <a:ln>
                  <a:noFill/>
                </a:ln>
                <a:effectLst/>
                <a:latin typeface="+mn-lt"/>
              </a:endParaRPr>
            </a:p>
          </p:txBody>
        </p:sp>
      </p:grpSp>
      <p:grpSp>
        <p:nvGrpSpPr>
          <p:cNvPr id="462" name="Group 461">
            <a:extLst>
              <a:ext uri="{FF2B5EF4-FFF2-40B4-BE49-F238E27FC236}">
                <a16:creationId xmlns:a16="http://schemas.microsoft.com/office/drawing/2014/main" id="{645286D1-48CD-4F23-A882-121A6D404194}"/>
              </a:ext>
            </a:extLst>
          </p:cNvPr>
          <p:cNvGrpSpPr/>
          <p:nvPr/>
        </p:nvGrpSpPr>
        <p:grpSpPr>
          <a:xfrm>
            <a:off x="9113769" y="5204386"/>
            <a:ext cx="3028275" cy="1563213"/>
            <a:chOff x="9113769" y="5204386"/>
            <a:chExt cx="3028275" cy="1563213"/>
          </a:xfrm>
        </p:grpSpPr>
        <p:grpSp>
          <p:nvGrpSpPr>
            <p:cNvPr id="455" name="Group 454">
              <a:extLst>
                <a:ext uri="{FF2B5EF4-FFF2-40B4-BE49-F238E27FC236}">
                  <a16:creationId xmlns:a16="http://schemas.microsoft.com/office/drawing/2014/main" id="{A08032DE-5D7A-496F-BD21-FD79E9964241}"/>
                </a:ext>
              </a:extLst>
            </p:cNvPr>
            <p:cNvGrpSpPr/>
            <p:nvPr/>
          </p:nvGrpSpPr>
          <p:grpSpPr>
            <a:xfrm>
              <a:off x="9113769" y="5204386"/>
              <a:ext cx="928648" cy="667224"/>
              <a:chOff x="9113769" y="5530388"/>
              <a:chExt cx="928648" cy="667224"/>
            </a:xfrm>
          </p:grpSpPr>
          <p:grpSp>
            <p:nvGrpSpPr>
              <p:cNvPr id="30" name="Group 29">
                <a:extLst>
                  <a:ext uri="{FF2B5EF4-FFF2-40B4-BE49-F238E27FC236}">
                    <a16:creationId xmlns:a16="http://schemas.microsoft.com/office/drawing/2014/main" id="{7DD68A6B-5E1D-4ABF-AF65-809AEE822D64}"/>
                  </a:ext>
                </a:extLst>
              </p:cNvPr>
              <p:cNvGrpSpPr/>
              <p:nvPr/>
            </p:nvGrpSpPr>
            <p:grpSpPr>
              <a:xfrm>
                <a:off x="9113769" y="5530388"/>
                <a:ext cx="928648" cy="667224"/>
                <a:chOff x="9106682" y="5266737"/>
                <a:chExt cx="928648" cy="667224"/>
              </a:xfrm>
            </p:grpSpPr>
            <p:sp>
              <p:nvSpPr>
                <p:cNvPr id="280" name="Rectangle: Rounded Corners 279">
                  <a:extLst>
                    <a:ext uri="{FF2B5EF4-FFF2-40B4-BE49-F238E27FC236}">
                      <a16:creationId xmlns:a16="http://schemas.microsoft.com/office/drawing/2014/main" id="{17156CC3-F921-43AA-9864-C97AADFC6403}"/>
                    </a:ext>
                  </a:extLst>
                </p:cNvPr>
                <p:cNvSpPr/>
                <p:nvPr/>
              </p:nvSpPr>
              <p:spPr bwMode="auto">
                <a:xfrm>
                  <a:off x="9317077" y="5266737"/>
                  <a:ext cx="530309" cy="642170"/>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117" name="Rectangle: Rounded Corners 116">
                  <a:extLst>
                    <a:ext uri="{FF2B5EF4-FFF2-40B4-BE49-F238E27FC236}">
                      <a16:creationId xmlns:a16="http://schemas.microsoft.com/office/drawing/2014/main" id="{ADD894FB-479B-44EC-8388-4E4CF5073BA2}"/>
                    </a:ext>
                  </a:extLst>
                </p:cNvPr>
                <p:cNvSpPr/>
                <p:nvPr/>
              </p:nvSpPr>
              <p:spPr bwMode="auto">
                <a:xfrm>
                  <a:off x="9106682" y="5752164"/>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SGW-U</a:t>
                  </a:r>
                </a:p>
              </p:txBody>
            </p:sp>
            <p:sp>
              <p:nvSpPr>
                <p:cNvPr id="118" name="Rectangle: Rounded Corners 117">
                  <a:extLst>
                    <a:ext uri="{FF2B5EF4-FFF2-40B4-BE49-F238E27FC236}">
                      <a16:creationId xmlns:a16="http://schemas.microsoft.com/office/drawing/2014/main" id="{434E8FD3-D4A2-4894-9E85-5C8B2681CEF5}"/>
                    </a:ext>
                  </a:extLst>
                </p:cNvPr>
                <p:cNvSpPr/>
                <p:nvPr/>
              </p:nvSpPr>
              <p:spPr bwMode="auto">
                <a:xfrm>
                  <a:off x="9572058" y="5752164"/>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PGW-U</a:t>
                  </a:r>
                </a:p>
              </p:txBody>
            </p:sp>
          </p:grpSp>
          <p:sp>
            <p:nvSpPr>
              <p:cNvPr id="291" name="TextBox 290">
                <a:extLst>
                  <a:ext uri="{FF2B5EF4-FFF2-40B4-BE49-F238E27FC236}">
                    <a16:creationId xmlns:a16="http://schemas.microsoft.com/office/drawing/2014/main" id="{1AD5E9CC-1E0C-4D6F-B25D-C0C1C4E240A3}"/>
                  </a:ext>
                </a:extLst>
              </p:cNvPr>
              <p:cNvSpPr txBox="1"/>
              <p:nvPr/>
            </p:nvSpPr>
            <p:spPr bwMode="auto">
              <a:xfrm>
                <a:off x="9420048" y="5603190"/>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PF</a:t>
                </a:r>
              </a:p>
            </p:txBody>
          </p:sp>
        </p:grpSp>
        <p:sp>
          <p:nvSpPr>
            <p:cNvPr id="272" name="Callout: Line 271">
              <a:extLst>
                <a:ext uri="{FF2B5EF4-FFF2-40B4-BE49-F238E27FC236}">
                  <a16:creationId xmlns:a16="http://schemas.microsoft.com/office/drawing/2014/main" id="{6F6F2365-B51A-49BD-9471-5B0BE7A9B1D5}"/>
                </a:ext>
              </a:extLst>
            </p:cNvPr>
            <p:cNvSpPr/>
            <p:nvPr/>
          </p:nvSpPr>
          <p:spPr bwMode="auto">
            <a:xfrm>
              <a:off x="10452481" y="6073603"/>
              <a:ext cx="1689563" cy="693996"/>
            </a:xfrm>
            <a:prstGeom prst="borderCallout1">
              <a:avLst>
                <a:gd name="adj1" fmla="val 49037"/>
                <a:gd name="adj2" fmla="val -30"/>
                <a:gd name="adj3" fmla="val -88888"/>
                <a:gd name="adj4" fmla="val -35663"/>
              </a:avLst>
            </a:prstGeom>
            <a:solidFill>
              <a:schemeClr val="bg1"/>
            </a:solidFill>
            <a:ln w="31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1200" b="0" i="0" u="none" strike="noStrike" cap="none" normalizeH="0" baseline="0">
                  <a:ln>
                    <a:noFill/>
                  </a:ln>
                  <a:effectLst/>
                  <a:latin typeface="+mn-lt"/>
                </a:rPr>
                <a:t>UPF provides similar function as SGW/PGW-UP in EPC.</a:t>
              </a:r>
              <a:endParaRPr kumimoji="0" lang="en-US" sz="1200" b="0" i="0" u="none" strike="noStrike" cap="none" normalizeH="0" baseline="0" err="1">
                <a:ln>
                  <a:noFill/>
                </a:ln>
                <a:effectLst/>
                <a:latin typeface="+mn-lt"/>
              </a:endParaRPr>
            </a:p>
          </p:txBody>
        </p:sp>
      </p:grpSp>
      <p:grpSp>
        <p:nvGrpSpPr>
          <p:cNvPr id="459" name="Group 458">
            <a:extLst>
              <a:ext uri="{FF2B5EF4-FFF2-40B4-BE49-F238E27FC236}">
                <a16:creationId xmlns:a16="http://schemas.microsoft.com/office/drawing/2014/main" id="{35D3B5E2-9CB9-47E9-8620-8E06135916C2}"/>
              </a:ext>
            </a:extLst>
          </p:cNvPr>
          <p:cNvGrpSpPr/>
          <p:nvPr/>
        </p:nvGrpSpPr>
        <p:grpSpPr>
          <a:xfrm>
            <a:off x="5599466" y="1329674"/>
            <a:ext cx="2512172" cy="2530222"/>
            <a:chOff x="5599466" y="1329674"/>
            <a:chExt cx="2512172" cy="2530222"/>
          </a:xfrm>
        </p:grpSpPr>
        <p:grpSp>
          <p:nvGrpSpPr>
            <p:cNvPr id="450" name="Group 449">
              <a:extLst>
                <a:ext uri="{FF2B5EF4-FFF2-40B4-BE49-F238E27FC236}">
                  <a16:creationId xmlns:a16="http://schemas.microsoft.com/office/drawing/2014/main" id="{0F53155C-4156-4C1B-8E5E-999214C98C93}"/>
                </a:ext>
              </a:extLst>
            </p:cNvPr>
            <p:cNvGrpSpPr/>
            <p:nvPr/>
          </p:nvGrpSpPr>
          <p:grpSpPr>
            <a:xfrm>
              <a:off x="6262608" y="3153370"/>
              <a:ext cx="530309" cy="706526"/>
              <a:chOff x="6246706" y="3018203"/>
              <a:chExt cx="530309" cy="706526"/>
            </a:xfrm>
          </p:grpSpPr>
          <p:grpSp>
            <p:nvGrpSpPr>
              <p:cNvPr id="448" name="Group 447">
                <a:extLst>
                  <a:ext uri="{FF2B5EF4-FFF2-40B4-BE49-F238E27FC236}">
                    <a16:creationId xmlns:a16="http://schemas.microsoft.com/office/drawing/2014/main" id="{A6BFFF22-FA13-41CB-B1BF-7E7DFE758E58}"/>
                  </a:ext>
                </a:extLst>
              </p:cNvPr>
              <p:cNvGrpSpPr/>
              <p:nvPr/>
            </p:nvGrpSpPr>
            <p:grpSpPr>
              <a:xfrm>
                <a:off x="6246706" y="3018203"/>
                <a:ext cx="530309" cy="706526"/>
                <a:chOff x="6283918" y="3161324"/>
                <a:chExt cx="530309" cy="706526"/>
              </a:xfrm>
            </p:grpSpPr>
            <p:sp>
              <p:nvSpPr>
                <p:cNvPr id="284" name="Rectangle: Rounded Corners 283">
                  <a:extLst>
                    <a:ext uri="{FF2B5EF4-FFF2-40B4-BE49-F238E27FC236}">
                      <a16:creationId xmlns:a16="http://schemas.microsoft.com/office/drawing/2014/main" id="{75D05880-C2AD-4EBD-A2BE-4E6D2D924E93}"/>
                    </a:ext>
                  </a:extLst>
                </p:cNvPr>
                <p:cNvSpPr/>
                <p:nvPr/>
              </p:nvSpPr>
              <p:spPr bwMode="auto">
                <a:xfrm>
                  <a:off x="6283918" y="3225680"/>
                  <a:ext cx="530309" cy="642170"/>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286" name="Rectangle: Rounded Corners 285">
                  <a:extLst>
                    <a:ext uri="{FF2B5EF4-FFF2-40B4-BE49-F238E27FC236}">
                      <a16:creationId xmlns:a16="http://schemas.microsoft.com/office/drawing/2014/main" id="{05EECB4F-74C0-4D82-9943-B6CF64AF226D}"/>
                    </a:ext>
                  </a:extLst>
                </p:cNvPr>
                <p:cNvSpPr/>
                <p:nvPr/>
              </p:nvSpPr>
              <p:spPr bwMode="auto">
                <a:xfrm>
                  <a:off x="6319006" y="3161324"/>
                  <a:ext cx="463272" cy="1789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HSS</a:t>
                  </a:r>
                </a:p>
              </p:txBody>
            </p:sp>
          </p:grpSp>
          <p:sp>
            <p:nvSpPr>
              <p:cNvPr id="292" name="TextBox 291">
                <a:extLst>
                  <a:ext uri="{FF2B5EF4-FFF2-40B4-BE49-F238E27FC236}">
                    <a16:creationId xmlns:a16="http://schemas.microsoft.com/office/drawing/2014/main" id="{76512A04-9516-45BB-9461-32BDA6247E84}"/>
                  </a:ext>
                </a:extLst>
              </p:cNvPr>
              <p:cNvSpPr txBox="1"/>
              <p:nvPr/>
            </p:nvSpPr>
            <p:spPr bwMode="auto">
              <a:xfrm>
                <a:off x="6352943" y="3252488"/>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USF</a:t>
                </a:r>
              </a:p>
            </p:txBody>
          </p:sp>
        </p:grpSp>
        <p:grpSp>
          <p:nvGrpSpPr>
            <p:cNvPr id="31" name="Group 30">
              <a:extLst>
                <a:ext uri="{FF2B5EF4-FFF2-40B4-BE49-F238E27FC236}">
                  <a16:creationId xmlns:a16="http://schemas.microsoft.com/office/drawing/2014/main" id="{3BD55A3E-D545-417D-A214-E56DD4026332}"/>
                </a:ext>
              </a:extLst>
            </p:cNvPr>
            <p:cNvGrpSpPr/>
            <p:nvPr/>
          </p:nvGrpSpPr>
          <p:grpSpPr>
            <a:xfrm>
              <a:off x="7581329" y="3159155"/>
              <a:ext cx="530309" cy="687953"/>
              <a:chOff x="7560069" y="3167109"/>
              <a:chExt cx="530309" cy="687953"/>
            </a:xfrm>
          </p:grpSpPr>
          <p:sp>
            <p:nvSpPr>
              <p:cNvPr id="285" name="Rectangle: Rounded Corners 284">
                <a:extLst>
                  <a:ext uri="{FF2B5EF4-FFF2-40B4-BE49-F238E27FC236}">
                    <a16:creationId xmlns:a16="http://schemas.microsoft.com/office/drawing/2014/main" id="{A67941E8-F322-4C85-B841-4FD672427C7D}"/>
                  </a:ext>
                </a:extLst>
              </p:cNvPr>
              <p:cNvSpPr/>
              <p:nvPr/>
            </p:nvSpPr>
            <p:spPr bwMode="auto">
              <a:xfrm>
                <a:off x="7560069" y="3212892"/>
                <a:ext cx="530309" cy="642170"/>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123" name="Rectangle: Rounded Corners 122">
                <a:extLst>
                  <a:ext uri="{FF2B5EF4-FFF2-40B4-BE49-F238E27FC236}">
                    <a16:creationId xmlns:a16="http://schemas.microsoft.com/office/drawing/2014/main" id="{1C580993-4680-4A9C-A87F-22D33CE4D12C}"/>
                  </a:ext>
                </a:extLst>
              </p:cNvPr>
              <p:cNvSpPr/>
              <p:nvPr/>
            </p:nvSpPr>
            <p:spPr bwMode="auto">
              <a:xfrm>
                <a:off x="7599907" y="3167109"/>
                <a:ext cx="463272" cy="178933"/>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HSS</a:t>
                </a:r>
              </a:p>
            </p:txBody>
          </p:sp>
        </p:grpSp>
        <p:grpSp>
          <p:nvGrpSpPr>
            <p:cNvPr id="458" name="Group 457">
              <a:extLst>
                <a:ext uri="{FF2B5EF4-FFF2-40B4-BE49-F238E27FC236}">
                  <a16:creationId xmlns:a16="http://schemas.microsoft.com/office/drawing/2014/main" id="{F9DE3EAE-3310-4946-B87E-7A2E0CFDD74D}"/>
                </a:ext>
              </a:extLst>
            </p:cNvPr>
            <p:cNvGrpSpPr/>
            <p:nvPr/>
          </p:nvGrpSpPr>
          <p:grpSpPr>
            <a:xfrm>
              <a:off x="5599466" y="1329674"/>
              <a:ext cx="1689563" cy="1823696"/>
              <a:chOff x="5599466" y="1329674"/>
              <a:chExt cx="1689563" cy="1823696"/>
            </a:xfrm>
          </p:grpSpPr>
          <p:sp>
            <p:nvSpPr>
              <p:cNvPr id="268" name="Callout: Line 267">
                <a:extLst>
                  <a:ext uri="{FF2B5EF4-FFF2-40B4-BE49-F238E27FC236}">
                    <a16:creationId xmlns:a16="http://schemas.microsoft.com/office/drawing/2014/main" id="{2EF8D5BB-D0C7-436E-B4E2-157B1919B001}"/>
                  </a:ext>
                </a:extLst>
              </p:cNvPr>
              <p:cNvSpPr/>
              <p:nvPr/>
            </p:nvSpPr>
            <p:spPr bwMode="auto">
              <a:xfrm>
                <a:off x="5599466" y="1329674"/>
                <a:ext cx="1689563" cy="629763"/>
              </a:xfrm>
              <a:prstGeom prst="borderCallout1">
                <a:avLst>
                  <a:gd name="adj1" fmla="val 51695"/>
                  <a:gd name="adj2" fmla="val 101074"/>
                  <a:gd name="adj3" fmla="val 290336"/>
                  <a:gd name="adj4" fmla="val 132972"/>
                </a:avLst>
              </a:prstGeom>
              <a:solidFill>
                <a:schemeClr val="bg1"/>
              </a:solidFill>
              <a:ln w="31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sv-SE" sz="1200" b="0" i="0" u="none" strike="noStrike" cap="none" normalizeH="0" baseline="0">
                    <a:ln>
                      <a:noFill/>
                    </a:ln>
                    <a:effectLst/>
                    <a:latin typeface="+mn-lt"/>
                  </a:rPr>
                  <a:t>UDM</a:t>
                </a:r>
                <a:r>
                  <a:rPr kumimoji="0" lang="sv-SE" sz="1200" b="0" i="0" u="none" strike="noStrike" cap="none" normalizeH="0">
                    <a:ln>
                      <a:noFill/>
                    </a:ln>
                    <a:effectLst/>
                    <a:latin typeface="+mn-lt"/>
                  </a:rPr>
                  <a:t>+AUSF </a:t>
                </a:r>
                <a:r>
                  <a:rPr kumimoji="0" lang="sv-SE" sz="1200" b="0" i="0" u="none" strike="noStrike" cap="none" normalizeH="0" baseline="0">
                    <a:ln>
                      <a:noFill/>
                    </a:ln>
                    <a:effectLst/>
                    <a:latin typeface="+mn-lt"/>
                  </a:rPr>
                  <a:t>provides similar function as HSS in EPC</a:t>
                </a:r>
                <a:endParaRPr kumimoji="0" lang="en-US" sz="1200" b="0" i="0" u="none" strike="noStrike" cap="none" normalizeH="0" baseline="0" err="1">
                  <a:ln>
                    <a:noFill/>
                  </a:ln>
                  <a:effectLst/>
                  <a:latin typeface="+mn-lt"/>
                </a:endParaRPr>
              </a:p>
            </p:txBody>
          </p:sp>
          <p:cxnSp>
            <p:nvCxnSpPr>
              <p:cNvPr id="457" name="Straight Connector 456">
                <a:extLst>
                  <a:ext uri="{FF2B5EF4-FFF2-40B4-BE49-F238E27FC236}">
                    <a16:creationId xmlns:a16="http://schemas.microsoft.com/office/drawing/2014/main" id="{749B4799-47DD-4F0D-926B-A61809B3B84A}"/>
                  </a:ext>
                </a:extLst>
              </p:cNvPr>
              <p:cNvCxnSpPr>
                <a:stCxn id="268" idx="0"/>
                <a:endCxn id="286" idx="0"/>
              </p:cNvCxnSpPr>
              <p:nvPr/>
            </p:nvCxnSpPr>
            <p:spPr bwMode="auto">
              <a:xfrm flipH="1">
                <a:off x="6529332" y="1644556"/>
                <a:ext cx="759697" cy="1508814"/>
              </a:xfrm>
              <a:prstGeom prst="line">
                <a:avLst/>
              </a:prstGeom>
              <a:solidFill>
                <a:schemeClr val="accent1"/>
              </a:solidFill>
              <a:ln w="12700" cap="flat" cmpd="sng" algn="ctr">
                <a:solidFill>
                  <a:schemeClr val="accent6"/>
                </a:solidFill>
                <a:prstDash val="solid"/>
                <a:round/>
                <a:headEnd type="none" w="med" len="med"/>
                <a:tailEnd type="none"/>
              </a:ln>
              <a:effectLst/>
            </p:spPr>
          </p:cxnSp>
        </p:grpSp>
      </p:grpSp>
      <p:grpSp>
        <p:nvGrpSpPr>
          <p:cNvPr id="461" name="Group 460">
            <a:extLst>
              <a:ext uri="{FF2B5EF4-FFF2-40B4-BE49-F238E27FC236}">
                <a16:creationId xmlns:a16="http://schemas.microsoft.com/office/drawing/2014/main" id="{08119BE7-3F79-42C8-965D-B9188526FADB}"/>
              </a:ext>
            </a:extLst>
          </p:cNvPr>
          <p:cNvGrpSpPr/>
          <p:nvPr/>
        </p:nvGrpSpPr>
        <p:grpSpPr>
          <a:xfrm>
            <a:off x="4756447" y="4389812"/>
            <a:ext cx="3781349" cy="2044375"/>
            <a:chOff x="4756447" y="4389812"/>
            <a:chExt cx="3781349" cy="2044375"/>
          </a:xfrm>
        </p:grpSpPr>
        <p:grpSp>
          <p:nvGrpSpPr>
            <p:cNvPr id="453" name="Group 452">
              <a:extLst>
                <a:ext uri="{FF2B5EF4-FFF2-40B4-BE49-F238E27FC236}">
                  <a16:creationId xmlns:a16="http://schemas.microsoft.com/office/drawing/2014/main" id="{8BAA65FB-0AF5-40DD-8270-3F85E3D2AABE}"/>
                </a:ext>
              </a:extLst>
            </p:cNvPr>
            <p:cNvGrpSpPr/>
            <p:nvPr/>
          </p:nvGrpSpPr>
          <p:grpSpPr>
            <a:xfrm>
              <a:off x="8007487" y="4389812"/>
              <a:ext cx="530309" cy="688467"/>
              <a:chOff x="8007487" y="4135373"/>
              <a:chExt cx="530309" cy="688467"/>
            </a:xfrm>
          </p:grpSpPr>
          <p:grpSp>
            <p:nvGrpSpPr>
              <p:cNvPr id="28" name="Group 27">
                <a:extLst>
                  <a:ext uri="{FF2B5EF4-FFF2-40B4-BE49-F238E27FC236}">
                    <a16:creationId xmlns:a16="http://schemas.microsoft.com/office/drawing/2014/main" id="{D41F631D-A9BD-4CDB-8C23-9374E3FA660A}"/>
                  </a:ext>
                </a:extLst>
              </p:cNvPr>
              <p:cNvGrpSpPr/>
              <p:nvPr/>
            </p:nvGrpSpPr>
            <p:grpSpPr>
              <a:xfrm>
                <a:off x="8007487" y="4135373"/>
                <a:ext cx="530309" cy="688467"/>
                <a:chOff x="8018125" y="4493179"/>
                <a:chExt cx="530309" cy="688467"/>
              </a:xfrm>
            </p:grpSpPr>
            <p:sp>
              <p:nvSpPr>
                <p:cNvPr id="274" name="Rectangle: Rounded Corners 273">
                  <a:extLst>
                    <a:ext uri="{FF2B5EF4-FFF2-40B4-BE49-F238E27FC236}">
                      <a16:creationId xmlns:a16="http://schemas.microsoft.com/office/drawing/2014/main" id="{DDFD0299-EA43-4379-86BC-585B5AC8987B}"/>
                    </a:ext>
                  </a:extLst>
                </p:cNvPr>
                <p:cNvSpPr/>
                <p:nvPr/>
              </p:nvSpPr>
              <p:spPr bwMode="auto">
                <a:xfrm>
                  <a:off x="8018125" y="4493179"/>
                  <a:ext cx="530309" cy="642170"/>
                </a:xfrm>
                <a:prstGeom prst="roundRect">
                  <a:avLst>
                    <a:gd name="adj" fmla="val 8688"/>
                  </a:avLst>
                </a:prstGeom>
                <a:solidFill>
                  <a:srgbClr val="FFC00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endParaRPr kumimoji="0" lang="en-US" sz="800" b="0" i="0" u="none" strike="noStrike" kern="1200" cap="none" spc="0" normalizeH="0" baseline="0" noProof="0" err="1">
                    <a:ln>
                      <a:noFill/>
                    </a:ln>
                    <a:solidFill>
                      <a:srgbClr val="181818">
                        <a:lumMod val="75000"/>
                        <a:lumOff val="25000"/>
                      </a:srgbClr>
                    </a:solidFill>
                    <a:effectLst/>
                    <a:uLnTx/>
                    <a:uFillTx/>
                    <a:latin typeface="Ericsson Hilda"/>
                    <a:ea typeface="+mn-ea"/>
                    <a:cs typeface="+mn-cs"/>
                  </a:endParaRPr>
                </a:p>
              </p:txBody>
            </p:sp>
            <p:sp>
              <p:nvSpPr>
                <p:cNvPr id="115" name="Rectangle: Rounded Corners 114">
                  <a:extLst>
                    <a:ext uri="{FF2B5EF4-FFF2-40B4-BE49-F238E27FC236}">
                      <a16:creationId xmlns:a16="http://schemas.microsoft.com/office/drawing/2014/main" id="{77486B82-3E7B-483C-9D8F-4719FA5B4FFA}"/>
                    </a:ext>
                  </a:extLst>
                </p:cNvPr>
                <p:cNvSpPr/>
                <p:nvPr/>
              </p:nvSpPr>
              <p:spPr bwMode="auto">
                <a:xfrm>
                  <a:off x="8051643" y="4999849"/>
                  <a:ext cx="463272" cy="181797"/>
                </a:xfrm>
                <a:prstGeom prst="roundRect">
                  <a:avLst>
                    <a:gd name="adj" fmla="val 8688"/>
                  </a:avLst>
                </a:prstGeom>
                <a:solidFill>
                  <a:srgbClr val="92D050"/>
                </a:solid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lumMod val="75000"/>
                        <a:lumOff val="25000"/>
                      </a:srgbClr>
                    </a:buClr>
                    <a:buSzTx/>
                    <a:buFontTx/>
                    <a:buNone/>
                    <a:tabLst/>
                    <a:defRPr/>
                  </a:pPr>
                  <a:r>
                    <a:rPr kumimoji="0" lang="en-US" sz="800" b="0" i="0" u="none" strike="noStrike" kern="1200" cap="none" spc="0" normalizeH="0" baseline="0" noProof="0">
                      <a:ln>
                        <a:noFill/>
                      </a:ln>
                      <a:effectLst/>
                      <a:uLnTx/>
                      <a:uFillTx/>
                      <a:latin typeface="Ericsson Hilda"/>
                      <a:ea typeface="+mn-ea"/>
                      <a:cs typeface="+mn-cs"/>
                    </a:rPr>
                    <a:t>MME</a:t>
                  </a:r>
                </a:p>
              </p:txBody>
            </p:sp>
          </p:grpSp>
          <p:sp>
            <p:nvSpPr>
              <p:cNvPr id="289" name="TextBox 288">
                <a:extLst>
                  <a:ext uri="{FF2B5EF4-FFF2-40B4-BE49-F238E27FC236}">
                    <a16:creationId xmlns:a16="http://schemas.microsoft.com/office/drawing/2014/main" id="{895D054D-5454-4892-AE8F-35624B814EF4}"/>
                  </a:ext>
                </a:extLst>
              </p:cNvPr>
              <p:cNvSpPr txBox="1"/>
              <p:nvPr/>
            </p:nvSpPr>
            <p:spPr bwMode="auto">
              <a:xfrm>
                <a:off x="8105465" y="4237870"/>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AMF</a:t>
                </a:r>
              </a:p>
            </p:txBody>
          </p:sp>
        </p:grpSp>
        <p:sp>
          <p:nvSpPr>
            <p:cNvPr id="269" name="Callout: Line 268">
              <a:extLst>
                <a:ext uri="{FF2B5EF4-FFF2-40B4-BE49-F238E27FC236}">
                  <a16:creationId xmlns:a16="http://schemas.microsoft.com/office/drawing/2014/main" id="{2EEB18C3-C5ED-4A01-BAA3-0D7A3B7113C3}"/>
                </a:ext>
              </a:extLst>
            </p:cNvPr>
            <p:cNvSpPr/>
            <p:nvPr/>
          </p:nvSpPr>
          <p:spPr bwMode="auto">
            <a:xfrm>
              <a:off x="4756447" y="5804424"/>
              <a:ext cx="1689563" cy="629763"/>
            </a:xfrm>
            <a:prstGeom prst="borderCallout1">
              <a:avLst>
                <a:gd name="adj1" fmla="val 51695"/>
                <a:gd name="adj2" fmla="val 101074"/>
                <a:gd name="adj3" fmla="val -142232"/>
                <a:gd name="adj4" fmla="val 193791"/>
              </a:avLst>
            </a:prstGeom>
            <a:solidFill>
              <a:schemeClr val="bg1"/>
            </a:solidFill>
            <a:ln w="31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lang="sv-SE" sz="1200"/>
                <a:t>AMF</a:t>
              </a:r>
              <a:r>
                <a:rPr kumimoji="0" lang="sv-SE" sz="1200" b="0" i="0" u="none" strike="noStrike" cap="none" normalizeH="0" baseline="0">
                  <a:ln>
                    <a:noFill/>
                  </a:ln>
                  <a:effectLst/>
                  <a:latin typeface="+mn-lt"/>
                </a:rPr>
                <a:t> provides similar function as MME in EPC</a:t>
              </a:r>
              <a:endParaRPr kumimoji="0" lang="en-US" sz="1200" b="0" i="0" u="none" strike="noStrike" cap="none" normalizeH="0" baseline="0" err="1">
                <a:ln>
                  <a:noFill/>
                </a:ln>
                <a:effectLst/>
                <a:latin typeface="+mn-lt"/>
              </a:endParaRPr>
            </a:p>
          </p:txBody>
        </p:sp>
      </p:grpSp>
      <p:sp>
        <p:nvSpPr>
          <p:cNvPr id="264" name="TextBox 263">
            <a:extLst>
              <a:ext uri="{FF2B5EF4-FFF2-40B4-BE49-F238E27FC236}">
                <a16:creationId xmlns:a16="http://schemas.microsoft.com/office/drawing/2014/main" id="{7D1FE927-B06E-41AC-A658-D0995E5B00D9}"/>
              </a:ext>
            </a:extLst>
          </p:cNvPr>
          <p:cNvSpPr txBox="1"/>
          <p:nvPr/>
        </p:nvSpPr>
        <p:spPr bwMode="auto">
          <a:xfrm>
            <a:off x="7699170" y="3378880"/>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73" name="TextBox 272">
            <a:extLst>
              <a:ext uri="{FF2B5EF4-FFF2-40B4-BE49-F238E27FC236}">
                <a16:creationId xmlns:a16="http://schemas.microsoft.com/office/drawing/2014/main" id="{0296C95A-0CEE-4259-AD6B-B5150D2A57AE}"/>
              </a:ext>
            </a:extLst>
          </p:cNvPr>
          <p:cNvSpPr txBox="1"/>
          <p:nvPr/>
        </p:nvSpPr>
        <p:spPr bwMode="auto">
          <a:xfrm>
            <a:off x="8332186" y="3391237"/>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275" name="TextBox 274">
            <a:extLst>
              <a:ext uri="{FF2B5EF4-FFF2-40B4-BE49-F238E27FC236}">
                <a16:creationId xmlns:a16="http://schemas.microsoft.com/office/drawing/2014/main" id="{DF5A5EFF-2E25-43A7-9660-486CBDF2D684}"/>
              </a:ext>
            </a:extLst>
          </p:cNvPr>
          <p:cNvSpPr txBox="1"/>
          <p:nvPr/>
        </p:nvSpPr>
        <p:spPr bwMode="auto">
          <a:xfrm>
            <a:off x="8661204" y="2700568"/>
            <a:ext cx="324341" cy="411620"/>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0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5G-EIR</a:t>
            </a:r>
          </a:p>
        </p:txBody>
      </p:sp>
    </p:spTree>
    <p:extLst>
      <p:ext uri="{BB962C8B-B14F-4D97-AF65-F5344CB8AC3E}">
        <p14:creationId xmlns:p14="http://schemas.microsoft.com/office/powerpoint/2010/main" val="3134208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6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6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Rounded Corners 128">
            <a:extLst>
              <a:ext uri="{FF2B5EF4-FFF2-40B4-BE49-F238E27FC236}">
                <a16:creationId xmlns:a16="http://schemas.microsoft.com/office/drawing/2014/main" id="{6A0955DB-EE9C-4DD8-BB8B-59CE6AC6DAE5}"/>
              </a:ext>
            </a:extLst>
          </p:cNvPr>
          <p:cNvSpPr/>
          <p:nvPr/>
        </p:nvSpPr>
        <p:spPr bwMode="auto">
          <a:xfrm>
            <a:off x="2545749" y="4345429"/>
            <a:ext cx="1875436" cy="1903476"/>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5" name="Rectangle: Rounded Corners 164">
            <a:extLst>
              <a:ext uri="{FF2B5EF4-FFF2-40B4-BE49-F238E27FC236}">
                <a16:creationId xmlns:a16="http://schemas.microsoft.com/office/drawing/2014/main" id="{36456E3E-75B2-4F9F-B928-52BF061969B9}"/>
              </a:ext>
            </a:extLst>
          </p:cNvPr>
          <p:cNvSpPr/>
          <p:nvPr/>
        </p:nvSpPr>
        <p:spPr bwMode="auto">
          <a:xfrm>
            <a:off x="4637265" y="1156142"/>
            <a:ext cx="3527656" cy="2569138"/>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4" name="Rectangle: Rounded Corners 163">
            <a:extLst>
              <a:ext uri="{FF2B5EF4-FFF2-40B4-BE49-F238E27FC236}">
                <a16:creationId xmlns:a16="http://schemas.microsoft.com/office/drawing/2014/main" id="{0E21B580-0F00-48FE-8AFD-65E18925A9F8}"/>
              </a:ext>
            </a:extLst>
          </p:cNvPr>
          <p:cNvSpPr/>
          <p:nvPr/>
        </p:nvSpPr>
        <p:spPr bwMode="auto">
          <a:xfrm>
            <a:off x="5689551" y="1156142"/>
            <a:ext cx="4684566" cy="5390058"/>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0" name="Freeform 88"/>
          <p:cNvSpPr>
            <a:spLocks/>
          </p:cNvSpPr>
          <p:nvPr/>
        </p:nvSpPr>
        <p:spPr bwMode="auto">
          <a:xfrm rot="3464770" flipH="1">
            <a:off x="1787125" y="5197918"/>
            <a:ext cx="595575" cy="444850"/>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25607" name="Text Box 144"/>
          <p:cNvSpPr txBox="1">
            <a:spLocks noChangeAspect="1" noChangeArrowheads="1"/>
          </p:cNvSpPr>
          <p:nvPr/>
        </p:nvSpPr>
        <p:spPr bwMode="auto">
          <a:xfrm>
            <a:off x="870001" y="5765532"/>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 UE</a:t>
            </a:r>
          </a:p>
        </p:txBody>
      </p:sp>
      <p:sp>
        <p:nvSpPr>
          <p:cNvPr id="25608" name="Text Box 144"/>
          <p:cNvSpPr txBox="1">
            <a:spLocks noChangeAspect="1" noChangeArrowheads="1"/>
          </p:cNvSpPr>
          <p:nvPr/>
        </p:nvSpPr>
        <p:spPr bwMode="auto">
          <a:xfrm>
            <a:off x="5041432" y="4486541"/>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25609" name="Text Box 144"/>
          <p:cNvSpPr txBox="1">
            <a:spLocks noChangeAspect="1" noChangeArrowheads="1"/>
          </p:cNvSpPr>
          <p:nvPr/>
        </p:nvSpPr>
        <p:spPr bwMode="auto">
          <a:xfrm>
            <a:off x="5023314" y="5280730"/>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25610" name="Text Box 144"/>
          <p:cNvSpPr txBox="1">
            <a:spLocks noChangeAspect="1" noChangeArrowheads="1"/>
          </p:cNvSpPr>
          <p:nvPr/>
        </p:nvSpPr>
        <p:spPr bwMode="auto">
          <a:xfrm>
            <a:off x="8542607" y="529348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25613" name="Text Box 144"/>
          <p:cNvSpPr txBox="1">
            <a:spLocks noChangeAspect="1" noChangeArrowheads="1"/>
          </p:cNvSpPr>
          <p:nvPr/>
        </p:nvSpPr>
        <p:spPr bwMode="auto">
          <a:xfrm>
            <a:off x="8067122" y="496484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sp>
        <p:nvSpPr>
          <p:cNvPr id="98" name="Line 30"/>
          <p:cNvSpPr>
            <a:spLocks noChangeShapeType="1"/>
          </p:cNvSpPr>
          <p:nvPr/>
        </p:nvSpPr>
        <p:spPr bwMode="auto">
          <a:xfrm flipV="1">
            <a:off x="4339145" y="5429347"/>
            <a:ext cx="6034242" cy="39312"/>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5621" name="Text Box 144"/>
          <p:cNvSpPr txBox="1">
            <a:spLocks noChangeAspect="1" noChangeArrowheads="1"/>
          </p:cNvSpPr>
          <p:nvPr/>
        </p:nvSpPr>
        <p:spPr bwMode="auto">
          <a:xfrm>
            <a:off x="5044693" y="409698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25622" name="Straight Connector 135"/>
          <p:cNvCxnSpPr>
            <a:cxnSpLocks/>
            <a:stCxn id="250" idx="2"/>
            <a:endCxn id="242" idx="0"/>
          </p:cNvCxnSpPr>
          <p:nvPr/>
        </p:nvCxnSpPr>
        <p:spPr bwMode="auto">
          <a:xfrm>
            <a:off x="8350222" y="4756724"/>
            <a:ext cx="487"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9" name="Title 1"/>
          <p:cNvSpPr>
            <a:spLocks noGrp="1"/>
          </p:cNvSpPr>
          <p:nvPr>
            <p:ph type="title"/>
          </p:nvPr>
        </p:nvSpPr>
        <p:spPr/>
        <p:txBody>
          <a:bodyPr>
            <a:normAutofit/>
          </a:bodyPr>
          <a:lstStyle/>
          <a:p>
            <a:pPr>
              <a:defRPr/>
            </a:pPr>
            <a:r>
              <a:rPr lang="en-US"/>
              <a:t>5G CORE architecture</a:t>
            </a:r>
            <a:br>
              <a:rPr lang="en-US" sz="2800"/>
            </a:br>
            <a:r>
              <a:rPr lang="en-US" sz="2800"/>
              <a:t>Distributed User Plane Function</a:t>
            </a:r>
            <a:endParaRPr lang="en-US" sz="3200">
              <a:solidFill>
                <a:srgbClr val="00A9D4"/>
              </a:solidFill>
            </a:endParaRPr>
          </a:p>
        </p:txBody>
      </p:sp>
      <p:sp>
        <p:nvSpPr>
          <p:cNvPr id="172" name="Text Box 144"/>
          <p:cNvSpPr txBox="1">
            <a:spLocks noChangeAspect="1" noChangeArrowheads="1"/>
          </p:cNvSpPr>
          <p:nvPr/>
        </p:nvSpPr>
        <p:spPr bwMode="auto">
          <a:xfrm>
            <a:off x="6694383" y="386042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3" name="Text Box 144"/>
          <p:cNvSpPr txBox="1">
            <a:spLocks noChangeAspect="1" noChangeArrowheads="1"/>
          </p:cNvSpPr>
          <p:nvPr/>
        </p:nvSpPr>
        <p:spPr bwMode="auto">
          <a:xfrm>
            <a:off x="4694302" y="3371339"/>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u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4" name="Text Box 144"/>
          <p:cNvSpPr txBox="1">
            <a:spLocks noChangeAspect="1" noChangeArrowheads="1"/>
          </p:cNvSpPr>
          <p:nvPr/>
        </p:nvSpPr>
        <p:spPr bwMode="auto">
          <a:xfrm>
            <a:off x="6832362" y="3375258"/>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pc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5" name="Text Box 144"/>
          <p:cNvSpPr txBox="1">
            <a:spLocks noChangeAspect="1" noChangeArrowheads="1"/>
          </p:cNvSpPr>
          <p:nvPr/>
        </p:nvSpPr>
        <p:spPr bwMode="auto">
          <a:xfrm>
            <a:off x="6134997" y="3391900"/>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m</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6" name="Text Box 144"/>
          <p:cNvSpPr txBox="1">
            <a:spLocks noChangeAspect="1" noChangeArrowheads="1"/>
          </p:cNvSpPr>
          <p:nvPr/>
        </p:nvSpPr>
        <p:spPr bwMode="auto">
          <a:xfrm>
            <a:off x="8266964" y="3863648"/>
            <a:ext cx="741516"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7" name="Text Box 144"/>
          <p:cNvSpPr txBox="1">
            <a:spLocks noChangeAspect="1" noChangeArrowheads="1"/>
          </p:cNvSpPr>
          <p:nvPr/>
        </p:nvSpPr>
        <p:spPr bwMode="auto">
          <a:xfrm>
            <a:off x="10446592" y="338714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91" name="Group 74"/>
          <p:cNvGrpSpPr>
            <a:grpSpLocks/>
          </p:cNvGrpSpPr>
          <p:nvPr/>
        </p:nvGrpSpPr>
        <p:grpSpPr bwMode="auto">
          <a:xfrm>
            <a:off x="10373387" y="4658858"/>
            <a:ext cx="1815480" cy="1462509"/>
            <a:chOff x="9344462" y="5130211"/>
            <a:chExt cx="2250397" cy="1719278"/>
          </a:xfrm>
        </p:grpSpPr>
        <p:sp>
          <p:nvSpPr>
            <p:cNvPr id="192" name="Freeform 34"/>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3"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Network </a:t>
              </a:r>
              <a:endParaRPr kumimoji="0" lang="en-US" altLang="en-US" sz="2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p>
          </p:txBody>
        </p:sp>
      </p:grpSp>
      <p:sp>
        <p:nvSpPr>
          <p:cNvPr id="159" name="Text Box 144"/>
          <p:cNvSpPr txBox="1">
            <a:spLocks noChangeAspect="1" noChangeArrowheads="1"/>
          </p:cNvSpPr>
          <p:nvPr/>
        </p:nvSpPr>
        <p:spPr bwMode="auto">
          <a:xfrm>
            <a:off x="5465689" y="3378380"/>
            <a:ext cx="79171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r</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0" name="Content Placeholder 3"/>
          <p:cNvSpPr txBox="1">
            <a:spLocks/>
          </p:cNvSpPr>
          <p:nvPr/>
        </p:nvSpPr>
        <p:spPr>
          <a:xfrm>
            <a:off x="472919" y="1507078"/>
            <a:ext cx="3916810" cy="2652669"/>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spcBef>
                <a:spcPts val="0"/>
              </a:spcBef>
              <a:spcAft>
                <a:spcPts val="600"/>
              </a:spcAft>
            </a:pPr>
            <a:r>
              <a:rPr lang="en-US" sz="1800" kern="0"/>
              <a:t>Leverage new CP / UP split</a:t>
            </a:r>
          </a:p>
          <a:p>
            <a:pPr>
              <a:spcBef>
                <a:spcPts val="0"/>
              </a:spcBef>
              <a:spcAft>
                <a:spcPts val="600"/>
              </a:spcAft>
            </a:pPr>
            <a:r>
              <a:rPr lang="en-US" sz="1800" kern="0"/>
              <a:t>Enables flexible deployment options</a:t>
            </a:r>
          </a:p>
          <a:p>
            <a:pPr>
              <a:spcBef>
                <a:spcPts val="0"/>
              </a:spcBef>
              <a:spcAft>
                <a:spcPts val="600"/>
              </a:spcAft>
            </a:pPr>
            <a:r>
              <a:rPr lang="en-US" sz="1800" kern="0"/>
              <a:t>Local service network support</a:t>
            </a:r>
          </a:p>
        </p:txBody>
      </p:sp>
      <p:sp>
        <p:nvSpPr>
          <p:cNvPr id="162" name="Oval 161"/>
          <p:cNvSpPr/>
          <p:nvPr/>
        </p:nvSpPr>
        <p:spPr bwMode="auto">
          <a:xfrm>
            <a:off x="5618112"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7" name="Text Box 144"/>
          <p:cNvSpPr txBox="1">
            <a:spLocks noChangeAspect="1" noChangeArrowheads="1"/>
          </p:cNvSpPr>
          <p:nvPr/>
        </p:nvSpPr>
        <p:spPr bwMode="auto">
          <a:xfrm>
            <a:off x="7680896" y="3365596"/>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s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06" name="Straight Connector 205"/>
          <p:cNvCxnSpPr>
            <a:cxnSpLocks/>
          </p:cNvCxnSpPr>
          <p:nvPr/>
        </p:nvCxnSpPr>
        <p:spPr bwMode="auto">
          <a:xfrm>
            <a:off x="5032162" y="3560356"/>
            <a:ext cx="5694082"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7" name="Straight Connector 206"/>
          <p:cNvCxnSpPr>
            <a:cxnSpLocks/>
          </p:cNvCxnSpPr>
          <p:nvPr/>
        </p:nvCxnSpPr>
        <p:spPr bwMode="auto">
          <a:xfrm>
            <a:off x="5691559"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3" name="Straight Connector 182">
            <a:extLst>
              <a:ext uri="{FF2B5EF4-FFF2-40B4-BE49-F238E27FC236}">
                <a16:creationId xmlns:a16="http://schemas.microsoft.com/office/drawing/2014/main" id="{4F2D51B4-76BA-4876-BC2C-5BE86D796F80}"/>
              </a:ext>
            </a:extLst>
          </p:cNvPr>
          <p:cNvCxnSpPr>
            <a:cxnSpLocks/>
          </p:cNvCxnSpPr>
          <p:nvPr/>
        </p:nvCxnSpPr>
        <p:spPr bwMode="auto">
          <a:xfrm>
            <a:off x="4971046" y="3062587"/>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4" name="Straight Connector 213">
            <a:extLst>
              <a:ext uri="{FF2B5EF4-FFF2-40B4-BE49-F238E27FC236}">
                <a16:creationId xmlns:a16="http://schemas.microsoft.com/office/drawing/2014/main" id="{75D087E2-57E1-4FDD-86C1-1CD2D0141E25}"/>
              </a:ext>
            </a:extLst>
          </p:cNvPr>
          <p:cNvCxnSpPr>
            <a:cxnSpLocks/>
          </p:cNvCxnSpPr>
          <p:nvPr/>
        </p:nvCxnSpPr>
        <p:spPr bwMode="auto">
          <a:xfrm>
            <a:off x="6395466" y="307057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5" name="Straight Connector 214">
            <a:extLst>
              <a:ext uri="{FF2B5EF4-FFF2-40B4-BE49-F238E27FC236}">
                <a16:creationId xmlns:a16="http://schemas.microsoft.com/office/drawing/2014/main" id="{9E0A79E2-9639-4D8B-9CCD-EFD04D6C840C}"/>
              </a:ext>
            </a:extLst>
          </p:cNvPr>
          <p:cNvCxnSpPr>
            <a:cxnSpLocks/>
            <a:endCxn id="249" idx="0"/>
          </p:cNvCxnSpPr>
          <p:nvPr/>
        </p:nvCxnSpPr>
        <p:spPr bwMode="auto">
          <a:xfrm>
            <a:off x="6884411" y="3611188"/>
            <a:ext cx="7186" cy="557597"/>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6" name="Straight Connector 215">
            <a:extLst>
              <a:ext uri="{FF2B5EF4-FFF2-40B4-BE49-F238E27FC236}">
                <a16:creationId xmlns:a16="http://schemas.microsoft.com/office/drawing/2014/main" id="{24B13A1E-BAFB-41C7-A13E-6ABCB396189F}"/>
              </a:ext>
            </a:extLst>
          </p:cNvPr>
          <p:cNvCxnSpPr>
            <a:cxnSpLocks/>
            <a:endCxn id="250" idx="0"/>
          </p:cNvCxnSpPr>
          <p:nvPr/>
        </p:nvCxnSpPr>
        <p:spPr bwMode="auto">
          <a:xfrm>
            <a:off x="8338528" y="3596455"/>
            <a:ext cx="11694" cy="58477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7" name="Straight Connector 216">
            <a:extLst>
              <a:ext uri="{FF2B5EF4-FFF2-40B4-BE49-F238E27FC236}">
                <a16:creationId xmlns:a16="http://schemas.microsoft.com/office/drawing/2014/main" id="{9FA36852-A094-4EF5-B7CD-8FCF83270AA5}"/>
              </a:ext>
            </a:extLst>
          </p:cNvPr>
          <p:cNvCxnSpPr>
            <a:cxnSpLocks/>
          </p:cNvCxnSpPr>
          <p:nvPr/>
        </p:nvCxnSpPr>
        <p:spPr bwMode="auto">
          <a:xfrm>
            <a:off x="713264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8" name="Straight Connector 217">
            <a:extLst>
              <a:ext uri="{FF2B5EF4-FFF2-40B4-BE49-F238E27FC236}">
                <a16:creationId xmlns:a16="http://schemas.microsoft.com/office/drawing/2014/main" id="{2CC930F1-8541-408E-BC98-2B5FD813A92A}"/>
              </a:ext>
            </a:extLst>
          </p:cNvPr>
          <p:cNvCxnSpPr>
            <a:cxnSpLocks/>
          </p:cNvCxnSpPr>
          <p:nvPr/>
        </p:nvCxnSpPr>
        <p:spPr bwMode="auto">
          <a:xfrm>
            <a:off x="7861594" y="3055155"/>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9" name="Straight Connector 218">
            <a:extLst>
              <a:ext uri="{FF2B5EF4-FFF2-40B4-BE49-F238E27FC236}">
                <a16:creationId xmlns:a16="http://schemas.microsoft.com/office/drawing/2014/main" id="{03A13CB3-F220-4B1A-82B5-9FC97C17E4DE}"/>
              </a:ext>
            </a:extLst>
          </p:cNvPr>
          <p:cNvCxnSpPr>
            <a:cxnSpLocks/>
          </p:cNvCxnSpPr>
          <p:nvPr/>
        </p:nvCxnSpPr>
        <p:spPr bwMode="auto">
          <a:xfrm>
            <a:off x="9301863"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20" name="Straight Connector 219">
            <a:extLst>
              <a:ext uri="{FF2B5EF4-FFF2-40B4-BE49-F238E27FC236}">
                <a16:creationId xmlns:a16="http://schemas.microsoft.com/office/drawing/2014/main" id="{6E67CE8A-4CEA-4A5F-8108-8E4B2F99ADD1}"/>
              </a:ext>
            </a:extLst>
          </p:cNvPr>
          <p:cNvCxnSpPr>
            <a:cxnSpLocks/>
          </p:cNvCxnSpPr>
          <p:nvPr/>
        </p:nvCxnSpPr>
        <p:spPr bwMode="auto">
          <a:xfrm>
            <a:off x="10752163"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21" name="Oval 220">
            <a:extLst>
              <a:ext uri="{FF2B5EF4-FFF2-40B4-BE49-F238E27FC236}">
                <a16:creationId xmlns:a16="http://schemas.microsoft.com/office/drawing/2014/main" id="{FCE6296D-6E58-4A49-BC1E-FC7ABD71C7AD}"/>
              </a:ext>
            </a:extLst>
          </p:cNvPr>
          <p:cNvSpPr/>
          <p:nvPr/>
        </p:nvSpPr>
        <p:spPr bwMode="auto">
          <a:xfrm>
            <a:off x="4898235" y="3194013"/>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2" name="Oval 221">
            <a:extLst>
              <a:ext uri="{FF2B5EF4-FFF2-40B4-BE49-F238E27FC236}">
                <a16:creationId xmlns:a16="http://schemas.microsoft.com/office/drawing/2014/main" id="{4CCC064F-1B24-4B35-A185-BD0F41104C43}"/>
              </a:ext>
            </a:extLst>
          </p:cNvPr>
          <p:cNvSpPr/>
          <p:nvPr/>
        </p:nvSpPr>
        <p:spPr bwMode="auto">
          <a:xfrm>
            <a:off x="6335037" y="320979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3" name="Oval 222">
            <a:extLst>
              <a:ext uri="{FF2B5EF4-FFF2-40B4-BE49-F238E27FC236}">
                <a16:creationId xmlns:a16="http://schemas.microsoft.com/office/drawing/2014/main" id="{70DB4543-DEAD-455C-9A02-B8A366DFFDA9}"/>
              </a:ext>
            </a:extLst>
          </p:cNvPr>
          <p:cNvSpPr/>
          <p:nvPr/>
        </p:nvSpPr>
        <p:spPr bwMode="auto">
          <a:xfrm>
            <a:off x="7066641" y="32022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4" name="Oval 223">
            <a:extLst>
              <a:ext uri="{FF2B5EF4-FFF2-40B4-BE49-F238E27FC236}">
                <a16:creationId xmlns:a16="http://schemas.microsoft.com/office/drawing/2014/main" id="{5418E554-AD14-4575-965A-4F3EDD282F3C}"/>
              </a:ext>
            </a:extLst>
          </p:cNvPr>
          <p:cNvSpPr/>
          <p:nvPr/>
        </p:nvSpPr>
        <p:spPr bwMode="auto">
          <a:xfrm>
            <a:off x="7795734" y="3194272"/>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5" name="Oval 224">
            <a:extLst>
              <a:ext uri="{FF2B5EF4-FFF2-40B4-BE49-F238E27FC236}">
                <a16:creationId xmlns:a16="http://schemas.microsoft.com/office/drawing/2014/main" id="{C350BDE5-D4C9-41FF-BC81-E4C3AAED5F21}"/>
              </a:ext>
            </a:extLst>
          </p:cNvPr>
          <p:cNvSpPr/>
          <p:nvPr/>
        </p:nvSpPr>
        <p:spPr bwMode="auto">
          <a:xfrm>
            <a:off x="9233420" y="318783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6" name="Oval 225">
            <a:extLst>
              <a:ext uri="{FF2B5EF4-FFF2-40B4-BE49-F238E27FC236}">
                <a16:creationId xmlns:a16="http://schemas.microsoft.com/office/drawing/2014/main" id="{D7041F0B-D7DE-4322-931A-0B8892EBFC36}"/>
              </a:ext>
            </a:extLst>
          </p:cNvPr>
          <p:cNvSpPr/>
          <p:nvPr/>
        </p:nvSpPr>
        <p:spPr bwMode="auto">
          <a:xfrm>
            <a:off x="10692276"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7" name="Oval 226">
            <a:extLst>
              <a:ext uri="{FF2B5EF4-FFF2-40B4-BE49-F238E27FC236}">
                <a16:creationId xmlns:a16="http://schemas.microsoft.com/office/drawing/2014/main" id="{70ED5429-6FED-4C59-B6EB-99282424AF3E}"/>
              </a:ext>
            </a:extLst>
          </p:cNvPr>
          <p:cNvSpPr/>
          <p:nvPr/>
        </p:nvSpPr>
        <p:spPr bwMode="auto">
          <a:xfrm>
            <a:off x="6822333" y="378105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8" name="Oval 227">
            <a:extLst>
              <a:ext uri="{FF2B5EF4-FFF2-40B4-BE49-F238E27FC236}">
                <a16:creationId xmlns:a16="http://schemas.microsoft.com/office/drawing/2014/main" id="{DF74C6DF-E183-42D2-8977-A32BDDC25BB1}"/>
              </a:ext>
            </a:extLst>
          </p:cNvPr>
          <p:cNvSpPr/>
          <p:nvPr/>
        </p:nvSpPr>
        <p:spPr bwMode="auto">
          <a:xfrm>
            <a:off x="8272903" y="3773150"/>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9" name="Text Box 144">
            <a:extLst>
              <a:ext uri="{FF2B5EF4-FFF2-40B4-BE49-F238E27FC236}">
                <a16:creationId xmlns:a16="http://schemas.microsoft.com/office/drawing/2014/main" id="{BF7261D6-B387-487A-B9E1-CBB5D6348C9B}"/>
              </a:ext>
            </a:extLst>
          </p:cNvPr>
          <p:cNvSpPr txBox="1">
            <a:spLocks noChangeAspect="1" noChangeArrowheads="1"/>
          </p:cNvSpPr>
          <p:nvPr/>
        </p:nvSpPr>
        <p:spPr bwMode="auto">
          <a:xfrm>
            <a:off x="9093453" y="3376932"/>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59" name="Straight Connector 133">
            <a:extLst>
              <a:ext uri="{FF2B5EF4-FFF2-40B4-BE49-F238E27FC236}">
                <a16:creationId xmlns:a16="http://schemas.microsoft.com/office/drawing/2014/main" id="{A046E588-5F71-4315-B4E9-E424C913BCAE}"/>
              </a:ext>
            </a:extLst>
          </p:cNvPr>
          <p:cNvCxnSpPr>
            <a:cxnSpLocks/>
            <a:stCxn id="117" idx="3"/>
            <a:endCxn id="249" idx="1"/>
          </p:cNvCxnSpPr>
          <p:nvPr/>
        </p:nvCxnSpPr>
        <p:spPr bwMode="auto">
          <a:xfrm flipV="1">
            <a:off x="4317587" y="4456532"/>
            <a:ext cx="2394010" cy="36830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Text Box 144">
            <a:extLst>
              <a:ext uri="{FF2B5EF4-FFF2-40B4-BE49-F238E27FC236}">
                <a16:creationId xmlns:a16="http://schemas.microsoft.com/office/drawing/2014/main" id="{1096EC00-8E15-4531-93C9-595E3B2584ED}"/>
              </a:ext>
            </a:extLst>
          </p:cNvPr>
          <p:cNvSpPr txBox="1">
            <a:spLocks noChangeAspect="1" noChangeArrowheads="1"/>
          </p:cNvSpPr>
          <p:nvPr/>
        </p:nvSpPr>
        <p:spPr bwMode="auto">
          <a:xfrm>
            <a:off x="4791458" y="1262876"/>
            <a:ext cx="1121746"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5GC</a:t>
            </a:r>
          </a:p>
        </p:txBody>
      </p:sp>
      <p:cxnSp>
        <p:nvCxnSpPr>
          <p:cNvPr id="190" name="Straight Connector 189">
            <a:extLst>
              <a:ext uri="{FF2B5EF4-FFF2-40B4-BE49-F238E27FC236}">
                <a16:creationId xmlns:a16="http://schemas.microsoft.com/office/drawing/2014/main" id="{EDCE98FC-A229-4E3A-9B20-45E565E037F7}"/>
              </a:ext>
            </a:extLst>
          </p:cNvPr>
          <p:cNvCxnSpPr>
            <a:cxnSpLocks/>
            <a:stCxn id="290" idx="2"/>
          </p:cNvCxnSpPr>
          <p:nvPr/>
        </p:nvCxnSpPr>
        <p:spPr bwMode="auto">
          <a:xfrm flipH="1">
            <a:off x="6032966" y="21034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94" name="Text Box 144">
            <a:extLst>
              <a:ext uri="{FF2B5EF4-FFF2-40B4-BE49-F238E27FC236}">
                <a16:creationId xmlns:a16="http://schemas.microsoft.com/office/drawing/2014/main" id="{2BBE9224-5152-4867-B831-311ECFF92AE9}"/>
              </a:ext>
            </a:extLst>
          </p:cNvPr>
          <p:cNvSpPr txBox="1">
            <a:spLocks noChangeAspect="1" noChangeArrowheads="1"/>
          </p:cNvSpPr>
          <p:nvPr/>
        </p:nvSpPr>
        <p:spPr bwMode="auto">
          <a:xfrm>
            <a:off x="5835578" y="22035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95" name="Oval 194">
            <a:extLst>
              <a:ext uri="{FF2B5EF4-FFF2-40B4-BE49-F238E27FC236}">
                <a16:creationId xmlns:a16="http://schemas.microsoft.com/office/drawing/2014/main" id="{FCFA5074-3D57-4AD6-B860-EABBB25A8594}"/>
              </a:ext>
            </a:extLst>
          </p:cNvPr>
          <p:cNvSpPr/>
          <p:nvPr/>
        </p:nvSpPr>
        <p:spPr bwMode="auto">
          <a:xfrm>
            <a:off x="5960439" y="22076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0" name="Text Box 144">
            <a:extLst>
              <a:ext uri="{FF2B5EF4-FFF2-40B4-BE49-F238E27FC236}">
                <a16:creationId xmlns:a16="http://schemas.microsoft.com/office/drawing/2014/main" id="{648A1508-43D9-4FB7-A8AA-F343FA057287}"/>
              </a:ext>
            </a:extLst>
          </p:cNvPr>
          <p:cNvSpPr txBox="1">
            <a:spLocks noChangeAspect="1" noChangeArrowheads="1"/>
          </p:cNvSpPr>
          <p:nvPr/>
        </p:nvSpPr>
        <p:spPr bwMode="auto">
          <a:xfrm>
            <a:off x="7354065" y="222743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5g-eir</a:t>
            </a:r>
          </a:p>
        </p:txBody>
      </p:sp>
      <p:sp>
        <p:nvSpPr>
          <p:cNvPr id="235" name="Text Box 144">
            <a:extLst>
              <a:ext uri="{FF2B5EF4-FFF2-40B4-BE49-F238E27FC236}">
                <a16:creationId xmlns:a16="http://schemas.microsoft.com/office/drawing/2014/main" id="{C2E2D531-4F98-4FBC-A13E-FAE2777BC299}"/>
              </a:ext>
            </a:extLst>
          </p:cNvPr>
          <p:cNvSpPr txBox="1">
            <a:spLocks noChangeAspect="1" noChangeArrowheads="1"/>
          </p:cNvSpPr>
          <p:nvPr/>
        </p:nvSpPr>
        <p:spPr bwMode="auto">
          <a:xfrm>
            <a:off x="7983168" y="2227995"/>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ch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3" name="Straight Connector 12">
            <a:extLst>
              <a:ext uri="{FF2B5EF4-FFF2-40B4-BE49-F238E27FC236}">
                <a16:creationId xmlns:a16="http://schemas.microsoft.com/office/drawing/2014/main" id="{33FC9B51-7E87-4C30-9BD0-EC0605CC242E}"/>
              </a:ext>
            </a:extLst>
          </p:cNvPr>
          <p:cNvCxnSpPr>
            <a:cxnSpLocks/>
          </p:cNvCxnSpPr>
          <p:nvPr/>
        </p:nvCxnSpPr>
        <p:spPr bwMode="auto">
          <a:xfrm>
            <a:off x="9867741" y="1887790"/>
            <a:ext cx="709604"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286" name="Text Box 144">
            <a:extLst>
              <a:ext uri="{FF2B5EF4-FFF2-40B4-BE49-F238E27FC236}">
                <a16:creationId xmlns:a16="http://schemas.microsoft.com/office/drawing/2014/main" id="{EA9F3266-C2A3-4064-BD84-0D57F7716622}"/>
              </a:ext>
            </a:extLst>
          </p:cNvPr>
          <p:cNvSpPr txBox="1">
            <a:spLocks noChangeAspect="1" noChangeArrowheads="1"/>
          </p:cNvSpPr>
          <p:nvPr/>
        </p:nvSpPr>
        <p:spPr bwMode="auto">
          <a:xfrm>
            <a:off x="10080577" y="1683248"/>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2</a:t>
            </a:r>
          </a:p>
        </p:txBody>
      </p:sp>
      <p:cxnSp>
        <p:nvCxnSpPr>
          <p:cNvPr id="298" name="Straight Connector 297">
            <a:extLst>
              <a:ext uri="{FF2B5EF4-FFF2-40B4-BE49-F238E27FC236}">
                <a16:creationId xmlns:a16="http://schemas.microsoft.com/office/drawing/2014/main" id="{6D6B842D-0654-4523-80AC-A166FE2AAF7F}"/>
              </a:ext>
            </a:extLst>
          </p:cNvPr>
          <p:cNvCxnSpPr>
            <a:cxnSpLocks/>
          </p:cNvCxnSpPr>
          <p:nvPr/>
        </p:nvCxnSpPr>
        <p:spPr bwMode="auto">
          <a:xfrm>
            <a:off x="5313170" y="1943988"/>
            <a:ext cx="9608" cy="161580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99" name="Text Box 144">
            <a:extLst>
              <a:ext uri="{FF2B5EF4-FFF2-40B4-BE49-F238E27FC236}">
                <a16:creationId xmlns:a16="http://schemas.microsoft.com/office/drawing/2014/main" id="{812377A3-E3E6-41E5-930E-E2B306E5BF00}"/>
              </a:ext>
            </a:extLst>
          </p:cNvPr>
          <p:cNvSpPr txBox="1">
            <a:spLocks noChangeAspect="1" noChangeArrowheads="1"/>
          </p:cNvSpPr>
          <p:nvPr/>
        </p:nvSpPr>
        <p:spPr bwMode="auto">
          <a:xfrm>
            <a:off x="5067986" y="219925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r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00" name="Oval 299">
            <a:extLst>
              <a:ext uri="{FF2B5EF4-FFF2-40B4-BE49-F238E27FC236}">
                <a16:creationId xmlns:a16="http://schemas.microsoft.com/office/drawing/2014/main" id="{A3BB8E18-48A6-40D3-A910-CF0195AAD26D}"/>
              </a:ext>
            </a:extLst>
          </p:cNvPr>
          <p:cNvSpPr/>
          <p:nvPr/>
        </p:nvSpPr>
        <p:spPr bwMode="auto">
          <a:xfrm>
            <a:off x="5243423" y="2198246"/>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01" name="Text Box 144">
            <a:extLst>
              <a:ext uri="{FF2B5EF4-FFF2-40B4-BE49-F238E27FC236}">
                <a16:creationId xmlns:a16="http://schemas.microsoft.com/office/drawing/2014/main" id="{535411CB-1826-494C-AA69-E7999B573FD6}"/>
              </a:ext>
            </a:extLst>
          </p:cNvPr>
          <p:cNvSpPr txBox="1">
            <a:spLocks noChangeAspect="1" noChangeArrowheads="1"/>
          </p:cNvSpPr>
          <p:nvPr/>
        </p:nvSpPr>
        <p:spPr bwMode="auto">
          <a:xfrm>
            <a:off x="9321906" y="387346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wd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02" name="Straight Connector 301">
            <a:extLst>
              <a:ext uri="{FF2B5EF4-FFF2-40B4-BE49-F238E27FC236}">
                <a16:creationId xmlns:a16="http://schemas.microsoft.com/office/drawing/2014/main" id="{AC8451EF-5DF8-457F-8F3F-5B83219759D0}"/>
              </a:ext>
            </a:extLst>
          </p:cNvPr>
          <p:cNvCxnSpPr>
            <a:cxnSpLocks/>
            <a:endCxn id="342" idx="0"/>
          </p:cNvCxnSpPr>
          <p:nvPr/>
        </p:nvCxnSpPr>
        <p:spPr bwMode="auto">
          <a:xfrm>
            <a:off x="9444250" y="3618559"/>
            <a:ext cx="12221" cy="55895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03" name="Oval 302">
            <a:extLst>
              <a:ext uri="{FF2B5EF4-FFF2-40B4-BE49-F238E27FC236}">
                <a16:creationId xmlns:a16="http://schemas.microsoft.com/office/drawing/2014/main" id="{7E798736-5130-4A43-B314-39059A275211}"/>
              </a:ext>
            </a:extLst>
          </p:cNvPr>
          <p:cNvSpPr/>
          <p:nvPr/>
        </p:nvSpPr>
        <p:spPr bwMode="auto">
          <a:xfrm>
            <a:off x="9382172" y="378842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6" name="TextBox 335">
            <a:extLst>
              <a:ext uri="{FF2B5EF4-FFF2-40B4-BE49-F238E27FC236}">
                <a16:creationId xmlns:a16="http://schemas.microsoft.com/office/drawing/2014/main" id="{E87705DE-5BE0-41D2-975B-BE8E522EE895}"/>
              </a:ext>
            </a:extLst>
          </p:cNvPr>
          <p:cNvSpPr txBox="1"/>
          <p:nvPr/>
        </p:nvSpPr>
        <p:spPr bwMode="auto">
          <a:xfrm>
            <a:off x="2624233" y="5176651"/>
            <a:ext cx="507649" cy="774772"/>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DU</a:t>
            </a:r>
          </a:p>
        </p:txBody>
      </p:sp>
      <p:sp>
        <p:nvSpPr>
          <p:cNvPr id="240" name="TextBox 239">
            <a:extLst>
              <a:ext uri="{FF2B5EF4-FFF2-40B4-BE49-F238E27FC236}">
                <a16:creationId xmlns:a16="http://schemas.microsoft.com/office/drawing/2014/main" id="{6B50F069-D8DC-439D-A075-2FACB08595CC}"/>
              </a:ext>
            </a:extLst>
          </p:cNvPr>
          <p:cNvSpPr txBox="1"/>
          <p:nvPr/>
        </p:nvSpPr>
        <p:spPr bwMode="auto">
          <a:xfrm>
            <a:off x="4766399" y="249095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USF</a:t>
            </a:r>
          </a:p>
        </p:txBody>
      </p:sp>
      <p:sp>
        <p:nvSpPr>
          <p:cNvPr id="242" name="TextBox 241">
            <a:extLst>
              <a:ext uri="{FF2B5EF4-FFF2-40B4-BE49-F238E27FC236}">
                <a16:creationId xmlns:a16="http://schemas.microsoft.com/office/drawing/2014/main" id="{3E6FDA97-4331-4EA2-A071-025AA5B6DD54}"/>
              </a:ext>
            </a:extLst>
          </p:cNvPr>
          <p:cNvSpPr txBox="1"/>
          <p:nvPr/>
        </p:nvSpPr>
        <p:spPr bwMode="auto">
          <a:xfrm>
            <a:off x="8170709" y="517719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3" name="TextBox 242">
            <a:extLst>
              <a:ext uri="{FF2B5EF4-FFF2-40B4-BE49-F238E27FC236}">
                <a16:creationId xmlns:a16="http://schemas.microsoft.com/office/drawing/2014/main" id="{CC7A5B4D-C298-478C-B489-96BB226BC582}"/>
              </a:ext>
            </a:extLst>
          </p:cNvPr>
          <p:cNvSpPr txBox="1"/>
          <p:nvPr/>
        </p:nvSpPr>
        <p:spPr bwMode="auto">
          <a:xfrm>
            <a:off x="5494873" y="249697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R</a:t>
            </a:r>
          </a:p>
        </p:txBody>
      </p:sp>
      <p:sp>
        <p:nvSpPr>
          <p:cNvPr id="248" name="TextBox 247">
            <a:extLst>
              <a:ext uri="{FF2B5EF4-FFF2-40B4-BE49-F238E27FC236}">
                <a16:creationId xmlns:a16="http://schemas.microsoft.com/office/drawing/2014/main" id="{797FCEBE-CBC1-42EA-8506-087CF5549C05}"/>
              </a:ext>
            </a:extLst>
          </p:cNvPr>
          <p:cNvSpPr txBox="1"/>
          <p:nvPr/>
        </p:nvSpPr>
        <p:spPr bwMode="auto">
          <a:xfrm>
            <a:off x="5118056"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9" name="TextBox 248">
            <a:extLst>
              <a:ext uri="{FF2B5EF4-FFF2-40B4-BE49-F238E27FC236}">
                <a16:creationId xmlns:a16="http://schemas.microsoft.com/office/drawing/2014/main" id="{5BA010C4-EA77-419D-8868-F344AB45E457}"/>
              </a:ext>
            </a:extLst>
          </p:cNvPr>
          <p:cNvSpPr txBox="1"/>
          <p:nvPr/>
        </p:nvSpPr>
        <p:spPr bwMode="auto">
          <a:xfrm>
            <a:off x="6711597" y="4168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50" name="TextBox 249">
            <a:extLst>
              <a:ext uri="{FF2B5EF4-FFF2-40B4-BE49-F238E27FC236}">
                <a16:creationId xmlns:a16="http://schemas.microsoft.com/office/drawing/2014/main" id="{E551A470-9424-4A16-8CA2-C3F536442356}"/>
              </a:ext>
            </a:extLst>
          </p:cNvPr>
          <p:cNvSpPr txBox="1"/>
          <p:nvPr/>
        </p:nvSpPr>
        <p:spPr bwMode="auto">
          <a:xfrm>
            <a:off x="8170222" y="418123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51" name="TextBox 250">
            <a:extLst>
              <a:ext uri="{FF2B5EF4-FFF2-40B4-BE49-F238E27FC236}">
                <a16:creationId xmlns:a16="http://schemas.microsoft.com/office/drawing/2014/main" id="{992C8F44-0307-412E-98DE-B129E4EC97FC}"/>
              </a:ext>
            </a:extLst>
          </p:cNvPr>
          <p:cNvSpPr txBox="1"/>
          <p:nvPr/>
        </p:nvSpPr>
        <p:spPr bwMode="auto">
          <a:xfrm>
            <a:off x="7671294" y="248056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252" name="TextBox 251">
            <a:extLst>
              <a:ext uri="{FF2B5EF4-FFF2-40B4-BE49-F238E27FC236}">
                <a16:creationId xmlns:a16="http://schemas.microsoft.com/office/drawing/2014/main" id="{E4DBC7C6-8CA4-48DD-B1CA-4BEC25AF59C8}"/>
              </a:ext>
            </a:extLst>
          </p:cNvPr>
          <p:cNvSpPr txBox="1"/>
          <p:nvPr/>
        </p:nvSpPr>
        <p:spPr bwMode="auto">
          <a:xfrm>
            <a:off x="9844407"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EF</a:t>
            </a:r>
          </a:p>
        </p:txBody>
      </p:sp>
      <p:sp>
        <p:nvSpPr>
          <p:cNvPr id="253" name="TextBox 252">
            <a:extLst>
              <a:ext uri="{FF2B5EF4-FFF2-40B4-BE49-F238E27FC236}">
                <a16:creationId xmlns:a16="http://schemas.microsoft.com/office/drawing/2014/main" id="{23409AEA-EEEC-4992-9622-11C2554B652C}"/>
              </a:ext>
            </a:extLst>
          </p:cNvPr>
          <p:cNvSpPr txBox="1"/>
          <p:nvPr/>
        </p:nvSpPr>
        <p:spPr bwMode="auto">
          <a:xfrm>
            <a:off x="10559377" y="24870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F</a:t>
            </a:r>
          </a:p>
        </p:txBody>
      </p:sp>
      <p:sp>
        <p:nvSpPr>
          <p:cNvPr id="255" name="TextBox 254">
            <a:extLst>
              <a:ext uri="{FF2B5EF4-FFF2-40B4-BE49-F238E27FC236}">
                <a16:creationId xmlns:a16="http://schemas.microsoft.com/office/drawing/2014/main" id="{48BC886B-6190-440E-B8F8-81F3DC65F22F}"/>
              </a:ext>
            </a:extLst>
          </p:cNvPr>
          <p:cNvSpPr txBox="1"/>
          <p:nvPr/>
        </p:nvSpPr>
        <p:spPr bwMode="auto">
          <a:xfrm>
            <a:off x="8033108" y="155314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CHF</a:t>
            </a:r>
          </a:p>
        </p:txBody>
      </p:sp>
      <p:sp>
        <p:nvSpPr>
          <p:cNvPr id="256" name="TextBox 255">
            <a:extLst>
              <a:ext uri="{FF2B5EF4-FFF2-40B4-BE49-F238E27FC236}">
                <a16:creationId xmlns:a16="http://schemas.microsoft.com/office/drawing/2014/main" id="{83E16EC8-16A0-40FF-A6A4-4C4791119426}"/>
              </a:ext>
            </a:extLst>
          </p:cNvPr>
          <p:cNvSpPr txBox="1"/>
          <p:nvPr/>
        </p:nvSpPr>
        <p:spPr bwMode="auto">
          <a:xfrm>
            <a:off x="9487989" y="1573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EPP</a:t>
            </a:r>
          </a:p>
        </p:txBody>
      </p:sp>
      <p:sp>
        <p:nvSpPr>
          <p:cNvPr id="257" name="TextBox 256">
            <a:extLst>
              <a:ext uri="{FF2B5EF4-FFF2-40B4-BE49-F238E27FC236}">
                <a16:creationId xmlns:a16="http://schemas.microsoft.com/office/drawing/2014/main" id="{A3DFAD36-4131-4118-BADB-B1085082913F}"/>
              </a:ext>
            </a:extLst>
          </p:cNvPr>
          <p:cNvSpPr txBox="1"/>
          <p:nvPr/>
        </p:nvSpPr>
        <p:spPr bwMode="auto">
          <a:xfrm>
            <a:off x="8775792" y="1560889"/>
            <a:ext cx="368702"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GMLC</a:t>
            </a:r>
          </a:p>
        </p:txBody>
      </p:sp>
      <p:sp>
        <p:nvSpPr>
          <p:cNvPr id="258" name="TextBox 257">
            <a:extLst>
              <a:ext uri="{FF2B5EF4-FFF2-40B4-BE49-F238E27FC236}">
                <a16:creationId xmlns:a16="http://schemas.microsoft.com/office/drawing/2014/main" id="{92326BC9-B990-4200-94E0-C767470450CA}"/>
              </a:ext>
            </a:extLst>
          </p:cNvPr>
          <p:cNvSpPr txBox="1"/>
          <p:nvPr/>
        </p:nvSpPr>
        <p:spPr bwMode="auto">
          <a:xfrm>
            <a:off x="9121265" y="247245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SF</a:t>
            </a:r>
          </a:p>
        </p:txBody>
      </p:sp>
      <p:sp>
        <p:nvSpPr>
          <p:cNvPr id="288" name="TextBox 287">
            <a:extLst>
              <a:ext uri="{FF2B5EF4-FFF2-40B4-BE49-F238E27FC236}">
                <a16:creationId xmlns:a16="http://schemas.microsoft.com/office/drawing/2014/main" id="{02A381F3-0569-4654-828D-1C2A5B715604}"/>
              </a:ext>
            </a:extLst>
          </p:cNvPr>
          <p:cNvSpPr txBox="1"/>
          <p:nvPr/>
        </p:nvSpPr>
        <p:spPr bwMode="auto">
          <a:xfrm>
            <a:off x="6568933" y="15326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BSF</a:t>
            </a:r>
          </a:p>
        </p:txBody>
      </p:sp>
      <p:sp>
        <p:nvSpPr>
          <p:cNvPr id="289" name="TextBox 288">
            <a:extLst>
              <a:ext uri="{FF2B5EF4-FFF2-40B4-BE49-F238E27FC236}">
                <a16:creationId xmlns:a16="http://schemas.microsoft.com/office/drawing/2014/main" id="{43238E69-684D-46FA-96A5-0EC8848A2D00}"/>
              </a:ext>
            </a:extLst>
          </p:cNvPr>
          <p:cNvSpPr txBox="1"/>
          <p:nvPr/>
        </p:nvSpPr>
        <p:spPr bwMode="auto">
          <a:xfrm>
            <a:off x="8396090"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LMF</a:t>
            </a:r>
          </a:p>
        </p:txBody>
      </p:sp>
      <p:sp>
        <p:nvSpPr>
          <p:cNvPr id="290" name="TextBox 289">
            <a:extLst>
              <a:ext uri="{FF2B5EF4-FFF2-40B4-BE49-F238E27FC236}">
                <a16:creationId xmlns:a16="http://schemas.microsoft.com/office/drawing/2014/main" id="{6F20D88C-E75A-4EC2-8C36-043D2D71E9BF}"/>
              </a:ext>
            </a:extLst>
          </p:cNvPr>
          <p:cNvSpPr txBox="1"/>
          <p:nvPr/>
        </p:nvSpPr>
        <p:spPr bwMode="auto">
          <a:xfrm>
            <a:off x="5853756"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SF</a:t>
            </a:r>
          </a:p>
        </p:txBody>
      </p:sp>
      <p:cxnSp>
        <p:nvCxnSpPr>
          <p:cNvPr id="292" name="Straight Connector 291">
            <a:extLst>
              <a:ext uri="{FF2B5EF4-FFF2-40B4-BE49-F238E27FC236}">
                <a16:creationId xmlns:a16="http://schemas.microsoft.com/office/drawing/2014/main" id="{D85B3BAF-1884-4BB8-BD69-0A2D960FB8DF}"/>
              </a:ext>
            </a:extLst>
          </p:cNvPr>
          <p:cNvCxnSpPr>
            <a:cxnSpLocks/>
          </p:cNvCxnSpPr>
          <p:nvPr/>
        </p:nvCxnSpPr>
        <p:spPr bwMode="auto">
          <a:xfrm flipH="1">
            <a:off x="6771159" y="21161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2" name="Text Box 144">
            <a:extLst>
              <a:ext uri="{FF2B5EF4-FFF2-40B4-BE49-F238E27FC236}">
                <a16:creationId xmlns:a16="http://schemas.microsoft.com/office/drawing/2014/main" id="{2537D6F2-75A1-45A7-95AB-A220D3A057A9}"/>
              </a:ext>
            </a:extLst>
          </p:cNvPr>
          <p:cNvSpPr txBox="1">
            <a:spLocks noChangeAspect="1" noChangeArrowheads="1"/>
          </p:cNvSpPr>
          <p:nvPr/>
        </p:nvSpPr>
        <p:spPr bwMode="auto">
          <a:xfrm>
            <a:off x="6539267" y="22162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b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23" name="Oval 322">
            <a:extLst>
              <a:ext uri="{FF2B5EF4-FFF2-40B4-BE49-F238E27FC236}">
                <a16:creationId xmlns:a16="http://schemas.microsoft.com/office/drawing/2014/main" id="{1D3D1A4B-B661-4232-92FA-156830CF2E5C}"/>
              </a:ext>
            </a:extLst>
          </p:cNvPr>
          <p:cNvSpPr/>
          <p:nvPr/>
        </p:nvSpPr>
        <p:spPr bwMode="auto">
          <a:xfrm>
            <a:off x="6698632" y="22203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4" name="Straight Connector 323">
            <a:extLst>
              <a:ext uri="{FF2B5EF4-FFF2-40B4-BE49-F238E27FC236}">
                <a16:creationId xmlns:a16="http://schemas.microsoft.com/office/drawing/2014/main" id="{028BEC99-6A28-48D4-B4F7-6ED112A65300}"/>
              </a:ext>
            </a:extLst>
          </p:cNvPr>
          <p:cNvCxnSpPr>
            <a:cxnSpLocks/>
          </p:cNvCxnSpPr>
          <p:nvPr/>
        </p:nvCxnSpPr>
        <p:spPr bwMode="auto">
          <a:xfrm flipH="1">
            <a:off x="7491942" y="21187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5" name="Oval 324">
            <a:extLst>
              <a:ext uri="{FF2B5EF4-FFF2-40B4-BE49-F238E27FC236}">
                <a16:creationId xmlns:a16="http://schemas.microsoft.com/office/drawing/2014/main" id="{BA3BDE0D-FFEE-42D1-A6B6-4F51D4C72A3C}"/>
              </a:ext>
            </a:extLst>
          </p:cNvPr>
          <p:cNvSpPr/>
          <p:nvPr/>
        </p:nvSpPr>
        <p:spPr bwMode="auto">
          <a:xfrm>
            <a:off x="7419415" y="22228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6" name="Straight Connector 325">
            <a:extLst>
              <a:ext uri="{FF2B5EF4-FFF2-40B4-BE49-F238E27FC236}">
                <a16:creationId xmlns:a16="http://schemas.microsoft.com/office/drawing/2014/main" id="{50F4735D-65A0-43DF-80D3-D44941ED00B0}"/>
              </a:ext>
            </a:extLst>
          </p:cNvPr>
          <p:cNvCxnSpPr>
            <a:cxnSpLocks/>
          </p:cNvCxnSpPr>
          <p:nvPr/>
        </p:nvCxnSpPr>
        <p:spPr bwMode="auto">
          <a:xfrm flipH="1">
            <a:off x="8205585" y="21314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7" name="Oval 326">
            <a:extLst>
              <a:ext uri="{FF2B5EF4-FFF2-40B4-BE49-F238E27FC236}">
                <a16:creationId xmlns:a16="http://schemas.microsoft.com/office/drawing/2014/main" id="{41098E04-43E1-4B99-8B2A-BE9EC23C6F29}"/>
              </a:ext>
            </a:extLst>
          </p:cNvPr>
          <p:cNvSpPr/>
          <p:nvPr/>
        </p:nvSpPr>
        <p:spPr bwMode="auto">
          <a:xfrm>
            <a:off x="8133058" y="22355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8" name="Straight Connector 327">
            <a:extLst>
              <a:ext uri="{FF2B5EF4-FFF2-40B4-BE49-F238E27FC236}">
                <a16:creationId xmlns:a16="http://schemas.microsoft.com/office/drawing/2014/main" id="{76192874-6369-4199-B726-DFD06740B708}"/>
              </a:ext>
            </a:extLst>
          </p:cNvPr>
          <p:cNvCxnSpPr>
            <a:cxnSpLocks/>
          </p:cNvCxnSpPr>
          <p:nvPr/>
        </p:nvCxnSpPr>
        <p:spPr bwMode="auto">
          <a:xfrm flipH="1">
            <a:off x="9665925" y="2167172"/>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9" name="Oval 328">
            <a:extLst>
              <a:ext uri="{FF2B5EF4-FFF2-40B4-BE49-F238E27FC236}">
                <a16:creationId xmlns:a16="http://schemas.microsoft.com/office/drawing/2014/main" id="{DE093F6D-66D2-4A94-9CAD-3A6429133F14}"/>
              </a:ext>
            </a:extLst>
          </p:cNvPr>
          <p:cNvSpPr/>
          <p:nvPr/>
        </p:nvSpPr>
        <p:spPr bwMode="auto">
          <a:xfrm>
            <a:off x="9593398" y="2271344"/>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0" name="Text Box 144">
            <a:extLst>
              <a:ext uri="{FF2B5EF4-FFF2-40B4-BE49-F238E27FC236}">
                <a16:creationId xmlns:a16="http://schemas.microsoft.com/office/drawing/2014/main" id="{9C43F5C7-D0FB-4182-9679-FFF7E1264811}"/>
              </a:ext>
            </a:extLst>
          </p:cNvPr>
          <p:cNvSpPr txBox="1">
            <a:spLocks noChangeAspect="1" noChangeArrowheads="1"/>
          </p:cNvSpPr>
          <p:nvPr/>
        </p:nvSpPr>
        <p:spPr bwMode="auto">
          <a:xfrm>
            <a:off x="8383028" y="3380649"/>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l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1" name="Straight Connector 330">
            <a:extLst>
              <a:ext uri="{FF2B5EF4-FFF2-40B4-BE49-F238E27FC236}">
                <a16:creationId xmlns:a16="http://schemas.microsoft.com/office/drawing/2014/main" id="{98D291E0-47DA-418D-B15D-92D721BA0163}"/>
              </a:ext>
            </a:extLst>
          </p:cNvPr>
          <p:cNvCxnSpPr>
            <a:cxnSpLocks/>
          </p:cNvCxnSpPr>
          <p:nvPr/>
        </p:nvCxnSpPr>
        <p:spPr bwMode="auto">
          <a:xfrm>
            <a:off x="8580978" y="3070208"/>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2" name="Oval 331">
            <a:extLst>
              <a:ext uri="{FF2B5EF4-FFF2-40B4-BE49-F238E27FC236}">
                <a16:creationId xmlns:a16="http://schemas.microsoft.com/office/drawing/2014/main" id="{56E72514-CCEA-433A-8F5F-50C5089FEA9C}"/>
              </a:ext>
            </a:extLst>
          </p:cNvPr>
          <p:cNvSpPr/>
          <p:nvPr/>
        </p:nvSpPr>
        <p:spPr bwMode="auto">
          <a:xfrm>
            <a:off x="8515118" y="32093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3" name="Text Box 144">
            <a:extLst>
              <a:ext uri="{FF2B5EF4-FFF2-40B4-BE49-F238E27FC236}">
                <a16:creationId xmlns:a16="http://schemas.microsoft.com/office/drawing/2014/main" id="{4FFBFA90-3EE1-4934-B3E6-DC3BEB0CCE6F}"/>
              </a:ext>
            </a:extLst>
          </p:cNvPr>
          <p:cNvSpPr txBox="1">
            <a:spLocks noChangeAspect="1" noChangeArrowheads="1"/>
          </p:cNvSpPr>
          <p:nvPr/>
        </p:nvSpPr>
        <p:spPr bwMode="auto">
          <a:xfrm>
            <a:off x="8793469" y="2242996"/>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gmlc</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8" name="Straight Connector 337">
            <a:extLst>
              <a:ext uri="{FF2B5EF4-FFF2-40B4-BE49-F238E27FC236}">
                <a16:creationId xmlns:a16="http://schemas.microsoft.com/office/drawing/2014/main" id="{93F3320E-F45A-4134-9754-DFFF62FFD09A}"/>
              </a:ext>
            </a:extLst>
          </p:cNvPr>
          <p:cNvCxnSpPr>
            <a:cxnSpLocks/>
          </p:cNvCxnSpPr>
          <p:nvPr/>
        </p:nvCxnSpPr>
        <p:spPr bwMode="auto">
          <a:xfrm flipH="1">
            <a:off x="8954926" y="2146426"/>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9" name="Oval 338">
            <a:extLst>
              <a:ext uri="{FF2B5EF4-FFF2-40B4-BE49-F238E27FC236}">
                <a16:creationId xmlns:a16="http://schemas.microsoft.com/office/drawing/2014/main" id="{5F383E98-D3AA-4570-B189-D88DD8E41159}"/>
              </a:ext>
            </a:extLst>
          </p:cNvPr>
          <p:cNvSpPr/>
          <p:nvPr/>
        </p:nvSpPr>
        <p:spPr bwMode="auto">
          <a:xfrm>
            <a:off x="8882399" y="225059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42" name="TextBox 341">
            <a:extLst>
              <a:ext uri="{FF2B5EF4-FFF2-40B4-BE49-F238E27FC236}">
                <a16:creationId xmlns:a16="http://schemas.microsoft.com/office/drawing/2014/main" id="{976093E1-21CA-4FE1-9EAC-FF17CEB72E16}"/>
              </a:ext>
            </a:extLst>
          </p:cNvPr>
          <p:cNvSpPr txBox="1"/>
          <p:nvPr/>
        </p:nvSpPr>
        <p:spPr bwMode="auto">
          <a:xfrm>
            <a:off x="9192942" y="4177512"/>
            <a:ext cx="527058"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WDAF</a:t>
            </a:r>
          </a:p>
        </p:txBody>
      </p:sp>
      <p:cxnSp>
        <p:nvCxnSpPr>
          <p:cNvPr id="350" name="Straight Connector 349">
            <a:extLst>
              <a:ext uri="{FF2B5EF4-FFF2-40B4-BE49-F238E27FC236}">
                <a16:creationId xmlns:a16="http://schemas.microsoft.com/office/drawing/2014/main" id="{D7BF2B8B-0476-4B34-99AE-DCD7A8B94363}"/>
              </a:ext>
            </a:extLst>
          </p:cNvPr>
          <p:cNvCxnSpPr>
            <a:cxnSpLocks/>
          </p:cNvCxnSpPr>
          <p:nvPr/>
        </p:nvCxnSpPr>
        <p:spPr bwMode="auto">
          <a:xfrm>
            <a:off x="10011707" y="304850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51" name="Oval 350">
            <a:extLst>
              <a:ext uri="{FF2B5EF4-FFF2-40B4-BE49-F238E27FC236}">
                <a16:creationId xmlns:a16="http://schemas.microsoft.com/office/drawing/2014/main" id="{7F2D3DA8-06EC-4D78-9DEB-EBBA2F62B676}"/>
              </a:ext>
            </a:extLst>
          </p:cNvPr>
          <p:cNvSpPr/>
          <p:nvPr/>
        </p:nvSpPr>
        <p:spPr bwMode="auto">
          <a:xfrm>
            <a:off x="9943264" y="317340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52" name="Text Box 144">
            <a:extLst>
              <a:ext uri="{FF2B5EF4-FFF2-40B4-BE49-F238E27FC236}">
                <a16:creationId xmlns:a16="http://schemas.microsoft.com/office/drawing/2014/main" id="{2A5934D5-5698-4A72-90B2-478B2300303E}"/>
              </a:ext>
            </a:extLst>
          </p:cNvPr>
          <p:cNvSpPr txBox="1">
            <a:spLocks noChangeAspect="1" noChangeArrowheads="1"/>
          </p:cNvSpPr>
          <p:nvPr/>
        </p:nvSpPr>
        <p:spPr bwMode="auto">
          <a:xfrm>
            <a:off x="9820806" y="3371125"/>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e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11" name="Group 110">
            <a:extLst>
              <a:ext uri="{FF2B5EF4-FFF2-40B4-BE49-F238E27FC236}">
                <a16:creationId xmlns:a16="http://schemas.microsoft.com/office/drawing/2014/main" id="{D27613E8-DF2B-4AB5-9F4D-1B48EF9729CC}"/>
              </a:ext>
            </a:extLst>
          </p:cNvPr>
          <p:cNvGrpSpPr>
            <a:grpSpLocks noChangeAspect="1"/>
          </p:cNvGrpSpPr>
          <p:nvPr/>
        </p:nvGrpSpPr>
        <p:grpSpPr>
          <a:xfrm>
            <a:off x="1163229" y="5047661"/>
            <a:ext cx="419644" cy="587501"/>
            <a:chOff x="10129764" y="745508"/>
            <a:chExt cx="221963" cy="310748"/>
          </a:xfrm>
        </p:grpSpPr>
        <p:grpSp>
          <p:nvGrpSpPr>
            <p:cNvPr id="112" name="Group 111">
              <a:extLst>
                <a:ext uri="{FF2B5EF4-FFF2-40B4-BE49-F238E27FC236}">
                  <a16:creationId xmlns:a16="http://schemas.microsoft.com/office/drawing/2014/main" id="{49BA53DA-3809-4EC4-A4FF-A974E46A724C}"/>
                </a:ext>
              </a:extLst>
            </p:cNvPr>
            <p:cNvGrpSpPr>
              <a:grpSpLocks noChangeAspect="1"/>
            </p:cNvGrpSpPr>
            <p:nvPr/>
          </p:nvGrpSpPr>
          <p:grpSpPr>
            <a:xfrm>
              <a:off x="10129764" y="745508"/>
              <a:ext cx="221963" cy="310748"/>
              <a:chOff x="1373325" y="5272742"/>
              <a:chExt cx="428625" cy="600075"/>
            </a:xfrm>
          </p:grpSpPr>
          <p:sp>
            <p:nvSpPr>
              <p:cNvPr id="114" name="Rectangle 113">
                <a:extLst>
                  <a:ext uri="{FF2B5EF4-FFF2-40B4-BE49-F238E27FC236}">
                    <a16:creationId xmlns:a16="http://schemas.microsoft.com/office/drawing/2014/main" id="{FBDF7618-8536-468B-BBE4-99AD2E0EC88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5" name="Graphic 114">
                <a:extLst>
                  <a:ext uri="{FF2B5EF4-FFF2-40B4-BE49-F238E27FC236}">
                    <a16:creationId xmlns:a16="http://schemas.microsoft.com/office/drawing/2014/main" id="{066E2901-94CB-4E9C-A949-E9433C9CCB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13" name="TextBox 112">
              <a:extLst>
                <a:ext uri="{FF2B5EF4-FFF2-40B4-BE49-F238E27FC236}">
                  <a16:creationId xmlns:a16="http://schemas.microsoft.com/office/drawing/2014/main" id="{FED67507-9114-4213-A35C-A56ADF19E34D}"/>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116" name="TextBox 115">
            <a:extLst>
              <a:ext uri="{FF2B5EF4-FFF2-40B4-BE49-F238E27FC236}">
                <a16:creationId xmlns:a16="http://schemas.microsoft.com/office/drawing/2014/main" id="{9E4F9FAD-620C-40BE-B796-D0AD2A414EC5}"/>
              </a:ext>
            </a:extLst>
          </p:cNvPr>
          <p:cNvSpPr txBox="1"/>
          <p:nvPr/>
        </p:nvSpPr>
        <p:spPr bwMode="auto">
          <a:xfrm>
            <a:off x="3809938" y="5291211"/>
            <a:ext cx="507649" cy="694447"/>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Hilda"/>
                <a:ea typeface="+mn-ea"/>
                <a:cs typeface="+mn-cs"/>
              </a:rPr>
              <a:t>CU-UP</a:t>
            </a:r>
          </a:p>
        </p:txBody>
      </p:sp>
      <p:sp>
        <p:nvSpPr>
          <p:cNvPr id="117" name="TextBox 116">
            <a:extLst>
              <a:ext uri="{FF2B5EF4-FFF2-40B4-BE49-F238E27FC236}">
                <a16:creationId xmlns:a16="http://schemas.microsoft.com/office/drawing/2014/main" id="{9A9503CE-76F3-4B00-B973-9013EF76A375}"/>
              </a:ext>
            </a:extLst>
          </p:cNvPr>
          <p:cNvSpPr txBox="1"/>
          <p:nvPr/>
        </p:nvSpPr>
        <p:spPr bwMode="auto">
          <a:xfrm>
            <a:off x="3817461" y="4461735"/>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Hilda"/>
                <a:ea typeface="+mn-ea"/>
                <a:cs typeface="+mn-cs"/>
              </a:rPr>
              <a:t>CU-CP</a:t>
            </a:r>
          </a:p>
        </p:txBody>
      </p:sp>
      <p:cxnSp>
        <p:nvCxnSpPr>
          <p:cNvPr id="122" name="Straight Connector 133">
            <a:extLst>
              <a:ext uri="{FF2B5EF4-FFF2-40B4-BE49-F238E27FC236}">
                <a16:creationId xmlns:a16="http://schemas.microsoft.com/office/drawing/2014/main" id="{C57D4066-6B70-4D72-A55C-1469A2151102}"/>
              </a:ext>
            </a:extLst>
          </p:cNvPr>
          <p:cNvCxnSpPr>
            <a:cxnSpLocks/>
            <a:stCxn id="115" idx="0"/>
          </p:cNvCxnSpPr>
          <p:nvPr/>
        </p:nvCxnSpPr>
        <p:spPr bwMode="auto">
          <a:xfrm rot="5400000" flipH="1" flipV="1">
            <a:off x="3647494" y="1983560"/>
            <a:ext cx="789659" cy="5338545"/>
          </a:xfrm>
          <a:prstGeom prst="bentConnector2">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5" name="Line 30">
            <a:extLst>
              <a:ext uri="{FF2B5EF4-FFF2-40B4-BE49-F238E27FC236}">
                <a16:creationId xmlns:a16="http://schemas.microsoft.com/office/drawing/2014/main" id="{8F51B2BF-71FB-449B-B8C2-2AB12987B523}"/>
              </a:ext>
            </a:extLst>
          </p:cNvPr>
          <p:cNvSpPr>
            <a:spLocks noChangeShapeType="1"/>
          </p:cNvSpPr>
          <p:nvPr/>
        </p:nvSpPr>
        <p:spPr bwMode="auto">
          <a:xfrm flipV="1">
            <a:off x="3131881" y="5478662"/>
            <a:ext cx="685579"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cxnSp>
        <p:nvCxnSpPr>
          <p:cNvPr id="126" name="Straight Connector 133">
            <a:extLst>
              <a:ext uri="{FF2B5EF4-FFF2-40B4-BE49-F238E27FC236}">
                <a16:creationId xmlns:a16="http://schemas.microsoft.com/office/drawing/2014/main" id="{6D81EA05-DA78-4EA2-85A5-74665386FC5D}"/>
              </a:ext>
            </a:extLst>
          </p:cNvPr>
          <p:cNvCxnSpPr>
            <a:cxnSpLocks/>
            <a:endCxn id="117" idx="1"/>
          </p:cNvCxnSpPr>
          <p:nvPr/>
        </p:nvCxnSpPr>
        <p:spPr bwMode="auto">
          <a:xfrm flipV="1">
            <a:off x="3131881" y="4824834"/>
            <a:ext cx="685580" cy="52608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30" name="Text Box 144">
            <a:extLst>
              <a:ext uri="{FF2B5EF4-FFF2-40B4-BE49-F238E27FC236}">
                <a16:creationId xmlns:a16="http://schemas.microsoft.com/office/drawing/2014/main" id="{FEED05CB-4F06-4288-8E57-E65BB36DED02}"/>
              </a:ext>
            </a:extLst>
          </p:cNvPr>
          <p:cNvSpPr txBox="1">
            <a:spLocks noChangeAspect="1" noChangeArrowheads="1"/>
          </p:cNvSpPr>
          <p:nvPr/>
        </p:nvSpPr>
        <p:spPr bwMode="auto">
          <a:xfrm>
            <a:off x="2940831" y="5801048"/>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RAN</a:t>
            </a:r>
          </a:p>
        </p:txBody>
      </p:sp>
      <p:cxnSp>
        <p:nvCxnSpPr>
          <p:cNvPr id="119" name="Straight Connector 133">
            <a:extLst>
              <a:ext uri="{FF2B5EF4-FFF2-40B4-BE49-F238E27FC236}">
                <a16:creationId xmlns:a16="http://schemas.microsoft.com/office/drawing/2014/main" id="{B7AB7FDB-EC26-4253-93FB-D627BAC44E02}"/>
              </a:ext>
            </a:extLst>
          </p:cNvPr>
          <p:cNvCxnSpPr>
            <a:cxnSpLocks/>
            <a:stCxn id="116" idx="0"/>
            <a:endCxn id="117" idx="2"/>
          </p:cNvCxnSpPr>
          <p:nvPr/>
        </p:nvCxnSpPr>
        <p:spPr bwMode="auto">
          <a:xfrm flipV="1">
            <a:off x="4063763" y="5187933"/>
            <a:ext cx="3761" cy="10327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1" name="Text Box 144">
            <a:extLst>
              <a:ext uri="{FF2B5EF4-FFF2-40B4-BE49-F238E27FC236}">
                <a16:creationId xmlns:a16="http://schemas.microsoft.com/office/drawing/2014/main" id="{D3B58CFE-73D4-4142-A71B-91CC14E6B9B1}"/>
              </a:ext>
            </a:extLst>
          </p:cNvPr>
          <p:cNvSpPr txBox="1">
            <a:spLocks noChangeAspect="1" noChangeArrowheads="1"/>
          </p:cNvSpPr>
          <p:nvPr/>
        </p:nvSpPr>
        <p:spPr bwMode="auto">
          <a:xfrm>
            <a:off x="7105694" y="529348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9</a:t>
            </a:r>
          </a:p>
        </p:txBody>
      </p:sp>
      <p:sp>
        <p:nvSpPr>
          <p:cNvPr id="123" name="Text Box 144">
            <a:extLst>
              <a:ext uri="{FF2B5EF4-FFF2-40B4-BE49-F238E27FC236}">
                <a16:creationId xmlns:a16="http://schemas.microsoft.com/office/drawing/2014/main" id="{18ECACC0-4E1E-4B18-A5A1-6812BB76884B}"/>
              </a:ext>
            </a:extLst>
          </p:cNvPr>
          <p:cNvSpPr txBox="1">
            <a:spLocks noChangeAspect="1" noChangeArrowheads="1"/>
          </p:cNvSpPr>
          <p:nvPr/>
        </p:nvSpPr>
        <p:spPr bwMode="auto">
          <a:xfrm>
            <a:off x="6586665" y="496484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cxnSp>
        <p:nvCxnSpPr>
          <p:cNvPr id="124" name="Straight Connector 135">
            <a:extLst>
              <a:ext uri="{FF2B5EF4-FFF2-40B4-BE49-F238E27FC236}">
                <a16:creationId xmlns:a16="http://schemas.microsoft.com/office/drawing/2014/main" id="{8709980B-9446-4CA0-AA98-14D5460EB00B}"/>
              </a:ext>
            </a:extLst>
          </p:cNvPr>
          <p:cNvCxnSpPr>
            <a:cxnSpLocks/>
            <a:stCxn id="250" idx="2"/>
            <a:endCxn id="127" idx="0"/>
          </p:cNvCxnSpPr>
          <p:nvPr/>
        </p:nvCxnSpPr>
        <p:spPr bwMode="auto">
          <a:xfrm flipH="1">
            <a:off x="6913796" y="4756724"/>
            <a:ext cx="1436426"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7" name="TextBox 126">
            <a:extLst>
              <a:ext uri="{FF2B5EF4-FFF2-40B4-BE49-F238E27FC236}">
                <a16:creationId xmlns:a16="http://schemas.microsoft.com/office/drawing/2014/main" id="{E0A56F49-598F-490B-BF1D-A4E6722EBEF0}"/>
              </a:ext>
            </a:extLst>
          </p:cNvPr>
          <p:cNvSpPr txBox="1"/>
          <p:nvPr/>
        </p:nvSpPr>
        <p:spPr bwMode="auto">
          <a:xfrm>
            <a:off x="6733796" y="517719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grpSp>
        <p:nvGrpSpPr>
          <p:cNvPr id="128" name="Group 127">
            <a:extLst>
              <a:ext uri="{FF2B5EF4-FFF2-40B4-BE49-F238E27FC236}">
                <a16:creationId xmlns:a16="http://schemas.microsoft.com/office/drawing/2014/main" id="{9B0B2FE1-FB91-41EC-9CD0-7A92564A83FF}"/>
              </a:ext>
            </a:extLst>
          </p:cNvPr>
          <p:cNvGrpSpPr/>
          <p:nvPr/>
        </p:nvGrpSpPr>
        <p:grpSpPr>
          <a:xfrm>
            <a:off x="7356999" y="6027584"/>
            <a:ext cx="938229" cy="812081"/>
            <a:chOff x="9038846" y="4514377"/>
            <a:chExt cx="2250397" cy="1719278"/>
          </a:xfrm>
        </p:grpSpPr>
        <p:sp>
          <p:nvSpPr>
            <p:cNvPr id="131" name="Freeform 34">
              <a:extLst>
                <a:ext uri="{FF2B5EF4-FFF2-40B4-BE49-F238E27FC236}">
                  <a16:creationId xmlns:a16="http://schemas.microsoft.com/office/drawing/2014/main" id="{CE5F19E8-2D1C-4254-8F33-59F4BF46A048}"/>
                </a:ext>
              </a:extLst>
            </p:cNvPr>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endParaRPr lang="en-US">
                <a:latin typeface="+mn-lt"/>
              </a:endParaRPr>
            </a:p>
          </p:txBody>
        </p:sp>
        <p:sp>
          <p:nvSpPr>
            <p:cNvPr id="132" name="Text Box 35">
              <a:extLst>
                <a:ext uri="{FF2B5EF4-FFF2-40B4-BE49-F238E27FC236}">
                  <a16:creationId xmlns:a16="http://schemas.microsoft.com/office/drawing/2014/main" id="{12EFCA90-99FF-4162-9280-438E98C31ADA}"/>
                </a:ext>
              </a:extLst>
            </p:cNvPr>
            <p:cNvSpPr txBox="1">
              <a:spLocks noChangeAspect="1" noChangeArrowheads="1"/>
            </p:cNvSpPr>
            <p:nvPr/>
          </p:nvSpPr>
          <p:spPr bwMode="auto">
            <a:xfrm>
              <a:off x="9490706" y="4846560"/>
              <a:ext cx="1364938" cy="113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200">
                  <a:latin typeface="+mn-lt"/>
                  <a:ea typeface="MS PGothic" pitchFamily="34" charset="-128"/>
                </a:rPr>
                <a:t>Local </a:t>
              </a:r>
              <a:br>
                <a:rPr lang="en-US" altLang="en-US" sz="1200">
                  <a:latin typeface="+mn-lt"/>
                  <a:ea typeface="MS PGothic" pitchFamily="34" charset="-128"/>
                </a:rPr>
              </a:br>
              <a:r>
                <a:rPr lang="en-US" altLang="en-US" sz="1200">
                  <a:latin typeface="+mn-lt"/>
                  <a:ea typeface="MS PGothic" pitchFamily="34" charset="-128"/>
                </a:rPr>
                <a:t>Service </a:t>
              </a:r>
              <a:br>
                <a:rPr lang="en-US" altLang="en-US" sz="1200">
                  <a:latin typeface="+mn-lt"/>
                  <a:ea typeface="MS PGothic" pitchFamily="34" charset="-128"/>
                </a:rPr>
              </a:br>
              <a:r>
                <a:rPr lang="en-US" altLang="en-US" sz="1200">
                  <a:latin typeface="+mn-lt"/>
                  <a:ea typeface="MS PGothic" pitchFamily="34" charset="-128"/>
                </a:rPr>
                <a:t>Network</a:t>
              </a:r>
              <a:endParaRPr lang="en-US" altLang="en-US" sz="1000">
                <a:latin typeface="+mn-lt"/>
                <a:ea typeface="MS PGothic" pitchFamily="34" charset="-128"/>
              </a:endParaRPr>
            </a:p>
          </p:txBody>
        </p:sp>
      </p:grpSp>
      <p:sp>
        <p:nvSpPr>
          <p:cNvPr id="133" name="Text Box 35">
            <a:extLst>
              <a:ext uri="{FF2B5EF4-FFF2-40B4-BE49-F238E27FC236}">
                <a16:creationId xmlns:a16="http://schemas.microsoft.com/office/drawing/2014/main" id="{3E990D97-F19F-4581-89EA-3CFDBCA7131C}"/>
              </a:ext>
            </a:extLst>
          </p:cNvPr>
          <p:cNvSpPr txBox="1">
            <a:spLocks noChangeAspect="1" noChangeArrowheads="1"/>
          </p:cNvSpPr>
          <p:nvPr/>
        </p:nvSpPr>
        <p:spPr bwMode="auto">
          <a:xfrm>
            <a:off x="6124624" y="5750949"/>
            <a:ext cx="1514812" cy="43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a:latin typeface="+mn-lt"/>
                <a:ea typeface="MS PGothic" pitchFamily="34" charset="-128"/>
              </a:rPr>
              <a:t>Remote </a:t>
            </a:r>
            <a:br>
              <a:rPr lang="en-US" altLang="en-US" sz="1400">
                <a:latin typeface="+mn-lt"/>
                <a:ea typeface="MS PGothic" pitchFamily="34" charset="-128"/>
              </a:rPr>
            </a:br>
            <a:r>
              <a:rPr lang="en-US" altLang="en-US" sz="1400">
                <a:latin typeface="+mn-lt"/>
                <a:ea typeface="MS PGothic" pitchFamily="34" charset="-128"/>
              </a:rPr>
              <a:t>Location</a:t>
            </a:r>
            <a:endParaRPr lang="en-US" altLang="en-US" sz="1050">
              <a:latin typeface="+mn-lt"/>
              <a:ea typeface="MS PGothic" pitchFamily="34" charset="-128"/>
            </a:endParaRPr>
          </a:p>
        </p:txBody>
      </p:sp>
      <p:sp>
        <p:nvSpPr>
          <p:cNvPr id="134" name="Text Box 144">
            <a:extLst>
              <a:ext uri="{FF2B5EF4-FFF2-40B4-BE49-F238E27FC236}">
                <a16:creationId xmlns:a16="http://schemas.microsoft.com/office/drawing/2014/main" id="{0483EBE3-D9B5-4ED8-91B9-B10A919ED0A9}"/>
              </a:ext>
            </a:extLst>
          </p:cNvPr>
          <p:cNvSpPr txBox="1">
            <a:spLocks noChangeAspect="1" noChangeArrowheads="1"/>
          </p:cNvSpPr>
          <p:nvPr/>
        </p:nvSpPr>
        <p:spPr bwMode="auto">
          <a:xfrm>
            <a:off x="7009053" y="576123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6</a:t>
            </a:r>
          </a:p>
        </p:txBody>
      </p:sp>
      <p:sp>
        <p:nvSpPr>
          <p:cNvPr id="135" name="Line 30">
            <a:extLst>
              <a:ext uri="{FF2B5EF4-FFF2-40B4-BE49-F238E27FC236}">
                <a16:creationId xmlns:a16="http://schemas.microsoft.com/office/drawing/2014/main" id="{071FA171-C9B6-4145-B18F-967CDE723F2D}"/>
              </a:ext>
            </a:extLst>
          </p:cNvPr>
          <p:cNvSpPr>
            <a:spLocks noChangeShapeType="1"/>
          </p:cNvSpPr>
          <p:nvPr/>
        </p:nvSpPr>
        <p:spPr bwMode="auto">
          <a:xfrm>
            <a:off x="7093795" y="5568482"/>
            <a:ext cx="477207" cy="565892"/>
          </a:xfrm>
          <a:prstGeom prst="line">
            <a:avLst/>
          </a:prstGeom>
          <a:noFill/>
          <a:ln w="28575">
            <a:solidFill>
              <a:schemeClr val="tx1">
                <a:lumMod val="75000"/>
                <a:lumOff val="25000"/>
              </a:schemeClr>
            </a:solidFill>
            <a:round/>
            <a:headEnd/>
            <a:tailEnd/>
          </a:ln>
        </p:spPr>
        <p:txBody>
          <a:bodyPr lIns="91438" tIns="45719" rIns="91438" bIns="45719"/>
          <a:lstStyle/>
          <a:p>
            <a:pPr>
              <a:defRPr/>
            </a:pPr>
            <a:endParaRPr lang="sv-SE" sz="2400">
              <a:latin typeface="+mn-lt"/>
              <a:ea typeface="ＭＳ Ｐゴシック" charset="0"/>
              <a:cs typeface="Arial" charset="0"/>
            </a:endParaRPr>
          </a:p>
        </p:txBody>
      </p:sp>
      <p:sp>
        <p:nvSpPr>
          <p:cNvPr id="136" name="Text Box 35">
            <a:extLst>
              <a:ext uri="{FF2B5EF4-FFF2-40B4-BE49-F238E27FC236}">
                <a16:creationId xmlns:a16="http://schemas.microsoft.com/office/drawing/2014/main" id="{180B9B4C-3696-4FEA-804D-92A2E9A13E1F}"/>
              </a:ext>
            </a:extLst>
          </p:cNvPr>
          <p:cNvSpPr txBox="1">
            <a:spLocks noChangeAspect="1" noChangeArrowheads="1"/>
          </p:cNvSpPr>
          <p:nvPr/>
        </p:nvSpPr>
        <p:spPr bwMode="auto">
          <a:xfrm>
            <a:off x="7742287" y="5741513"/>
            <a:ext cx="1195896" cy="43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a:latin typeface="+mn-lt"/>
                <a:ea typeface="MS PGothic" pitchFamily="34" charset="-128"/>
              </a:rPr>
              <a:t>Central Location</a:t>
            </a:r>
            <a:endParaRPr lang="en-US" altLang="en-US" sz="1050">
              <a:latin typeface="+mn-lt"/>
              <a:ea typeface="MS PGothic" pitchFamily="34" charset="-128"/>
            </a:endParaRPr>
          </a:p>
        </p:txBody>
      </p:sp>
      <p:sp>
        <p:nvSpPr>
          <p:cNvPr id="137" name="TextBox 136">
            <a:extLst>
              <a:ext uri="{FF2B5EF4-FFF2-40B4-BE49-F238E27FC236}">
                <a16:creationId xmlns:a16="http://schemas.microsoft.com/office/drawing/2014/main" id="{E51FF4E7-F515-4E78-AFC1-785138D7F829}"/>
              </a:ext>
            </a:extLst>
          </p:cNvPr>
          <p:cNvSpPr txBox="1"/>
          <p:nvPr/>
        </p:nvSpPr>
        <p:spPr bwMode="auto">
          <a:xfrm>
            <a:off x="7309722" y="152068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5G-EIR</a:t>
            </a:r>
          </a:p>
        </p:txBody>
      </p:sp>
      <p:sp>
        <p:nvSpPr>
          <p:cNvPr id="138" name="TextBox 137">
            <a:extLst>
              <a:ext uri="{FF2B5EF4-FFF2-40B4-BE49-F238E27FC236}">
                <a16:creationId xmlns:a16="http://schemas.microsoft.com/office/drawing/2014/main" id="{F3276FAC-8CC8-4970-84EA-B084F3CA089C}"/>
              </a:ext>
            </a:extLst>
          </p:cNvPr>
          <p:cNvSpPr txBox="1"/>
          <p:nvPr/>
        </p:nvSpPr>
        <p:spPr bwMode="auto">
          <a:xfrm>
            <a:off x="6933896" y="24552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139" name="TextBox 138">
            <a:extLst>
              <a:ext uri="{FF2B5EF4-FFF2-40B4-BE49-F238E27FC236}">
                <a16:creationId xmlns:a16="http://schemas.microsoft.com/office/drawing/2014/main" id="{B6D22482-C16F-4C07-A00A-5BED185E2317}"/>
              </a:ext>
            </a:extLst>
          </p:cNvPr>
          <p:cNvSpPr txBox="1"/>
          <p:nvPr/>
        </p:nvSpPr>
        <p:spPr bwMode="auto">
          <a:xfrm>
            <a:off x="6206986" y="2468880"/>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Tree>
    <p:extLst>
      <p:ext uri="{BB962C8B-B14F-4D97-AF65-F5344CB8AC3E}">
        <p14:creationId xmlns:p14="http://schemas.microsoft.com/office/powerpoint/2010/main" val="2029043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6"/>
                                        </p:tgtEl>
                                        <p:attrNameLst>
                                          <p:attrName>style.visibility</p:attrName>
                                        </p:attrNameLst>
                                      </p:cBhvr>
                                      <p:to>
                                        <p:strVal val="visible"/>
                                      </p:to>
                                    </p:set>
                                    <p:animEffect transition="in" filter="fade">
                                      <p:cBhvr>
                                        <p:cTn id="7" dur="500"/>
                                        <p:tgtEl>
                                          <p:spTgt spid="206"/>
                                        </p:tgtEl>
                                      </p:cBhvr>
                                    </p:animEffect>
                                  </p:childTnLst>
                                </p:cTn>
                              </p:par>
                              <p:par>
                                <p:cTn id="8" presetID="10" presetClass="entr" presetSubtype="0" fill="hold"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fade">
                                      <p:cBhvr>
                                        <p:cTn id="13" dur="500"/>
                                        <p:tgtEl>
                                          <p:spTgt spid="183"/>
                                        </p:tgtEl>
                                      </p:cBhvr>
                                    </p:animEffect>
                                  </p:childTnLst>
                                </p:cTn>
                              </p:par>
                              <p:par>
                                <p:cTn id="14" presetID="10" presetClass="entr" presetSubtype="0" fill="hold" nodeType="withEffect">
                                  <p:stCondLst>
                                    <p:cond delay="0"/>
                                  </p:stCondLst>
                                  <p:childTnLst>
                                    <p:set>
                                      <p:cBhvr>
                                        <p:cTn id="15" dur="1" fill="hold">
                                          <p:stCondLst>
                                            <p:cond delay="0"/>
                                          </p:stCondLst>
                                        </p:cTn>
                                        <p:tgtEl>
                                          <p:spTgt spid="214"/>
                                        </p:tgtEl>
                                        <p:attrNameLst>
                                          <p:attrName>style.visibility</p:attrName>
                                        </p:attrNameLst>
                                      </p:cBhvr>
                                      <p:to>
                                        <p:strVal val="visible"/>
                                      </p:to>
                                    </p:set>
                                    <p:animEffect transition="in" filter="fade">
                                      <p:cBhvr>
                                        <p:cTn id="16" dur="500"/>
                                        <p:tgtEl>
                                          <p:spTgt spid="214"/>
                                        </p:tgtEl>
                                      </p:cBhvr>
                                    </p:animEffect>
                                  </p:childTnLst>
                                </p:cTn>
                              </p:par>
                              <p:par>
                                <p:cTn id="17" presetID="10" presetClass="entr" presetSubtype="0" fill="hold" nodeType="with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500"/>
                                        <p:tgtEl>
                                          <p:spTgt spid="215"/>
                                        </p:tgtEl>
                                      </p:cBhvr>
                                    </p:animEffect>
                                  </p:childTnLst>
                                </p:cTn>
                              </p:par>
                              <p:par>
                                <p:cTn id="20" presetID="10" presetClass="entr" presetSubtype="0" fill="hold" nodeType="withEffect">
                                  <p:stCondLst>
                                    <p:cond delay="0"/>
                                  </p:stCondLst>
                                  <p:childTnLst>
                                    <p:set>
                                      <p:cBhvr>
                                        <p:cTn id="21" dur="1" fill="hold">
                                          <p:stCondLst>
                                            <p:cond delay="0"/>
                                          </p:stCondLst>
                                        </p:cTn>
                                        <p:tgtEl>
                                          <p:spTgt spid="216"/>
                                        </p:tgtEl>
                                        <p:attrNameLst>
                                          <p:attrName>style.visibility</p:attrName>
                                        </p:attrNameLst>
                                      </p:cBhvr>
                                      <p:to>
                                        <p:strVal val="visible"/>
                                      </p:to>
                                    </p:set>
                                    <p:animEffect transition="in" filter="fade">
                                      <p:cBhvr>
                                        <p:cTn id="22" dur="500"/>
                                        <p:tgtEl>
                                          <p:spTgt spid="216"/>
                                        </p:tgtEl>
                                      </p:cBhvr>
                                    </p:animEffect>
                                  </p:childTnLst>
                                </p:cTn>
                              </p:par>
                              <p:par>
                                <p:cTn id="23" presetID="10" presetClass="entr" presetSubtype="0" fill="hold" nodeType="withEffect">
                                  <p:stCondLst>
                                    <p:cond delay="0"/>
                                  </p:stCondLst>
                                  <p:childTnLst>
                                    <p:set>
                                      <p:cBhvr>
                                        <p:cTn id="24" dur="1" fill="hold">
                                          <p:stCondLst>
                                            <p:cond delay="0"/>
                                          </p:stCondLst>
                                        </p:cTn>
                                        <p:tgtEl>
                                          <p:spTgt spid="217"/>
                                        </p:tgtEl>
                                        <p:attrNameLst>
                                          <p:attrName>style.visibility</p:attrName>
                                        </p:attrNameLst>
                                      </p:cBhvr>
                                      <p:to>
                                        <p:strVal val="visible"/>
                                      </p:to>
                                    </p:set>
                                    <p:animEffect transition="in" filter="fade">
                                      <p:cBhvr>
                                        <p:cTn id="25" dur="500"/>
                                        <p:tgtEl>
                                          <p:spTgt spid="217"/>
                                        </p:tgtEl>
                                      </p:cBhvr>
                                    </p:animEffect>
                                  </p:childTnLst>
                                </p:cTn>
                              </p:par>
                              <p:par>
                                <p:cTn id="26" presetID="10" presetClass="entr" presetSubtype="0" fill="hold" nodeType="withEffect">
                                  <p:stCondLst>
                                    <p:cond delay="0"/>
                                  </p:stCondLst>
                                  <p:childTnLst>
                                    <p:set>
                                      <p:cBhvr>
                                        <p:cTn id="27" dur="1" fill="hold">
                                          <p:stCondLst>
                                            <p:cond delay="0"/>
                                          </p:stCondLst>
                                        </p:cTn>
                                        <p:tgtEl>
                                          <p:spTgt spid="218"/>
                                        </p:tgtEl>
                                        <p:attrNameLst>
                                          <p:attrName>style.visibility</p:attrName>
                                        </p:attrNameLst>
                                      </p:cBhvr>
                                      <p:to>
                                        <p:strVal val="visible"/>
                                      </p:to>
                                    </p:set>
                                    <p:animEffect transition="in" filter="fade">
                                      <p:cBhvr>
                                        <p:cTn id="28" dur="500"/>
                                        <p:tgtEl>
                                          <p:spTgt spid="218"/>
                                        </p:tgtEl>
                                      </p:cBhvr>
                                    </p:animEffect>
                                  </p:childTnLst>
                                </p:cTn>
                              </p:par>
                              <p:par>
                                <p:cTn id="29" presetID="10" presetClass="entr" presetSubtype="0" fill="hold" nodeType="withEffect">
                                  <p:stCondLst>
                                    <p:cond delay="0"/>
                                  </p:stCondLst>
                                  <p:childTnLst>
                                    <p:set>
                                      <p:cBhvr>
                                        <p:cTn id="30" dur="1" fill="hold">
                                          <p:stCondLst>
                                            <p:cond delay="0"/>
                                          </p:stCondLst>
                                        </p:cTn>
                                        <p:tgtEl>
                                          <p:spTgt spid="219"/>
                                        </p:tgtEl>
                                        <p:attrNameLst>
                                          <p:attrName>style.visibility</p:attrName>
                                        </p:attrNameLst>
                                      </p:cBhvr>
                                      <p:to>
                                        <p:strVal val="visible"/>
                                      </p:to>
                                    </p:set>
                                    <p:animEffect transition="in" filter="fade">
                                      <p:cBhvr>
                                        <p:cTn id="31" dur="500"/>
                                        <p:tgtEl>
                                          <p:spTgt spid="219"/>
                                        </p:tgtEl>
                                      </p:cBhvr>
                                    </p:animEffect>
                                  </p:childTnLst>
                                </p:cTn>
                              </p:par>
                              <p:par>
                                <p:cTn id="32" presetID="10" presetClass="entr" presetSubtype="0" fill="hold" nodeType="withEffect">
                                  <p:stCondLst>
                                    <p:cond delay="0"/>
                                  </p:stCondLst>
                                  <p:childTnLst>
                                    <p:set>
                                      <p:cBhvr>
                                        <p:cTn id="33" dur="1" fill="hold">
                                          <p:stCondLst>
                                            <p:cond delay="0"/>
                                          </p:stCondLst>
                                        </p:cTn>
                                        <p:tgtEl>
                                          <p:spTgt spid="220"/>
                                        </p:tgtEl>
                                        <p:attrNameLst>
                                          <p:attrName>style.visibility</p:attrName>
                                        </p:attrNameLst>
                                      </p:cBhvr>
                                      <p:to>
                                        <p:strVal val="visible"/>
                                      </p:to>
                                    </p:set>
                                    <p:animEffect transition="in" filter="fade">
                                      <p:cBhvr>
                                        <p:cTn id="34" dur="500"/>
                                        <p:tgtEl>
                                          <p:spTgt spid="220"/>
                                        </p:tgtEl>
                                      </p:cBhvr>
                                    </p:animEffect>
                                  </p:childTnLst>
                                </p:cTn>
                              </p:par>
                              <p:par>
                                <p:cTn id="35" presetID="10" presetClass="entr" presetSubtype="0" fill="hold" nodeType="withEffect">
                                  <p:stCondLst>
                                    <p:cond delay="0"/>
                                  </p:stCondLst>
                                  <p:childTnLst>
                                    <p:set>
                                      <p:cBhvr>
                                        <p:cTn id="36" dur="1" fill="hold">
                                          <p:stCondLst>
                                            <p:cond delay="0"/>
                                          </p:stCondLst>
                                        </p:cTn>
                                        <p:tgtEl>
                                          <p:spTgt spid="190"/>
                                        </p:tgtEl>
                                        <p:attrNameLst>
                                          <p:attrName>style.visibility</p:attrName>
                                        </p:attrNameLst>
                                      </p:cBhvr>
                                      <p:to>
                                        <p:strVal val="visible"/>
                                      </p:to>
                                    </p:set>
                                    <p:animEffect transition="in" filter="fade">
                                      <p:cBhvr>
                                        <p:cTn id="37" dur="500"/>
                                        <p:tgtEl>
                                          <p:spTgt spid="190"/>
                                        </p:tgtEl>
                                      </p:cBhvr>
                                    </p:animEffect>
                                  </p:childTnLst>
                                </p:cTn>
                              </p:par>
                              <p:par>
                                <p:cTn id="38" presetID="10" presetClass="entr" presetSubtype="0" fill="hold" nodeType="withEffect">
                                  <p:stCondLst>
                                    <p:cond delay="0"/>
                                  </p:stCondLst>
                                  <p:childTnLst>
                                    <p:set>
                                      <p:cBhvr>
                                        <p:cTn id="39" dur="1" fill="hold">
                                          <p:stCondLst>
                                            <p:cond delay="0"/>
                                          </p:stCondLst>
                                        </p:cTn>
                                        <p:tgtEl>
                                          <p:spTgt spid="298"/>
                                        </p:tgtEl>
                                        <p:attrNameLst>
                                          <p:attrName>style.visibility</p:attrName>
                                        </p:attrNameLst>
                                      </p:cBhvr>
                                      <p:to>
                                        <p:strVal val="visible"/>
                                      </p:to>
                                    </p:set>
                                    <p:animEffect transition="in" filter="fade">
                                      <p:cBhvr>
                                        <p:cTn id="40" dur="500"/>
                                        <p:tgtEl>
                                          <p:spTgt spid="298"/>
                                        </p:tgtEl>
                                      </p:cBhvr>
                                    </p:animEffect>
                                  </p:childTnLst>
                                </p:cTn>
                              </p:par>
                              <p:par>
                                <p:cTn id="41" presetID="10" presetClass="entr" presetSubtype="0" fill="hold" nodeType="withEffect">
                                  <p:stCondLst>
                                    <p:cond delay="0"/>
                                  </p:stCondLst>
                                  <p:childTnLst>
                                    <p:set>
                                      <p:cBhvr>
                                        <p:cTn id="42" dur="1" fill="hold">
                                          <p:stCondLst>
                                            <p:cond delay="0"/>
                                          </p:stCondLst>
                                        </p:cTn>
                                        <p:tgtEl>
                                          <p:spTgt spid="302"/>
                                        </p:tgtEl>
                                        <p:attrNameLst>
                                          <p:attrName>style.visibility</p:attrName>
                                        </p:attrNameLst>
                                      </p:cBhvr>
                                      <p:to>
                                        <p:strVal val="visible"/>
                                      </p:to>
                                    </p:set>
                                    <p:animEffect transition="in" filter="fade">
                                      <p:cBhvr>
                                        <p:cTn id="43" dur="500"/>
                                        <p:tgtEl>
                                          <p:spTgt spid="302"/>
                                        </p:tgtEl>
                                      </p:cBhvr>
                                    </p:animEffect>
                                  </p:childTnLst>
                                </p:cTn>
                              </p:par>
                              <p:par>
                                <p:cTn id="44" presetID="10" presetClass="entr" presetSubtype="0" fill="hold" nodeType="withEffect">
                                  <p:stCondLst>
                                    <p:cond delay="0"/>
                                  </p:stCondLst>
                                  <p:childTnLst>
                                    <p:set>
                                      <p:cBhvr>
                                        <p:cTn id="45" dur="1" fill="hold">
                                          <p:stCondLst>
                                            <p:cond delay="0"/>
                                          </p:stCondLst>
                                        </p:cTn>
                                        <p:tgtEl>
                                          <p:spTgt spid="292"/>
                                        </p:tgtEl>
                                        <p:attrNameLst>
                                          <p:attrName>style.visibility</p:attrName>
                                        </p:attrNameLst>
                                      </p:cBhvr>
                                      <p:to>
                                        <p:strVal val="visible"/>
                                      </p:to>
                                    </p:set>
                                    <p:animEffect transition="in" filter="fade">
                                      <p:cBhvr>
                                        <p:cTn id="46" dur="500"/>
                                        <p:tgtEl>
                                          <p:spTgt spid="292"/>
                                        </p:tgtEl>
                                      </p:cBhvr>
                                    </p:animEffect>
                                  </p:childTnLst>
                                </p:cTn>
                              </p:par>
                              <p:par>
                                <p:cTn id="47" presetID="10" presetClass="entr" presetSubtype="0" fill="hold" nodeType="withEffect">
                                  <p:stCondLst>
                                    <p:cond delay="0"/>
                                  </p:stCondLst>
                                  <p:childTnLst>
                                    <p:set>
                                      <p:cBhvr>
                                        <p:cTn id="48" dur="1" fill="hold">
                                          <p:stCondLst>
                                            <p:cond delay="0"/>
                                          </p:stCondLst>
                                        </p:cTn>
                                        <p:tgtEl>
                                          <p:spTgt spid="324"/>
                                        </p:tgtEl>
                                        <p:attrNameLst>
                                          <p:attrName>style.visibility</p:attrName>
                                        </p:attrNameLst>
                                      </p:cBhvr>
                                      <p:to>
                                        <p:strVal val="visible"/>
                                      </p:to>
                                    </p:set>
                                    <p:animEffect transition="in" filter="fade">
                                      <p:cBhvr>
                                        <p:cTn id="49" dur="500"/>
                                        <p:tgtEl>
                                          <p:spTgt spid="324"/>
                                        </p:tgtEl>
                                      </p:cBhvr>
                                    </p:animEffect>
                                  </p:childTnLst>
                                </p:cTn>
                              </p:par>
                              <p:par>
                                <p:cTn id="50" presetID="10" presetClass="entr" presetSubtype="0" fill="hold" nodeType="withEffect">
                                  <p:stCondLst>
                                    <p:cond delay="0"/>
                                  </p:stCondLst>
                                  <p:childTnLst>
                                    <p:set>
                                      <p:cBhvr>
                                        <p:cTn id="51" dur="1" fill="hold">
                                          <p:stCondLst>
                                            <p:cond delay="0"/>
                                          </p:stCondLst>
                                        </p:cTn>
                                        <p:tgtEl>
                                          <p:spTgt spid="326"/>
                                        </p:tgtEl>
                                        <p:attrNameLst>
                                          <p:attrName>style.visibility</p:attrName>
                                        </p:attrNameLst>
                                      </p:cBhvr>
                                      <p:to>
                                        <p:strVal val="visible"/>
                                      </p:to>
                                    </p:set>
                                    <p:animEffect transition="in" filter="fade">
                                      <p:cBhvr>
                                        <p:cTn id="52" dur="500"/>
                                        <p:tgtEl>
                                          <p:spTgt spid="326"/>
                                        </p:tgtEl>
                                      </p:cBhvr>
                                    </p:animEffect>
                                  </p:childTnLst>
                                </p:cTn>
                              </p:par>
                              <p:par>
                                <p:cTn id="53" presetID="10" presetClass="entr" presetSubtype="0" fill="hold" nodeType="withEffect">
                                  <p:stCondLst>
                                    <p:cond delay="0"/>
                                  </p:stCondLst>
                                  <p:childTnLst>
                                    <p:set>
                                      <p:cBhvr>
                                        <p:cTn id="54" dur="1" fill="hold">
                                          <p:stCondLst>
                                            <p:cond delay="0"/>
                                          </p:stCondLst>
                                        </p:cTn>
                                        <p:tgtEl>
                                          <p:spTgt spid="328"/>
                                        </p:tgtEl>
                                        <p:attrNameLst>
                                          <p:attrName>style.visibility</p:attrName>
                                        </p:attrNameLst>
                                      </p:cBhvr>
                                      <p:to>
                                        <p:strVal val="visible"/>
                                      </p:to>
                                    </p:set>
                                    <p:animEffect transition="in" filter="fade">
                                      <p:cBhvr>
                                        <p:cTn id="55" dur="500"/>
                                        <p:tgtEl>
                                          <p:spTgt spid="328"/>
                                        </p:tgtEl>
                                      </p:cBhvr>
                                    </p:animEffect>
                                  </p:childTnLst>
                                </p:cTn>
                              </p:par>
                              <p:par>
                                <p:cTn id="56" presetID="10" presetClass="entr" presetSubtype="0" fill="hold" nodeType="withEffect">
                                  <p:stCondLst>
                                    <p:cond delay="0"/>
                                  </p:stCondLst>
                                  <p:childTnLst>
                                    <p:set>
                                      <p:cBhvr>
                                        <p:cTn id="57" dur="1" fill="hold">
                                          <p:stCondLst>
                                            <p:cond delay="0"/>
                                          </p:stCondLst>
                                        </p:cTn>
                                        <p:tgtEl>
                                          <p:spTgt spid="331"/>
                                        </p:tgtEl>
                                        <p:attrNameLst>
                                          <p:attrName>style.visibility</p:attrName>
                                        </p:attrNameLst>
                                      </p:cBhvr>
                                      <p:to>
                                        <p:strVal val="visible"/>
                                      </p:to>
                                    </p:set>
                                    <p:animEffect transition="in" filter="fade">
                                      <p:cBhvr>
                                        <p:cTn id="58" dur="500"/>
                                        <p:tgtEl>
                                          <p:spTgt spid="331"/>
                                        </p:tgtEl>
                                      </p:cBhvr>
                                    </p:animEffect>
                                  </p:childTnLst>
                                </p:cTn>
                              </p:par>
                              <p:par>
                                <p:cTn id="59" presetID="10" presetClass="entr" presetSubtype="0" fill="hold" nodeType="withEffect">
                                  <p:stCondLst>
                                    <p:cond delay="0"/>
                                  </p:stCondLst>
                                  <p:childTnLst>
                                    <p:set>
                                      <p:cBhvr>
                                        <p:cTn id="60" dur="1" fill="hold">
                                          <p:stCondLst>
                                            <p:cond delay="0"/>
                                          </p:stCondLst>
                                        </p:cTn>
                                        <p:tgtEl>
                                          <p:spTgt spid="338"/>
                                        </p:tgtEl>
                                        <p:attrNameLst>
                                          <p:attrName>style.visibility</p:attrName>
                                        </p:attrNameLst>
                                      </p:cBhvr>
                                      <p:to>
                                        <p:strVal val="visible"/>
                                      </p:to>
                                    </p:set>
                                    <p:animEffect transition="in" filter="fade">
                                      <p:cBhvr>
                                        <p:cTn id="61" dur="500"/>
                                        <p:tgtEl>
                                          <p:spTgt spid="338"/>
                                        </p:tgtEl>
                                      </p:cBhvr>
                                    </p:animEffect>
                                  </p:childTnLst>
                                </p:cTn>
                              </p:par>
                              <p:par>
                                <p:cTn id="62" presetID="10" presetClass="entr" presetSubtype="0" fill="hold" nodeType="withEffect">
                                  <p:stCondLst>
                                    <p:cond delay="0"/>
                                  </p:stCondLst>
                                  <p:childTnLst>
                                    <p:set>
                                      <p:cBhvr>
                                        <p:cTn id="63" dur="1" fill="hold">
                                          <p:stCondLst>
                                            <p:cond delay="0"/>
                                          </p:stCondLst>
                                        </p:cTn>
                                        <p:tgtEl>
                                          <p:spTgt spid="350"/>
                                        </p:tgtEl>
                                        <p:attrNameLst>
                                          <p:attrName>style.visibility</p:attrName>
                                        </p:attrNameLst>
                                      </p:cBhvr>
                                      <p:to>
                                        <p:strVal val="visible"/>
                                      </p:to>
                                    </p:set>
                                    <p:animEffect transition="in" filter="fade">
                                      <p:cBhvr>
                                        <p:cTn id="64" dur="500"/>
                                        <p:tgtEl>
                                          <p:spTgt spid="3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7E7E49-48ED-492A-828D-DA729CCF240C}"/>
              </a:ext>
            </a:extLst>
          </p:cNvPr>
          <p:cNvSpPr>
            <a:spLocks noGrp="1"/>
          </p:cNvSpPr>
          <p:nvPr>
            <p:ph sz="quarter" idx="10"/>
          </p:nvPr>
        </p:nvSpPr>
        <p:spPr>
          <a:xfrm>
            <a:off x="479425" y="1844675"/>
            <a:ext cx="5787811" cy="4671739"/>
          </a:xfrm>
        </p:spPr>
        <p:txBody>
          <a:bodyPr/>
          <a:lstStyle/>
          <a:p>
            <a:r>
              <a:rPr lang="en-GB" sz="1800" dirty="0"/>
              <a:t>5GC rel-15 includes connectivity via untrusted non-3GPP access networks, e.g. WLAN access</a:t>
            </a:r>
            <a:endParaRPr lang="sv-SE" sz="1800" dirty="0"/>
          </a:p>
          <a:p>
            <a:pPr lvl="1"/>
            <a:r>
              <a:rPr lang="en-GB" sz="1600" dirty="0"/>
              <a:t>A Non-3GPP Inter-Working Function (N3IWF) is used to connect e.g. untrusted WLAN</a:t>
            </a:r>
          </a:p>
          <a:p>
            <a:pPr lvl="1"/>
            <a:r>
              <a:rPr lang="en-US" sz="1600" dirty="0"/>
              <a:t>N3IWF both a control plane and user plane NF</a:t>
            </a:r>
          </a:p>
          <a:p>
            <a:pPr lvl="1"/>
            <a:endParaRPr lang="en-GB" sz="1600" dirty="0"/>
          </a:p>
          <a:p>
            <a:r>
              <a:rPr lang="en-GB" sz="1800" dirty="0"/>
              <a:t>N3IWF reference points</a:t>
            </a:r>
            <a:endParaRPr lang="sv-SE" sz="1800" dirty="0"/>
          </a:p>
          <a:p>
            <a:pPr lvl="1"/>
            <a:r>
              <a:rPr lang="en-GB" sz="1600" dirty="0"/>
              <a:t>N1 reference point used for UE signalling</a:t>
            </a:r>
          </a:p>
          <a:p>
            <a:pPr lvl="1"/>
            <a:r>
              <a:rPr lang="en-US" sz="1600" dirty="0"/>
              <a:t>N1, N2 and N3 are access agnostic</a:t>
            </a:r>
            <a:endParaRPr lang="en-GB" sz="1600" dirty="0"/>
          </a:p>
          <a:p>
            <a:pPr lvl="1"/>
            <a:r>
              <a:rPr lang="en-GB" sz="1600" dirty="0" err="1"/>
              <a:t>NWu</a:t>
            </a:r>
            <a:r>
              <a:rPr lang="en-GB" sz="1600" dirty="0"/>
              <a:t> is similar to </a:t>
            </a:r>
            <a:r>
              <a:rPr lang="en-GB" sz="1600" dirty="0" err="1"/>
              <a:t>SWu</a:t>
            </a:r>
            <a:r>
              <a:rPr lang="en-GB" sz="1600" dirty="0"/>
              <a:t> (IKE/IPsec) </a:t>
            </a:r>
          </a:p>
          <a:p>
            <a:pPr lvl="1"/>
            <a:endParaRPr lang="en-GB" sz="1600" dirty="0"/>
          </a:p>
          <a:p>
            <a:r>
              <a:rPr lang="en-GB" sz="1800" dirty="0"/>
              <a:t>N1 supported over N3GPP access</a:t>
            </a:r>
          </a:p>
          <a:p>
            <a:pPr lvl="1"/>
            <a:r>
              <a:rPr lang="en-GB" sz="1600" dirty="0"/>
              <a:t>Different from EPC since no NAS between UE and </a:t>
            </a:r>
            <a:r>
              <a:rPr lang="en-GB" sz="1600" dirty="0" err="1"/>
              <a:t>ePDG</a:t>
            </a:r>
            <a:endParaRPr lang="en-GB" sz="1600" dirty="0"/>
          </a:p>
          <a:p>
            <a:endParaRPr lang="en-US" sz="1800" dirty="0"/>
          </a:p>
          <a:p>
            <a:r>
              <a:rPr lang="en-US" sz="1800" dirty="0"/>
              <a:t>Two N1 instances for a UE using both 3GPP and N3GPP</a:t>
            </a:r>
            <a:endParaRPr lang="en-US" sz="1800" strike="sngStrike" dirty="0">
              <a:highlight>
                <a:srgbClr val="FFFF00"/>
              </a:highlight>
            </a:endParaRPr>
          </a:p>
        </p:txBody>
      </p:sp>
      <p:sp>
        <p:nvSpPr>
          <p:cNvPr id="3" name="Title 2">
            <a:extLst>
              <a:ext uri="{FF2B5EF4-FFF2-40B4-BE49-F238E27FC236}">
                <a16:creationId xmlns:a16="http://schemas.microsoft.com/office/drawing/2014/main" id="{CF322B91-37A2-4394-830E-C90BA2F722E5}"/>
              </a:ext>
            </a:extLst>
          </p:cNvPr>
          <p:cNvSpPr>
            <a:spLocks noGrp="1"/>
          </p:cNvSpPr>
          <p:nvPr>
            <p:ph type="title"/>
          </p:nvPr>
        </p:nvSpPr>
        <p:spPr/>
        <p:txBody>
          <a:bodyPr/>
          <a:lstStyle/>
          <a:p>
            <a:r>
              <a:rPr lang="en-US"/>
              <a:t>5G Core for Non-3GPP access</a:t>
            </a:r>
            <a:br>
              <a:rPr lang="en-US" sz="3200"/>
            </a:br>
            <a:r>
              <a:rPr lang="en-US" sz="3200"/>
              <a:t>Conceptual architecture</a:t>
            </a:r>
            <a:endParaRPr lang="en-US"/>
          </a:p>
        </p:txBody>
      </p:sp>
      <p:sp>
        <p:nvSpPr>
          <p:cNvPr id="4" name="Rectangle 2">
            <a:extLst>
              <a:ext uri="{FF2B5EF4-FFF2-40B4-BE49-F238E27FC236}">
                <a16:creationId xmlns:a16="http://schemas.microsoft.com/office/drawing/2014/main" id="{2EF24734-1429-44CD-A4E6-5BD9A33A9FF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Rounded Corners 6">
            <a:extLst>
              <a:ext uri="{FF2B5EF4-FFF2-40B4-BE49-F238E27FC236}">
                <a16:creationId xmlns:a16="http://schemas.microsoft.com/office/drawing/2014/main" id="{E29F6B04-6D4E-44DD-A3C8-D73F5BDF3AED}"/>
              </a:ext>
            </a:extLst>
          </p:cNvPr>
          <p:cNvSpPr/>
          <p:nvPr/>
        </p:nvSpPr>
        <p:spPr bwMode="auto">
          <a:xfrm>
            <a:off x="6061865" y="1742154"/>
            <a:ext cx="4831585" cy="2590651"/>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 name="Freeform 88">
            <a:extLst>
              <a:ext uri="{FF2B5EF4-FFF2-40B4-BE49-F238E27FC236}">
                <a16:creationId xmlns:a16="http://schemas.microsoft.com/office/drawing/2014/main" id="{98003013-7EAA-403C-9C72-1262D18DCD61}"/>
              </a:ext>
            </a:extLst>
          </p:cNvPr>
          <p:cNvSpPr>
            <a:spLocks/>
          </p:cNvSpPr>
          <p:nvPr/>
        </p:nvSpPr>
        <p:spPr bwMode="auto">
          <a:xfrm rot="20398692" flipH="1">
            <a:off x="5534426" y="3655590"/>
            <a:ext cx="698677" cy="306008"/>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10" name="Text Box 144">
            <a:extLst>
              <a:ext uri="{FF2B5EF4-FFF2-40B4-BE49-F238E27FC236}">
                <a16:creationId xmlns:a16="http://schemas.microsoft.com/office/drawing/2014/main" id="{DBD43F7A-68AE-4973-B639-2A1FDAEC5C99}"/>
              </a:ext>
            </a:extLst>
          </p:cNvPr>
          <p:cNvSpPr txBox="1">
            <a:spLocks noChangeAspect="1" noChangeArrowheads="1"/>
          </p:cNvSpPr>
          <p:nvPr/>
        </p:nvSpPr>
        <p:spPr bwMode="auto">
          <a:xfrm>
            <a:off x="7209388" y="2397068"/>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11" name="Text Box 144">
            <a:extLst>
              <a:ext uri="{FF2B5EF4-FFF2-40B4-BE49-F238E27FC236}">
                <a16:creationId xmlns:a16="http://schemas.microsoft.com/office/drawing/2014/main" id="{98AAF0F3-E1E2-4753-A4BB-318969DA70BA}"/>
              </a:ext>
            </a:extLst>
          </p:cNvPr>
          <p:cNvSpPr txBox="1">
            <a:spLocks noChangeAspect="1" noChangeArrowheads="1"/>
          </p:cNvSpPr>
          <p:nvPr/>
        </p:nvSpPr>
        <p:spPr bwMode="auto">
          <a:xfrm>
            <a:off x="7191271" y="3073273"/>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12" name="Text Box 144">
            <a:extLst>
              <a:ext uri="{FF2B5EF4-FFF2-40B4-BE49-F238E27FC236}">
                <a16:creationId xmlns:a16="http://schemas.microsoft.com/office/drawing/2014/main" id="{9580B58D-298F-4946-9486-B3228C56A528}"/>
              </a:ext>
            </a:extLst>
          </p:cNvPr>
          <p:cNvSpPr txBox="1">
            <a:spLocks noChangeAspect="1" noChangeArrowheads="1"/>
          </p:cNvSpPr>
          <p:nvPr/>
        </p:nvSpPr>
        <p:spPr bwMode="auto">
          <a:xfrm>
            <a:off x="10249930" y="3086025"/>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13" name="Text Box 144">
            <a:extLst>
              <a:ext uri="{FF2B5EF4-FFF2-40B4-BE49-F238E27FC236}">
                <a16:creationId xmlns:a16="http://schemas.microsoft.com/office/drawing/2014/main" id="{4FB34074-7BE1-4E96-AA99-985703EF2EF7}"/>
              </a:ext>
            </a:extLst>
          </p:cNvPr>
          <p:cNvSpPr txBox="1">
            <a:spLocks noChangeAspect="1" noChangeArrowheads="1"/>
          </p:cNvSpPr>
          <p:nvPr/>
        </p:nvSpPr>
        <p:spPr bwMode="auto">
          <a:xfrm>
            <a:off x="10146590" y="275739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sp>
        <p:nvSpPr>
          <p:cNvPr id="14" name="Line 30">
            <a:extLst>
              <a:ext uri="{FF2B5EF4-FFF2-40B4-BE49-F238E27FC236}">
                <a16:creationId xmlns:a16="http://schemas.microsoft.com/office/drawing/2014/main" id="{C422354F-78FD-4772-8A07-C133707037F5}"/>
              </a:ext>
            </a:extLst>
          </p:cNvPr>
          <p:cNvSpPr>
            <a:spLocks noChangeShapeType="1"/>
          </p:cNvSpPr>
          <p:nvPr/>
        </p:nvSpPr>
        <p:spPr bwMode="auto">
          <a:xfrm flipV="1">
            <a:off x="6518888" y="3241404"/>
            <a:ext cx="4374562" cy="24554"/>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15" name="Text Box 144">
            <a:extLst>
              <a:ext uri="{FF2B5EF4-FFF2-40B4-BE49-F238E27FC236}">
                <a16:creationId xmlns:a16="http://schemas.microsoft.com/office/drawing/2014/main" id="{CBCB0B19-B17E-43C8-96B5-49C4BA848B76}"/>
              </a:ext>
            </a:extLst>
          </p:cNvPr>
          <p:cNvSpPr txBox="1">
            <a:spLocks noChangeAspect="1" noChangeArrowheads="1"/>
          </p:cNvSpPr>
          <p:nvPr/>
        </p:nvSpPr>
        <p:spPr bwMode="auto">
          <a:xfrm>
            <a:off x="7888878" y="1878406"/>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16" name="Straight Connector 135">
            <a:extLst>
              <a:ext uri="{FF2B5EF4-FFF2-40B4-BE49-F238E27FC236}">
                <a16:creationId xmlns:a16="http://schemas.microsoft.com/office/drawing/2014/main" id="{E70CEB65-1083-42B8-A993-12ABB474ACF9}"/>
              </a:ext>
            </a:extLst>
          </p:cNvPr>
          <p:cNvCxnSpPr>
            <a:cxnSpLocks/>
            <a:stCxn id="78" idx="2"/>
            <a:endCxn id="73" idx="0"/>
          </p:cNvCxnSpPr>
          <p:nvPr/>
        </p:nvCxnSpPr>
        <p:spPr bwMode="auto">
          <a:xfrm>
            <a:off x="10429690" y="2549267"/>
            <a:ext cx="487"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7" name="Text Box 144">
            <a:extLst>
              <a:ext uri="{FF2B5EF4-FFF2-40B4-BE49-F238E27FC236}">
                <a16:creationId xmlns:a16="http://schemas.microsoft.com/office/drawing/2014/main" id="{407B5A90-7380-415A-819D-D479FA0D7F56}"/>
              </a:ext>
            </a:extLst>
          </p:cNvPr>
          <p:cNvSpPr txBox="1">
            <a:spLocks noChangeAspect="1" noChangeArrowheads="1"/>
          </p:cNvSpPr>
          <p:nvPr/>
        </p:nvSpPr>
        <p:spPr bwMode="auto">
          <a:xfrm>
            <a:off x="9198940" y="2077055"/>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1</a:t>
            </a:r>
          </a:p>
        </p:txBody>
      </p:sp>
      <p:grpSp>
        <p:nvGrpSpPr>
          <p:cNvPr id="23" name="Group 74">
            <a:extLst>
              <a:ext uri="{FF2B5EF4-FFF2-40B4-BE49-F238E27FC236}">
                <a16:creationId xmlns:a16="http://schemas.microsoft.com/office/drawing/2014/main" id="{0379B841-18E6-43C0-AE52-3EC2CBB5F010}"/>
              </a:ext>
            </a:extLst>
          </p:cNvPr>
          <p:cNvGrpSpPr>
            <a:grpSpLocks/>
          </p:cNvGrpSpPr>
          <p:nvPr/>
        </p:nvGrpSpPr>
        <p:grpSpPr bwMode="auto">
          <a:xfrm>
            <a:off x="10894670" y="2757390"/>
            <a:ext cx="1297330" cy="868176"/>
            <a:chOff x="9344462" y="5130211"/>
            <a:chExt cx="2250397" cy="1719278"/>
          </a:xfrm>
        </p:grpSpPr>
        <p:sp>
          <p:nvSpPr>
            <p:cNvPr id="24" name="Freeform 34">
              <a:extLst>
                <a:ext uri="{FF2B5EF4-FFF2-40B4-BE49-F238E27FC236}">
                  <a16:creationId xmlns:a16="http://schemas.microsoft.com/office/drawing/2014/main" id="{4C84F122-7F1A-47C2-AC3A-02601C2AD06A}"/>
                </a:ext>
              </a:extLst>
            </p:cNvPr>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5" name="Text Box 35">
              <a:extLst>
                <a:ext uri="{FF2B5EF4-FFF2-40B4-BE49-F238E27FC236}">
                  <a16:creationId xmlns:a16="http://schemas.microsoft.com/office/drawing/2014/main" id="{467640D8-9D2F-4C1A-8186-092913FDE2CB}"/>
                </a:ext>
              </a:extLst>
            </p:cNvPr>
            <p:cNvSpPr txBox="1">
              <a:spLocks noChangeAspect="1" noChangeArrowheads="1"/>
            </p:cNvSpPr>
            <p:nvPr/>
          </p:nvSpPr>
          <p:spPr bwMode="auto">
            <a:xfrm>
              <a:off x="9508328" y="5684833"/>
              <a:ext cx="1808285" cy="94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Network </a:t>
              </a:r>
              <a:endPar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0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endParaRPr kumimoji="0" lang="en-US" altLang="en-US" sz="9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cxnSp>
        <p:nvCxnSpPr>
          <p:cNvPr id="29" name="Straight Connector 133">
            <a:extLst>
              <a:ext uri="{FF2B5EF4-FFF2-40B4-BE49-F238E27FC236}">
                <a16:creationId xmlns:a16="http://schemas.microsoft.com/office/drawing/2014/main" id="{8CA50CE6-D468-4D4C-8D8F-A9FF3E30D0CE}"/>
              </a:ext>
            </a:extLst>
          </p:cNvPr>
          <p:cNvCxnSpPr>
            <a:cxnSpLocks/>
          </p:cNvCxnSpPr>
          <p:nvPr/>
        </p:nvCxnSpPr>
        <p:spPr bwMode="auto">
          <a:xfrm flipH="1">
            <a:off x="5467004" y="2054211"/>
            <a:ext cx="2516948" cy="1440961"/>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0" name="Straight Connector 29">
            <a:extLst>
              <a:ext uri="{FF2B5EF4-FFF2-40B4-BE49-F238E27FC236}">
                <a16:creationId xmlns:a16="http://schemas.microsoft.com/office/drawing/2014/main" id="{EF1455F3-1747-49F6-8669-4E4D9B3F7899}"/>
              </a:ext>
            </a:extLst>
          </p:cNvPr>
          <p:cNvCxnSpPr>
            <a:cxnSpLocks/>
            <a:stCxn id="77" idx="3"/>
            <a:endCxn id="78" idx="1"/>
          </p:cNvCxnSpPr>
          <p:nvPr/>
        </p:nvCxnSpPr>
        <p:spPr bwMode="auto">
          <a:xfrm>
            <a:off x="9151065" y="2249075"/>
            <a:ext cx="1098625" cy="1244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49" name="Straight Connector 133">
            <a:extLst>
              <a:ext uri="{FF2B5EF4-FFF2-40B4-BE49-F238E27FC236}">
                <a16:creationId xmlns:a16="http://schemas.microsoft.com/office/drawing/2014/main" id="{F3E0C560-9BCE-464F-BE4B-219C47CBDD78}"/>
              </a:ext>
            </a:extLst>
          </p:cNvPr>
          <p:cNvCxnSpPr>
            <a:cxnSpLocks/>
            <a:stCxn id="70" idx="3"/>
            <a:endCxn id="77" idx="1"/>
          </p:cNvCxnSpPr>
          <p:nvPr/>
        </p:nvCxnSpPr>
        <p:spPr bwMode="auto">
          <a:xfrm flipV="1">
            <a:off x="6532442" y="2249075"/>
            <a:ext cx="2258623" cy="94696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50" name="Text Box 144">
            <a:extLst>
              <a:ext uri="{FF2B5EF4-FFF2-40B4-BE49-F238E27FC236}">
                <a16:creationId xmlns:a16="http://schemas.microsoft.com/office/drawing/2014/main" id="{6024942C-7B81-4578-B59E-3F424C12F83B}"/>
              </a:ext>
            </a:extLst>
          </p:cNvPr>
          <p:cNvSpPr txBox="1">
            <a:spLocks noChangeAspect="1" noChangeArrowheads="1"/>
          </p:cNvSpPr>
          <p:nvPr/>
        </p:nvSpPr>
        <p:spPr bwMode="auto">
          <a:xfrm>
            <a:off x="9431398" y="4140493"/>
            <a:ext cx="1121746" cy="199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HPLMN</a:t>
            </a:r>
          </a:p>
        </p:txBody>
      </p:sp>
      <p:cxnSp>
        <p:nvCxnSpPr>
          <p:cNvPr id="51" name="Straight Connector 133">
            <a:extLst>
              <a:ext uri="{FF2B5EF4-FFF2-40B4-BE49-F238E27FC236}">
                <a16:creationId xmlns:a16="http://schemas.microsoft.com/office/drawing/2014/main" id="{144AAEB2-4EF6-40A1-9E93-ADDEE534FC10}"/>
              </a:ext>
            </a:extLst>
          </p:cNvPr>
          <p:cNvCxnSpPr>
            <a:cxnSpLocks/>
          </p:cNvCxnSpPr>
          <p:nvPr/>
        </p:nvCxnSpPr>
        <p:spPr bwMode="auto">
          <a:xfrm flipH="1">
            <a:off x="7978878" y="2058058"/>
            <a:ext cx="829377"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5" name="Straight Connector 64">
            <a:extLst>
              <a:ext uri="{FF2B5EF4-FFF2-40B4-BE49-F238E27FC236}">
                <a16:creationId xmlns:a16="http://schemas.microsoft.com/office/drawing/2014/main" id="{3F284BEF-5358-4BB8-8F18-62DF96B88587}"/>
              </a:ext>
            </a:extLst>
          </p:cNvPr>
          <p:cNvCxnSpPr>
            <a:cxnSpLocks/>
            <a:stCxn id="77" idx="2"/>
            <a:endCxn id="75" idx="0"/>
          </p:cNvCxnSpPr>
          <p:nvPr/>
        </p:nvCxnSpPr>
        <p:spPr bwMode="auto">
          <a:xfrm>
            <a:off x="8971065" y="2536821"/>
            <a:ext cx="0" cy="108874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66" name="Text Box 144">
            <a:extLst>
              <a:ext uri="{FF2B5EF4-FFF2-40B4-BE49-F238E27FC236}">
                <a16:creationId xmlns:a16="http://schemas.microsoft.com/office/drawing/2014/main" id="{6569EA24-4FC5-480B-851B-4D0EB58788D3}"/>
              </a:ext>
            </a:extLst>
          </p:cNvPr>
          <p:cNvSpPr txBox="1">
            <a:spLocks noChangeAspect="1" noChangeArrowheads="1"/>
          </p:cNvSpPr>
          <p:nvPr/>
        </p:nvSpPr>
        <p:spPr bwMode="auto">
          <a:xfrm>
            <a:off x="8669855" y="2767288"/>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67" name="Line 30">
            <a:extLst>
              <a:ext uri="{FF2B5EF4-FFF2-40B4-BE49-F238E27FC236}">
                <a16:creationId xmlns:a16="http://schemas.microsoft.com/office/drawing/2014/main" id="{CA455214-BD8D-4830-9D0D-A9F61C9DC2ED}"/>
              </a:ext>
            </a:extLst>
          </p:cNvPr>
          <p:cNvSpPr>
            <a:spLocks noChangeShapeType="1"/>
          </p:cNvSpPr>
          <p:nvPr/>
        </p:nvSpPr>
        <p:spPr bwMode="auto">
          <a:xfrm flipV="1">
            <a:off x="9150797" y="3251302"/>
            <a:ext cx="1099379" cy="68917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68" name="Text Box 144">
            <a:extLst>
              <a:ext uri="{FF2B5EF4-FFF2-40B4-BE49-F238E27FC236}">
                <a16:creationId xmlns:a16="http://schemas.microsoft.com/office/drawing/2014/main" id="{16BE289C-B9DB-4BC6-87C5-8D02D9CE2639}"/>
              </a:ext>
            </a:extLst>
          </p:cNvPr>
          <p:cNvSpPr txBox="1">
            <a:spLocks noChangeAspect="1" noChangeArrowheads="1"/>
          </p:cNvSpPr>
          <p:nvPr/>
        </p:nvSpPr>
        <p:spPr bwMode="auto">
          <a:xfrm>
            <a:off x="9185544" y="3778201"/>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69" name="Line 30">
            <a:extLst>
              <a:ext uri="{FF2B5EF4-FFF2-40B4-BE49-F238E27FC236}">
                <a16:creationId xmlns:a16="http://schemas.microsoft.com/office/drawing/2014/main" id="{3661362D-4660-42A1-9482-DC15C423495D}"/>
              </a:ext>
            </a:extLst>
          </p:cNvPr>
          <p:cNvSpPr>
            <a:spLocks noChangeShapeType="1"/>
          </p:cNvSpPr>
          <p:nvPr/>
        </p:nvSpPr>
        <p:spPr bwMode="auto">
          <a:xfrm flipV="1">
            <a:off x="6547525" y="3951236"/>
            <a:ext cx="2243540" cy="967847"/>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70" name="TextBox 69">
            <a:extLst>
              <a:ext uri="{FF2B5EF4-FFF2-40B4-BE49-F238E27FC236}">
                <a16:creationId xmlns:a16="http://schemas.microsoft.com/office/drawing/2014/main" id="{7468A8A4-680C-449F-AEFB-2463D5F6DBC7}"/>
              </a:ext>
            </a:extLst>
          </p:cNvPr>
          <p:cNvSpPr txBox="1"/>
          <p:nvPr/>
        </p:nvSpPr>
        <p:spPr bwMode="auto">
          <a:xfrm>
            <a:off x="6172443" y="2920740"/>
            <a:ext cx="359999" cy="550601"/>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NG-RAN</a:t>
            </a:r>
          </a:p>
        </p:txBody>
      </p:sp>
      <p:sp>
        <p:nvSpPr>
          <p:cNvPr id="73" name="TextBox 72">
            <a:extLst>
              <a:ext uri="{FF2B5EF4-FFF2-40B4-BE49-F238E27FC236}">
                <a16:creationId xmlns:a16="http://schemas.microsoft.com/office/drawing/2014/main" id="{01CF4714-0980-4548-8EDA-8A736D1CEBED}"/>
              </a:ext>
            </a:extLst>
          </p:cNvPr>
          <p:cNvSpPr txBox="1"/>
          <p:nvPr/>
        </p:nvSpPr>
        <p:spPr bwMode="auto">
          <a:xfrm>
            <a:off x="10250177" y="296973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75" name="TextBox 74">
            <a:extLst>
              <a:ext uri="{FF2B5EF4-FFF2-40B4-BE49-F238E27FC236}">
                <a16:creationId xmlns:a16="http://schemas.microsoft.com/office/drawing/2014/main" id="{B459344C-BB2D-4954-9964-379BC547A5FF}"/>
              </a:ext>
            </a:extLst>
          </p:cNvPr>
          <p:cNvSpPr txBox="1"/>
          <p:nvPr/>
        </p:nvSpPr>
        <p:spPr bwMode="auto">
          <a:xfrm>
            <a:off x="8791064" y="3625565"/>
            <a:ext cx="360001"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8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3IWF</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p:txBody>
      </p:sp>
      <p:sp>
        <p:nvSpPr>
          <p:cNvPr id="77" name="TextBox 76">
            <a:extLst>
              <a:ext uri="{FF2B5EF4-FFF2-40B4-BE49-F238E27FC236}">
                <a16:creationId xmlns:a16="http://schemas.microsoft.com/office/drawing/2014/main" id="{8CFB49FD-5E1E-438C-8017-DA5F5C6CA6E5}"/>
              </a:ext>
            </a:extLst>
          </p:cNvPr>
          <p:cNvSpPr txBox="1"/>
          <p:nvPr/>
        </p:nvSpPr>
        <p:spPr bwMode="auto">
          <a:xfrm>
            <a:off x="8791065" y="196132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78" name="TextBox 77">
            <a:extLst>
              <a:ext uri="{FF2B5EF4-FFF2-40B4-BE49-F238E27FC236}">
                <a16:creationId xmlns:a16="http://schemas.microsoft.com/office/drawing/2014/main" id="{511345E3-0277-4750-A668-57E776DA4A36}"/>
              </a:ext>
            </a:extLst>
          </p:cNvPr>
          <p:cNvSpPr txBox="1"/>
          <p:nvPr/>
        </p:nvSpPr>
        <p:spPr bwMode="auto">
          <a:xfrm>
            <a:off x="10249690" y="197377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grpSp>
        <p:nvGrpSpPr>
          <p:cNvPr id="108" name="Group 107">
            <a:extLst>
              <a:ext uri="{FF2B5EF4-FFF2-40B4-BE49-F238E27FC236}">
                <a16:creationId xmlns:a16="http://schemas.microsoft.com/office/drawing/2014/main" id="{9EF4FF08-89B6-4F73-AA42-C5D9B13ECE70}"/>
              </a:ext>
            </a:extLst>
          </p:cNvPr>
          <p:cNvGrpSpPr>
            <a:grpSpLocks noChangeAspect="1"/>
          </p:cNvGrpSpPr>
          <p:nvPr/>
        </p:nvGrpSpPr>
        <p:grpSpPr>
          <a:xfrm>
            <a:off x="5297893" y="4131338"/>
            <a:ext cx="318700" cy="446180"/>
            <a:chOff x="10129764" y="745508"/>
            <a:chExt cx="221963" cy="310748"/>
          </a:xfrm>
        </p:grpSpPr>
        <p:grpSp>
          <p:nvGrpSpPr>
            <p:cNvPr id="109" name="Group 108">
              <a:extLst>
                <a:ext uri="{FF2B5EF4-FFF2-40B4-BE49-F238E27FC236}">
                  <a16:creationId xmlns:a16="http://schemas.microsoft.com/office/drawing/2014/main" id="{4BFB8F8F-0B9D-4E5B-B4B0-AA9FC12C9614}"/>
                </a:ext>
              </a:extLst>
            </p:cNvPr>
            <p:cNvGrpSpPr>
              <a:grpSpLocks noChangeAspect="1"/>
            </p:cNvGrpSpPr>
            <p:nvPr/>
          </p:nvGrpSpPr>
          <p:grpSpPr>
            <a:xfrm>
              <a:off x="10129764" y="745508"/>
              <a:ext cx="221963" cy="310748"/>
              <a:chOff x="1373325" y="5272742"/>
              <a:chExt cx="428625" cy="600075"/>
            </a:xfrm>
          </p:grpSpPr>
          <p:sp>
            <p:nvSpPr>
              <p:cNvPr id="111" name="Rectangle 110">
                <a:extLst>
                  <a:ext uri="{FF2B5EF4-FFF2-40B4-BE49-F238E27FC236}">
                    <a16:creationId xmlns:a16="http://schemas.microsoft.com/office/drawing/2014/main" id="{5AB87AD6-3447-41C2-BA9E-6506FAC73CCE}"/>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2" name="Graphic 111">
                <a:extLst>
                  <a:ext uri="{FF2B5EF4-FFF2-40B4-BE49-F238E27FC236}">
                    <a16:creationId xmlns:a16="http://schemas.microsoft.com/office/drawing/2014/main" id="{AB9AFBE4-66A1-4C43-9F54-4F168BA37E4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10" name="TextBox 109">
              <a:extLst>
                <a:ext uri="{FF2B5EF4-FFF2-40B4-BE49-F238E27FC236}">
                  <a16:creationId xmlns:a16="http://schemas.microsoft.com/office/drawing/2014/main" id="{9464FDCB-34FE-45CB-9989-0CFFCCD98123}"/>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cxnSp>
        <p:nvCxnSpPr>
          <p:cNvPr id="125" name="Straight Connector 133">
            <a:extLst>
              <a:ext uri="{FF2B5EF4-FFF2-40B4-BE49-F238E27FC236}">
                <a16:creationId xmlns:a16="http://schemas.microsoft.com/office/drawing/2014/main" id="{64EB9E7A-3F70-4C59-AD6C-53703D716AB0}"/>
              </a:ext>
            </a:extLst>
          </p:cNvPr>
          <p:cNvCxnSpPr>
            <a:cxnSpLocks/>
          </p:cNvCxnSpPr>
          <p:nvPr/>
        </p:nvCxnSpPr>
        <p:spPr bwMode="auto">
          <a:xfrm>
            <a:off x="5899742" y="4310845"/>
            <a:ext cx="4993708" cy="32813"/>
          </a:xfrm>
          <a:prstGeom prst="line">
            <a:avLst/>
          </a:prstGeom>
          <a:noFill/>
          <a:ln w="19050" algn="ctr">
            <a:solidFill>
              <a:schemeClr val="accent6"/>
            </a:solidFill>
            <a:prstDash val="dash"/>
            <a:round/>
            <a:headEnd/>
            <a:tailEnd/>
          </a:ln>
          <a:extLst>
            <a:ext uri="{909E8E84-426E-40DD-AFC4-6F175D3DCCD1}">
              <a14:hiddenFill xmlns:a14="http://schemas.microsoft.com/office/drawing/2010/main">
                <a:noFill/>
              </a14:hiddenFill>
            </a:ext>
          </a:extLst>
        </p:spPr>
      </p:cxnSp>
      <p:sp>
        <p:nvSpPr>
          <p:cNvPr id="130" name="Freeform 88">
            <a:extLst>
              <a:ext uri="{FF2B5EF4-FFF2-40B4-BE49-F238E27FC236}">
                <a16:creationId xmlns:a16="http://schemas.microsoft.com/office/drawing/2014/main" id="{AFB5B266-471F-47EA-900E-93C5F29F7D2A}"/>
              </a:ext>
            </a:extLst>
          </p:cNvPr>
          <p:cNvSpPr>
            <a:spLocks/>
          </p:cNvSpPr>
          <p:nvPr/>
        </p:nvSpPr>
        <p:spPr bwMode="auto">
          <a:xfrm rot="3248954" flipH="1">
            <a:off x="5501352" y="4739872"/>
            <a:ext cx="694274" cy="218382"/>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9" name="Text Box 144">
            <a:extLst>
              <a:ext uri="{FF2B5EF4-FFF2-40B4-BE49-F238E27FC236}">
                <a16:creationId xmlns:a16="http://schemas.microsoft.com/office/drawing/2014/main" id="{B948B158-E903-4C47-B313-277BCCA1453A}"/>
              </a:ext>
            </a:extLst>
          </p:cNvPr>
          <p:cNvSpPr txBox="1">
            <a:spLocks noChangeAspect="1" noChangeArrowheads="1"/>
          </p:cNvSpPr>
          <p:nvPr/>
        </p:nvSpPr>
        <p:spPr bwMode="auto">
          <a:xfrm>
            <a:off x="5287652" y="4208697"/>
            <a:ext cx="318945" cy="220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a:t>
            </a:r>
            <a:br>
              <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br>
            <a:r>
              <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UE</a:t>
            </a:r>
          </a:p>
        </p:txBody>
      </p:sp>
      <p:cxnSp>
        <p:nvCxnSpPr>
          <p:cNvPr id="132" name="Straight Connector 133">
            <a:extLst>
              <a:ext uri="{FF2B5EF4-FFF2-40B4-BE49-F238E27FC236}">
                <a16:creationId xmlns:a16="http://schemas.microsoft.com/office/drawing/2014/main" id="{97D8D742-ED7B-47EE-AF5A-29630C3D9DA5}"/>
              </a:ext>
            </a:extLst>
          </p:cNvPr>
          <p:cNvCxnSpPr>
            <a:cxnSpLocks/>
            <a:endCxn id="112" idx="0"/>
          </p:cNvCxnSpPr>
          <p:nvPr/>
        </p:nvCxnSpPr>
        <p:spPr bwMode="auto">
          <a:xfrm>
            <a:off x="5457243" y="3506339"/>
            <a:ext cx="0" cy="624999"/>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37" name="Straight Connector 133">
            <a:extLst>
              <a:ext uri="{FF2B5EF4-FFF2-40B4-BE49-F238E27FC236}">
                <a16:creationId xmlns:a16="http://schemas.microsoft.com/office/drawing/2014/main" id="{5EBB8E9B-4030-419B-B259-CC61801A82F8}"/>
              </a:ext>
            </a:extLst>
          </p:cNvPr>
          <p:cNvCxnSpPr>
            <a:cxnSpLocks/>
            <a:stCxn id="9" idx="3"/>
          </p:cNvCxnSpPr>
          <p:nvPr/>
        </p:nvCxnSpPr>
        <p:spPr bwMode="auto">
          <a:xfrm>
            <a:off x="5606597" y="4318925"/>
            <a:ext cx="792488" cy="43773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38" name="Straight Connector 133">
            <a:extLst>
              <a:ext uri="{FF2B5EF4-FFF2-40B4-BE49-F238E27FC236}">
                <a16:creationId xmlns:a16="http://schemas.microsoft.com/office/drawing/2014/main" id="{A1B51FBA-A6D2-48A3-9A19-69F37602D595}"/>
              </a:ext>
            </a:extLst>
          </p:cNvPr>
          <p:cNvCxnSpPr>
            <a:cxnSpLocks/>
          </p:cNvCxnSpPr>
          <p:nvPr/>
        </p:nvCxnSpPr>
        <p:spPr bwMode="auto">
          <a:xfrm flipH="1">
            <a:off x="6416021" y="3586622"/>
            <a:ext cx="2253835" cy="117003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40" name="Straight Connector 133">
            <a:extLst>
              <a:ext uri="{FF2B5EF4-FFF2-40B4-BE49-F238E27FC236}">
                <a16:creationId xmlns:a16="http://schemas.microsoft.com/office/drawing/2014/main" id="{FA0042A3-1DC9-4FB3-8DFD-3FF38957DDE9}"/>
              </a:ext>
            </a:extLst>
          </p:cNvPr>
          <p:cNvCxnSpPr>
            <a:cxnSpLocks/>
            <a:stCxn id="77" idx="2"/>
          </p:cNvCxnSpPr>
          <p:nvPr/>
        </p:nvCxnSpPr>
        <p:spPr bwMode="auto">
          <a:xfrm flipH="1">
            <a:off x="8664399" y="2536821"/>
            <a:ext cx="306666" cy="105178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43" name="Text Box 144">
            <a:extLst>
              <a:ext uri="{FF2B5EF4-FFF2-40B4-BE49-F238E27FC236}">
                <a16:creationId xmlns:a16="http://schemas.microsoft.com/office/drawing/2014/main" id="{09CA208C-52C0-4DB8-B293-747EFB4FA4FA}"/>
              </a:ext>
            </a:extLst>
          </p:cNvPr>
          <p:cNvSpPr txBox="1">
            <a:spLocks noChangeAspect="1" noChangeArrowheads="1"/>
          </p:cNvSpPr>
          <p:nvPr/>
        </p:nvSpPr>
        <p:spPr bwMode="auto">
          <a:xfrm>
            <a:off x="8007231" y="340169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152" name="Straight Connector 133">
            <a:extLst>
              <a:ext uri="{FF2B5EF4-FFF2-40B4-BE49-F238E27FC236}">
                <a16:creationId xmlns:a16="http://schemas.microsoft.com/office/drawing/2014/main" id="{0794E382-B050-4DF0-BF65-7A8F642BD233}"/>
              </a:ext>
            </a:extLst>
          </p:cNvPr>
          <p:cNvCxnSpPr>
            <a:cxnSpLocks/>
          </p:cNvCxnSpPr>
          <p:nvPr/>
        </p:nvCxnSpPr>
        <p:spPr bwMode="auto">
          <a:xfrm>
            <a:off x="5612893" y="4417331"/>
            <a:ext cx="739549" cy="407155"/>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59" name="Text Box 144">
            <a:extLst>
              <a:ext uri="{FF2B5EF4-FFF2-40B4-BE49-F238E27FC236}">
                <a16:creationId xmlns:a16="http://schemas.microsoft.com/office/drawing/2014/main" id="{646303B3-193A-4D9F-BA6F-A8263407CB60}"/>
              </a:ext>
            </a:extLst>
          </p:cNvPr>
          <p:cNvSpPr txBox="1">
            <a:spLocks noChangeAspect="1" noChangeArrowheads="1"/>
          </p:cNvSpPr>
          <p:nvPr/>
        </p:nvSpPr>
        <p:spPr bwMode="auto">
          <a:xfrm>
            <a:off x="6945254" y="4643771"/>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Y2</a:t>
            </a:r>
          </a:p>
        </p:txBody>
      </p:sp>
      <p:cxnSp>
        <p:nvCxnSpPr>
          <p:cNvPr id="161" name="Straight Connector 133">
            <a:extLst>
              <a:ext uri="{FF2B5EF4-FFF2-40B4-BE49-F238E27FC236}">
                <a16:creationId xmlns:a16="http://schemas.microsoft.com/office/drawing/2014/main" id="{D649F6E6-2ACD-449C-9C02-23BDD349B2C1}"/>
              </a:ext>
            </a:extLst>
          </p:cNvPr>
          <p:cNvCxnSpPr>
            <a:cxnSpLocks/>
            <a:stCxn id="75" idx="1"/>
          </p:cNvCxnSpPr>
          <p:nvPr/>
        </p:nvCxnSpPr>
        <p:spPr bwMode="auto">
          <a:xfrm flipH="1">
            <a:off x="6360404" y="3913312"/>
            <a:ext cx="2430660" cy="9198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71" name="TextBox 70">
            <a:extLst>
              <a:ext uri="{FF2B5EF4-FFF2-40B4-BE49-F238E27FC236}">
                <a16:creationId xmlns:a16="http://schemas.microsoft.com/office/drawing/2014/main" id="{D53406A0-3905-4B61-B551-E091B5DA3AAC}"/>
              </a:ext>
            </a:extLst>
          </p:cNvPr>
          <p:cNvSpPr txBox="1"/>
          <p:nvPr/>
        </p:nvSpPr>
        <p:spPr bwMode="auto">
          <a:xfrm>
            <a:off x="6172443" y="4643783"/>
            <a:ext cx="367120" cy="550601"/>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800" b="0" i="0" u="none" strike="noStrike" kern="1200" cap="none" spc="0" normalizeH="0" baseline="0" noProof="0">
                <a:ln>
                  <a:noFill/>
                </a:ln>
                <a:solidFill>
                  <a:srgbClr val="181818"/>
                </a:solidFill>
                <a:effectLst/>
                <a:uLnTx/>
                <a:uFillTx/>
                <a:latin typeface="Ericsson Hilda"/>
                <a:ea typeface="Segoe UI" panose="020B0502040204020203" pitchFamily="34" charset="0"/>
                <a:cs typeface="Arial" panose="020B0604020202020204" pitchFamily="34" charset="0"/>
              </a:rPr>
              <a:t>Non-3GPP access</a:t>
            </a:r>
          </a:p>
        </p:txBody>
      </p:sp>
      <p:sp>
        <p:nvSpPr>
          <p:cNvPr id="165" name="Text Box 144">
            <a:extLst>
              <a:ext uri="{FF2B5EF4-FFF2-40B4-BE49-F238E27FC236}">
                <a16:creationId xmlns:a16="http://schemas.microsoft.com/office/drawing/2014/main" id="{66DCA663-0AB7-4755-B2B7-CC01F8A4D00C}"/>
              </a:ext>
            </a:extLst>
          </p:cNvPr>
          <p:cNvSpPr txBox="1">
            <a:spLocks noChangeAspect="1" noChangeArrowheads="1"/>
          </p:cNvSpPr>
          <p:nvPr/>
        </p:nvSpPr>
        <p:spPr bwMode="auto">
          <a:xfrm>
            <a:off x="8052766" y="3790149"/>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Wu</a:t>
            </a:r>
            <a:endPar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6" name="Text Box 144">
            <a:extLst>
              <a:ext uri="{FF2B5EF4-FFF2-40B4-BE49-F238E27FC236}">
                <a16:creationId xmlns:a16="http://schemas.microsoft.com/office/drawing/2014/main" id="{CF376358-2147-4B85-B8EC-3B1BA4EFF95E}"/>
              </a:ext>
            </a:extLst>
          </p:cNvPr>
          <p:cNvSpPr txBox="1">
            <a:spLocks noChangeAspect="1" noChangeArrowheads="1"/>
          </p:cNvSpPr>
          <p:nvPr/>
        </p:nvSpPr>
        <p:spPr bwMode="auto">
          <a:xfrm>
            <a:off x="9431398" y="4380407"/>
            <a:ext cx="1121746" cy="396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Non-3GPP Network</a:t>
            </a:r>
          </a:p>
        </p:txBody>
      </p:sp>
    </p:spTree>
    <p:extLst>
      <p:ext uri="{BB962C8B-B14F-4D97-AF65-F5344CB8AC3E}">
        <p14:creationId xmlns:p14="http://schemas.microsoft.com/office/powerpoint/2010/main" val="3854176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36456E3E-75B2-4F9F-B928-52BF061969B9}"/>
              </a:ext>
            </a:extLst>
          </p:cNvPr>
          <p:cNvSpPr/>
          <p:nvPr/>
        </p:nvSpPr>
        <p:spPr bwMode="auto">
          <a:xfrm>
            <a:off x="4637265" y="1156142"/>
            <a:ext cx="3527656" cy="2569138"/>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4" name="Rectangle: Rounded Corners 163">
            <a:extLst>
              <a:ext uri="{FF2B5EF4-FFF2-40B4-BE49-F238E27FC236}">
                <a16:creationId xmlns:a16="http://schemas.microsoft.com/office/drawing/2014/main" id="{0E21B580-0F00-48FE-8AFD-65E18925A9F8}"/>
              </a:ext>
            </a:extLst>
          </p:cNvPr>
          <p:cNvSpPr/>
          <p:nvPr/>
        </p:nvSpPr>
        <p:spPr bwMode="auto">
          <a:xfrm>
            <a:off x="5689551" y="1156142"/>
            <a:ext cx="4887794" cy="5377532"/>
          </a:xfrm>
          <a:custGeom>
            <a:avLst/>
            <a:gdLst>
              <a:gd name="connsiteX0" fmla="*/ 0 w 4887794"/>
              <a:gd name="connsiteY0" fmla="*/ 814649 h 5390058"/>
              <a:gd name="connsiteX1" fmla="*/ 814649 w 4887794"/>
              <a:gd name="connsiteY1" fmla="*/ 0 h 5390058"/>
              <a:gd name="connsiteX2" fmla="*/ 4073145 w 4887794"/>
              <a:gd name="connsiteY2" fmla="*/ 0 h 5390058"/>
              <a:gd name="connsiteX3" fmla="*/ 4887794 w 4887794"/>
              <a:gd name="connsiteY3" fmla="*/ 814649 h 5390058"/>
              <a:gd name="connsiteX4" fmla="*/ 4887794 w 4887794"/>
              <a:gd name="connsiteY4" fmla="*/ 4575409 h 5390058"/>
              <a:gd name="connsiteX5" fmla="*/ 4073145 w 4887794"/>
              <a:gd name="connsiteY5" fmla="*/ 5390058 h 5390058"/>
              <a:gd name="connsiteX6" fmla="*/ 814649 w 4887794"/>
              <a:gd name="connsiteY6" fmla="*/ 5390058 h 5390058"/>
              <a:gd name="connsiteX7" fmla="*/ 0 w 4887794"/>
              <a:gd name="connsiteY7" fmla="*/ 4575409 h 5390058"/>
              <a:gd name="connsiteX8" fmla="*/ 0 w 4887794"/>
              <a:gd name="connsiteY8" fmla="*/ 814649 h 5390058"/>
              <a:gd name="connsiteX0" fmla="*/ 0 w 4887794"/>
              <a:gd name="connsiteY0" fmla="*/ 814649 h 5390058"/>
              <a:gd name="connsiteX1" fmla="*/ 814649 w 4887794"/>
              <a:gd name="connsiteY1" fmla="*/ 0 h 5390058"/>
              <a:gd name="connsiteX2" fmla="*/ 4073145 w 4887794"/>
              <a:gd name="connsiteY2" fmla="*/ 0 h 5390058"/>
              <a:gd name="connsiteX3" fmla="*/ 4881531 w 4887794"/>
              <a:gd name="connsiteY3" fmla="*/ 645548 h 5390058"/>
              <a:gd name="connsiteX4" fmla="*/ 4887794 w 4887794"/>
              <a:gd name="connsiteY4" fmla="*/ 4575409 h 5390058"/>
              <a:gd name="connsiteX5" fmla="*/ 4073145 w 4887794"/>
              <a:gd name="connsiteY5" fmla="*/ 5390058 h 5390058"/>
              <a:gd name="connsiteX6" fmla="*/ 814649 w 4887794"/>
              <a:gd name="connsiteY6" fmla="*/ 5390058 h 5390058"/>
              <a:gd name="connsiteX7" fmla="*/ 0 w 4887794"/>
              <a:gd name="connsiteY7" fmla="*/ 4575409 h 5390058"/>
              <a:gd name="connsiteX8" fmla="*/ 0 w 4887794"/>
              <a:gd name="connsiteY8" fmla="*/ 814649 h 5390058"/>
              <a:gd name="connsiteX0" fmla="*/ 0 w 4887794"/>
              <a:gd name="connsiteY0" fmla="*/ 814649 h 5390058"/>
              <a:gd name="connsiteX1" fmla="*/ 814649 w 4887794"/>
              <a:gd name="connsiteY1" fmla="*/ 0 h 5390058"/>
              <a:gd name="connsiteX2" fmla="*/ 4204669 w 4887794"/>
              <a:gd name="connsiteY2" fmla="*/ 6264 h 5390058"/>
              <a:gd name="connsiteX3" fmla="*/ 4881531 w 4887794"/>
              <a:gd name="connsiteY3" fmla="*/ 645548 h 5390058"/>
              <a:gd name="connsiteX4" fmla="*/ 4887794 w 4887794"/>
              <a:gd name="connsiteY4" fmla="*/ 4575409 h 5390058"/>
              <a:gd name="connsiteX5" fmla="*/ 4073145 w 4887794"/>
              <a:gd name="connsiteY5" fmla="*/ 5390058 h 5390058"/>
              <a:gd name="connsiteX6" fmla="*/ 814649 w 4887794"/>
              <a:gd name="connsiteY6" fmla="*/ 5390058 h 5390058"/>
              <a:gd name="connsiteX7" fmla="*/ 0 w 4887794"/>
              <a:gd name="connsiteY7" fmla="*/ 4575409 h 5390058"/>
              <a:gd name="connsiteX8" fmla="*/ 0 w 4887794"/>
              <a:gd name="connsiteY8" fmla="*/ 814649 h 5390058"/>
              <a:gd name="connsiteX0" fmla="*/ 0 w 4887794"/>
              <a:gd name="connsiteY0" fmla="*/ 814649 h 5390058"/>
              <a:gd name="connsiteX1" fmla="*/ 814649 w 4887794"/>
              <a:gd name="connsiteY1" fmla="*/ 0 h 5390058"/>
              <a:gd name="connsiteX2" fmla="*/ 4204669 w 4887794"/>
              <a:gd name="connsiteY2" fmla="*/ 6264 h 5390058"/>
              <a:gd name="connsiteX3" fmla="*/ 4881531 w 4887794"/>
              <a:gd name="connsiteY3" fmla="*/ 645548 h 5390058"/>
              <a:gd name="connsiteX4" fmla="*/ 4887794 w 4887794"/>
              <a:gd name="connsiteY4" fmla="*/ 4731984 h 5390058"/>
              <a:gd name="connsiteX5" fmla="*/ 4073145 w 4887794"/>
              <a:gd name="connsiteY5" fmla="*/ 5390058 h 5390058"/>
              <a:gd name="connsiteX6" fmla="*/ 814649 w 4887794"/>
              <a:gd name="connsiteY6" fmla="*/ 5390058 h 5390058"/>
              <a:gd name="connsiteX7" fmla="*/ 0 w 4887794"/>
              <a:gd name="connsiteY7" fmla="*/ 4575409 h 5390058"/>
              <a:gd name="connsiteX8" fmla="*/ 0 w 4887794"/>
              <a:gd name="connsiteY8" fmla="*/ 814649 h 5390058"/>
              <a:gd name="connsiteX0" fmla="*/ 0 w 4887794"/>
              <a:gd name="connsiteY0" fmla="*/ 814649 h 5390058"/>
              <a:gd name="connsiteX1" fmla="*/ 814649 w 4887794"/>
              <a:gd name="connsiteY1" fmla="*/ 0 h 5390058"/>
              <a:gd name="connsiteX2" fmla="*/ 4204669 w 4887794"/>
              <a:gd name="connsiteY2" fmla="*/ 6264 h 5390058"/>
              <a:gd name="connsiteX3" fmla="*/ 4881531 w 4887794"/>
              <a:gd name="connsiteY3" fmla="*/ 645548 h 5390058"/>
              <a:gd name="connsiteX4" fmla="*/ 4887794 w 4887794"/>
              <a:gd name="connsiteY4" fmla="*/ 4731984 h 5390058"/>
              <a:gd name="connsiteX5" fmla="*/ 4242247 w 4887794"/>
              <a:gd name="connsiteY5" fmla="*/ 5377532 h 5390058"/>
              <a:gd name="connsiteX6" fmla="*/ 814649 w 4887794"/>
              <a:gd name="connsiteY6" fmla="*/ 5390058 h 5390058"/>
              <a:gd name="connsiteX7" fmla="*/ 0 w 4887794"/>
              <a:gd name="connsiteY7" fmla="*/ 4575409 h 5390058"/>
              <a:gd name="connsiteX8" fmla="*/ 0 w 4887794"/>
              <a:gd name="connsiteY8" fmla="*/ 814649 h 5390058"/>
              <a:gd name="connsiteX0" fmla="*/ 0 w 4887794"/>
              <a:gd name="connsiteY0" fmla="*/ 814649 h 5377532"/>
              <a:gd name="connsiteX1" fmla="*/ 814649 w 4887794"/>
              <a:gd name="connsiteY1" fmla="*/ 0 h 5377532"/>
              <a:gd name="connsiteX2" fmla="*/ 4204669 w 4887794"/>
              <a:gd name="connsiteY2" fmla="*/ 6264 h 5377532"/>
              <a:gd name="connsiteX3" fmla="*/ 4881531 w 4887794"/>
              <a:gd name="connsiteY3" fmla="*/ 645548 h 5377532"/>
              <a:gd name="connsiteX4" fmla="*/ 4887794 w 4887794"/>
              <a:gd name="connsiteY4" fmla="*/ 4731984 h 5377532"/>
              <a:gd name="connsiteX5" fmla="*/ 4242247 w 4887794"/>
              <a:gd name="connsiteY5" fmla="*/ 5377532 h 5377532"/>
              <a:gd name="connsiteX6" fmla="*/ 614233 w 4887794"/>
              <a:gd name="connsiteY6" fmla="*/ 5377532 h 5377532"/>
              <a:gd name="connsiteX7" fmla="*/ 0 w 4887794"/>
              <a:gd name="connsiteY7" fmla="*/ 4575409 h 5377532"/>
              <a:gd name="connsiteX8" fmla="*/ 0 w 4887794"/>
              <a:gd name="connsiteY8" fmla="*/ 814649 h 5377532"/>
              <a:gd name="connsiteX0" fmla="*/ 0 w 4887794"/>
              <a:gd name="connsiteY0" fmla="*/ 814649 h 5377532"/>
              <a:gd name="connsiteX1" fmla="*/ 814649 w 4887794"/>
              <a:gd name="connsiteY1" fmla="*/ 0 h 5377532"/>
              <a:gd name="connsiteX2" fmla="*/ 4204669 w 4887794"/>
              <a:gd name="connsiteY2" fmla="*/ 6264 h 5377532"/>
              <a:gd name="connsiteX3" fmla="*/ 4881531 w 4887794"/>
              <a:gd name="connsiteY3" fmla="*/ 645548 h 5377532"/>
              <a:gd name="connsiteX4" fmla="*/ 4887794 w 4887794"/>
              <a:gd name="connsiteY4" fmla="*/ 4731984 h 5377532"/>
              <a:gd name="connsiteX5" fmla="*/ 4242247 w 4887794"/>
              <a:gd name="connsiteY5" fmla="*/ 5377532 h 5377532"/>
              <a:gd name="connsiteX6" fmla="*/ 614233 w 4887794"/>
              <a:gd name="connsiteY6" fmla="*/ 5377532 h 5377532"/>
              <a:gd name="connsiteX7" fmla="*/ 12526 w 4887794"/>
              <a:gd name="connsiteY7" fmla="*/ 4763299 h 5377532"/>
              <a:gd name="connsiteX8" fmla="*/ 0 w 4887794"/>
              <a:gd name="connsiteY8" fmla="*/ 814649 h 537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87794" h="5377532">
                <a:moveTo>
                  <a:pt x="0" y="814649"/>
                </a:moveTo>
                <a:cubicBezTo>
                  <a:pt x="0" y="364731"/>
                  <a:pt x="364731" y="0"/>
                  <a:pt x="814649" y="0"/>
                </a:cubicBezTo>
                <a:lnTo>
                  <a:pt x="4204669" y="6264"/>
                </a:lnTo>
                <a:cubicBezTo>
                  <a:pt x="4654587" y="6264"/>
                  <a:pt x="4881531" y="195630"/>
                  <a:pt x="4881531" y="645548"/>
                </a:cubicBezTo>
                <a:cubicBezTo>
                  <a:pt x="4881531" y="1899135"/>
                  <a:pt x="4887794" y="3478397"/>
                  <a:pt x="4887794" y="4731984"/>
                </a:cubicBezTo>
                <a:cubicBezTo>
                  <a:pt x="4887794" y="5181902"/>
                  <a:pt x="4692165" y="5377532"/>
                  <a:pt x="4242247" y="5377532"/>
                </a:cubicBezTo>
                <a:lnTo>
                  <a:pt x="614233" y="5377532"/>
                </a:lnTo>
                <a:cubicBezTo>
                  <a:pt x="164315" y="5377532"/>
                  <a:pt x="12526" y="5213217"/>
                  <a:pt x="12526" y="4763299"/>
                </a:cubicBezTo>
                <a:cubicBezTo>
                  <a:pt x="8351" y="3447082"/>
                  <a:pt x="4175" y="2130866"/>
                  <a:pt x="0" y="814649"/>
                </a:cubicBezTo>
                <a:close/>
              </a:path>
            </a:pathLst>
          </a:custGeom>
          <a:solidFill>
            <a:schemeClr val="bg1">
              <a:lumMod val="8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0" name="Freeform 88"/>
          <p:cNvSpPr>
            <a:spLocks/>
          </p:cNvSpPr>
          <p:nvPr/>
        </p:nvSpPr>
        <p:spPr bwMode="auto">
          <a:xfrm rot="3464770" flipH="1">
            <a:off x="2937428" y="5433992"/>
            <a:ext cx="595575" cy="444850"/>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050" b="1" i="0" u="none" strike="noStrike" kern="1200" cap="none" spc="0" normalizeH="0" baseline="0" noProof="0">
              <a:ln>
                <a:noFill/>
              </a:ln>
              <a:solidFill>
                <a:srgbClr val="181818"/>
              </a:solidFill>
              <a:effectLst/>
              <a:uLnTx/>
              <a:uFillTx/>
              <a:latin typeface="Ericsson Hilda"/>
              <a:ea typeface="+mn-ea"/>
              <a:cs typeface="+mn-cs"/>
            </a:endParaRPr>
          </a:p>
        </p:txBody>
      </p:sp>
      <p:sp>
        <p:nvSpPr>
          <p:cNvPr id="25607" name="Text Box 144"/>
          <p:cNvSpPr txBox="1">
            <a:spLocks noChangeAspect="1" noChangeArrowheads="1"/>
          </p:cNvSpPr>
          <p:nvPr/>
        </p:nvSpPr>
        <p:spPr bwMode="auto">
          <a:xfrm>
            <a:off x="1924960" y="5517657"/>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G UE</a:t>
            </a:r>
          </a:p>
        </p:txBody>
      </p:sp>
      <p:sp>
        <p:nvSpPr>
          <p:cNvPr id="25608" name="Text Box 144"/>
          <p:cNvSpPr txBox="1">
            <a:spLocks noChangeAspect="1" noChangeArrowheads="1"/>
          </p:cNvSpPr>
          <p:nvPr/>
        </p:nvSpPr>
        <p:spPr bwMode="auto">
          <a:xfrm>
            <a:off x="5129920" y="4604525"/>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25609" name="Text Box 144"/>
          <p:cNvSpPr txBox="1">
            <a:spLocks noChangeAspect="1" noChangeArrowheads="1"/>
          </p:cNvSpPr>
          <p:nvPr/>
        </p:nvSpPr>
        <p:spPr bwMode="auto">
          <a:xfrm>
            <a:off x="5111803" y="5280730"/>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25610" name="Text Box 144"/>
          <p:cNvSpPr txBox="1">
            <a:spLocks noChangeAspect="1" noChangeArrowheads="1"/>
          </p:cNvSpPr>
          <p:nvPr/>
        </p:nvSpPr>
        <p:spPr bwMode="auto">
          <a:xfrm>
            <a:off x="8542607" y="529348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6</a:t>
            </a:r>
          </a:p>
        </p:txBody>
      </p:sp>
      <p:sp>
        <p:nvSpPr>
          <p:cNvPr id="25613" name="Text Box 144"/>
          <p:cNvSpPr txBox="1">
            <a:spLocks noChangeAspect="1" noChangeArrowheads="1"/>
          </p:cNvSpPr>
          <p:nvPr/>
        </p:nvSpPr>
        <p:spPr bwMode="auto">
          <a:xfrm>
            <a:off x="8067122" y="496484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4</a:t>
            </a:r>
          </a:p>
        </p:txBody>
      </p:sp>
      <p:sp>
        <p:nvSpPr>
          <p:cNvPr id="98" name="Line 30"/>
          <p:cNvSpPr>
            <a:spLocks noChangeShapeType="1"/>
          </p:cNvSpPr>
          <p:nvPr/>
        </p:nvSpPr>
        <p:spPr bwMode="auto">
          <a:xfrm flipV="1">
            <a:off x="4439420" y="5456471"/>
            <a:ext cx="5864950" cy="16944"/>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25621" name="Text Box 144"/>
          <p:cNvSpPr txBox="1">
            <a:spLocks noChangeAspect="1" noChangeArrowheads="1"/>
          </p:cNvSpPr>
          <p:nvPr/>
        </p:nvSpPr>
        <p:spPr bwMode="auto">
          <a:xfrm>
            <a:off x="5133181" y="409698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1</a:t>
            </a:r>
          </a:p>
        </p:txBody>
      </p:sp>
      <p:cxnSp>
        <p:nvCxnSpPr>
          <p:cNvPr id="25622" name="Straight Connector 135"/>
          <p:cNvCxnSpPr>
            <a:cxnSpLocks/>
            <a:stCxn id="250" idx="2"/>
            <a:endCxn id="242" idx="0"/>
          </p:cNvCxnSpPr>
          <p:nvPr/>
        </p:nvCxnSpPr>
        <p:spPr bwMode="auto">
          <a:xfrm>
            <a:off x="8350222" y="4756724"/>
            <a:ext cx="487" cy="42047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9" name="Title 1"/>
          <p:cNvSpPr>
            <a:spLocks noGrp="1"/>
          </p:cNvSpPr>
          <p:nvPr>
            <p:ph type="title"/>
          </p:nvPr>
        </p:nvSpPr>
        <p:spPr/>
        <p:txBody>
          <a:bodyPr>
            <a:normAutofit/>
          </a:bodyPr>
          <a:lstStyle/>
          <a:p>
            <a:pPr>
              <a:defRPr/>
            </a:pPr>
            <a:r>
              <a:rPr lang="en-US"/>
              <a:t>5G System architecture</a:t>
            </a:r>
            <a:br>
              <a:rPr lang="en-US"/>
            </a:br>
            <a:r>
              <a:rPr lang="en-US" sz="2800"/>
              <a:t>Release 16 included 5G Core NFs </a:t>
            </a:r>
            <a:endParaRPr lang="en-US" sz="3200"/>
          </a:p>
        </p:txBody>
      </p:sp>
      <p:sp>
        <p:nvSpPr>
          <p:cNvPr id="172" name="Text Box 144"/>
          <p:cNvSpPr txBox="1">
            <a:spLocks noChangeAspect="1" noChangeArrowheads="1"/>
          </p:cNvSpPr>
          <p:nvPr/>
        </p:nvSpPr>
        <p:spPr bwMode="auto">
          <a:xfrm>
            <a:off x="6588741" y="3938569"/>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3" name="Text Box 144"/>
          <p:cNvSpPr txBox="1">
            <a:spLocks noChangeAspect="1" noChangeArrowheads="1"/>
          </p:cNvSpPr>
          <p:nvPr/>
        </p:nvSpPr>
        <p:spPr bwMode="auto">
          <a:xfrm>
            <a:off x="4619146" y="3371339"/>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u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4" name="Text Box 144"/>
          <p:cNvSpPr txBox="1">
            <a:spLocks noChangeAspect="1" noChangeArrowheads="1"/>
          </p:cNvSpPr>
          <p:nvPr/>
        </p:nvSpPr>
        <p:spPr bwMode="auto">
          <a:xfrm>
            <a:off x="6757206" y="3375258"/>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pc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5" name="Text Box 144"/>
          <p:cNvSpPr txBox="1">
            <a:spLocks noChangeAspect="1" noChangeArrowheads="1"/>
          </p:cNvSpPr>
          <p:nvPr/>
        </p:nvSpPr>
        <p:spPr bwMode="auto">
          <a:xfrm>
            <a:off x="6059841" y="3391900"/>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m</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6" name="Text Box 144"/>
          <p:cNvSpPr txBox="1">
            <a:spLocks noChangeAspect="1" noChangeArrowheads="1"/>
          </p:cNvSpPr>
          <p:nvPr/>
        </p:nvSpPr>
        <p:spPr bwMode="auto">
          <a:xfrm>
            <a:off x="8178788" y="3935200"/>
            <a:ext cx="741516"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77" name="Text Box 144"/>
          <p:cNvSpPr txBox="1">
            <a:spLocks noChangeAspect="1" noChangeArrowheads="1"/>
          </p:cNvSpPr>
          <p:nvPr/>
        </p:nvSpPr>
        <p:spPr bwMode="auto">
          <a:xfrm>
            <a:off x="10596904" y="338714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59" name="Text Box 144"/>
          <p:cNvSpPr txBox="1">
            <a:spLocks noChangeAspect="1" noChangeArrowheads="1"/>
          </p:cNvSpPr>
          <p:nvPr/>
        </p:nvSpPr>
        <p:spPr bwMode="auto">
          <a:xfrm>
            <a:off x="5390533" y="3378380"/>
            <a:ext cx="79171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r</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60" name="Content Placeholder 3"/>
          <p:cNvSpPr txBox="1">
            <a:spLocks/>
          </p:cNvSpPr>
          <p:nvPr/>
        </p:nvSpPr>
        <p:spPr>
          <a:xfrm>
            <a:off x="472919" y="1590609"/>
            <a:ext cx="4159720" cy="3162395"/>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lvl="0" indent="0">
              <a:spcBef>
                <a:spcPts val="0"/>
              </a:spcBef>
              <a:spcAft>
                <a:spcPts val="600"/>
              </a:spcAft>
              <a:buNone/>
              <a:defRPr/>
            </a:pPr>
            <a:r>
              <a:rPr lang="en-US" sz="1800" kern="0" spc="0">
                <a:solidFill>
                  <a:srgbClr val="181818"/>
                </a:solidFill>
                <a:latin typeface="Ericsson Hilda"/>
              </a:rPr>
              <a:t>Additions in Rel-16:</a:t>
            </a:r>
          </a:p>
          <a:p>
            <a:pPr lvl="0">
              <a:spcBef>
                <a:spcPts val="0"/>
              </a:spcBef>
              <a:spcAft>
                <a:spcPts val="600"/>
              </a:spcAft>
              <a:defRPr/>
            </a:pPr>
            <a:r>
              <a:rPr lang="en-US" sz="1800" kern="0" spc="0">
                <a:solidFill>
                  <a:srgbClr val="181818"/>
                </a:solidFill>
                <a:latin typeface="Ericsson Hilda"/>
              </a:rPr>
              <a:t>SCP, </a:t>
            </a:r>
            <a:r>
              <a:rPr lang="en-US" sz="1800" kern="0">
                <a:solidFill>
                  <a:srgbClr val="181818"/>
                </a:solidFill>
              </a:rPr>
              <a:t>W-AGF, UCMF, NSSAAF </a:t>
            </a:r>
            <a:r>
              <a:rPr lang="en-US" sz="1800" kern="0" spc="0">
                <a:solidFill>
                  <a:srgbClr val="181818"/>
                </a:solidFill>
                <a:latin typeface="Ericsson Hilda"/>
              </a:rPr>
              <a:t>added in rel-16 (</a:t>
            </a:r>
            <a:r>
              <a:rPr kumimoji="0" lang="en-US" sz="1400" b="0" i="0" u="none" strike="noStrike" kern="0" cap="none" normalizeH="0" baseline="0" noProof="0">
                <a:ln>
                  <a:noFill/>
                </a:ln>
                <a:solidFill>
                  <a:srgbClr val="181818"/>
                </a:solidFill>
                <a:effectLst/>
                <a:uLnTx/>
                <a:uFillTx/>
                <a:latin typeface="Ericsson Hilda"/>
                <a:ea typeface="+mn-ea"/>
                <a:cs typeface="+mn-cs"/>
              </a:rPr>
              <a:t>Trusted non-3GPP not incl.)</a:t>
            </a:r>
          </a:p>
          <a:p>
            <a:pPr lvl="1">
              <a:spcBef>
                <a:spcPts val="0"/>
              </a:spcBef>
              <a:spcAft>
                <a:spcPts val="600"/>
              </a:spcAft>
              <a:defRPr/>
            </a:pPr>
            <a:r>
              <a:rPr lang="en-US" sz="1400" kern="0" spc="0">
                <a:solidFill>
                  <a:srgbClr val="181818"/>
                </a:solidFill>
                <a:latin typeface="Ericsson Hilda"/>
              </a:rPr>
              <a:t>SCP for </a:t>
            </a:r>
            <a:r>
              <a:rPr lang="en-US" sz="1400" kern="0">
                <a:solidFill>
                  <a:srgbClr val="181818"/>
                </a:solidFill>
                <a:latin typeface="Ericsson Hilda"/>
              </a:rPr>
              <a:t>Indirect communication between NFs, described in the following slides</a:t>
            </a:r>
          </a:p>
          <a:p>
            <a:pPr lvl="1">
              <a:spcBef>
                <a:spcPts val="0"/>
              </a:spcBef>
              <a:spcAft>
                <a:spcPts val="600"/>
              </a:spcAft>
              <a:defRPr/>
            </a:pPr>
            <a:r>
              <a:rPr kumimoji="0" lang="en-US" sz="1400" b="0" i="0" u="none" strike="noStrike" kern="0" cap="none" spc="0" normalizeH="0" baseline="0" noProof="0">
                <a:ln>
                  <a:noFill/>
                </a:ln>
                <a:solidFill>
                  <a:srgbClr val="181818"/>
                </a:solidFill>
                <a:effectLst/>
                <a:uLnTx/>
                <a:uFillTx/>
                <a:latin typeface="Ericsson Hilda"/>
                <a:ea typeface="+mn-ea"/>
                <a:cs typeface="+mn-cs"/>
              </a:rPr>
              <a:t>NSSAAF for performing </a:t>
            </a:r>
            <a:r>
              <a:rPr kumimoji="0" lang="en-US" sz="1400" b="0" i="0" u="none" strike="noStrike" kern="0" cap="none" spc="0" normalizeH="0" baseline="0" noProof="0" err="1">
                <a:ln>
                  <a:noFill/>
                </a:ln>
                <a:solidFill>
                  <a:srgbClr val="181818"/>
                </a:solidFill>
                <a:effectLst/>
                <a:uLnTx/>
                <a:uFillTx/>
                <a:latin typeface="Ericsson Hilda"/>
                <a:ea typeface="+mn-ea"/>
                <a:cs typeface="+mn-cs"/>
              </a:rPr>
              <a:t>Nw</a:t>
            </a:r>
            <a:r>
              <a:rPr kumimoji="0" lang="en-US" sz="1400" b="0" i="0" u="none" strike="noStrike" kern="0" cap="none" spc="0" normalizeH="0" baseline="0" noProof="0">
                <a:ln>
                  <a:noFill/>
                </a:ln>
                <a:solidFill>
                  <a:srgbClr val="181818"/>
                </a:solidFill>
                <a:effectLst/>
                <a:uLnTx/>
                <a:uFillTx/>
                <a:latin typeface="Ericsson Hilda"/>
                <a:ea typeface="+mn-ea"/>
                <a:cs typeface="+mn-cs"/>
              </a:rPr>
              <a:t> slice specific Authentication and Authorization</a:t>
            </a:r>
          </a:p>
          <a:p>
            <a:pPr lvl="1">
              <a:spcBef>
                <a:spcPts val="0"/>
              </a:spcBef>
              <a:spcAft>
                <a:spcPts val="600"/>
              </a:spcAft>
              <a:defRPr/>
            </a:pPr>
            <a:r>
              <a:rPr lang="en-US" sz="1400" kern="0">
                <a:solidFill>
                  <a:srgbClr val="181818"/>
                </a:solidFill>
                <a:latin typeface="Ericsson Hilda"/>
              </a:rPr>
              <a:t>UCMF for storing and handling translation of coding for UE specific radio capabilities</a:t>
            </a:r>
          </a:p>
          <a:p>
            <a:pPr lvl="1">
              <a:spcBef>
                <a:spcPts val="0"/>
              </a:spcBef>
              <a:spcAft>
                <a:spcPts val="600"/>
              </a:spcAft>
              <a:defRPr/>
            </a:pPr>
            <a:r>
              <a:rPr kumimoji="0" lang="en-US" sz="1400" b="0" i="0" u="none" strike="noStrike" kern="0" cap="none" spc="0" normalizeH="0" baseline="0" noProof="0">
                <a:ln>
                  <a:noFill/>
                </a:ln>
                <a:solidFill>
                  <a:srgbClr val="181818"/>
                </a:solidFill>
                <a:effectLst/>
                <a:uLnTx/>
                <a:uFillTx/>
                <a:latin typeface="Ericsson Hilda"/>
                <a:ea typeface="+mn-ea"/>
                <a:cs typeface="+mn-cs"/>
              </a:rPr>
              <a:t>W-AGF Access gateway for interfacing wireline access and separating NAS towards AMF</a:t>
            </a:r>
          </a:p>
          <a:p>
            <a:pPr lvl="1">
              <a:spcBef>
                <a:spcPts val="0"/>
              </a:spcBef>
              <a:spcAft>
                <a:spcPts val="600"/>
              </a:spcAft>
              <a:defRPr/>
            </a:pPr>
            <a:endParaRPr kumimoji="0" lang="en-US" sz="1400" b="0" i="0" u="none" strike="noStrike" kern="0" cap="none" spc="0" normalizeH="0" baseline="0" noProof="0">
              <a:ln>
                <a:noFill/>
              </a:ln>
              <a:solidFill>
                <a:srgbClr val="181818"/>
              </a:solidFill>
              <a:effectLst/>
              <a:uLnTx/>
              <a:uFillTx/>
              <a:latin typeface="Ericsson Hilda"/>
              <a:ea typeface="+mn-ea"/>
              <a:cs typeface="+mn-cs"/>
            </a:endParaRPr>
          </a:p>
        </p:txBody>
      </p:sp>
      <p:sp>
        <p:nvSpPr>
          <p:cNvPr id="162" name="Oval 161"/>
          <p:cNvSpPr/>
          <p:nvPr/>
        </p:nvSpPr>
        <p:spPr bwMode="auto">
          <a:xfrm>
            <a:off x="5542956"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7" name="Text Box 144"/>
          <p:cNvSpPr txBox="1">
            <a:spLocks noChangeAspect="1" noChangeArrowheads="1"/>
          </p:cNvSpPr>
          <p:nvPr/>
        </p:nvSpPr>
        <p:spPr bwMode="auto">
          <a:xfrm>
            <a:off x="7605740" y="3365596"/>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s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82" name="Straight Connector 133"/>
          <p:cNvCxnSpPr>
            <a:cxnSpLocks/>
          </p:cNvCxnSpPr>
          <p:nvPr/>
        </p:nvCxnSpPr>
        <p:spPr bwMode="auto">
          <a:xfrm flipH="1">
            <a:off x="2977639" y="4300057"/>
            <a:ext cx="2304435" cy="72531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6" name="Straight Connector 205"/>
          <p:cNvCxnSpPr>
            <a:cxnSpLocks/>
          </p:cNvCxnSpPr>
          <p:nvPr/>
        </p:nvCxnSpPr>
        <p:spPr bwMode="auto">
          <a:xfrm>
            <a:off x="4957006" y="3560356"/>
            <a:ext cx="5896871" cy="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7" name="Straight Connector 206"/>
          <p:cNvCxnSpPr>
            <a:cxnSpLocks/>
          </p:cNvCxnSpPr>
          <p:nvPr/>
        </p:nvCxnSpPr>
        <p:spPr bwMode="auto">
          <a:xfrm>
            <a:off x="5616403"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3" name="Straight Connector 182">
            <a:extLst>
              <a:ext uri="{FF2B5EF4-FFF2-40B4-BE49-F238E27FC236}">
                <a16:creationId xmlns:a16="http://schemas.microsoft.com/office/drawing/2014/main" id="{4F2D51B4-76BA-4876-BC2C-5BE86D796F80}"/>
              </a:ext>
            </a:extLst>
          </p:cNvPr>
          <p:cNvCxnSpPr>
            <a:cxnSpLocks/>
          </p:cNvCxnSpPr>
          <p:nvPr/>
        </p:nvCxnSpPr>
        <p:spPr bwMode="auto">
          <a:xfrm>
            <a:off x="4895890" y="3062587"/>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4" name="Straight Connector 213">
            <a:extLst>
              <a:ext uri="{FF2B5EF4-FFF2-40B4-BE49-F238E27FC236}">
                <a16:creationId xmlns:a16="http://schemas.microsoft.com/office/drawing/2014/main" id="{75D087E2-57E1-4FDD-86C1-1CD2D0141E25}"/>
              </a:ext>
            </a:extLst>
          </p:cNvPr>
          <p:cNvCxnSpPr>
            <a:cxnSpLocks/>
          </p:cNvCxnSpPr>
          <p:nvPr/>
        </p:nvCxnSpPr>
        <p:spPr bwMode="auto">
          <a:xfrm>
            <a:off x="6320310" y="307057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5" name="Straight Connector 214">
            <a:extLst>
              <a:ext uri="{FF2B5EF4-FFF2-40B4-BE49-F238E27FC236}">
                <a16:creationId xmlns:a16="http://schemas.microsoft.com/office/drawing/2014/main" id="{9E0A79E2-9639-4D8B-9CCD-EFD04D6C840C}"/>
              </a:ext>
            </a:extLst>
          </p:cNvPr>
          <p:cNvCxnSpPr>
            <a:cxnSpLocks/>
            <a:endCxn id="249" idx="0"/>
          </p:cNvCxnSpPr>
          <p:nvPr/>
        </p:nvCxnSpPr>
        <p:spPr bwMode="auto">
          <a:xfrm>
            <a:off x="6884411" y="3611188"/>
            <a:ext cx="7186" cy="557597"/>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6" name="Straight Connector 215">
            <a:extLst>
              <a:ext uri="{FF2B5EF4-FFF2-40B4-BE49-F238E27FC236}">
                <a16:creationId xmlns:a16="http://schemas.microsoft.com/office/drawing/2014/main" id="{24B13A1E-BAFB-41C7-A13E-6ABCB396189F}"/>
              </a:ext>
            </a:extLst>
          </p:cNvPr>
          <p:cNvCxnSpPr>
            <a:cxnSpLocks/>
            <a:endCxn id="250" idx="0"/>
          </p:cNvCxnSpPr>
          <p:nvPr/>
        </p:nvCxnSpPr>
        <p:spPr bwMode="auto">
          <a:xfrm>
            <a:off x="8338528" y="3596455"/>
            <a:ext cx="11694" cy="58477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7" name="Straight Connector 216">
            <a:extLst>
              <a:ext uri="{FF2B5EF4-FFF2-40B4-BE49-F238E27FC236}">
                <a16:creationId xmlns:a16="http://schemas.microsoft.com/office/drawing/2014/main" id="{9FA36852-A094-4EF5-B7CD-8FCF83270AA5}"/>
              </a:ext>
            </a:extLst>
          </p:cNvPr>
          <p:cNvCxnSpPr>
            <a:cxnSpLocks/>
          </p:cNvCxnSpPr>
          <p:nvPr/>
        </p:nvCxnSpPr>
        <p:spPr bwMode="auto">
          <a:xfrm>
            <a:off x="7057487"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8" name="Straight Connector 217">
            <a:extLst>
              <a:ext uri="{FF2B5EF4-FFF2-40B4-BE49-F238E27FC236}">
                <a16:creationId xmlns:a16="http://schemas.microsoft.com/office/drawing/2014/main" id="{2CC930F1-8541-408E-BC98-2B5FD813A92A}"/>
              </a:ext>
            </a:extLst>
          </p:cNvPr>
          <p:cNvCxnSpPr>
            <a:cxnSpLocks/>
          </p:cNvCxnSpPr>
          <p:nvPr/>
        </p:nvCxnSpPr>
        <p:spPr bwMode="auto">
          <a:xfrm>
            <a:off x="7786438" y="3055155"/>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9" name="Straight Connector 218">
            <a:extLst>
              <a:ext uri="{FF2B5EF4-FFF2-40B4-BE49-F238E27FC236}">
                <a16:creationId xmlns:a16="http://schemas.microsoft.com/office/drawing/2014/main" id="{03A13CB3-F220-4B1A-82B5-9FC97C17E4DE}"/>
              </a:ext>
            </a:extLst>
          </p:cNvPr>
          <p:cNvCxnSpPr>
            <a:cxnSpLocks/>
          </p:cNvCxnSpPr>
          <p:nvPr/>
        </p:nvCxnSpPr>
        <p:spPr bwMode="auto">
          <a:xfrm>
            <a:off x="9226707" y="3062936"/>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20" name="Straight Connector 219">
            <a:extLst>
              <a:ext uri="{FF2B5EF4-FFF2-40B4-BE49-F238E27FC236}">
                <a16:creationId xmlns:a16="http://schemas.microsoft.com/office/drawing/2014/main" id="{6E67CE8A-4CEA-4A5F-8108-8E4B2F99ADD1}"/>
              </a:ext>
            </a:extLst>
          </p:cNvPr>
          <p:cNvCxnSpPr>
            <a:cxnSpLocks/>
          </p:cNvCxnSpPr>
          <p:nvPr/>
        </p:nvCxnSpPr>
        <p:spPr bwMode="auto">
          <a:xfrm>
            <a:off x="10846691" y="307788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21" name="Oval 220">
            <a:extLst>
              <a:ext uri="{FF2B5EF4-FFF2-40B4-BE49-F238E27FC236}">
                <a16:creationId xmlns:a16="http://schemas.microsoft.com/office/drawing/2014/main" id="{FCE6296D-6E58-4A49-BC1E-FC7ABD71C7AD}"/>
              </a:ext>
            </a:extLst>
          </p:cNvPr>
          <p:cNvSpPr/>
          <p:nvPr/>
        </p:nvSpPr>
        <p:spPr bwMode="auto">
          <a:xfrm>
            <a:off x="4823079" y="3194013"/>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2" name="Oval 221">
            <a:extLst>
              <a:ext uri="{FF2B5EF4-FFF2-40B4-BE49-F238E27FC236}">
                <a16:creationId xmlns:a16="http://schemas.microsoft.com/office/drawing/2014/main" id="{4CCC064F-1B24-4B35-A185-BD0F41104C43}"/>
              </a:ext>
            </a:extLst>
          </p:cNvPr>
          <p:cNvSpPr/>
          <p:nvPr/>
        </p:nvSpPr>
        <p:spPr bwMode="auto">
          <a:xfrm>
            <a:off x="6259881" y="320979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3" name="Oval 222">
            <a:extLst>
              <a:ext uri="{FF2B5EF4-FFF2-40B4-BE49-F238E27FC236}">
                <a16:creationId xmlns:a16="http://schemas.microsoft.com/office/drawing/2014/main" id="{70DB4543-DEAD-455C-9A02-B8A366DFFDA9}"/>
              </a:ext>
            </a:extLst>
          </p:cNvPr>
          <p:cNvSpPr/>
          <p:nvPr/>
        </p:nvSpPr>
        <p:spPr bwMode="auto">
          <a:xfrm>
            <a:off x="6991485" y="32022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4" name="Oval 223">
            <a:extLst>
              <a:ext uri="{FF2B5EF4-FFF2-40B4-BE49-F238E27FC236}">
                <a16:creationId xmlns:a16="http://schemas.microsoft.com/office/drawing/2014/main" id="{5418E554-AD14-4575-965A-4F3EDD282F3C}"/>
              </a:ext>
            </a:extLst>
          </p:cNvPr>
          <p:cNvSpPr/>
          <p:nvPr/>
        </p:nvSpPr>
        <p:spPr bwMode="auto">
          <a:xfrm>
            <a:off x="7720578" y="3194272"/>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5" name="Oval 224">
            <a:extLst>
              <a:ext uri="{FF2B5EF4-FFF2-40B4-BE49-F238E27FC236}">
                <a16:creationId xmlns:a16="http://schemas.microsoft.com/office/drawing/2014/main" id="{C350BDE5-D4C9-41FF-BC81-E4C3AAED5F21}"/>
              </a:ext>
            </a:extLst>
          </p:cNvPr>
          <p:cNvSpPr/>
          <p:nvPr/>
        </p:nvSpPr>
        <p:spPr bwMode="auto">
          <a:xfrm>
            <a:off x="9158264" y="318783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6" name="Oval 225">
            <a:extLst>
              <a:ext uri="{FF2B5EF4-FFF2-40B4-BE49-F238E27FC236}">
                <a16:creationId xmlns:a16="http://schemas.microsoft.com/office/drawing/2014/main" id="{D7041F0B-D7DE-4322-931A-0B8892EBFC36}"/>
              </a:ext>
            </a:extLst>
          </p:cNvPr>
          <p:cNvSpPr/>
          <p:nvPr/>
        </p:nvSpPr>
        <p:spPr bwMode="auto">
          <a:xfrm>
            <a:off x="10786804" y="320260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7" name="Oval 226">
            <a:extLst>
              <a:ext uri="{FF2B5EF4-FFF2-40B4-BE49-F238E27FC236}">
                <a16:creationId xmlns:a16="http://schemas.microsoft.com/office/drawing/2014/main" id="{70ED5429-6FED-4C59-B6EB-99282424AF3E}"/>
              </a:ext>
            </a:extLst>
          </p:cNvPr>
          <p:cNvSpPr/>
          <p:nvPr/>
        </p:nvSpPr>
        <p:spPr bwMode="auto">
          <a:xfrm>
            <a:off x="6822333" y="378105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8" name="Oval 227">
            <a:extLst>
              <a:ext uri="{FF2B5EF4-FFF2-40B4-BE49-F238E27FC236}">
                <a16:creationId xmlns:a16="http://schemas.microsoft.com/office/drawing/2014/main" id="{DF74C6DF-E183-42D2-8977-A32BDDC25BB1}"/>
              </a:ext>
            </a:extLst>
          </p:cNvPr>
          <p:cNvSpPr/>
          <p:nvPr/>
        </p:nvSpPr>
        <p:spPr bwMode="auto">
          <a:xfrm>
            <a:off x="8272903" y="3773150"/>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9" name="Text Box 144">
            <a:extLst>
              <a:ext uri="{FF2B5EF4-FFF2-40B4-BE49-F238E27FC236}">
                <a16:creationId xmlns:a16="http://schemas.microsoft.com/office/drawing/2014/main" id="{BF7261D6-B387-487A-B9E1-CBB5D6348C9B}"/>
              </a:ext>
            </a:extLst>
          </p:cNvPr>
          <p:cNvSpPr txBox="1">
            <a:spLocks noChangeAspect="1" noChangeArrowheads="1"/>
          </p:cNvSpPr>
          <p:nvPr/>
        </p:nvSpPr>
        <p:spPr bwMode="auto">
          <a:xfrm>
            <a:off x="9018297" y="3376932"/>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d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259" name="Straight Connector 133">
            <a:extLst>
              <a:ext uri="{FF2B5EF4-FFF2-40B4-BE49-F238E27FC236}">
                <a16:creationId xmlns:a16="http://schemas.microsoft.com/office/drawing/2014/main" id="{A046E588-5F71-4315-B4E9-E424C913BCAE}"/>
              </a:ext>
            </a:extLst>
          </p:cNvPr>
          <p:cNvCxnSpPr>
            <a:cxnSpLocks/>
            <a:stCxn id="336" idx="3"/>
            <a:endCxn id="249" idx="1"/>
          </p:cNvCxnSpPr>
          <p:nvPr/>
        </p:nvCxnSpPr>
        <p:spPr bwMode="auto">
          <a:xfrm flipV="1">
            <a:off x="4411465" y="4456532"/>
            <a:ext cx="2300132" cy="100222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Text Box 144">
            <a:extLst>
              <a:ext uri="{FF2B5EF4-FFF2-40B4-BE49-F238E27FC236}">
                <a16:creationId xmlns:a16="http://schemas.microsoft.com/office/drawing/2014/main" id="{1096EC00-8E15-4531-93C9-595E3B2584ED}"/>
              </a:ext>
            </a:extLst>
          </p:cNvPr>
          <p:cNvSpPr txBox="1">
            <a:spLocks noChangeAspect="1" noChangeArrowheads="1"/>
          </p:cNvSpPr>
          <p:nvPr/>
        </p:nvSpPr>
        <p:spPr bwMode="auto">
          <a:xfrm>
            <a:off x="4791458" y="1262876"/>
            <a:ext cx="1121746"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charset="-128"/>
                <a:cs typeface="+mn-cs"/>
              </a:rPr>
              <a:t>5GC</a:t>
            </a:r>
          </a:p>
        </p:txBody>
      </p:sp>
      <p:cxnSp>
        <p:nvCxnSpPr>
          <p:cNvPr id="189" name="Straight Connector 133">
            <a:extLst>
              <a:ext uri="{FF2B5EF4-FFF2-40B4-BE49-F238E27FC236}">
                <a16:creationId xmlns:a16="http://schemas.microsoft.com/office/drawing/2014/main" id="{322FFB2F-1F1B-44EE-9868-9C3039FB295D}"/>
              </a:ext>
            </a:extLst>
          </p:cNvPr>
          <p:cNvCxnSpPr>
            <a:cxnSpLocks/>
          </p:cNvCxnSpPr>
          <p:nvPr/>
        </p:nvCxnSpPr>
        <p:spPr bwMode="auto">
          <a:xfrm flipH="1">
            <a:off x="5293821" y="4265515"/>
            <a:ext cx="1434965" cy="34119"/>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0" name="Straight Connector 189">
            <a:extLst>
              <a:ext uri="{FF2B5EF4-FFF2-40B4-BE49-F238E27FC236}">
                <a16:creationId xmlns:a16="http://schemas.microsoft.com/office/drawing/2014/main" id="{EDCE98FC-A229-4E3A-9B20-45E565E037F7}"/>
              </a:ext>
            </a:extLst>
          </p:cNvPr>
          <p:cNvCxnSpPr>
            <a:cxnSpLocks/>
            <a:stCxn id="290" idx="2"/>
          </p:cNvCxnSpPr>
          <p:nvPr/>
        </p:nvCxnSpPr>
        <p:spPr bwMode="auto">
          <a:xfrm flipH="1">
            <a:off x="5957810" y="21034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94" name="Text Box 144">
            <a:extLst>
              <a:ext uri="{FF2B5EF4-FFF2-40B4-BE49-F238E27FC236}">
                <a16:creationId xmlns:a16="http://schemas.microsoft.com/office/drawing/2014/main" id="{2BBE9224-5152-4867-B831-311ECFF92AE9}"/>
              </a:ext>
            </a:extLst>
          </p:cNvPr>
          <p:cNvSpPr txBox="1">
            <a:spLocks noChangeAspect="1" noChangeArrowheads="1"/>
          </p:cNvSpPr>
          <p:nvPr/>
        </p:nvSpPr>
        <p:spPr bwMode="auto">
          <a:xfrm>
            <a:off x="5760422" y="22035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m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95" name="Oval 194">
            <a:extLst>
              <a:ext uri="{FF2B5EF4-FFF2-40B4-BE49-F238E27FC236}">
                <a16:creationId xmlns:a16="http://schemas.microsoft.com/office/drawing/2014/main" id="{FCFA5074-3D57-4AD6-B860-EABBB25A8594}"/>
              </a:ext>
            </a:extLst>
          </p:cNvPr>
          <p:cNvSpPr/>
          <p:nvPr/>
        </p:nvSpPr>
        <p:spPr bwMode="auto">
          <a:xfrm>
            <a:off x="5885283" y="22076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0" name="Text Box 144">
            <a:extLst>
              <a:ext uri="{FF2B5EF4-FFF2-40B4-BE49-F238E27FC236}">
                <a16:creationId xmlns:a16="http://schemas.microsoft.com/office/drawing/2014/main" id="{648A1508-43D9-4FB7-A8AA-F343FA057287}"/>
              </a:ext>
            </a:extLst>
          </p:cNvPr>
          <p:cNvSpPr txBox="1">
            <a:spLocks noChangeAspect="1" noChangeArrowheads="1"/>
          </p:cNvSpPr>
          <p:nvPr/>
        </p:nvSpPr>
        <p:spPr bwMode="auto">
          <a:xfrm>
            <a:off x="7278909" y="222743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5g-eir</a:t>
            </a:r>
          </a:p>
        </p:txBody>
      </p:sp>
      <p:sp>
        <p:nvSpPr>
          <p:cNvPr id="235" name="Text Box 144">
            <a:extLst>
              <a:ext uri="{FF2B5EF4-FFF2-40B4-BE49-F238E27FC236}">
                <a16:creationId xmlns:a16="http://schemas.microsoft.com/office/drawing/2014/main" id="{C2E2D531-4F98-4FBC-A13E-FAE2777BC299}"/>
              </a:ext>
            </a:extLst>
          </p:cNvPr>
          <p:cNvSpPr txBox="1">
            <a:spLocks noChangeAspect="1" noChangeArrowheads="1"/>
          </p:cNvSpPr>
          <p:nvPr/>
        </p:nvSpPr>
        <p:spPr bwMode="auto">
          <a:xfrm>
            <a:off x="7908012" y="2227995"/>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ch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13" name="Straight Connector 12">
            <a:extLst>
              <a:ext uri="{FF2B5EF4-FFF2-40B4-BE49-F238E27FC236}">
                <a16:creationId xmlns:a16="http://schemas.microsoft.com/office/drawing/2014/main" id="{33FC9B51-7E87-4C30-9BD0-EC0605CC242E}"/>
              </a:ext>
            </a:extLst>
          </p:cNvPr>
          <p:cNvCxnSpPr>
            <a:cxnSpLocks/>
          </p:cNvCxnSpPr>
          <p:nvPr/>
        </p:nvCxnSpPr>
        <p:spPr bwMode="auto">
          <a:xfrm>
            <a:off x="10431411" y="1887790"/>
            <a:ext cx="709604" cy="0"/>
          </a:xfrm>
          <a:prstGeom prst="line">
            <a:avLst/>
          </a:prstGeom>
          <a:solidFill>
            <a:schemeClr val="accent1"/>
          </a:solidFill>
          <a:ln w="3175" cap="flat" cmpd="sng" algn="ctr">
            <a:solidFill>
              <a:schemeClr val="tx1"/>
            </a:solidFill>
            <a:prstDash val="solid"/>
            <a:round/>
            <a:headEnd type="none" w="med" len="med"/>
            <a:tailEnd type="none"/>
          </a:ln>
          <a:effectLst/>
        </p:spPr>
      </p:cxnSp>
      <p:sp>
        <p:nvSpPr>
          <p:cNvPr id="286" name="Text Box 144">
            <a:extLst>
              <a:ext uri="{FF2B5EF4-FFF2-40B4-BE49-F238E27FC236}">
                <a16:creationId xmlns:a16="http://schemas.microsoft.com/office/drawing/2014/main" id="{EA9F3266-C2A3-4064-BD84-0D57F7716622}"/>
              </a:ext>
            </a:extLst>
          </p:cNvPr>
          <p:cNvSpPr txBox="1">
            <a:spLocks noChangeAspect="1" noChangeArrowheads="1"/>
          </p:cNvSpPr>
          <p:nvPr/>
        </p:nvSpPr>
        <p:spPr bwMode="auto">
          <a:xfrm>
            <a:off x="10556565" y="1726402"/>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2</a:t>
            </a:r>
          </a:p>
        </p:txBody>
      </p:sp>
      <p:cxnSp>
        <p:nvCxnSpPr>
          <p:cNvPr id="298" name="Straight Connector 297">
            <a:extLst>
              <a:ext uri="{FF2B5EF4-FFF2-40B4-BE49-F238E27FC236}">
                <a16:creationId xmlns:a16="http://schemas.microsoft.com/office/drawing/2014/main" id="{6D6B842D-0654-4523-80AC-A166FE2AAF7F}"/>
              </a:ext>
            </a:extLst>
          </p:cNvPr>
          <p:cNvCxnSpPr>
            <a:cxnSpLocks/>
          </p:cNvCxnSpPr>
          <p:nvPr/>
        </p:nvCxnSpPr>
        <p:spPr bwMode="auto">
          <a:xfrm>
            <a:off x="5238014" y="1943988"/>
            <a:ext cx="9608" cy="1615806"/>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99" name="Text Box 144">
            <a:extLst>
              <a:ext uri="{FF2B5EF4-FFF2-40B4-BE49-F238E27FC236}">
                <a16:creationId xmlns:a16="http://schemas.microsoft.com/office/drawing/2014/main" id="{812377A3-E3E6-41E5-930E-E2B306E5BF00}"/>
              </a:ext>
            </a:extLst>
          </p:cNvPr>
          <p:cNvSpPr txBox="1">
            <a:spLocks noChangeAspect="1" noChangeArrowheads="1"/>
          </p:cNvSpPr>
          <p:nvPr/>
        </p:nvSpPr>
        <p:spPr bwMode="auto">
          <a:xfrm>
            <a:off x="4992830" y="219925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r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00" name="Oval 299">
            <a:extLst>
              <a:ext uri="{FF2B5EF4-FFF2-40B4-BE49-F238E27FC236}">
                <a16:creationId xmlns:a16="http://schemas.microsoft.com/office/drawing/2014/main" id="{A3BB8E18-48A6-40D3-A910-CF0195AAD26D}"/>
              </a:ext>
            </a:extLst>
          </p:cNvPr>
          <p:cNvSpPr/>
          <p:nvPr/>
        </p:nvSpPr>
        <p:spPr bwMode="auto">
          <a:xfrm>
            <a:off x="5168267" y="2198246"/>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01" name="Text Box 144">
            <a:extLst>
              <a:ext uri="{FF2B5EF4-FFF2-40B4-BE49-F238E27FC236}">
                <a16:creationId xmlns:a16="http://schemas.microsoft.com/office/drawing/2014/main" id="{535411CB-1826-494C-AA69-E7999B573FD6}"/>
              </a:ext>
            </a:extLst>
          </p:cNvPr>
          <p:cNvSpPr txBox="1">
            <a:spLocks noChangeAspect="1" noChangeArrowheads="1"/>
          </p:cNvSpPr>
          <p:nvPr/>
        </p:nvSpPr>
        <p:spPr bwMode="auto">
          <a:xfrm>
            <a:off x="9321906" y="3873461"/>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wd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02" name="Straight Connector 301">
            <a:extLst>
              <a:ext uri="{FF2B5EF4-FFF2-40B4-BE49-F238E27FC236}">
                <a16:creationId xmlns:a16="http://schemas.microsoft.com/office/drawing/2014/main" id="{AC8451EF-5DF8-457F-8F3F-5B83219759D0}"/>
              </a:ext>
            </a:extLst>
          </p:cNvPr>
          <p:cNvCxnSpPr>
            <a:cxnSpLocks/>
            <a:endCxn id="342" idx="0"/>
          </p:cNvCxnSpPr>
          <p:nvPr/>
        </p:nvCxnSpPr>
        <p:spPr bwMode="auto">
          <a:xfrm>
            <a:off x="9444250" y="3618559"/>
            <a:ext cx="12221" cy="558953"/>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03" name="Oval 302">
            <a:extLst>
              <a:ext uri="{FF2B5EF4-FFF2-40B4-BE49-F238E27FC236}">
                <a16:creationId xmlns:a16="http://schemas.microsoft.com/office/drawing/2014/main" id="{7E798736-5130-4A43-B314-39059A275211}"/>
              </a:ext>
            </a:extLst>
          </p:cNvPr>
          <p:cNvSpPr/>
          <p:nvPr/>
        </p:nvSpPr>
        <p:spPr bwMode="auto">
          <a:xfrm>
            <a:off x="9382172" y="378842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18" name="Straight Connector 317">
            <a:extLst>
              <a:ext uri="{FF2B5EF4-FFF2-40B4-BE49-F238E27FC236}">
                <a16:creationId xmlns:a16="http://schemas.microsoft.com/office/drawing/2014/main" id="{BE6D8E47-E8B1-4173-9E23-678F3F3855E2}"/>
              </a:ext>
            </a:extLst>
          </p:cNvPr>
          <p:cNvCxnSpPr>
            <a:cxnSpLocks/>
            <a:stCxn id="249" idx="2"/>
            <a:endCxn id="247" idx="0"/>
          </p:cNvCxnSpPr>
          <p:nvPr/>
        </p:nvCxnSpPr>
        <p:spPr bwMode="auto">
          <a:xfrm flipH="1">
            <a:off x="6884411" y="4744278"/>
            <a:ext cx="7186" cy="90085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19" name="Text Box 144">
            <a:extLst>
              <a:ext uri="{FF2B5EF4-FFF2-40B4-BE49-F238E27FC236}">
                <a16:creationId xmlns:a16="http://schemas.microsoft.com/office/drawing/2014/main" id="{71BD2FC3-63EE-4379-B10F-F42D665D741D}"/>
              </a:ext>
            </a:extLst>
          </p:cNvPr>
          <p:cNvSpPr txBox="1">
            <a:spLocks noChangeAspect="1" noChangeArrowheads="1"/>
          </p:cNvSpPr>
          <p:nvPr/>
        </p:nvSpPr>
        <p:spPr bwMode="auto">
          <a:xfrm>
            <a:off x="6750108" y="4974745"/>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2</a:t>
            </a:r>
          </a:p>
        </p:txBody>
      </p:sp>
      <p:sp>
        <p:nvSpPr>
          <p:cNvPr id="320" name="Line 30">
            <a:extLst>
              <a:ext uri="{FF2B5EF4-FFF2-40B4-BE49-F238E27FC236}">
                <a16:creationId xmlns:a16="http://schemas.microsoft.com/office/drawing/2014/main" id="{65883744-B65F-4B4E-9314-0DD4AFFF8411}"/>
              </a:ext>
            </a:extLst>
          </p:cNvPr>
          <p:cNvSpPr>
            <a:spLocks noChangeShapeType="1"/>
          </p:cNvSpPr>
          <p:nvPr/>
        </p:nvSpPr>
        <p:spPr bwMode="auto">
          <a:xfrm flipV="1">
            <a:off x="7119075" y="5458759"/>
            <a:ext cx="1051634" cy="510547"/>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321" name="Text Box 144">
            <a:extLst>
              <a:ext uri="{FF2B5EF4-FFF2-40B4-BE49-F238E27FC236}">
                <a16:creationId xmlns:a16="http://schemas.microsoft.com/office/drawing/2014/main" id="{E7679993-B163-45B2-A2E9-D8DA082545F3}"/>
              </a:ext>
            </a:extLst>
          </p:cNvPr>
          <p:cNvSpPr txBox="1">
            <a:spLocks noChangeAspect="1" noChangeArrowheads="1"/>
          </p:cNvSpPr>
          <p:nvPr/>
        </p:nvSpPr>
        <p:spPr bwMode="auto">
          <a:xfrm>
            <a:off x="7466767" y="5789768"/>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3</a:t>
            </a:r>
          </a:p>
        </p:txBody>
      </p:sp>
      <p:sp>
        <p:nvSpPr>
          <p:cNvPr id="334" name="Line 30">
            <a:extLst>
              <a:ext uri="{FF2B5EF4-FFF2-40B4-BE49-F238E27FC236}">
                <a16:creationId xmlns:a16="http://schemas.microsoft.com/office/drawing/2014/main" id="{29E307B0-B3F5-4909-B3F2-142755D19E9F}"/>
              </a:ext>
            </a:extLst>
          </p:cNvPr>
          <p:cNvSpPr>
            <a:spLocks noChangeShapeType="1"/>
          </p:cNvSpPr>
          <p:nvPr/>
        </p:nvSpPr>
        <p:spPr bwMode="auto">
          <a:xfrm>
            <a:off x="5382024" y="5958280"/>
            <a:ext cx="1265078" cy="0"/>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336" name="TextBox 335">
            <a:extLst>
              <a:ext uri="{FF2B5EF4-FFF2-40B4-BE49-F238E27FC236}">
                <a16:creationId xmlns:a16="http://schemas.microsoft.com/office/drawing/2014/main" id="{E87705DE-5BE0-41D2-975B-BE8E522EE895}"/>
              </a:ext>
            </a:extLst>
          </p:cNvPr>
          <p:cNvSpPr txBox="1"/>
          <p:nvPr/>
        </p:nvSpPr>
        <p:spPr bwMode="auto">
          <a:xfrm>
            <a:off x="3835465" y="4990760"/>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NG-RAN</a:t>
            </a:r>
          </a:p>
        </p:txBody>
      </p:sp>
      <p:sp>
        <p:nvSpPr>
          <p:cNvPr id="337" name="TextBox 336">
            <a:extLst>
              <a:ext uri="{FF2B5EF4-FFF2-40B4-BE49-F238E27FC236}">
                <a16:creationId xmlns:a16="http://schemas.microsoft.com/office/drawing/2014/main" id="{E3436F88-8A11-4985-86C8-9FC1C6A446B0}"/>
              </a:ext>
            </a:extLst>
          </p:cNvPr>
          <p:cNvSpPr txBox="1"/>
          <p:nvPr/>
        </p:nvSpPr>
        <p:spPr bwMode="auto">
          <a:xfrm>
            <a:off x="4841562" y="5681676"/>
            <a:ext cx="576000" cy="493656"/>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ctr" anchorCtr="0" compatLnSpc="1">
            <a:prstTxWarp prst="textNoShape">
              <a:avLst/>
            </a:prstTxWarp>
            <a:noAutofit/>
          </a:body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0" i="0" u="none" strike="noStrike" kern="1200" cap="none" spc="0" normalizeH="0" baseline="0" noProof="0">
                <a:ln>
                  <a:noFill/>
                </a:ln>
                <a:solidFill>
                  <a:srgbClr val="181818"/>
                </a:solidFill>
                <a:effectLst/>
                <a:uLnTx/>
                <a:uFillTx/>
                <a:latin typeface="Ericsson Hilda"/>
                <a:ea typeface="Segoe UI" panose="020B0502040204020203" pitchFamily="34" charset="0"/>
                <a:cs typeface="Arial" panose="020B0604020202020204" pitchFamily="34" charset="0"/>
              </a:rPr>
              <a:t>Non-3GPP access</a:t>
            </a:r>
          </a:p>
        </p:txBody>
      </p:sp>
      <p:sp>
        <p:nvSpPr>
          <p:cNvPr id="240" name="TextBox 239">
            <a:extLst>
              <a:ext uri="{FF2B5EF4-FFF2-40B4-BE49-F238E27FC236}">
                <a16:creationId xmlns:a16="http://schemas.microsoft.com/office/drawing/2014/main" id="{6B50F069-D8DC-439D-A075-2FACB08595CC}"/>
              </a:ext>
            </a:extLst>
          </p:cNvPr>
          <p:cNvSpPr txBox="1"/>
          <p:nvPr/>
        </p:nvSpPr>
        <p:spPr bwMode="auto">
          <a:xfrm>
            <a:off x="4691243" y="249095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USF</a:t>
            </a:r>
          </a:p>
        </p:txBody>
      </p:sp>
      <p:sp>
        <p:nvSpPr>
          <p:cNvPr id="242" name="TextBox 241">
            <a:extLst>
              <a:ext uri="{FF2B5EF4-FFF2-40B4-BE49-F238E27FC236}">
                <a16:creationId xmlns:a16="http://schemas.microsoft.com/office/drawing/2014/main" id="{3E6FDA97-4331-4EA2-A071-025AA5B6DD54}"/>
              </a:ext>
            </a:extLst>
          </p:cNvPr>
          <p:cNvSpPr txBox="1"/>
          <p:nvPr/>
        </p:nvSpPr>
        <p:spPr bwMode="auto">
          <a:xfrm>
            <a:off x="8170709" y="517719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3" name="TextBox 242">
            <a:extLst>
              <a:ext uri="{FF2B5EF4-FFF2-40B4-BE49-F238E27FC236}">
                <a16:creationId xmlns:a16="http://schemas.microsoft.com/office/drawing/2014/main" id="{CC7A5B4D-C298-478C-B489-96BB226BC582}"/>
              </a:ext>
            </a:extLst>
          </p:cNvPr>
          <p:cNvSpPr txBox="1"/>
          <p:nvPr/>
        </p:nvSpPr>
        <p:spPr bwMode="auto">
          <a:xfrm>
            <a:off x="5419717" y="249697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R</a:t>
            </a:r>
          </a:p>
        </p:txBody>
      </p:sp>
      <p:sp>
        <p:nvSpPr>
          <p:cNvPr id="244" name="TextBox 243">
            <a:extLst>
              <a:ext uri="{FF2B5EF4-FFF2-40B4-BE49-F238E27FC236}">
                <a16:creationId xmlns:a16="http://schemas.microsoft.com/office/drawing/2014/main" id="{E6DD0B57-2D7D-452C-BA09-0017ACCBC897}"/>
              </a:ext>
            </a:extLst>
          </p:cNvPr>
          <p:cNvSpPr txBox="1"/>
          <p:nvPr/>
        </p:nvSpPr>
        <p:spPr bwMode="auto">
          <a:xfrm>
            <a:off x="6145274" y="2481930"/>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01192084-E98D-4741-BB44-8CBAEE97A9CF}"/>
              </a:ext>
            </a:extLst>
          </p:cNvPr>
          <p:cNvSpPr txBox="1"/>
          <p:nvPr/>
        </p:nvSpPr>
        <p:spPr bwMode="auto">
          <a:xfrm>
            <a:off x="6876982" y="2494520"/>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PCF</a:t>
            </a:r>
          </a:p>
        </p:txBody>
      </p:sp>
      <p:sp>
        <p:nvSpPr>
          <p:cNvPr id="247" name="TextBox 246">
            <a:extLst>
              <a:ext uri="{FF2B5EF4-FFF2-40B4-BE49-F238E27FC236}">
                <a16:creationId xmlns:a16="http://schemas.microsoft.com/office/drawing/2014/main" id="{A6690587-F72A-4324-B56B-F71D659B663D}"/>
              </a:ext>
            </a:extLst>
          </p:cNvPr>
          <p:cNvSpPr txBox="1"/>
          <p:nvPr/>
        </p:nvSpPr>
        <p:spPr bwMode="auto">
          <a:xfrm>
            <a:off x="6633790" y="5645132"/>
            <a:ext cx="501242"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3IWF</a:t>
            </a:r>
            <a:endParaRPr kumimoji="0" lang="en-US"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48" name="TextBox 247">
            <a:extLst>
              <a:ext uri="{FF2B5EF4-FFF2-40B4-BE49-F238E27FC236}">
                <a16:creationId xmlns:a16="http://schemas.microsoft.com/office/drawing/2014/main" id="{797FCEBE-CBC1-42EA-8506-087CF5549C05}"/>
              </a:ext>
            </a:extLst>
          </p:cNvPr>
          <p:cNvSpPr txBox="1"/>
          <p:nvPr/>
        </p:nvSpPr>
        <p:spPr bwMode="auto">
          <a:xfrm>
            <a:off x="5042900"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9" name="TextBox 248">
            <a:extLst>
              <a:ext uri="{FF2B5EF4-FFF2-40B4-BE49-F238E27FC236}">
                <a16:creationId xmlns:a16="http://schemas.microsoft.com/office/drawing/2014/main" id="{5BA010C4-EA77-419D-8868-F344AB45E457}"/>
              </a:ext>
            </a:extLst>
          </p:cNvPr>
          <p:cNvSpPr txBox="1"/>
          <p:nvPr/>
        </p:nvSpPr>
        <p:spPr bwMode="auto">
          <a:xfrm>
            <a:off x="6711597" y="416878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50" name="TextBox 249">
            <a:extLst>
              <a:ext uri="{FF2B5EF4-FFF2-40B4-BE49-F238E27FC236}">
                <a16:creationId xmlns:a16="http://schemas.microsoft.com/office/drawing/2014/main" id="{E551A470-9424-4A16-8CA2-C3F536442356}"/>
              </a:ext>
            </a:extLst>
          </p:cNvPr>
          <p:cNvSpPr txBox="1"/>
          <p:nvPr/>
        </p:nvSpPr>
        <p:spPr bwMode="auto">
          <a:xfrm>
            <a:off x="8170222" y="418123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51" name="TextBox 250">
            <a:extLst>
              <a:ext uri="{FF2B5EF4-FFF2-40B4-BE49-F238E27FC236}">
                <a16:creationId xmlns:a16="http://schemas.microsoft.com/office/drawing/2014/main" id="{992C8F44-0307-412E-98DE-B129E4EC97FC}"/>
              </a:ext>
            </a:extLst>
          </p:cNvPr>
          <p:cNvSpPr txBox="1"/>
          <p:nvPr/>
        </p:nvSpPr>
        <p:spPr bwMode="auto">
          <a:xfrm>
            <a:off x="7596138" y="248056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252" name="TextBox 251">
            <a:extLst>
              <a:ext uri="{FF2B5EF4-FFF2-40B4-BE49-F238E27FC236}">
                <a16:creationId xmlns:a16="http://schemas.microsoft.com/office/drawing/2014/main" id="{E4DBC7C6-8CA4-48DD-B1CA-4BEC25AF59C8}"/>
              </a:ext>
            </a:extLst>
          </p:cNvPr>
          <p:cNvSpPr txBox="1"/>
          <p:nvPr/>
        </p:nvSpPr>
        <p:spPr bwMode="auto">
          <a:xfrm>
            <a:off x="9725410"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EF</a:t>
            </a:r>
          </a:p>
        </p:txBody>
      </p:sp>
      <p:sp>
        <p:nvSpPr>
          <p:cNvPr id="253" name="TextBox 252">
            <a:extLst>
              <a:ext uri="{FF2B5EF4-FFF2-40B4-BE49-F238E27FC236}">
                <a16:creationId xmlns:a16="http://schemas.microsoft.com/office/drawing/2014/main" id="{23409AEA-EEEC-4992-9622-11C2554B652C}"/>
              </a:ext>
            </a:extLst>
          </p:cNvPr>
          <p:cNvSpPr txBox="1"/>
          <p:nvPr/>
        </p:nvSpPr>
        <p:spPr bwMode="auto">
          <a:xfrm>
            <a:off x="10653905" y="24870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F</a:t>
            </a:r>
          </a:p>
        </p:txBody>
      </p:sp>
      <p:sp>
        <p:nvSpPr>
          <p:cNvPr id="254" name="TextBox 253">
            <a:extLst>
              <a:ext uri="{FF2B5EF4-FFF2-40B4-BE49-F238E27FC236}">
                <a16:creationId xmlns:a16="http://schemas.microsoft.com/office/drawing/2014/main" id="{DA768A36-32BD-4AD4-8F42-21C1582B6115}"/>
              </a:ext>
            </a:extLst>
          </p:cNvPr>
          <p:cNvSpPr txBox="1"/>
          <p:nvPr/>
        </p:nvSpPr>
        <p:spPr bwMode="auto">
          <a:xfrm>
            <a:off x="7217554" y="153854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5G-EIR</a:t>
            </a:r>
          </a:p>
        </p:txBody>
      </p:sp>
      <p:sp>
        <p:nvSpPr>
          <p:cNvPr id="255" name="TextBox 254">
            <a:extLst>
              <a:ext uri="{FF2B5EF4-FFF2-40B4-BE49-F238E27FC236}">
                <a16:creationId xmlns:a16="http://schemas.microsoft.com/office/drawing/2014/main" id="{48BC886B-6190-440E-B8F8-81F3DC65F22F}"/>
              </a:ext>
            </a:extLst>
          </p:cNvPr>
          <p:cNvSpPr txBox="1"/>
          <p:nvPr/>
        </p:nvSpPr>
        <p:spPr bwMode="auto">
          <a:xfrm>
            <a:off x="7957952" y="155314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CHF</a:t>
            </a:r>
          </a:p>
        </p:txBody>
      </p:sp>
      <p:sp>
        <p:nvSpPr>
          <p:cNvPr id="256" name="TextBox 255">
            <a:extLst>
              <a:ext uri="{FF2B5EF4-FFF2-40B4-BE49-F238E27FC236}">
                <a16:creationId xmlns:a16="http://schemas.microsoft.com/office/drawing/2014/main" id="{83E16EC8-16A0-40FF-A6A4-4C4791119426}"/>
              </a:ext>
            </a:extLst>
          </p:cNvPr>
          <p:cNvSpPr txBox="1"/>
          <p:nvPr/>
        </p:nvSpPr>
        <p:spPr bwMode="auto">
          <a:xfrm>
            <a:off x="9412833" y="1573785"/>
            <a:ext cx="360000" cy="575493"/>
          </a:xfrm>
          <a:prstGeom prst="rect">
            <a:avLst/>
          </a:prstGeom>
          <a:solidFill>
            <a:schemeClr val="accent4"/>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CP</a:t>
            </a:r>
          </a:p>
        </p:txBody>
      </p:sp>
      <p:sp>
        <p:nvSpPr>
          <p:cNvPr id="257" name="TextBox 256">
            <a:extLst>
              <a:ext uri="{FF2B5EF4-FFF2-40B4-BE49-F238E27FC236}">
                <a16:creationId xmlns:a16="http://schemas.microsoft.com/office/drawing/2014/main" id="{A3DFAD36-4131-4118-BADB-B1085082913F}"/>
              </a:ext>
            </a:extLst>
          </p:cNvPr>
          <p:cNvSpPr txBox="1"/>
          <p:nvPr/>
        </p:nvSpPr>
        <p:spPr bwMode="auto">
          <a:xfrm>
            <a:off x="8700636" y="1560889"/>
            <a:ext cx="368702"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GMLC</a:t>
            </a:r>
          </a:p>
        </p:txBody>
      </p:sp>
      <p:sp>
        <p:nvSpPr>
          <p:cNvPr id="258" name="TextBox 257">
            <a:extLst>
              <a:ext uri="{FF2B5EF4-FFF2-40B4-BE49-F238E27FC236}">
                <a16:creationId xmlns:a16="http://schemas.microsoft.com/office/drawing/2014/main" id="{92326BC9-B990-4200-94E0-C767470450CA}"/>
              </a:ext>
            </a:extLst>
          </p:cNvPr>
          <p:cNvSpPr txBox="1"/>
          <p:nvPr/>
        </p:nvSpPr>
        <p:spPr bwMode="auto">
          <a:xfrm>
            <a:off x="9046109" y="247245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SF</a:t>
            </a:r>
          </a:p>
        </p:txBody>
      </p:sp>
      <p:sp>
        <p:nvSpPr>
          <p:cNvPr id="288" name="TextBox 287">
            <a:extLst>
              <a:ext uri="{FF2B5EF4-FFF2-40B4-BE49-F238E27FC236}">
                <a16:creationId xmlns:a16="http://schemas.microsoft.com/office/drawing/2014/main" id="{02A381F3-0569-4654-828D-1C2A5B715604}"/>
              </a:ext>
            </a:extLst>
          </p:cNvPr>
          <p:cNvSpPr txBox="1"/>
          <p:nvPr/>
        </p:nvSpPr>
        <p:spPr bwMode="auto">
          <a:xfrm>
            <a:off x="6493777" y="15326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BSF</a:t>
            </a:r>
          </a:p>
        </p:txBody>
      </p:sp>
      <p:sp>
        <p:nvSpPr>
          <p:cNvPr id="289" name="TextBox 288">
            <a:extLst>
              <a:ext uri="{FF2B5EF4-FFF2-40B4-BE49-F238E27FC236}">
                <a16:creationId xmlns:a16="http://schemas.microsoft.com/office/drawing/2014/main" id="{43238E69-684D-46FA-96A5-0EC8848A2D00}"/>
              </a:ext>
            </a:extLst>
          </p:cNvPr>
          <p:cNvSpPr txBox="1"/>
          <p:nvPr/>
        </p:nvSpPr>
        <p:spPr bwMode="auto">
          <a:xfrm>
            <a:off x="8320934" y="247471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LMF</a:t>
            </a:r>
          </a:p>
        </p:txBody>
      </p:sp>
      <p:sp>
        <p:nvSpPr>
          <p:cNvPr id="290" name="TextBox 289">
            <a:extLst>
              <a:ext uri="{FF2B5EF4-FFF2-40B4-BE49-F238E27FC236}">
                <a16:creationId xmlns:a16="http://schemas.microsoft.com/office/drawing/2014/main" id="{6F20D88C-E75A-4EC2-8C36-043D2D71E9BF}"/>
              </a:ext>
            </a:extLst>
          </p:cNvPr>
          <p:cNvSpPr txBox="1"/>
          <p:nvPr/>
        </p:nvSpPr>
        <p:spPr bwMode="auto">
          <a:xfrm>
            <a:off x="5778600" y="15279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SF</a:t>
            </a:r>
          </a:p>
        </p:txBody>
      </p:sp>
      <p:cxnSp>
        <p:nvCxnSpPr>
          <p:cNvPr id="292" name="Straight Connector 291">
            <a:extLst>
              <a:ext uri="{FF2B5EF4-FFF2-40B4-BE49-F238E27FC236}">
                <a16:creationId xmlns:a16="http://schemas.microsoft.com/office/drawing/2014/main" id="{D85B3BAF-1884-4BB8-BD69-0A2D960FB8DF}"/>
              </a:ext>
            </a:extLst>
          </p:cNvPr>
          <p:cNvCxnSpPr>
            <a:cxnSpLocks/>
          </p:cNvCxnSpPr>
          <p:nvPr/>
        </p:nvCxnSpPr>
        <p:spPr bwMode="auto">
          <a:xfrm flipH="1">
            <a:off x="6696003" y="2116129"/>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2" name="Text Box 144">
            <a:extLst>
              <a:ext uri="{FF2B5EF4-FFF2-40B4-BE49-F238E27FC236}">
                <a16:creationId xmlns:a16="http://schemas.microsoft.com/office/drawing/2014/main" id="{2537D6F2-75A1-45A7-95AB-A220D3A057A9}"/>
              </a:ext>
            </a:extLst>
          </p:cNvPr>
          <p:cNvSpPr txBox="1">
            <a:spLocks noChangeAspect="1" noChangeArrowheads="1"/>
          </p:cNvSpPr>
          <p:nvPr/>
        </p:nvSpPr>
        <p:spPr bwMode="auto">
          <a:xfrm>
            <a:off x="6464111" y="2216247"/>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bs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323" name="Oval 322">
            <a:extLst>
              <a:ext uri="{FF2B5EF4-FFF2-40B4-BE49-F238E27FC236}">
                <a16:creationId xmlns:a16="http://schemas.microsoft.com/office/drawing/2014/main" id="{1D3D1A4B-B661-4232-92FA-156830CF2E5C}"/>
              </a:ext>
            </a:extLst>
          </p:cNvPr>
          <p:cNvSpPr/>
          <p:nvPr/>
        </p:nvSpPr>
        <p:spPr bwMode="auto">
          <a:xfrm>
            <a:off x="6623476" y="222030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4" name="Straight Connector 323">
            <a:extLst>
              <a:ext uri="{FF2B5EF4-FFF2-40B4-BE49-F238E27FC236}">
                <a16:creationId xmlns:a16="http://schemas.microsoft.com/office/drawing/2014/main" id="{028BEC99-6A28-48D4-B4F7-6ED112A65300}"/>
              </a:ext>
            </a:extLst>
          </p:cNvPr>
          <p:cNvCxnSpPr>
            <a:cxnSpLocks/>
          </p:cNvCxnSpPr>
          <p:nvPr/>
        </p:nvCxnSpPr>
        <p:spPr bwMode="auto">
          <a:xfrm flipH="1">
            <a:off x="7416786" y="21187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5" name="Oval 324">
            <a:extLst>
              <a:ext uri="{FF2B5EF4-FFF2-40B4-BE49-F238E27FC236}">
                <a16:creationId xmlns:a16="http://schemas.microsoft.com/office/drawing/2014/main" id="{BA3BDE0D-FFEE-42D1-A6B6-4F51D4C72A3C}"/>
              </a:ext>
            </a:extLst>
          </p:cNvPr>
          <p:cNvSpPr/>
          <p:nvPr/>
        </p:nvSpPr>
        <p:spPr bwMode="auto">
          <a:xfrm>
            <a:off x="7344259" y="22228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6" name="Straight Connector 325">
            <a:extLst>
              <a:ext uri="{FF2B5EF4-FFF2-40B4-BE49-F238E27FC236}">
                <a16:creationId xmlns:a16="http://schemas.microsoft.com/office/drawing/2014/main" id="{50F4735D-65A0-43DF-80D3-D44941ED00B0}"/>
              </a:ext>
            </a:extLst>
          </p:cNvPr>
          <p:cNvCxnSpPr>
            <a:cxnSpLocks/>
          </p:cNvCxnSpPr>
          <p:nvPr/>
        </p:nvCxnSpPr>
        <p:spPr bwMode="auto">
          <a:xfrm flipH="1">
            <a:off x="8130429" y="2131425"/>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7" name="Oval 326">
            <a:extLst>
              <a:ext uri="{FF2B5EF4-FFF2-40B4-BE49-F238E27FC236}">
                <a16:creationId xmlns:a16="http://schemas.microsoft.com/office/drawing/2014/main" id="{41098E04-43E1-4B99-8B2A-BE9EC23C6F29}"/>
              </a:ext>
            </a:extLst>
          </p:cNvPr>
          <p:cNvSpPr/>
          <p:nvPr/>
        </p:nvSpPr>
        <p:spPr bwMode="auto">
          <a:xfrm>
            <a:off x="8057902" y="2235597"/>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328" name="Straight Connector 327">
            <a:extLst>
              <a:ext uri="{FF2B5EF4-FFF2-40B4-BE49-F238E27FC236}">
                <a16:creationId xmlns:a16="http://schemas.microsoft.com/office/drawing/2014/main" id="{76192874-6369-4199-B726-DFD06740B708}"/>
              </a:ext>
            </a:extLst>
          </p:cNvPr>
          <p:cNvCxnSpPr>
            <a:cxnSpLocks/>
          </p:cNvCxnSpPr>
          <p:nvPr/>
        </p:nvCxnSpPr>
        <p:spPr bwMode="auto">
          <a:xfrm flipH="1">
            <a:off x="9590769" y="2167172"/>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29" name="Oval 328">
            <a:extLst>
              <a:ext uri="{FF2B5EF4-FFF2-40B4-BE49-F238E27FC236}">
                <a16:creationId xmlns:a16="http://schemas.microsoft.com/office/drawing/2014/main" id="{DE093F6D-66D2-4A94-9CAD-3A6429133F14}"/>
              </a:ext>
            </a:extLst>
          </p:cNvPr>
          <p:cNvSpPr/>
          <p:nvPr/>
        </p:nvSpPr>
        <p:spPr bwMode="auto">
          <a:xfrm>
            <a:off x="9518242" y="2271344"/>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0" name="Text Box 144">
            <a:extLst>
              <a:ext uri="{FF2B5EF4-FFF2-40B4-BE49-F238E27FC236}">
                <a16:creationId xmlns:a16="http://schemas.microsoft.com/office/drawing/2014/main" id="{9C43F5C7-D0FB-4182-9679-FFF7E1264811}"/>
              </a:ext>
            </a:extLst>
          </p:cNvPr>
          <p:cNvSpPr txBox="1">
            <a:spLocks noChangeAspect="1" noChangeArrowheads="1"/>
          </p:cNvSpPr>
          <p:nvPr/>
        </p:nvSpPr>
        <p:spPr bwMode="auto">
          <a:xfrm>
            <a:off x="8307872" y="3380649"/>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l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1" name="Straight Connector 330">
            <a:extLst>
              <a:ext uri="{FF2B5EF4-FFF2-40B4-BE49-F238E27FC236}">
                <a16:creationId xmlns:a16="http://schemas.microsoft.com/office/drawing/2014/main" id="{98D291E0-47DA-418D-B15D-92D721BA0163}"/>
              </a:ext>
            </a:extLst>
          </p:cNvPr>
          <p:cNvCxnSpPr>
            <a:cxnSpLocks/>
          </p:cNvCxnSpPr>
          <p:nvPr/>
        </p:nvCxnSpPr>
        <p:spPr bwMode="auto">
          <a:xfrm>
            <a:off x="8505822" y="3070208"/>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2" name="Oval 331">
            <a:extLst>
              <a:ext uri="{FF2B5EF4-FFF2-40B4-BE49-F238E27FC236}">
                <a16:creationId xmlns:a16="http://schemas.microsoft.com/office/drawing/2014/main" id="{56E72514-CCEA-433A-8F5F-50C5089FEA9C}"/>
              </a:ext>
            </a:extLst>
          </p:cNvPr>
          <p:cNvSpPr/>
          <p:nvPr/>
        </p:nvSpPr>
        <p:spPr bwMode="auto">
          <a:xfrm>
            <a:off x="8439962" y="320932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3" name="Text Box 144">
            <a:extLst>
              <a:ext uri="{FF2B5EF4-FFF2-40B4-BE49-F238E27FC236}">
                <a16:creationId xmlns:a16="http://schemas.microsoft.com/office/drawing/2014/main" id="{4FFBFA90-3EE1-4934-B3E6-DC3BEB0CCE6F}"/>
              </a:ext>
            </a:extLst>
          </p:cNvPr>
          <p:cNvSpPr txBox="1">
            <a:spLocks noChangeAspect="1" noChangeArrowheads="1"/>
          </p:cNvSpPr>
          <p:nvPr/>
        </p:nvSpPr>
        <p:spPr bwMode="auto">
          <a:xfrm>
            <a:off x="8718313" y="2242996"/>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gmlc</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cxnSp>
        <p:nvCxnSpPr>
          <p:cNvPr id="338" name="Straight Connector 337">
            <a:extLst>
              <a:ext uri="{FF2B5EF4-FFF2-40B4-BE49-F238E27FC236}">
                <a16:creationId xmlns:a16="http://schemas.microsoft.com/office/drawing/2014/main" id="{93F3320E-F45A-4134-9754-DFFF62FFD09A}"/>
              </a:ext>
            </a:extLst>
          </p:cNvPr>
          <p:cNvCxnSpPr>
            <a:cxnSpLocks/>
          </p:cNvCxnSpPr>
          <p:nvPr/>
        </p:nvCxnSpPr>
        <p:spPr bwMode="auto">
          <a:xfrm flipH="1">
            <a:off x="8879770" y="2146426"/>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39" name="Oval 338">
            <a:extLst>
              <a:ext uri="{FF2B5EF4-FFF2-40B4-BE49-F238E27FC236}">
                <a16:creationId xmlns:a16="http://schemas.microsoft.com/office/drawing/2014/main" id="{5F383E98-D3AA-4570-B189-D88DD8E41159}"/>
              </a:ext>
            </a:extLst>
          </p:cNvPr>
          <p:cNvSpPr/>
          <p:nvPr/>
        </p:nvSpPr>
        <p:spPr bwMode="auto">
          <a:xfrm>
            <a:off x="8807243" y="2250598"/>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42" name="TextBox 341">
            <a:extLst>
              <a:ext uri="{FF2B5EF4-FFF2-40B4-BE49-F238E27FC236}">
                <a16:creationId xmlns:a16="http://schemas.microsoft.com/office/drawing/2014/main" id="{976093E1-21CA-4FE1-9EAC-FF17CEB72E16}"/>
              </a:ext>
            </a:extLst>
          </p:cNvPr>
          <p:cNvSpPr txBox="1"/>
          <p:nvPr/>
        </p:nvSpPr>
        <p:spPr bwMode="auto">
          <a:xfrm>
            <a:off x="9192942" y="4177512"/>
            <a:ext cx="527058"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WDAF</a:t>
            </a:r>
          </a:p>
        </p:txBody>
      </p:sp>
      <p:cxnSp>
        <p:nvCxnSpPr>
          <p:cNvPr id="350" name="Straight Connector 349">
            <a:extLst>
              <a:ext uri="{FF2B5EF4-FFF2-40B4-BE49-F238E27FC236}">
                <a16:creationId xmlns:a16="http://schemas.microsoft.com/office/drawing/2014/main" id="{D7BF2B8B-0476-4B34-99AE-DCD7A8B94363}"/>
              </a:ext>
            </a:extLst>
          </p:cNvPr>
          <p:cNvCxnSpPr>
            <a:cxnSpLocks/>
          </p:cNvCxnSpPr>
          <p:nvPr/>
        </p:nvCxnSpPr>
        <p:spPr bwMode="auto">
          <a:xfrm>
            <a:off x="9892710" y="3048503"/>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51" name="Oval 350">
            <a:extLst>
              <a:ext uri="{FF2B5EF4-FFF2-40B4-BE49-F238E27FC236}">
                <a16:creationId xmlns:a16="http://schemas.microsoft.com/office/drawing/2014/main" id="{7F2D3DA8-06EC-4D78-9DEB-EBBA2F62B676}"/>
              </a:ext>
            </a:extLst>
          </p:cNvPr>
          <p:cNvSpPr/>
          <p:nvPr/>
        </p:nvSpPr>
        <p:spPr bwMode="auto">
          <a:xfrm>
            <a:off x="9824267" y="317340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52" name="Text Box 144">
            <a:extLst>
              <a:ext uri="{FF2B5EF4-FFF2-40B4-BE49-F238E27FC236}">
                <a16:creationId xmlns:a16="http://schemas.microsoft.com/office/drawing/2014/main" id="{2A5934D5-5698-4A72-90B2-478B2300303E}"/>
              </a:ext>
            </a:extLst>
          </p:cNvPr>
          <p:cNvSpPr txBox="1">
            <a:spLocks noChangeAspect="1" noChangeArrowheads="1"/>
          </p:cNvSpPr>
          <p:nvPr/>
        </p:nvSpPr>
        <p:spPr bwMode="auto">
          <a:xfrm>
            <a:off x="9701809" y="3371125"/>
            <a:ext cx="767865"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ne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grpSp>
        <p:nvGrpSpPr>
          <p:cNvPr id="111" name="Group 110">
            <a:extLst>
              <a:ext uri="{FF2B5EF4-FFF2-40B4-BE49-F238E27FC236}">
                <a16:creationId xmlns:a16="http://schemas.microsoft.com/office/drawing/2014/main" id="{D27613E8-DF2B-4AB5-9F4D-1B48EF9729CC}"/>
              </a:ext>
            </a:extLst>
          </p:cNvPr>
          <p:cNvGrpSpPr>
            <a:grpSpLocks noChangeAspect="1"/>
          </p:cNvGrpSpPr>
          <p:nvPr/>
        </p:nvGrpSpPr>
        <p:grpSpPr>
          <a:xfrm>
            <a:off x="2225112" y="5047661"/>
            <a:ext cx="419644" cy="587501"/>
            <a:chOff x="10129764" y="745508"/>
            <a:chExt cx="221963" cy="310748"/>
          </a:xfrm>
        </p:grpSpPr>
        <p:grpSp>
          <p:nvGrpSpPr>
            <p:cNvPr id="112" name="Group 111">
              <a:extLst>
                <a:ext uri="{FF2B5EF4-FFF2-40B4-BE49-F238E27FC236}">
                  <a16:creationId xmlns:a16="http://schemas.microsoft.com/office/drawing/2014/main" id="{49BA53DA-3809-4EC4-A4FF-A974E46A724C}"/>
                </a:ext>
              </a:extLst>
            </p:cNvPr>
            <p:cNvGrpSpPr>
              <a:grpSpLocks noChangeAspect="1"/>
            </p:cNvGrpSpPr>
            <p:nvPr/>
          </p:nvGrpSpPr>
          <p:grpSpPr>
            <a:xfrm>
              <a:off x="10129764" y="745508"/>
              <a:ext cx="221963" cy="310748"/>
              <a:chOff x="1373325" y="5272742"/>
              <a:chExt cx="428625" cy="600075"/>
            </a:xfrm>
          </p:grpSpPr>
          <p:sp>
            <p:nvSpPr>
              <p:cNvPr id="114" name="Rectangle 113">
                <a:extLst>
                  <a:ext uri="{FF2B5EF4-FFF2-40B4-BE49-F238E27FC236}">
                    <a16:creationId xmlns:a16="http://schemas.microsoft.com/office/drawing/2014/main" id="{FBDF7618-8536-468B-BBE4-99AD2E0EC889}"/>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115" name="Graphic 114">
                <a:extLst>
                  <a:ext uri="{FF2B5EF4-FFF2-40B4-BE49-F238E27FC236}">
                    <a16:creationId xmlns:a16="http://schemas.microsoft.com/office/drawing/2014/main" id="{066E2901-94CB-4E9C-A949-E9433C9CCBD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3325" y="5272742"/>
                <a:ext cx="428625" cy="600075"/>
              </a:xfrm>
              <a:prstGeom prst="rect">
                <a:avLst/>
              </a:prstGeom>
            </p:spPr>
          </p:pic>
        </p:grpSp>
        <p:sp>
          <p:nvSpPr>
            <p:cNvPr id="113" name="TextBox 112">
              <a:extLst>
                <a:ext uri="{FF2B5EF4-FFF2-40B4-BE49-F238E27FC236}">
                  <a16:creationId xmlns:a16="http://schemas.microsoft.com/office/drawing/2014/main" id="{FED67507-9114-4213-A35C-A56ADF19E34D}"/>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pic>
        <p:nvPicPr>
          <p:cNvPr id="117" name="Picture Placeholder 31">
            <a:extLst>
              <a:ext uri="{FF2B5EF4-FFF2-40B4-BE49-F238E27FC236}">
                <a16:creationId xmlns:a16="http://schemas.microsoft.com/office/drawing/2014/main" id="{11FB95F1-3A4B-419D-B99E-DD07CD8B9A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0558749" y="4318232"/>
            <a:ext cx="1567011" cy="1775525"/>
          </a:xfrm>
          <a:prstGeom prst="rect">
            <a:avLst/>
          </a:prstGeom>
        </p:spPr>
      </p:pic>
      <p:sp>
        <p:nvSpPr>
          <p:cNvPr id="118" name="Text Box 35">
            <a:extLst>
              <a:ext uri="{FF2B5EF4-FFF2-40B4-BE49-F238E27FC236}">
                <a16:creationId xmlns:a16="http://schemas.microsoft.com/office/drawing/2014/main" id="{3B528BF2-66C3-454B-B4B3-BE9036F378FF}"/>
              </a:ext>
            </a:extLst>
          </p:cNvPr>
          <p:cNvSpPr txBox="1">
            <a:spLocks noChangeAspect="1" noChangeArrowheads="1"/>
          </p:cNvSpPr>
          <p:nvPr/>
        </p:nvSpPr>
        <p:spPr bwMode="auto">
          <a:xfrm>
            <a:off x="10548554" y="4919285"/>
            <a:ext cx="1458812" cy="78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Data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Network </a:t>
            </a:r>
            <a:endParaRPr kumimoji="0" lang="en-US" altLang="en-US" sz="18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rPr>
              <a:t>or Internet)</a:t>
            </a:r>
          </a:p>
        </p:txBody>
      </p:sp>
      <p:sp>
        <p:nvSpPr>
          <p:cNvPr id="119" name="TextBox 118">
            <a:extLst>
              <a:ext uri="{FF2B5EF4-FFF2-40B4-BE49-F238E27FC236}">
                <a16:creationId xmlns:a16="http://schemas.microsoft.com/office/drawing/2014/main" id="{538A39E6-1ECE-4424-93D4-6CBC5D1B1DA4}"/>
              </a:ext>
            </a:extLst>
          </p:cNvPr>
          <p:cNvSpPr txBox="1"/>
          <p:nvPr/>
        </p:nvSpPr>
        <p:spPr bwMode="auto">
          <a:xfrm>
            <a:off x="10085062" y="1563347"/>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EPP</a:t>
            </a:r>
          </a:p>
        </p:txBody>
      </p:sp>
      <p:cxnSp>
        <p:nvCxnSpPr>
          <p:cNvPr id="120" name="Straight Connector 119">
            <a:extLst>
              <a:ext uri="{FF2B5EF4-FFF2-40B4-BE49-F238E27FC236}">
                <a16:creationId xmlns:a16="http://schemas.microsoft.com/office/drawing/2014/main" id="{D974DA38-F17B-482A-B779-F72B74A77C17}"/>
              </a:ext>
            </a:extLst>
          </p:cNvPr>
          <p:cNvCxnSpPr>
            <a:cxnSpLocks/>
          </p:cNvCxnSpPr>
          <p:nvPr/>
        </p:nvCxnSpPr>
        <p:spPr bwMode="auto">
          <a:xfrm flipH="1">
            <a:off x="10262998" y="2156734"/>
            <a:ext cx="790" cy="142676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1" name="Oval 120">
            <a:extLst>
              <a:ext uri="{FF2B5EF4-FFF2-40B4-BE49-F238E27FC236}">
                <a16:creationId xmlns:a16="http://schemas.microsoft.com/office/drawing/2014/main" id="{D1EEAE06-B38E-4D3D-B576-C95FD93E53B8}"/>
              </a:ext>
            </a:extLst>
          </p:cNvPr>
          <p:cNvSpPr/>
          <p:nvPr/>
        </p:nvSpPr>
        <p:spPr bwMode="auto">
          <a:xfrm>
            <a:off x="10190471" y="2260906"/>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3" name="Line 30">
            <a:extLst>
              <a:ext uri="{FF2B5EF4-FFF2-40B4-BE49-F238E27FC236}">
                <a16:creationId xmlns:a16="http://schemas.microsoft.com/office/drawing/2014/main" id="{482D7930-1AC7-471D-8A3E-8B5A4F2541B6}"/>
              </a:ext>
            </a:extLst>
          </p:cNvPr>
          <p:cNvSpPr>
            <a:spLocks noChangeShapeType="1"/>
          </p:cNvSpPr>
          <p:nvPr/>
        </p:nvSpPr>
        <p:spPr bwMode="auto">
          <a:xfrm flipV="1">
            <a:off x="7575498" y="5473414"/>
            <a:ext cx="605404" cy="504984"/>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sp>
        <p:nvSpPr>
          <p:cNvPr id="124" name="Line 30">
            <a:extLst>
              <a:ext uri="{FF2B5EF4-FFF2-40B4-BE49-F238E27FC236}">
                <a16:creationId xmlns:a16="http://schemas.microsoft.com/office/drawing/2014/main" id="{0CE4DAC5-D931-4E83-8096-15E1C91ECD4C}"/>
              </a:ext>
            </a:extLst>
          </p:cNvPr>
          <p:cNvSpPr>
            <a:spLocks noChangeShapeType="1"/>
          </p:cNvSpPr>
          <p:nvPr/>
        </p:nvSpPr>
        <p:spPr bwMode="auto">
          <a:xfrm flipV="1">
            <a:off x="4649611" y="6294939"/>
            <a:ext cx="2665476" cy="1487"/>
          </a:xfrm>
          <a:prstGeom prst="line">
            <a:avLst/>
          </a:prstGeom>
          <a:noFill/>
          <a:ln w="28575">
            <a:solidFill>
              <a:schemeClr val="accent4">
                <a:lumMod val="50000"/>
              </a:schemeClr>
            </a:solidFill>
            <a:round/>
            <a:headEnd/>
            <a:tailEnd/>
          </a:ln>
        </p:spPr>
        <p:txBody>
          <a:bodyPr lIns="91438" tIns="45719" rIns="91438" b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181818"/>
              </a:solidFill>
              <a:effectLst/>
              <a:uLnTx/>
              <a:uFillTx/>
              <a:latin typeface="Ericsson Hilda"/>
              <a:ea typeface="ＭＳ Ｐゴシック" charset="0"/>
              <a:cs typeface="Arial" charset="0"/>
            </a:endParaRPr>
          </a:p>
        </p:txBody>
      </p:sp>
      <p:cxnSp>
        <p:nvCxnSpPr>
          <p:cNvPr id="125" name="Straight Connector 124">
            <a:extLst>
              <a:ext uri="{FF2B5EF4-FFF2-40B4-BE49-F238E27FC236}">
                <a16:creationId xmlns:a16="http://schemas.microsoft.com/office/drawing/2014/main" id="{E366F4D7-F95C-45F2-865E-3C513F9D73D4}"/>
              </a:ext>
            </a:extLst>
          </p:cNvPr>
          <p:cNvCxnSpPr>
            <a:cxnSpLocks/>
            <a:stCxn id="249" idx="2"/>
            <a:endCxn id="123" idx="0"/>
          </p:cNvCxnSpPr>
          <p:nvPr/>
        </p:nvCxnSpPr>
        <p:spPr bwMode="auto">
          <a:xfrm>
            <a:off x="6891597" y="4744278"/>
            <a:ext cx="683901" cy="123412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2" name="TextBox 121">
            <a:extLst>
              <a:ext uri="{FF2B5EF4-FFF2-40B4-BE49-F238E27FC236}">
                <a16:creationId xmlns:a16="http://schemas.microsoft.com/office/drawing/2014/main" id="{8DEEE417-BB07-4523-8403-DB024A778A7F}"/>
              </a:ext>
            </a:extLst>
          </p:cNvPr>
          <p:cNvSpPr txBox="1"/>
          <p:nvPr/>
        </p:nvSpPr>
        <p:spPr bwMode="auto">
          <a:xfrm>
            <a:off x="7315087" y="5943896"/>
            <a:ext cx="501242" cy="575493"/>
          </a:xfrm>
          <a:prstGeom prst="rect">
            <a:avLst/>
          </a:prstGeom>
          <a:solidFill>
            <a:schemeClr val="accent4"/>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W-AGF</a:t>
            </a:r>
            <a:endParaRPr kumimoji="0" lang="en-US"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8" name="TextBox 127">
            <a:extLst>
              <a:ext uri="{FF2B5EF4-FFF2-40B4-BE49-F238E27FC236}">
                <a16:creationId xmlns:a16="http://schemas.microsoft.com/office/drawing/2014/main" id="{40E6858E-FC0A-41F5-BC08-D7D6CAAB1C49}"/>
              </a:ext>
            </a:extLst>
          </p:cNvPr>
          <p:cNvSpPr txBox="1"/>
          <p:nvPr/>
        </p:nvSpPr>
        <p:spPr bwMode="auto">
          <a:xfrm>
            <a:off x="4152086" y="6080904"/>
            <a:ext cx="576000" cy="493656"/>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ctr" anchorCtr="0" compatLnSpc="1">
            <a:prstTxWarp prst="textNoShape">
              <a:avLst/>
            </a:prstTxWarp>
            <a:noAutofit/>
          </a:body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altLang="en-US" sz="1200" kern="1200" spc="0">
                <a:solidFill>
                  <a:srgbClr val="181818"/>
                </a:solidFill>
                <a:latin typeface="Ericsson Hilda"/>
                <a:ea typeface="Segoe UI" panose="020B0502040204020203" pitchFamily="34" charset="0"/>
                <a:cs typeface="Arial" panose="020B0604020202020204" pitchFamily="34" charset="0"/>
              </a:rPr>
              <a:t>Wireline</a:t>
            </a:r>
            <a:r>
              <a:rPr kumimoji="0" lang="en-US" altLang="en-US" sz="1200" b="0" i="0" u="none" strike="noStrike" kern="1200" cap="none" spc="0" normalizeH="0" baseline="0" noProof="0">
                <a:ln>
                  <a:noFill/>
                </a:ln>
                <a:solidFill>
                  <a:srgbClr val="181818"/>
                </a:solidFill>
                <a:effectLst/>
                <a:uLnTx/>
                <a:uFillTx/>
                <a:latin typeface="Ericsson Hilda"/>
                <a:ea typeface="Segoe UI" panose="020B0502040204020203" pitchFamily="34" charset="0"/>
                <a:cs typeface="Arial" panose="020B0604020202020204" pitchFamily="34" charset="0"/>
              </a:rPr>
              <a:t>access</a:t>
            </a:r>
          </a:p>
        </p:txBody>
      </p:sp>
      <p:cxnSp>
        <p:nvCxnSpPr>
          <p:cNvPr id="126" name="Straight Connector 125">
            <a:extLst>
              <a:ext uri="{FF2B5EF4-FFF2-40B4-BE49-F238E27FC236}">
                <a16:creationId xmlns:a16="http://schemas.microsoft.com/office/drawing/2014/main" id="{94ADF483-47FE-4653-A315-FC649C038EA5}"/>
              </a:ext>
            </a:extLst>
          </p:cNvPr>
          <p:cNvCxnSpPr>
            <a:cxnSpLocks/>
            <a:endCxn id="129" idx="0"/>
          </p:cNvCxnSpPr>
          <p:nvPr/>
        </p:nvCxnSpPr>
        <p:spPr bwMode="auto">
          <a:xfrm flipH="1">
            <a:off x="7869803" y="3556563"/>
            <a:ext cx="2473" cy="62279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27" name="Oval 126">
            <a:extLst>
              <a:ext uri="{FF2B5EF4-FFF2-40B4-BE49-F238E27FC236}">
                <a16:creationId xmlns:a16="http://schemas.microsoft.com/office/drawing/2014/main" id="{375C1B98-E944-42F5-9353-11A9B37E0362}"/>
              </a:ext>
            </a:extLst>
          </p:cNvPr>
          <p:cNvSpPr/>
          <p:nvPr/>
        </p:nvSpPr>
        <p:spPr bwMode="auto">
          <a:xfrm>
            <a:off x="7804807" y="3782942"/>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9" name="TextBox 128">
            <a:extLst>
              <a:ext uri="{FF2B5EF4-FFF2-40B4-BE49-F238E27FC236}">
                <a16:creationId xmlns:a16="http://schemas.microsoft.com/office/drawing/2014/main" id="{E66BC6D8-16EB-476F-AF0B-DDB30F721258}"/>
              </a:ext>
            </a:extLst>
          </p:cNvPr>
          <p:cNvSpPr txBox="1"/>
          <p:nvPr/>
        </p:nvSpPr>
        <p:spPr bwMode="auto">
          <a:xfrm>
            <a:off x="7667615" y="4179361"/>
            <a:ext cx="404375" cy="575493"/>
          </a:xfrm>
          <a:prstGeom prst="rect">
            <a:avLst/>
          </a:prstGeom>
          <a:solidFill>
            <a:schemeClr val="accent4"/>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CMF</a:t>
            </a:r>
          </a:p>
        </p:txBody>
      </p:sp>
      <p:cxnSp>
        <p:nvCxnSpPr>
          <p:cNvPr id="131" name="Straight Connector 130">
            <a:extLst>
              <a:ext uri="{FF2B5EF4-FFF2-40B4-BE49-F238E27FC236}">
                <a16:creationId xmlns:a16="http://schemas.microsoft.com/office/drawing/2014/main" id="{B8C6F205-3BBC-4E05-9216-C580209E25E4}"/>
              </a:ext>
            </a:extLst>
          </p:cNvPr>
          <p:cNvCxnSpPr>
            <a:cxnSpLocks/>
            <a:endCxn id="133" idx="0"/>
          </p:cNvCxnSpPr>
          <p:nvPr/>
        </p:nvCxnSpPr>
        <p:spPr bwMode="auto">
          <a:xfrm flipH="1">
            <a:off x="7368346" y="3550215"/>
            <a:ext cx="2473" cy="62279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32" name="Oval 131">
            <a:extLst>
              <a:ext uri="{FF2B5EF4-FFF2-40B4-BE49-F238E27FC236}">
                <a16:creationId xmlns:a16="http://schemas.microsoft.com/office/drawing/2014/main" id="{48E17DD8-BBF9-4556-99CD-A3787D5A00F9}"/>
              </a:ext>
            </a:extLst>
          </p:cNvPr>
          <p:cNvSpPr/>
          <p:nvPr/>
        </p:nvSpPr>
        <p:spPr bwMode="auto">
          <a:xfrm>
            <a:off x="7303350" y="3776594"/>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33" name="TextBox 132">
            <a:extLst>
              <a:ext uri="{FF2B5EF4-FFF2-40B4-BE49-F238E27FC236}">
                <a16:creationId xmlns:a16="http://schemas.microsoft.com/office/drawing/2014/main" id="{17864AB8-5526-41FD-B102-0DC85EEBE1EE}"/>
              </a:ext>
            </a:extLst>
          </p:cNvPr>
          <p:cNvSpPr txBox="1"/>
          <p:nvPr/>
        </p:nvSpPr>
        <p:spPr bwMode="auto">
          <a:xfrm>
            <a:off x="7166158" y="4173013"/>
            <a:ext cx="404375" cy="575493"/>
          </a:xfrm>
          <a:prstGeom prst="rect">
            <a:avLst/>
          </a:prstGeom>
          <a:solidFill>
            <a:schemeClr val="accent4"/>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NSSAAF</a:t>
            </a:r>
          </a:p>
        </p:txBody>
      </p:sp>
      <p:sp>
        <p:nvSpPr>
          <p:cNvPr id="134" name="Text Box 144">
            <a:extLst>
              <a:ext uri="{FF2B5EF4-FFF2-40B4-BE49-F238E27FC236}">
                <a16:creationId xmlns:a16="http://schemas.microsoft.com/office/drawing/2014/main" id="{CCF377E1-2AD6-43CF-8C96-276BDE0A3A0C}"/>
              </a:ext>
            </a:extLst>
          </p:cNvPr>
          <p:cNvSpPr txBox="1">
            <a:spLocks noChangeAspect="1" noChangeArrowheads="1"/>
          </p:cNvSpPr>
          <p:nvPr/>
        </p:nvSpPr>
        <p:spPr bwMode="auto">
          <a:xfrm>
            <a:off x="7097981" y="3939315"/>
            <a:ext cx="1003853"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a:t>
            </a:r>
            <a:r>
              <a:rPr kumimoji="0" lang="en-US" altLang="en-US" sz="9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ssaa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
        <p:nvSpPr>
          <p:cNvPr id="135" name="Text Box 144">
            <a:extLst>
              <a:ext uri="{FF2B5EF4-FFF2-40B4-BE49-F238E27FC236}">
                <a16:creationId xmlns:a16="http://schemas.microsoft.com/office/drawing/2014/main" id="{C28645AF-4A50-47CE-BBBA-6B36D72AE545}"/>
              </a:ext>
            </a:extLst>
          </p:cNvPr>
          <p:cNvSpPr txBox="1">
            <a:spLocks noChangeAspect="1" noChangeArrowheads="1"/>
          </p:cNvSpPr>
          <p:nvPr/>
        </p:nvSpPr>
        <p:spPr bwMode="auto">
          <a:xfrm>
            <a:off x="7598872" y="3940248"/>
            <a:ext cx="992188"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100" b="0" i="0" u="none" strike="noStrike" kern="1200" cap="none" spc="0" normalizeH="0" baseline="0" noProof="0" err="1">
                <a:ln>
                  <a:noFill/>
                </a:ln>
                <a:solidFill>
                  <a:srgbClr val="181818"/>
                </a:solidFill>
                <a:effectLst/>
                <a:uLnTx/>
                <a:uFillTx/>
                <a:latin typeface="Ericsson Hilda"/>
                <a:ea typeface="MS PGothic" panose="020B0600070205080204" pitchFamily="34" charset="-128"/>
                <a:cs typeface="+mn-cs"/>
              </a:rPr>
              <a:t>Nucmf</a:t>
            </a:r>
            <a:endParaRPr kumimoji="0" lang="en-US" altLang="en-US" sz="1100" b="0" i="0" u="none" strike="noStrike" kern="1200" cap="none" spc="0" normalizeH="0" baseline="0" noProof="0">
              <a:ln>
                <a:noFill/>
              </a:ln>
              <a:solidFill>
                <a:srgbClr val="181818"/>
              </a:solidFill>
              <a:effectLst/>
              <a:uLnTx/>
              <a:uFillTx/>
              <a:latin typeface="Ericsson Hilda"/>
              <a:ea typeface="MS PGothic" panose="020B0600070205080204" pitchFamily="34" charset="-128"/>
              <a:cs typeface="+mn-cs"/>
            </a:endParaRPr>
          </a:p>
        </p:txBody>
      </p:sp>
    </p:spTree>
    <p:extLst>
      <p:ext uri="{BB962C8B-B14F-4D97-AF65-F5344CB8AC3E}">
        <p14:creationId xmlns:p14="http://schemas.microsoft.com/office/powerpoint/2010/main" val="3385283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6"/>
                                        </p:tgtEl>
                                        <p:attrNameLst>
                                          <p:attrName>style.visibility</p:attrName>
                                        </p:attrNameLst>
                                      </p:cBhvr>
                                      <p:to>
                                        <p:strVal val="visible"/>
                                      </p:to>
                                    </p:set>
                                    <p:animEffect transition="in" filter="fade">
                                      <p:cBhvr>
                                        <p:cTn id="7" dur="500"/>
                                        <p:tgtEl>
                                          <p:spTgt spid="206"/>
                                        </p:tgtEl>
                                      </p:cBhvr>
                                    </p:animEffect>
                                  </p:childTnLst>
                                </p:cTn>
                              </p:par>
                              <p:par>
                                <p:cTn id="8" presetID="10" presetClass="entr" presetSubtype="0" fill="hold" nodeType="withEffect">
                                  <p:stCondLst>
                                    <p:cond delay="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10" presetClass="entr" presetSubtype="0" fill="hold"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fade">
                                      <p:cBhvr>
                                        <p:cTn id="13" dur="500"/>
                                        <p:tgtEl>
                                          <p:spTgt spid="183"/>
                                        </p:tgtEl>
                                      </p:cBhvr>
                                    </p:animEffect>
                                  </p:childTnLst>
                                </p:cTn>
                              </p:par>
                              <p:par>
                                <p:cTn id="14" presetID="10" presetClass="entr" presetSubtype="0" fill="hold" nodeType="withEffect">
                                  <p:stCondLst>
                                    <p:cond delay="0"/>
                                  </p:stCondLst>
                                  <p:childTnLst>
                                    <p:set>
                                      <p:cBhvr>
                                        <p:cTn id="15" dur="1" fill="hold">
                                          <p:stCondLst>
                                            <p:cond delay="0"/>
                                          </p:stCondLst>
                                        </p:cTn>
                                        <p:tgtEl>
                                          <p:spTgt spid="214"/>
                                        </p:tgtEl>
                                        <p:attrNameLst>
                                          <p:attrName>style.visibility</p:attrName>
                                        </p:attrNameLst>
                                      </p:cBhvr>
                                      <p:to>
                                        <p:strVal val="visible"/>
                                      </p:to>
                                    </p:set>
                                    <p:animEffect transition="in" filter="fade">
                                      <p:cBhvr>
                                        <p:cTn id="16" dur="500"/>
                                        <p:tgtEl>
                                          <p:spTgt spid="214"/>
                                        </p:tgtEl>
                                      </p:cBhvr>
                                    </p:animEffect>
                                  </p:childTnLst>
                                </p:cTn>
                              </p:par>
                              <p:par>
                                <p:cTn id="17" presetID="10" presetClass="entr" presetSubtype="0" fill="hold" nodeType="with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500"/>
                                        <p:tgtEl>
                                          <p:spTgt spid="215"/>
                                        </p:tgtEl>
                                      </p:cBhvr>
                                    </p:animEffect>
                                  </p:childTnLst>
                                </p:cTn>
                              </p:par>
                              <p:par>
                                <p:cTn id="20" presetID="10" presetClass="entr" presetSubtype="0" fill="hold" nodeType="withEffect">
                                  <p:stCondLst>
                                    <p:cond delay="0"/>
                                  </p:stCondLst>
                                  <p:childTnLst>
                                    <p:set>
                                      <p:cBhvr>
                                        <p:cTn id="21" dur="1" fill="hold">
                                          <p:stCondLst>
                                            <p:cond delay="0"/>
                                          </p:stCondLst>
                                        </p:cTn>
                                        <p:tgtEl>
                                          <p:spTgt spid="216"/>
                                        </p:tgtEl>
                                        <p:attrNameLst>
                                          <p:attrName>style.visibility</p:attrName>
                                        </p:attrNameLst>
                                      </p:cBhvr>
                                      <p:to>
                                        <p:strVal val="visible"/>
                                      </p:to>
                                    </p:set>
                                    <p:animEffect transition="in" filter="fade">
                                      <p:cBhvr>
                                        <p:cTn id="22" dur="500"/>
                                        <p:tgtEl>
                                          <p:spTgt spid="216"/>
                                        </p:tgtEl>
                                      </p:cBhvr>
                                    </p:animEffect>
                                  </p:childTnLst>
                                </p:cTn>
                              </p:par>
                              <p:par>
                                <p:cTn id="23" presetID="10" presetClass="entr" presetSubtype="0" fill="hold" nodeType="withEffect">
                                  <p:stCondLst>
                                    <p:cond delay="0"/>
                                  </p:stCondLst>
                                  <p:childTnLst>
                                    <p:set>
                                      <p:cBhvr>
                                        <p:cTn id="24" dur="1" fill="hold">
                                          <p:stCondLst>
                                            <p:cond delay="0"/>
                                          </p:stCondLst>
                                        </p:cTn>
                                        <p:tgtEl>
                                          <p:spTgt spid="217"/>
                                        </p:tgtEl>
                                        <p:attrNameLst>
                                          <p:attrName>style.visibility</p:attrName>
                                        </p:attrNameLst>
                                      </p:cBhvr>
                                      <p:to>
                                        <p:strVal val="visible"/>
                                      </p:to>
                                    </p:set>
                                    <p:animEffect transition="in" filter="fade">
                                      <p:cBhvr>
                                        <p:cTn id="25" dur="500"/>
                                        <p:tgtEl>
                                          <p:spTgt spid="217"/>
                                        </p:tgtEl>
                                      </p:cBhvr>
                                    </p:animEffect>
                                  </p:childTnLst>
                                </p:cTn>
                              </p:par>
                              <p:par>
                                <p:cTn id="26" presetID="10" presetClass="entr" presetSubtype="0" fill="hold" nodeType="withEffect">
                                  <p:stCondLst>
                                    <p:cond delay="0"/>
                                  </p:stCondLst>
                                  <p:childTnLst>
                                    <p:set>
                                      <p:cBhvr>
                                        <p:cTn id="27" dur="1" fill="hold">
                                          <p:stCondLst>
                                            <p:cond delay="0"/>
                                          </p:stCondLst>
                                        </p:cTn>
                                        <p:tgtEl>
                                          <p:spTgt spid="218"/>
                                        </p:tgtEl>
                                        <p:attrNameLst>
                                          <p:attrName>style.visibility</p:attrName>
                                        </p:attrNameLst>
                                      </p:cBhvr>
                                      <p:to>
                                        <p:strVal val="visible"/>
                                      </p:to>
                                    </p:set>
                                    <p:animEffect transition="in" filter="fade">
                                      <p:cBhvr>
                                        <p:cTn id="28" dur="500"/>
                                        <p:tgtEl>
                                          <p:spTgt spid="218"/>
                                        </p:tgtEl>
                                      </p:cBhvr>
                                    </p:animEffect>
                                  </p:childTnLst>
                                </p:cTn>
                              </p:par>
                              <p:par>
                                <p:cTn id="29" presetID="10" presetClass="entr" presetSubtype="0" fill="hold" nodeType="withEffect">
                                  <p:stCondLst>
                                    <p:cond delay="0"/>
                                  </p:stCondLst>
                                  <p:childTnLst>
                                    <p:set>
                                      <p:cBhvr>
                                        <p:cTn id="30" dur="1" fill="hold">
                                          <p:stCondLst>
                                            <p:cond delay="0"/>
                                          </p:stCondLst>
                                        </p:cTn>
                                        <p:tgtEl>
                                          <p:spTgt spid="219"/>
                                        </p:tgtEl>
                                        <p:attrNameLst>
                                          <p:attrName>style.visibility</p:attrName>
                                        </p:attrNameLst>
                                      </p:cBhvr>
                                      <p:to>
                                        <p:strVal val="visible"/>
                                      </p:to>
                                    </p:set>
                                    <p:animEffect transition="in" filter="fade">
                                      <p:cBhvr>
                                        <p:cTn id="31" dur="500"/>
                                        <p:tgtEl>
                                          <p:spTgt spid="219"/>
                                        </p:tgtEl>
                                      </p:cBhvr>
                                    </p:animEffect>
                                  </p:childTnLst>
                                </p:cTn>
                              </p:par>
                              <p:par>
                                <p:cTn id="32" presetID="10" presetClass="entr" presetSubtype="0" fill="hold" nodeType="withEffect">
                                  <p:stCondLst>
                                    <p:cond delay="0"/>
                                  </p:stCondLst>
                                  <p:childTnLst>
                                    <p:set>
                                      <p:cBhvr>
                                        <p:cTn id="33" dur="1" fill="hold">
                                          <p:stCondLst>
                                            <p:cond delay="0"/>
                                          </p:stCondLst>
                                        </p:cTn>
                                        <p:tgtEl>
                                          <p:spTgt spid="220"/>
                                        </p:tgtEl>
                                        <p:attrNameLst>
                                          <p:attrName>style.visibility</p:attrName>
                                        </p:attrNameLst>
                                      </p:cBhvr>
                                      <p:to>
                                        <p:strVal val="visible"/>
                                      </p:to>
                                    </p:set>
                                    <p:animEffect transition="in" filter="fade">
                                      <p:cBhvr>
                                        <p:cTn id="34" dur="500"/>
                                        <p:tgtEl>
                                          <p:spTgt spid="220"/>
                                        </p:tgtEl>
                                      </p:cBhvr>
                                    </p:animEffect>
                                  </p:childTnLst>
                                </p:cTn>
                              </p:par>
                              <p:par>
                                <p:cTn id="35" presetID="10" presetClass="entr" presetSubtype="0" fill="hold" nodeType="withEffect">
                                  <p:stCondLst>
                                    <p:cond delay="0"/>
                                  </p:stCondLst>
                                  <p:childTnLst>
                                    <p:set>
                                      <p:cBhvr>
                                        <p:cTn id="36" dur="1" fill="hold">
                                          <p:stCondLst>
                                            <p:cond delay="0"/>
                                          </p:stCondLst>
                                        </p:cTn>
                                        <p:tgtEl>
                                          <p:spTgt spid="190"/>
                                        </p:tgtEl>
                                        <p:attrNameLst>
                                          <p:attrName>style.visibility</p:attrName>
                                        </p:attrNameLst>
                                      </p:cBhvr>
                                      <p:to>
                                        <p:strVal val="visible"/>
                                      </p:to>
                                    </p:set>
                                    <p:animEffect transition="in" filter="fade">
                                      <p:cBhvr>
                                        <p:cTn id="37" dur="500"/>
                                        <p:tgtEl>
                                          <p:spTgt spid="190"/>
                                        </p:tgtEl>
                                      </p:cBhvr>
                                    </p:animEffect>
                                  </p:childTnLst>
                                </p:cTn>
                              </p:par>
                              <p:par>
                                <p:cTn id="38" presetID="10" presetClass="entr" presetSubtype="0" fill="hold" nodeType="withEffect">
                                  <p:stCondLst>
                                    <p:cond delay="0"/>
                                  </p:stCondLst>
                                  <p:childTnLst>
                                    <p:set>
                                      <p:cBhvr>
                                        <p:cTn id="39" dur="1" fill="hold">
                                          <p:stCondLst>
                                            <p:cond delay="0"/>
                                          </p:stCondLst>
                                        </p:cTn>
                                        <p:tgtEl>
                                          <p:spTgt spid="298"/>
                                        </p:tgtEl>
                                        <p:attrNameLst>
                                          <p:attrName>style.visibility</p:attrName>
                                        </p:attrNameLst>
                                      </p:cBhvr>
                                      <p:to>
                                        <p:strVal val="visible"/>
                                      </p:to>
                                    </p:set>
                                    <p:animEffect transition="in" filter="fade">
                                      <p:cBhvr>
                                        <p:cTn id="40" dur="500"/>
                                        <p:tgtEl>
                                          <p:spTgt spid="298"/>
                                        </p:tgtEl>
                                      </p:cBhvr>
                                    </p:animEffect>
                                  </p:childTnLst>
                                </p:cTn>
                              </p:par>
                              <p:par>
                                <p:cTn id="41" presetID="10" presetClass="entr" presetSubtype="0" fill="hold" nodeType="withEffect">
                                  <p:stCondLst>
                                    <p:cond delay="0"/>
                                  </p:stCondLst>
                                  <p:childTnLst>
                                    <p:set>
                                      <p:cBhvr>
                                        <p:cTn id="42" dur="1" fill="hold">
                                          <p:stCondLst>
                                            <p:cond delay="0"/>
                                          </p:stCondLst>
                                        </p:cTn>
                                        <p:tgtEl>
                                          <p:spTgt spid="302"/>
                                        </p:tgtEl>
                                        <p:attrNameLst>
                                          <p:attrName>style.visibility</p:attrName>
                                        </p:attrNameLst>
                                      </p:cBhvr>
                                      <p:to>
                                        <p:strVal val="visible"/>
                                      </p:to>
                                    </p:set>
                                    <p:animEffect transition="in" filter="fade">
                                      <p:cBhvr>
                                        <p:cTn id="43" dur="500"/>
                                        <p:tgtEl>
                                          <p:spTgt spid="302"/>
                                        </p:tgtEl>
                                      </p:cBhvr>
                                    </p:animEffect>
                                  </p:childTnLst>
                                </p:cTn>
                              </p:par>
                              <p:par>
                                <p:cTn id="44" presetID="10" presetClass="entr" presetSubtype="0" fill="hold" nodeType="withEffect">
                                  <p:stCondLst>
                                    <p:cond delay="0"/>
                                  </p:stCondLst>
                                  <p:childTnLst>
                                    <p:set>
                                      <p:cBhvr>
                                        <p:cTn id="45" dur="1" fill="hold">
                                          <p:stCondLst>
                                            <p:cond delay="0"/>
                                          </p:stCondLst>
                                        </p:cTn>
                                        <p:tgtEl>
                                          <p:spTgt spid="318"/>
                                        </p:tgtEl>
                                        <p:attrNameLst>
                                          <p:attrName>style.visibility</p:attrName>
                                        </p:attrNameLst>
                                      </p:cBhvr>
                                      <p:to>
                                        <p:strVal val="visible"/>
                                      </p:to>
                                    </p:set>
                                    <p:animEffect transition="in" filter="fade">
                                      <p:cBhvr>
                                        <p:cTn id="46" dur="500"/>
                                        <p:tgtEl>
                                          <p:spTgt spid="318"/>
                                        </p:tgtEl>
                                      </p:cBhvr>
                                    </p:animEffect>
                                  </p:childTnLst>
                                </p:cTn>
                              </p:par>
                              <p:par>
                                <p:cTn id="47" presetID="10" presetClass="entr" presetSubtype="0" fill="hold" nodeType="withEffect">
                                  <p:stCondLst>
                                    <p:cond delay="0"/>
                                  </p:stCondLst>
                                  <p:childTnLst>
                                    <p:set>
                                      <p:cBhvr>
                                        <p:cTn id="48" dur="1" fill="hold">
                                          <p:stCondLst>
                                            <p:cond delay="0"/>
                                          </p:stCondLst>
                                        </p:cTn>
                                        <p:tgtEl>
                                          <p:spTgt spid="292"/>
                                        </p:tgtEl>
                                        <p:attrNameLst>
                                          <p:attrName>style.visibility</p:attrName>
                                        </p:attrNameLst>
                                      </p:cBhvr>
                                      <p:to>
                                        <p:strVal val="visible"/>
                                      </p:to>
                                    </p:set>
                                    <p:animEffect transition="in" filter="fade">
                                      <p:cBhvr>
                                        <p:cTn id="49" dur="500"/>
                                        <p:tgtEl>
                                          <p:spTgt spid="292"/>
                                        </p:tgtEl>
                                      </p:cBhvr>
                                    </p:animEffect>
                                  </p:childTnLst>
                                </p:cTn>
                              </p:par>
                              <p:par>
                                <p:cTn id="50" presetID="10" presetClass="entr" presetSubtype="0" fill="hold" nodeType="withEffect">
                                  <p:stCondLst>
                                    <p:cond delay="0"/>
                                  </p:stCondLst>
                                  <p:childTnLst>
                                    <p:set>
                                      <p:cBhvr>
                                        <p:cTn id="51" dur="1" fill="hold">
                                          <p:stCondLst>
                                            <p:cond delay="0"/>
                                          </p:stCondLst>
                                        </p:cTn>
                                        <p:tgtEl>
                                          <p:spTgt spid="324"/>
                                        </p:tgtEl>
                                        <p:attrNameLst>
                                          <p:attrName>style.visibility</p:attrName>
                                        </p:attrNameLst>
                                      </p:cBhvr>
                                      <p:to>
                                        <p:strVal val="visible"/>
                                      </p:to>
                                    </p:set>
                                    <p:animEffect transition="in" filter="fade">
                                      <p:cBhvr>
                                        <p:cTn id="52" dur="500"/>
                                        <p:tgtEl>
                                          <p:spTgt spid="324"/>
                                        </p:tgtEl>
                                      </p:cBhvr>
                                    </p:animEffect>
                                  </p:childTnLst>
                                </p:cTn>
                              </p:par>
                              <p:par>
                                <p:cTn id="53" presetID="10" presetClass="entr" presetSubtype="0" fill="hold" nodeType="withEffect">
                                  <p:stCondLst>
                                    <p:cond delay="0"/>
                                  </p:stCondLst>
                                  <p:childTnLst>
                                    <p:set>
                                      <p:cBhvr>
                                        <p:cTn id="54" dur="1" fill="hold">
                                          <p:stCondLst>
                                            <p:cond delay="0"/>
                                          </p:stCondLst>
                                        </p:cTn>
                                        <p:tgtEl>
                                          <p:spTgt spid="326"/>
                                        </p:tgtEl>
                                        <p:attrNameLst>
                                          <p:attrName>style.visibility</p:attrName>
                                        </p:attrNameLst>
                                      </p:cBhvr>
                                      <p:to>
                                        <p:strVal val="visible"/>
                                      </p:to>
                                    </p:set>
                                    <p:animEffect transition="in" filter="fade">
                                      <p:cBhvr>
                                        <p:cTn id="55" dur="500"/>
                                        <p:tgtEl>
                                          <p:spTgt spid="326"/>
                                        </p:tgtEl>
                                      </p:cBhvr>
                                    </p:animEffect>
                                  </p:childTnLst>
                                </p:cTn>
                              </p:par>
                              <p:par>
                                <p:cTn id="56" presetID="10" presetClass="entr" presetSubtype="0" fill="hold" nodeType="withEffect">
                                  <p:stCondLst>
                                    <p:cond delay="0"/>
                                  </p:stCondLst>
                                  <p:childTnLst>
                                    <p:set>
                                      <p:cBhvr>
                                        <p:cTn id="57" dur="1" fill="hold">
                                          <p:stCondLst>
                                            <p:cond delay="0"/>
                                          </p:stCondLst>
                                        </p:cTn>
                                        <p:tgtEl>
                                          <p:spTgt spid="328"/>
                                        </p:tgtEl>
                                        <p:attrNameLst>
                                          <p:attrName>style.visibility</p:attrName>
                                        </p:attrNameLst>
                                      </p:cBhvr>
                                      <p:to>
                                        <p:strVal val="visible"/>
                                      </p:to>
                                    </p:set>
                                    <p:animEffect transition="in" filter="fade">
                                      <p:cBhvr>
                                        <p:cTn id="58" dur="500"/>
                                        <p:tgtEl>
                                          <p:spTgt spid="328"/>
                                        </p:tgtEl>
                                      </p:cBhvr>
                                    </p:animEffect>
                                  </p:childTnLst>
                                </p:cTn>
                              </p:par>
                              <p:par>
                                <p:cTn id="59" presetID="10" presetClass="entr" presetSubtype="0" fill="hold" nodeType="withEffect">
                                  <p:stCondLst>
                                    <p:cond delay="0"/>
                                  </p:stCondLst>
                                  <p:childTnLst>
                                    <p:set>
                                      <p:cBhvr>
                                        <p:cTn id="60" dur="1" fill="hold">
                                          <p:stCondLst>
                                            <p:cond delay="0"/>
                                          </p:stCondLst>
                                        </p:cTn>
                                        <p:tgtEl>
                                          <p:spTgt spid="331"/>
                                        </p:tgtEl>
                                        <p:attrNameLst>
                                          <p:attrName>style.visibility</p:attrName>
                                        </p:attrNameLst>
                                      </p:cBhvr>
                                      <p:to>
                                        <p:strVal val="visible"/>
                                      </p:to>
                                    </p:set>
                                    <p:animEffect transition="in" filter="fade">
                                      <p:cBhvr>
                                        <p:cTn id="61" dur="500"/>
                                        <p:tgtEl>
                                          <p:spTgt spid="331"/>
                                        </p:tgtEl>
                                      </p:cBhvr>
                                    </p:animEffect>
                                  </p:childTnLst>
                                </p:cTn>
                              </p:par>
                              <p:par>
                                <p:cTn id="62" presetID="10" presetClass="entr" presetSubtype="0" fill="hold" nodeType="withEffect">
                                  <p:stCondLst>
                                    <p:cond delay="0"/>
                                  </p:stCondLst>
                                  <p:childTnLst>
                                    <p:set>
                                      <p:cBhvr>
                                        <p:cTn id="63" dur="1" fill="hold">
                                          <p:stCondLst>
                                            <p:cond delay="0"/>
                                          </p:stCondLst>
                                        </p:cTn>
                                        <p:tgtEl>
                                          <p:spTgt spid="338"/>
                                        </p:tgtEl>
                                        <p:attrNameLst>
                                          <p:attrName>style.visibility</p:attrName>
                                        </p:attrNameLst>
                                      </p:cBhvr>
                                      <p:to>
                                        <p:strVal val="visible"/>
                                      </p:to>
                                    </p:set>
                                    <p:animEffect transition="in" filter="fade">
                                      <p:cBhvr>
                                        <p:cTn id="64" dur="500"/>
                                        <p:tgtEl>
                                          <p:spTgt spid="338"/>
                                        </p:tgtEl>
                                      </p:cBhvr>
                                    </p:animEffect>
                                  </p:childTnLst>
                                </p:cTn>
                              </p:par>
                              <p:par>
                                <p:cTn id="65" presetID="10" presetClass="entr" presetSubtype="0" fill="hold" nodeType="withEffect">
                                  <p:stCondLst>
                                    <p:cond delay="0"/>
                                  </p:stCondLst>
                                  <p:childTnLst>
                                    <p:set>
                                      <p:cBhvr>
                                        <p:cTn id="66" dur="1" fill="hold">
                                          <p:stCondLst>
                                            <p:cond delay="0"/>
                                          </p:stCondLst>
                                        </p:cTn>
                                        <p:tgtEl>
                                          <p:spTgt spid="350"/>
                                        </p:tgtEl>
                                        <p:attrNameLst>
                                          <p:attrName>style.visibility</p:attrName>
                                        </p:attrNameLst>
                                      </p:cBhvr>
                                      <p:to>
                                        <p:strVal val="visible"/>
                                      </p:to>
                                    </p:set>
                                    <p:animEffect transition="in" filter="fade">
                                      <p:cBhvr>
                                        <p:cTn id="67" dur="500"/>
                                        <p:tgtEl>
                                          <p:spTgt spid="350"/>
                                        </p:tgtEl>
                                      </p:cBhvr>
                                    </p:animEffect>
                                  </p:childTnLst>
                                </p:cTn>
                              </p:par>
                              <p:par>
                                <p:cTn id="68" presetID="10" presetClass="entr" presetSubtype="0" fill="hold" nodeType="withEffect">
                                  <p:stCondLst>
                                    <p:cond delay="0"/>
                                  </p:stCondLst>
                                  <p:childTnLst>
                                    <p:set>
                                      <p:cBhvr>
                                        <p:cTn id="69" dur="1" fill="hold">
                                          <p:stCondLst>
                                            <p:cond delay="0"/>
                                          </p:stCondLst>
                                        </p:cTn>
                                        <p:tgtEl>
                                          <p:spTgt spid="120"/>
                                        </p:tgtEl>
                                        <p:attrNameLst>
                                          <p:attrName>style.visibility</p:attrName>
                                        </p:attrNameLst>
                                      </p:cBhvr>
                                      <p:to>
                                        <p:strVal val="visible"/>
                                      </p:to>
                                    </p:set>
                                    <p:animEffect transition="in" filter="fade">
                                      <p:cBhvr>
                                        <p:cTn id="70" dur="500"/>
                                        <p:tgtEl>
                                          <p:spTgt spid="120"/>
                                        </p:tgtEl>
                                      </p:cBhvr>
                                    </p:animEffect>
                                  </p:childTnLst>
                                </p:cTn>
                              </p:par>
                              <p:par>
                                <p:cTn id="71" presetID="10" presetClass="entr" presetSubtype="0" fill="hold" nodeType="withEffect">
                                  <p:stCondLst>
                                    <p:cond delay="0"/>
                                  </p:stCondLst>
                                  <p:childTnLst>
                                    <p:set>
                                      <p:cBhvr>
                                        <p:cTn id="72" dur="1" fill="hold">
                                          <p:stCondLst>
                                            <p:cond delay="0"/>
                                          </p:stCondLst>
                                        </p:cTn>
                                        <p:tgtEl>
                                          <p:spTgt spid="125"/>
                                        </p:tgtEl>
                                        <p:attrNameLst>
                                          <p:attrName>style.visibility</p:attrName>
                                        </p:attrNameLst>
                                      </p:cBhvr>
                                      <p:to>
                                        <p:strVal val="visible"/>
                                      </p:to>
                                    </p:set>
                                    <p:animEffect transition="in" filter="fade">
                                      <p:cBhvr>
                                        <p:cTn id="73" dur="500"/>
                                        <p:tgtEl>
                                          <p:spTgt spid="125"/>
                                        </p:tgtEl>
                                      </p:cBhvr>
                                    </p:animEffect>
                                  </p:childTnLst>
                                </p:cTn>
                              </p:par>
                              <p:par>
                                <p:cTn id="74" presetID="10" presetClass="entr" presetSubtype="0" fill="hold" nodeType="withEffect">
                                  <p:stCondLst>
                                    <p:cond delay="0"/>
                                  </p:stCondLst>
                                  <p:childTnLst>
                                    <p:set>
                                      <p:cBhvr>
                                        <p:cTn id="75" dur="1" fill="hold">
                                          <p:stCondLst>
                                            <p:cond delay="0"/>
                                          </p:stCondLst>
                                        </p:cTn>
                                        <p:tgtEl>
                                          <p:spTgt spid="126"/>
                                        </p:tgtEl>
                                        <p:attrNameLst>
                                          <p:attrName>style.visibility</p:attrName>
                                        </p:attrNameLst>
                                      </p:cBhvr>
                                      <p:to>
                                        <p:strVal val="visible"/>
                                      </p:to>
                                    </p:set>
                                    <p:animEffect transition="in" filter="fade">
                                      <p:cBhvr>
                                        <p:cTn id="76" dur="500"/>
                                        <p:tgtEl>
                                          <p:spTgt spid="126"/>
                                        </p:tgtEl>
                                      </p:cBhvr>
                                    </p:animEffect>
                                  </p:childTnLst>
                                </p:cTn>
                              </p:par>
                              <p:par>
                                <p:cTn id="77" presetID="10" presetClass="entr" presetSubtype="0" fill="hold" nodeType="with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fade">
                                      <p:cBhvr>
                                        <p:cTn id="79"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952ECD-29C3-4DCC-8FEF-D8FD9EE4E293}"/>
              </a:ext>
            </a:extLst>
          </p:cNvPr>
          <p:cNvSpPr>
            <a:spLocks noGrp="1"/>
          </p:cNvSpPr>
          <p:nvPr>
            <p:ph sz="quarter" idx="3"/>
          </p:nvPr>
        </p:nvSpPr>
        <p:spPr>
          <a:xfrm>
            <a:off x="6240462" y="1844674"/>
            <a:ext cx="5951538" cy="4392613"/>
          </a:xfrm>
        </p:spPr>
        <p:txBody>
          <a:bodyPr/>
          <a:lstStyle/>
          <a:p>
            <a:r>
              <a:rPr lang="en-US" sz="1800"/>
              <a:t>NSSAAF	Network Slice Specific Auth &amp; Auth </a:t>
            </a:r>
            <a:r>
              <a:rPr lang="en-US" sz="1800" err="1"/>
              <a:t>Funct</a:t>
            </a:r>
            <a:r>
              <a:rPr lang="en-US" sz="1800"/>
              <a:t>.</a:t>
            </a:r>
          </a:p>
          <a:p>
            <a:r>
              <a:rPr lang="en-US" sz="1800"/>
              <a:t>NSSF		Network Slice Selection Function</a:t>
            </a:r>
            <a:endParaRPr lang="sv-SE" sz="1800"/>
          </a:p>
          <a:p>
            <a:r>
              <a:rPr lang="en-US" sz="1800"/>
              <a:t>PCF		Policy Control Function</a:t>
            </a:r>
            <a:endParaRPr lang="sv-SE" sz="1800"/>
          </a:p>
          <a:p>
            <a:r>
              <a:rPr lang="en-US" sz="1800"/>
              <a:t>SCP		Service Communication Proxy</a:t>
            </a:r>
          </a:p>
          <a:p>
            <a:r>
              <a:rPr lang="en-US" sz="1800"/>
              <a:t>SEPP		</a:t>
            </a:r>
            <a:r>
              <a:rPr lang="en-GB" sz="1800"/>
              <a:t>Security Edge Protection Proxy</a:t>
            </a:r>
            <a:endParaRPr lang="en-US" sz="1800"/>
          </a:p>
          <a:p>
            <a:r>
              <a:rPr lang="en-US" sz="1800"/>
              <a:t>SMF		Session Management Function</a:t>
            </a:r>
          </a:p>
          <a:p>
            <a:r>
              <a:rPr lang="en-US" sz="1800"/>
              <a:t>SMSF		SMS Function</a:t>
            </a:r>
          </a:p>
          <a:p>
            <a:pPr lvl="0"/>
            <a:r>
              <a:rPr lang="en-US" sz="1800"/>
              <a:t>UCMF	UE radio Capability Management </a:t>
            </a:r>
            <a:r>
              <a:rPr lang="en-US" sz="1800" err="1"/>
              <a:t>Funct</a:t>
            </a:r>
            <a:r>
              <a:rPr lang="en-US" sz="1800"/>
              <a:t>.</a:t>
            </a:r>
          </a:p>
          <a:p>
            <a:pPr lvl="0"/>
            <a:r>
              <a:rPr lang="en-US" sz="1800"/>
              <a:t>UDM		Unified Data Management</a:t>
            </a:r>
            <a:endParaRPr lang="sv-SE" sz="1800"/>
          </a:p>
          <a:p>
            <a:pPr lvl="0"/>
            <a:r>
              <a:rPr lang="en-US" sz="1800"/>
              <a:t>UDSF		Unstructured Data Storage Function</a:t>
            </a:r>
          </a:p>
          <a:p>
            <a:pPr lvl="0"/>
            <a:r>
              <a:rPr lang="en-US" sz="1800"/>
              <a:t>UPF		User Plane Function</a:t>
            </a:r>
          </a:p>
          <a:p>
            <a:pPr lvl="0"/>
            <a:r>
              <a:rPr lang="en-US" sz="1800"/>
              <a:t>W-AGP	Wireline Access Gateway Function</a:t>
            </a:r>
            <a:endParaRPr lang="sv-SE" sz="1800"/>
          </a:p>
        </p:txBody>
      </p:sp>
      <p:sp>
        <p:nvSpPr>
          <p:cNvPr id="4" name="Content Placeholder 3">
            <a:extLst>
              <a:ext uri="{FF2B5EF4-FFF2-40B4-BE49-F238E27FC236}">
                <a16:creationId xmlns:a16="http://schemas.microsoft.com/office/drawing/2014/main" id="{8E564507-9A8D-43F2-9042-BA047AF318CF}"/>
              </a:ext>
            </a:extLst>
          </p:cNvPr>
          <p:cNvSpPr>
            <a:spLocks noGrp="1"/>
          </p:cNvSpPr>
          <p:nvPr>
            <p:ph sz="half" idx="1"/>
          </p:nvPr>
        </p:nvSpPr>
        <p:spPr>
          <a:xfrm>
            <a:off x="479425" y="1844675"/>
            <a:ext cx="5837237" cy="4392612"/>
          </a:xfrm>
        </p:spPr>
        <p:txBody>
          <a:bodyPr/>
          <a:lstStyle/>
          <a:p>
            <a:r>
              <a:rPr lang="en-US" sz="1800"/>
              <a:t>5G-EIR	</a:t>
            </a:r>
            <a:r>
              <a:rPr lang="en-GB" sz="1800"/>
              <a:t>5G-Equipment Identity Register</a:t>
            </a:r>
            <a:endParaRPr lang="en-US" sz="1800"/>
          </a:p>
          <a:p>
            <a:r>
              <a:rPr lang="en-US" sz="1800"/>
              <a:t>AF		Application Function</a:t>
            </a:r>
          </a:p>
          <a:p>
            <a:r>
              <a:rPr lang="en-US" sz="1800"/>
              <a:t>AMF		Access &amp; Mobility management </a:t>
            </a:r>
            <a:r>
              <a:rPr lang="en-US" sz="1800" err="1"/>
              <a:t>Funct</a:t>
            </a:r>
            <a:r>
              <a:rPr lang="en-US" sz="1800"/>
              <a:t>.</a:t>
            </a:r>
          </a:p>
          <a:p>
            <a:r>
              <a:rPr lang="en-US" sz="1800"/>
              <a:t>AUSF 	Authentication Server Function</a:t>
            </a:r>
          </a:p>
          <a:p>
            <a:r>
              <a:rPr lang="en-US" sz="1800"/>
              <a:t>BSF		Binding Support Function</a:t>
            </a:r>
          </a:p>
          <a:p>
            <a:r>
              <a:rPr lang="en-US" sz="1800"/>
              <a:t>CHF		Charging Function</a:t>
            </a:r>
          </a:p>
          <a:p>
            <a:r>
              <a:rPr lang="en-US" sz="1800"/>
              <a:t>GMLC	</a:t>
            </a:r>
            <a:r>
              <a:rPr lang="en-GB" sz="1800"/>
              <a:t>Gateway Mobile Location Centre</a:t>
            </a:r>
            <a:endParaRPr lang="en-US" sz="1800"/>
          </a:p>
          <a:p>
            <a:r>
              <a:rPr lang="en-US" sz="1800"/>
              <a:t>LMF		Location Management Function</a:t>
            </a:r>
          </a:p>
          <a:p>
            <a:r>
              <a:rPr lang="en-US" sz="1800"/>
              <a:t>N3IWF	Non-3GPP access Interworking Function</a:t>
            </a:r>
          </a:p>
          <a:p>
            <a:r>
              <a:rPr lang="en-US" sz="1800"/>
              <a:t>NEF		Network Exposure Function</a:t>
            </a:r>
          </a:p>
          <a:p>
            <a:r>
              <a:rPr lang="en-US" sz="1800"/>
              <a:t>NRF		Network Repository Function</a:t>
            </a:r>
          </a:p>
          <a:p>
            <a:endParaRPr lang="en-US" sz="1800"/>
          </a:p>
          <a:p>
            <a:endParaRPr lang="sv-SE" sz="1400"/>
          </a:p>
        </p:txBody>
      </p:sp>
      <p:sp>
        <p:nvSpPr>
          <p:cNvPr id="3" name="Title 2"/>
          <p:cNvSpPr>
            <a:spLocks noGrp="1"/>
          </p:cNvSpPr>
          <p:nvPr>
            <p:ph type="title"/>
          </p:nvPr>
        </p:nvSpPr>
        <p:spPr/>
        <p:txBody>
          <a:bodyPr>
            <a:normAutofit/>
          </a:bodyPr>
          <a:lstStyle/>
          <a:p>
            <a:r>
              <a:rPr lang="en-US" sz="4000"/>
              <a:t>5G CORE architecture terminology </a:t>
            </a:r>
            <a:endParaRPr lang="en-US" sz="4000">
              <a:latin typeface="+mn-lt"/>
            </a:endParaRPr>
          </a:p>
        </p:txBody>
      </p:sp>
    </p:spTree>
    <p:extLst>
      <p:ext uri="{BB962C8B-B14F-4D97-AF65-F5344CB8AC3E}">
        <p14:creationId xmlns:p14="http://schemas.microsoft.com/office/powerpoint/2010/main" val="491965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dirty="0"/>
              <a:t>The 5G Core System</a:t>
            </a:r>
          </a:p>
          <a:p>
            <a:r>
              <a:rPr lang="en-US" b="1" dirty="0"/>
              <a:t>Core Network Architecture &amp; Technology</a:t>
            </a:r>
          </a:p>
          <a:p>
            <a:pPr lvl="1"/>
            <a:r>
              <a:rPr lang="en-US" sz="1800" dirty="0"/>
              <a:t>Overall 5G Core Network Architecture</a:t>
            </a:r>
          </a:p>
          <a:p>
            <a:pPr lvl="1"/>
            <a:r>
              <a:rPr lang="en-US" sz="1800" b="1" dirty="0"/>
              <a:t>SBA and Service Framework</a:t>
            </a:r>
          </a:p>
          <a:p>
            <a:pPr lvl="1"/>
            <a:r>
              <a:rPr lang="en-US" sz="1800"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1831810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4FCB1-4946-4A35-B385-7686EB263A1D}"/>
              </a:ext>
            </a:extLst>
          </p:cNvPr>
          <p:cNvSpPr>
            <a:spLocks noGrp="1"/>
          </p:cNvSpPr>
          <p:nvPr>
            <p:ph type="title"/>
          </p:nvPr>
        </p:nvSpPr>
        <p:spPr/>
        <p:txBody>
          <a:bodyPr/>
          <a:lstStyle/>
          <a:p>
            <a:r>
              <a:rPr lang="en-US"/>
              <a:t>Service Based Architecture</a:t>
            </a:r>
          </a:p>
        </p:txBody>
      </p:sp>
      <p:sp>
        <p:nvSpPr>
          <p:cNvPr id="3" name="Content Placeholder 2">
            <a:extLst>
              <a:ext uri="{FF2B5EF4-FFF2-40B4-BE49-F238E27FC236}">
                <a16:creationId xmlns:a16="http://schemas.microsoft.com/office/drawing/2014/main" id="{8EB877D5-5FBB-4180-AEEB-97B260C7FFBF}"/>
              </a:ext>
            </a:extLst>
          </p:cNvPr>
          <p:cNvSpPr>
            <a:spLocks noGrp="1"/>
          </p:cNvSpPr>
          <p:nvPr>
            <p:ph sz="quarter" idx="10"/>
          </p:nvPr>
        </p:nvSpPr>
        <p:spPr>
          <a:xfrm>
            <a:off x="479424" y="1844675"/>
            <a:ext cx="6714951" cy="4392612"/>
          </a:xfrm>
        </p:spPr>
        <p:txBody>
          <a:bodyPr/>
          <a:lstStyle/>
          <a:p>
            <a:r>
              <a:rPr lang="en-US"/>
              <a:t>A Network Function provides one or more NF services</a:t>
            </a:r>
          </a:p>
          <a:p>
            <a:r>
              <a:rPr lang="en-US"/>
              <a:t>NF Services </a:t>
            </a:r>
          </a:p>
          <a:p>
            <a:pPr lvl="1"/>
            <a:r>
              <a:rPr lang="en-US" sz="1800"/>
              <a:t>Target self-contained and loosely coupled services</a:t>
            </a:r>
            <a:endParaRPr lang="en-US" sz="1800" strike="sngStrike">
              <a:highlight>
                <a:srgbClr val="FFFF00"/>
              </a:highlight>
            </a:endParaRPr>
          </a:p>
          <a:p>
            <a:pPr lvl="1"/>
            <a:r>
              <a:rPr lang="en-US" sz="1800"/>
              <a:t>Expose capabilities to consumers</a:t>
            </a:r>
          </a:p>
          <a:p>
            <a:pPr lvl="1"/>
            <a:r>
              <a:rPr lang="en-US" sz="1800"/>
              <a:t>Interact via request-response or subscribe-notify model</a:t>
            </a:r>
          </a:p>
          <a:p>
            <a:r>
              <a:rPr lang="en-US"/>
              <a:t>HTTP2/TCP as common control protocol </a:t>
            </a:r>
          </a:p>
          <a:p>
            <a:r>
              <a:rPr lang="en-US"/>
              <a:t>An NF can be both Consumer and Producer at the same time</a:t>
            </a:r>
          </a:p>
        </p:txBody>
      </p:sp>
      <p:sp>
        <p:nvSpPr>
          <p:cNvPr id="5" name="Rectangle 4">
            <a:extLst>
              <a:ext uri="{FF2B5EF4-FFF2-40B4-BE49-F238E27FC236}">
                <a16:creationId xmlns:a16="http://schemas.microsoft.com/office/drawing/2014/main" id="{47A48702-0A38-4DF8-8321-98307674874C}"/>
              </a:ext>
            </a:extLst>
          </p:cNvPr>
          <p:cNvSpPr/>
          <p:nvPr/>
        </p:nvSpPr>
        <p:spPr bwMode="auto">
          <a:xfrm>
            <a:off x="2556703" y="4656197"/>
            <a:ext cx="7078594" cy="1514500"/>
          </a:xfrm>
          <a:prstGeom prst="rect">
            <a:avLst/>
          </a:prstGeom>
          <a:solidFill>
            <a:schemeClr val="accent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en-US" b="1" i="0" u="sng" strike="noStrike" cap="none" normalizeH="0" baseline="0">
                <a:ln>
                  <a:noFill/>
                </a:ln>
                <a:solidFill>
                  <a:schemeClr val="bg1"/>
                </a:solidFill>
                <a:effectLst/>
                <a:latin typeface="+mn-lt"/>
              </a:rPr>
              <a:t>SBA Benefits</a:t>
            </a:r>
          </a:p>
          <a:p>
            <a:pPr marL="342900" indent="-342900" fontAlgn="base">
              <a:spcBef>
                <a:spcPts val="300"/>
              </a:spcBef>
              <a:spcAft>
                <a:spcPct val="0"/>
              </a:spcAft>
              <a:buFont typeface="Arial" panose="020B0604020202020204" pitchFamily="34" charset="0"/>
              <a:buChar char="•"/>
            </a:pPr>
            <a:r>
              <a:rPr lang="en-US">
                <a:solidFill>
                  <a:schemeClr val="bg1"/>
                </a:solidFill>
              </a:rPr>
              <a:t>Enables more reusability</a:t>
            </a:r>
          </a:p>
          <a:p>
            <a:pPr marL="342900" indent="-342900" fontAlgn="base">
              <a:spcBef>
                <a:spcPts val="300"/>
              </a:spcBef>
              <a:spcAft>
                <a:spcPct val="0"/>
              </a:spcAft>
              <a:buFont typeface="Arial" panose="020B0604020202020204" pitchFamily="34" charset="0"/>
              <a:buChar char="•"/>
            </a:pPr>
            <a:r>
              <a:rPr lang="en-US">
                <a:solidFill>
                  <a:schemeClr val="bg1"/>
                </a:solidFill>
              </a:rPr>
              <a:t>Simpler extensibility due to light-weight SBI</a:t>
            </a:r>
          </a:p>
          <a:p>
            <a:pPr marL="342900" indent="-342900" fontAlgn="base">
              <a:spcBef>
                <a:spcPts val="300"/>
              </a:spcBef>
              <a:spcAft>
                <a:spcPct val="0"/>
              </a:spcAft>
              <a:buFont typeface="Arial" panose="020B0604020202020204" pitchFamily="34" charset="0"/>
              <a:buChar char="•"/>
            </a:pPr>
            <a:r>
              <a:rPr lang="en-US">
                <a:solidFill>
                  <a:schemeClr val="bg1"/>
                </a:solidFill>
              </a:rPr>
              <a:t>Openness / exposure without protocol conversions </a:t>
            </a:r>
            <a:endParaRPr kumimoji="0" lang="en-US" b="0" i="0" u="none" strike="noStrike" cap="none" normalizeH="0" baseline="0">
              <a:ln>
                <a:noFill/>
              </a:ln>
              <a:solidFill>
                <a:schemeClr val="bg1"/>
              </a:solidFill>
              <a:effectLst/>
              <a:latin typeface="+mn-lt"/>
            </a:endParaRPr>
          </a:p>
          <a:p>
            <a:pPr marL="342900" marR="0" indent="-34290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endParaRPr kumimoji="0" lang="en-US" b="0" i="0" u="none" strike="noStrike" cap="none" normalizeH="0" baseline="0">
              <a:ln>
                <a:noFill/>
              </a:ln>
              <a:solidFill>
                <a:schemeClr val="bg1"/>
              </a:solidFill>
              <a:effectLst/>
              <a:latin typeface="+mn-lt"/>
            </a:endParaRPr>
          </a:p>
        </p:txBody>
      </p:sp>
      <p:sp>
        <p:nvSpPr>
          <p:cNvPr id="6" name="Rectangle: Rounded Corners 5">
            <a:extLst>
              <a:ext uri="{FF2B5EF4-FFF2-40B4-BE49-F238E27FC236}">
                <a16:creationId xmlns:a16="http://schemas.microsoft.com/office/drawing/2014/main" id="{053B8ADF-286C-4C8E-BCCD-AC088362E9D0}"/>
              </a:ext>
            </a:extLst>
          </p:cNvPr>
          <p:cNvSpPr/>
          <p:nvPr/>
        </p:nvSpPr>
        <p:spPr bwMode="auto">
          <a:xfrm>
            <a:off x="7659757" y="2517912"/>
            <a:ext cx="927652" cy="1669774"/>
          </a:xfrm>
          <a:prstGeom prst="roundRect">
            <a:avLst/>
          </a:prstGeom>
          <a:solidFill>
            <a:srgbClr val="002060"/>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7" name="Rectangle: Rounded Corners 6">
            <a:extLst>
              <a:ext uri="{FF2B5EF4-FFF2-40B4-BE49-F238E27FC236}">
                <a16:creationId xmlns:a16="http://schemas.microsoft.com/office/drawing/2014/main" id="{6007225D-6EDB-4561-9FB0-08C5D8175802}"/>
              </a:ext>
            </a:extLst>
          </p:cNvPr>
          <p:cNvSpPr/>
          <p:nvPr/>
        </p:nvSpPr>
        <p:spPr bwMode="auto">
          <a:xfrm>
            <a:off x="7775989" y="2640496"/>
            <a:ext cx="688836" cy="506896"/>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600" b="0" i="0" u="none" strike="noStrike" cap="none" normalizeH="0" baseline="0">
                <a:ln>
                  <a:noFill/>
                </a:ln>
                <a:solidFill>
                  <a:srgbClr val="002060"/>
                </a:solidFill>
                <a:effectLst/>
                <a:latin typeface="+mn-lt"/>
              </a:rPr>
              <a:t>NFS</a:t>
            </a:r>
            <a:br>
              <a:rPr kumimoji="0" lang="en-US" sz="1600" b="0" i="0" u="none" strike="noStrike" cap="none" normalizeH="0" baseline="0">
                <a:ln>
                  <a:noFill/>
                </a:ln>
                <a:solidFill>
                  <a:srgbClr val="002060"/>
                </a:solidFill>
                <a:effectLst/>
                <a:latin typeface="+mn-lt"/>
              </a:rPr>
            </a:br>
            <a:r>
              <a:rPr kumimoji="0" lang="en-US" sz="1600" b="0" i="0" u="none" strike="noStrike" cap="none" normalizeH="0" baseline="0">
                <a:ln>
                  <a:noFill/>
                </a:ln>
                <a:solidFill>
                  <a:srgbClr val="002060"/>
                </a:solidFill>
                <a:effectLst/>
                <a:latin typeface="+mn-lt"/>
              </a:rPr>
              <a:t>A1</a:t>
            </a:r>
          </a:p>
        </p:txBody>
      </p:sp>
      <p:sp>
        <p:nvSpPr>
          <p:cNvPr id="9" name="Rectangle: Rounded Corners 8">
            <a:extLst>
              <a:ext uri="{FF2B5EF4-FFF2-40B4-BE49-F238E27FC236}">
                <a16:creationId xmlns:a16="http://schemas.microsoft.com/office/drawing/2014/main" id="{B352D513-8364-4793-802B-1C33F58DF8D9}"/>
              </a:ext>
            </a:extLst>
          </p:cNvPr>
          <p:cNvSpPr/>
          <p:nvPr/>
        </p:nvSpPr>
        <p:spPr bwMode="auto">
          <a:xfrm>
            <a:off x="7775989" y="3531706"/>
            <a:ext cx="688836" cy="506896"/>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600" b="0" i="0" u="none" strike="noStrike" cap="none" normalizeH="0" baseline="0">
                <a:ln>
                  <a:noFill/>
                </a:ln>
                <a:solidFill>
                  <a:srgbClr val="002060"/>
                </a:solidFill>
                <a:effectLst/>
                <a:latin typeface="+mn-lt"/>
              </a:rPr>
              <a:t>NFS</a:t>
            </a:r>
            <a:br>
              <a:rPr kumimoji="0" lang="en-US" sz="1600" b="0" i="0" u="none" strike="noStrike" cap="none" normalizeH="0" baseline="0">
                <a:ln>
                  <a:noFill/>
                </a:ln>
                <a:solidFill>
                  <a:srgbClr val="002060"/>
                </a:solidFill>
                <a:effectLst/>
                <a:latin typeface="+mn-lt"/>
              </a:rPr>
            </a:br>
            <a:r>
              <a:rPr kumimoji="0" lang="en-US" sz="1600" b="0" i="0" u="none" strike="noStrike" cap="none" normalizeH="0" baseline="0">
                <a:ln>
                  <a:noFill/>
                </a:ln>
                <a:solidFill>
                  <a:srgbClr val="002060"/>
                </a:solidFill>
                <a:effectLst/>
                <a:latin typeface="+mn-lt"/>
              </a:rPr>
              <a:t>A2</a:t>
            </a:r>
          </a:p>
        </p:txBody>
      </p:sp>
      <p:sp>
        <p:nvSpPr>
          <p:cNvPr id="10" name="TextBox 9">
            <a:extLst>
              <a:ext uri="{FF2B5EF4-FFF2-40B4-BE49-F238E27FC236}">
                <a16:creationId xmlns:a16="http://schemas.microsoft.com/office/drawing/2014/main" id="{06DD52A0-75DC-4578-8357-EC005B07D793}"/>
              </a:ext>
            </a:extLst>
          </p:cNvPr>
          <p:cNvSpPr txBox="1"/>
          <p:nvPr/>
        </p:nvSpPr>
        <p:spPr bwMode="auto">
          <a:xfrm>
            <a:off x="7837994" y="4187686"/>
            <a:ext cx="601694" cy="31335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a:solidFill>
                  <a:srgbClr val="002060"/>
                </a:solidFill>
              </a:rPr>
              <a:t>NF-A</a:t>
            </a:r>
          </a:p>
        </p:txBody>
      </p:sp>
      <p:sp>
        <p:nvSpPr>
          <p:cNvPr id="11" name="Rectangle: Rounded Corners 10">
            <a:extLst>
              <a:ext uri="{FF2B5EF4-FFF2-40B4-BE49-F238E27FC236}">
                <a16:creationId xmlns:a16="http://schemas.microsoft.com/office/drawing/2014/main" id="{F4B2B45A-86A6-4440-A98C-AAA6FE746FA6}"/>
              </a:ext>
            </a:extLst>
          </p:cNvPr>
          <p:cNvSpPr/>
          <p:nvPr/>
        </p:nvSpPr>
        <p:spPr bwMode="auto">
          <a:xfrm>
            <a:off x="10489096" y="2517912"/>
            <a:ext cx="927652" cy="1673090"/>
          </a:xfrm>
          <a:prstGeom prst="roundRect">
            <a:avLst/>
          </a:prstGeom>
          <a:solidFill>
            <a:srgbClr val="002060"/>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 name="Rectangle: Rounded Corners 11">
            <a:extLst>
              <a:ext uri="{FF2B5EF4-FFF2-40B4-BE49-F238E27FC236}">
                <a16:creationId xmlns:a16="http://schemas.microsoft.com/office/drawing/2014/main" id="{36B0D163-8D47-457B-B55B-96EF6610C74D}"/>
              </a:ext>
            </a:extLst>
          </p:cNvPr>
          <p:cNvSpPr/>
          <p:nvPr/>
        </p:nvSpPr>
        <p:spPr bwMode="auto">
          <a:xfrm>
            <a:off x="10605328" y="2630561"/>
            <a:ext cx="688836" cy="506896"/>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600" b="0" i="0" u="none" strike="noStrike" cap="none" normalizeH="0" baseline="0">
                <a:ln>
                  <a:noFill/>
                </a:ln>
                <a:solidFill>
                  <a:srgbClr val="002060"/>
                </a:solidFill>
                <a:effectLst/>
                <a:latin typeface="+mn-lt"/>
              </a:rPr>
              <a:t>NFS</a:t>
            </a:r>
            <a:br>
              <a:rPr kumimoji="0" lang="en-US" sz="1600" b="0" i="0" u="none" strike="noStrike" cap="none" normalizeH="0" baseline="0">
                <a:ln>
                  <a:noFill/>
                </a:ln>
                <a:solidFill>
                  <a:srgbClr val="002060"/>
                </a:solidFill>
                <a:effectLst/>
                <a:latin typeface="+mn-lt"/>
              </a:rPr>
            </a:br>
            <a:r>
              <a:rPr kumimoji="0" lang="en-US" sz="1600" b="0" i="0" u="none" strike="noStrike" cap="none" normalizeH="0" baseline="0">
                <a:ln>
                  <a:noFill/>
                </a:ln>
                <a:solidFill>
                  <a:srgbClr val="002060"/>
                </a:solidFill>
                <a:effectLst/>
                <a:latin typeface="+mn-lt"/>
              </a:rPr>
              <a:t>B1</a:t>
            </a:r>
          </a:p>
        </p:txBody>
      </p:sp>
      <p:sp>
        <p:nvSpPr>
          <p:cNvPr id="13" name="Rectangle: Rounded Corners 12">
            <a:extLst>
              <a:ext uri="{FF2B5EF4-FFF2-40B4-BE49-F238E27FC236}">
                <a16:creationId xmlns:a16="http://schemas.microsoft.com/office/drawing/2014/main" id="{4FAAE76E-777A-4E07-B572-46198D2C43D9}"/>
              </a:ext>
            </a:extLst>
          </p:cNvPr>
          <p:cNvSpPr/>
          <p:nvPr/>
        </p:nvSpPr>
        <p:spPr bwMode="auto">
          <a:xfrm>
            <a:off x="10605328" y="3535022"/>
            <a:ext cx="688836" cy="506896"/>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600" b="0" i="0" u="none" strike="noStrike" cap="none" normalizeH="0" baseline="0">
                <a:ln>
                  <a:noFill/>
                </a:ln>
                <a:solidFill>
                  <a:srgbClr val="002060"/>
                </a:solidFill>
                <a:effectLst/>
                <a:latin typeface="+mn-lt"/>
              </a:rPr>
              <a:t>NFS</a:t>
            </a:r>
            <a:br>
              <a:rPr kumimoji="0" lang="en-US" sz="1600" b="0" i="0" u="none" strike="noStrike" cap="none" normalizeH="0" baseline="0">
                <a:ln>
                  <a:noFill/>
                </a:ln>
                <a:solidFill>
                  <a:srgbClr val="002060"/>
                </a:solidFill>
                <a:effectLst/>
                <a:latin typeface="+mn-lt"/>
              </a:rPr>
            </a:br>
            <a:r>
              <a:rPr kumimoji="0" lang="en-US" sz="1600" b="0" i="0" u="none" strike="noStrike" cap="none" normalizeH="0" baseline="0">
                <a:ln>
                  <a:noFill/>
                </a:ln>
                <a:solidFill>
                  <a:srgbClr val="002060"/>
                </a:solidFill>
                <a:effectLst/>
                <a:latin typeface="+mn-lt"/>
              </a:rPr>
              <a:t>B2</a:t>
            </a:r>
          </a:p>
        </p:txBody>
      </p:sp>
      <p:sp>
        <p:nvSpPr>
          <p:cNvPr id="14" name="TextBox 13">
            <a:extLst>
              <a:ext uri="{FF2B5EF4-FFF2-40B4-BE49-F238E27FC236}">
                <a16:creationId xmlns:a16="http://schemas.microsoft.com/office/drawing/2014/main" id="{A3802452-A2DD-404F-BC0C-CAE8DC63C841}"/>
              </a:ext>
            </a:extLst>
          </p:cNvPr>
          <p:cNvSpPr txBox="1"/>
          <p:nvPr/>
        </p:nvSpPr>
        <p:spPr bwMode="auto">
          <a:xfrm>
            <a:off x="10667333" y="4191002"/>
            <a:ext cx="600092" cy="313350"/>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a:solidFill>
                  <a:srgbClr val="002060"/>
                </a:solidFill>
              </a:rPr>
              <a:t>NF-B</a:t>
            </a:r>
          </a:p>
        </p:txBody>
      </p:sp>
      <p:sp>
        <p:nvSpPr>
          <p:cNvPr id="15" name="Rectangle: Rounded Corners 14">
            <a:extLst>
              <a:ext uri="{FF2B5EF4-FFF2-40B4-BE49-F238E27FC236}">
                <a16:creationId xmlns:a16="http://schemas.microsoft.com/office/drawing/2014/main" id="{670CE065-BD0F-41A0-B8F0-4F6AFD463628}"/>
              </a:ext>
            </a:extLst>
          </p:cNvPr>
          <p:cNvSpPr/>
          <p:nvPr/>
        </p:nvSpPr>
        <p:spPr bwMode="auto">
          <a:xfrm>
            <a:off x="8991877" y="1374221"/>
            <a:ext cx="927652" cy="722244"/>
          </a:xfrm>
          <a:prstGeom prst="roundRect">
            <a:avLst/>
          </a:prstGeom>
          <a:solidFill>
            <a:srgbClr val="002060"/>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2000" b="0" i="0" u="none" strike="noStrike" cap="none" normalizeH="0" baseline="0">
                <a:ln>
                  <a:noFill/>
                </a:ln>
                <a:solidFill>
                  <a:schemeClr val="bg1"/>
                </a:solidFill>
                <a:effectLst/>
                <a:latin typeface="+mn-lt"/>
              </a:rPr>
              <a:t>NRF</a:t>
            </a:r>
          </a:p>
        </p:txBody>
      </p:sp>
      <p:cxnSp>
        <p:nvCxnSpPr>
          <p:cNvPr id="16" name="Straight Arrow Connector 15">
            <a:extLst>
              <a:ext uri="{FF2B5EF4-FFF2-40B4-BE49-F238E27FC236}">
                <a16:creationId xmlns:a16="http://schemas.microsoft.com/office/drawing/2014/main" id="{30BDE424-A9E5-4826-A06A-1455AA497D13}"/>
              </a:ext>
            </a:extLst>
          </p:cNvPr>
          <p:cNvCxnSpPr>
            <a:cxnSpLocks/>
          </p:cNvCxnSpPr>
          <p:nvPr/>
        </p:nvCxnSpPr>
        <p:spPr bwMode="auto">
          <a:xfrm flipH="1" flipV="1">
            <a:off x="9960226" y="1846748"/>
            <a:ext cx="744473" cy="648517"/>
          </a:xfrm>
          <a:prstGeom prst="straightConnector1">
            <a:avLst/>
          </a:prstGeom>
          <a:solidFill>
            <a:schemeClr val="accent1"/>
          </a:solidFill>
          <a:ln w="3175" cap="flat" cmpd="sng" algn="ctr">
            <a:solidFill>
              <a:schemeClr val="tx1"/>
            </a:solidFill>
            <a:prstDash val="solid"/>
            <a:round/>
            <a:headEnd type="none" w="med" len="med"/>
            <a:tailEnd type="triangle"/>
          </a:ln>
          <a:effectLst/>
        </p:spPr>
      </p:cxnSp>
      <p:sp>
        <p:nvSpPr>
          <p:cNvPr id="17" name="TextBox 16">
            <a:extLst>
              <a:ext uri="{FF2B5EF4-FFF2-40B4-BE49-F238E27FC236}">
                <a16:creationId xmlns:a16="http://schemas.microsoft.com/office/drawing/2014/main" id="{0ECB65BA-546E-4453-A1B0-6418808D8455}"/>
              </a:ext>
            </a:extLst>
          </p:cNvPr>
          <p:cNvSpPr txBox="1"/>
          <p:nvPr/>
        </p:nvSpPr>
        <p:spPr bwMode="auto">
          <a:xfrm>
            <a:off x="10259108" y="1949433"/>
            <a:ext cx="837336"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registration</a:t>
            </a:r>
          </a:p>
        </p:txBody>
      </p:sp>
      <p:cxnSp>
        <p:nvCxnSpPr>
          <p:cNvPr id="18" name="Straight Arrow Connector 17">
            <a:extLst>
              <a:ext uri="{FF2B5EF4-FFF2-40B4-BE49-F238E27FC236}">
                <a16:creationId xmlns:a16="http://schemas.microsoft.com/office/drawing/2014/main" id="{BCB23DC0-A1B2-4CA0-83BD-F769F4F619AD}"/>
              </a:ext>
            </a:extLst>
          </p:cNvPr>
          <p:cNvCxnSpPr>
            <a:cxnSpLocks/>
          </p:cNvCxnSpPr>
          <p:nvPr/>
        </p:nvCxnSpPr>
        <p:spPr bwMode="auto">
          <a:xfrm flipV="1">
            <a:off x="8363591" y="1846748"/>
            <a:ext cx="628286" cy="648518"/>
          </a:xfrm>
          <a:prstGeom prst="straightConnector1">
            <a:avLst/>
          </a:prstGeom>
          <a:solidFill>
            <a:schemeClr val="accent1"/>
          </a:solidFill>
          <a:ln w="3175" cap="flat" cmpd="sng" algn="ctr">
            <a:solidFill>
              <a:schemeClr val="tx1"/>
            </a:solidFill>
            <a:prstDash val="solid"/>
            <a:round/>
            <a:headEnd type="triangle" w="med" len="med"/>
            <a:tailEnd type="none" w="med" len="med"/>
          </a:ln>
          <a:effectLst/>
        </p:spPr>
      </p:cxnSp>
      <p:sp>
        <p:nvSpPr>
          <p:cNvPr id="19" name="TextBox 18">
            <a:extLst>
              <a:ext uri="{FF2B5EF4-FFF2-40B4-BE49-F238E27FC236}">
                <a16:creationId xmlns:a16="http://schemas.microsoft.com/office/drawing/2014/main" id="{6F396530-075F-4091-A9EC-70E235644980}"/>
              </a:ext>
            </a:extLst>
          </p:cNvPr>
          <p:cNvSpPr txBox="1"/>
          <p:nvPr/>
        </p:nvSpPr>
        <p:spPr bwMode="auto">
          <a:xfrm>
            <a:off x="8020896" y="1943543"/>
            <a:ext cx="697874"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discovery</a:t>
            </a:r>
          </a:p>
        </p:txBody>
      </p:sp>
      <p:cxnSp>
        <p:nvCxnSpPr>
          <p:cNvPr id="20" name="Straight Arrow Connector 19">
            <a:extLst>
              <a:ext uri="{FF2B5EF4-FFF2-40B4-BE49-F238E27FC236}">
                <a16:creationId xmlns:a16="http://schemas.microsoft.com/office/drawing/2014/main" id="{7851A136-3083-424D-8E99-8E888A0CCC44}"/>
              </a:ext>
            </a:extLst>
          </p:cNvPr>
          <p:cNvCxnSpPr/>
          <p:nvPr/>
        </p:nvCxnSpPr>
        <p:spPr bwMode="auto">
          <a:xfrm>
            <a:off x="8861025" y="2740696"/>
            <a:ext cx="1372759" cy="0"/>
          </a:xfrm>
          <a:prstGeom prst="straightConnector1">
            <a:avLst/>
          </a:prstGeom>
          <a:solidFill>
            <a:schemeClr val="accent1"/>
          </a:solidFill>
          <a:ln w="3175" cap="flat" cmpd="sng" algn="ctr">
            <a:solidFill>
              <a:schemeClr val="tx1"/>
            </a:solidFill>
            <a:prstDash val="solid"/>
            <a:round/>
            <a:headEnd type="none" w="med" len="med"/>
            <a:tailEnd type="triangle"/>
          </a:ln>
          <a:effectLst/>
        </p:spPr>
      </p:cxnSp>
      <p:sp>
        <p:nvSpPr>
          <p:cNvPr id="21" name="TextBox 20">
            <a:extLst>
              <a:ext uri="{FF2B5EF4-FFF2-40B4-BE49-F238E27FC236}">
                <a16:creationId xmlns:a16="http://schemas.microsoft.com/office/drawing/2014/main" id="{0E68A055-2188-4091-9166-F7843CCA7ACA}"/>
              </a:ext>
            </a:extLst>
          </p:cNvPr>
          <p:cNvSpPr txBox="1"/>
          <p:nvPr/>
        </p:nvSpPr>
        <p:spPr bwMode="auto">
          <a:xfrm>
            <a:off x="9212814" y="2516619"/>
            <a:ext cx="569634"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request</a:t>
            </a:r>
          </a:p>
        </p:txBody>
      </p:sp>
      <p:cxnSp>
        <p:nvCxnSpPr>
          <p:cNvPr id="22" name="Straight Arrow Connector 21">
            <a:extLst>
              <a:ext uri="{FF2B5EF4-FFF2-40B4-BE49-F238E27FC236}">
                <a16:creationId xmlns:a16="http://schemas.microsoft.com/office/drawing/2014/main" id="{2BA4AC92-C777-4877-811D-0B60402BFE11}"/>
              </a:ext>
            </a:extLst>
          </p:cNvPr>
          <p:cNvCxnSpPr/>
          <p:nvPr/>
        </p:nvCxnSpPr>
        <p:spPr bwMode="auto">
          <a:xfrm>
            <a:off x="8861025" y="2987041"/>
            <a:ext cx="1372759" cy="0"/>
          </a:xfrm>
          <a:prstGeom prst="straightConnector1">
            <a:avLst/>
          </a:prstGeom>
          <a:solidFill>
            <a:schemeClr val="accent1"/>
          </a:solidFill>
          <a:ln w="3175" cap="flat" cmpd="sng" algn="ctr">
            <a:solidFill>
              <a:schemeClr val="tx1"/>
            </a:solidFill>
            <a:prstDash val="solid"/>
            <a:round/>
            <a:headEnd type="triangle" w="med" len="med"/>
            <a:tailEnd type="none" w="med" len="med"/>
          </a:ln>
          <a:effectLst/>
        </p:spPr>
      </p:cxnSp>
      <p:sp>
        <p:nvSpPr>
          <p:cNvPr id="23" name="TextBox 22">
            <a:extLst>
              <a:ext uri="{FF2B5EF4-FFF2-40B4-BE49-F238E27FC236}">
                <a16:creationId xmlns:a16="http://schemas.microsoft.com/office/drawing/2014/main" id="{D0C4477E-0AC2-4D6C-8FEB-959DE5D8AB7C}"/>
              </a:ext>
            </a:extLst>
          </p:cNvPr>
          <p:cNvSpPr txBox="1"/>
          <p:nvPr/>
        </p:nvSpPr>
        <p:spPr bwMode="auto">
          <a:xfrm>
            <a:off x="9187762" y="2781844"/>
            <a:ext cx="665814"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response</a:t>
            </a:r>
          </a:p>
        </p:txBody>
      </p:sp>
      <p:cxnSp>
        <p:nvCxnSpPr>
          <p:cNvPr id="24" name="Straight Arrow Connector 23">
            <a:extLst>
              <a:ext uri="{FF2B5EF4-FFF2-40B4-BE49-F238E27FC236}">
                <a16:creationId xmlns:a16="http://schemas.microsoft.com/office/drawing/2014/main" id="{415BAEA5-8E4B-4873-AB7E-530E411D8BDA}"/>
              </a:ext>
            </a:extLst>
          </p:cNvPr>
          <p:cNvCxnSpPr/>
          <p:nvPr/>
        </p:nvCxnSpPr>
        <p:spPr bwMode="auto">
          <a:xfrm>
            <a:off x="8861025" y="3700297"/>
            <a:ext cx="1372759" cy="0"/>
          </a:xfrm>
          <a:prstGeom prst="straightConnector1">
            <a:avLst/>
          </a:prstGeom>
          <a:solidFill>
            <a:schemeClr val="accent1"/>
          </a:solidFill>
          <a:ln w="3175" cap="flat" cmpd="sng" algn="ctr">
            <a:solidFill>
              <a:schemeClr val="tx1"/>
            </a:solidFill>
            <a:prstDash val="solid"/>
            <a:round/>
            <a:headEnd type="none" w="med" len="med"/>
            <a:tailEnd type="triangle"/>
          </a:ln>
          <a:effectLst/>
        </p:spPr>
      </p:cxnSp>
      <p:sp>
        <p:nvSpPr>
          <p:cNvPr id="25" name="TextBox 24">
            <a:extLst>
              <a:ext uri="{FF2B5EF4-FFF2-40B4-BE49-F238E27FC236}">
                <a16:creationId xmlns:a16="http://schemas.microsoft.com/office/drawing/2014/main" id="{91F97CCA-4042-4EB2-83FD-B5D3D6B85B22}"/>
              </a:ext>
            </a:extLst>
          </p:cNvPr>
          <p:cNvSpPr txBox="1"/>
          <p:nvPr/>
        </p:nvSpPr>
        <p:spPr bwMode="auto">
          <a:xfrm>
            <a:off x="9212814" y="3476220"/>
            <a:ext cx="6946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subscribe</a:t>
            </a:r>
          </a:p>
        </p:txBody>
      </p:sp>
      <p:cxnSp>
        <p:nvCxnSpPr>
          <p:cNvPr id="26" name="Straight Arrow Connector 25">
            <a:extLst>
              <a:ext uri="{FF2B5EF4-FFF2-40B4-BE49-F238E27FC236}">
                <a16:creationId xmlns:a16="http://schemas.microsoft.com/office/drawing/2014/main" id="{83136877-69BB-4C3B-A844-9775163F507A}"/>
              </a:ext>
            </a:extLst>
          </p:cNvPr>
          <p:cNvCxnSpPr/>
          <p:nvPr/>
        </p:nvCxnSpPr>
        <p:spPr bwMode="auto">
          <a:xfrm>
            <a:off x="8861025" y="3946642"/>
            <a:ext cx="1372759" cy="0"/>
          </a:xfrm>
          <a:prstGeom prst="straightConnector1">
            <a:avLst/>
          </a:prstGeom>
          <a:solidFill>
            <a:schemeClr val="accent1"/>
          </a:solidFill>
          <a:ln w="3175" cap="flat" cmpd="sng" algn="ctr">
            <a:solidFill>
              <a:schemeClr val="tx1"/>
            </a:solidFill>
            <a:prstDash val="solid"/>
            <a:round/>
            <a:headEnd type="triangle" w="med" len="med"/>
            <a:tailEnd type="none" w="med" len="med"/>
          </a:ln>
          <a:effectLst/>
        </p:spPr>
      </p:cxnSp>
      <p:sp>
        <p:nvSpPr>
          <p:cNvPr id="27" name="TextBox 26">
            <a:extLst>
              <a:ext uri="{FF2B5EF4-FFF2-40B4-BE49-F238E27FC236}">
                <a16:creationId xmlns:a16="http://schemas.microsoft.com/office/drawing/2014/main" id="{A19B34F3-0D17-4565-B532-1970734ECE80}"/>
              </a:ext>
            </a:extLst>
          </p:cNvPr>
          <p:cNvSpPr txBox="1"/>
          <p:nvPr/>
        </p:nvSpPr>
        <p:spPr bwMode="auto">
          <a:xfrm>
            <a:off x="9325548" y="3741445"/>
            <a:ext cx="459027"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lgn="l">
              <a:buClr>
                <a:schemeClr val="tx1"/>
              </a:buClr>
            </a:pPr>
            <a:r>
              <a:rPr lang="en-US" sz="1200"/>
              <a:t>notify</a:t>
            </a:r>
          </a:p>
        </p:txBody>
      </p:sp>
      <p:sp>
        <p:nvSpPr>
          <p:cNvPr id="28" name="Arrow: Left-Right 27">
            <a:extLst>
              <a:ext uri="{FF2B5EF4-FFF2-40B4-BE49-F238E27FC236}">
                <a16:creationId xmlns:a16="http://schemas.microsoft.com/office/drawing/2014/main" id="{2939F730-B795-4E6A-A381-19E4A3048CF9}"/>
              </a:ext>
            </a:extLst>
          </p:cNvPr>
          <p:cNvSpPr/>
          <p:nvPr/>
        </p:nvSpPr>
        <p:spPr bwMode="auto">
          <a:xfrm>
            <a:off x="8614852" y="3055651"/>
            <a:ext cx="1867891" cy="417510"/>
          </a:xfrm>
          <a:prstGeom prst="leftRightArrow">
            <a:avLst/>
          </a:prstGeom>
          <a:solidFill>
            <a:schemeClr val="accent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endParaRPr kumimoji="0" lang="en-US" sz="1200" b="0" i="0" u="none" strike="noStrike" cap="none" normalizeH="0" baseline="0">
              <a:ln>
                <a:noFill/>
              </a:ln>
              <a:solidFill>
                <a:schemeClr val="bg1"/>
              </a:solidFill>
              <a:effectLst/>
              <a:latin typeface="+mn-lt"/>
            </a:endParaRPr>
          </a:p>
        </p:txBody>
      </p:sp>
    </p:spTree>
    <p:extLst>
      <p:ext uri="{BB962C8B-B14F-4D97-AF65-F5344CB8AC3E}">
        <p14:creationId xmlns:p14="http://schemas.microsoft.com/office/powerpoint/2010/main" val="1254135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8B306-20C7-4DDC-B221-072966A2948B}"/>
              </a:ext>
            </a:extLst>
          </p:cNvPr>
          <p:cNvSpPr>
            <a:spLocks noGrp="1"/>
          </p:cNvSpPr>
          <p:nvPr>
            <p:ph type="title"/>
          </p:nvPr>
        </p:nvSpPr>
        <p:spPr>
          <a:xfrm>
            <a:off x="479423" y="476250"/>
            <a:ext cx="10464347" cy="1081088"/>
          </a:xfrm>
        </p:spPr>
        <p:txBody>
          <a:bodyPr/>
          <a:lstStyle/>
          <a:p>
            <a:r>
              <a:rPr lang="en-US"/>
              <a:t>Service framework – Discovery and Selection</a:t>
            </a:r>
            <a:br>
              <a:rPr lang="en-US"/>
            </a:br>
            <a:r>
              <a:rPr lang="en-US" sz="2800"/>
              <a:t>R16 SCP: Indirect communication and Delegated Discovery</a:t>
            </a:r>
            <a:endParaRPr lang="en-US" sz="3600"/>
          </a:p>
        </p:txBody>
      </p:sp>
      <p:graphicFrame>
        <p:nvGraphicFramePr>
          <p:cNvPr id="6" name="Table 5">
            <a:extLst>
              <a:ext uri="{FF2B5EF4-FFF2-40B4-BE49-F238E27FC236}">
                <a16:creationId xmlns:a16="http://schemas.microsoft.com/office/drawing/2014/main" id="{F1EB882B-8A73-4E78-A882-6EF7D53EB7D2}"/>
              </a:ext>
            </a:extLst>
          </p:cNvPr>
          <p:cNvGraphicFramePr>
            <a:graphicFrameLocks noGrp="1"/>
          </p:cNvGraphicFramePr>
          <p:nvPr>
            <p:extLst>
              <p:ext uri="{D42A27DB-BD31-4B8C-83A1-F6EECF244321}">
                <p14:modId xmlns:p14="http://schemas.microsoft.com/office/powerpoint/2010/main" val="2224287623"/>
              </p:ext>
            </p:extLst>
          </p:nvPr>
        </p:nvGraphicFramePr>
        <p:xfrm>
          <a:off x="7469686" y="2636255"/>
          <a:ext cx="4385847" cy="2654300"/>
        </p:xfrm>
        <a:graphic>
          <a:graphicData uri="http://schemas.openxmlformats.org/drawingml/2006/table">
            <a:tbl>
              <a:tblPr firstRow="1" firstCol="1" bandRow="1">
                <a:tableStyleId>{5C22544A-7EE6-4342-B048-85BDC9FD1C3A}</a:tableStyleId>
              </a:tblPr>
              <a:tblGrid>
                <a:gridCol w="1139764">
                  <a:extLst>
                    <a:ext uri="{9D8B030D-6E8A-4147-A177-3AD203B41FA5}">
                      <a16:colId xmlns:a16="http://schemas.microsoft.com/office/drawing/2014/main" val="872107432"/>
                    </a:ext>
                  </a:extLst>
                </a:gridCol>
                <a:gridCol w="2523771">
                  <a:extLst>
                    <a:ext uri="{9D8B030D-6E8A-4147-A177-3AD203B41FA5}">
                      <a16:colId xmlns:a16="http://schemas.microsoft.com/office/drawing/2014/main" val="217003000"/>
                    </a:ext>
                  </a:extLst>
                </a:gridCol>
                <a:gridCol w="722312">
                  <a:extLst>
                    <a:ext uri="{9D8B030D-6E8A-4147-A177-3AD203B41FA5}">
                      <a16:colId xmlns:a16="http://schemas.microsoft.com/office/drawing/2014/main" val="561566964"/>
                    </a:ext>
                  </a:extLst>
                </a:gridCol>
              </a:tblGrid>
              <a:tr h="673100">
                <a:tc>
                  <a:txBody>
                    <a:bodyPr/>
                    <a:lstStyle/>
                    <a:p>
                      <a:pPr>
                        <a:spcAft>
                          <a:spcPts val="900"/>
                        </a:spcAft>
                      </a:pPr>
                      <a:r>
                        <a:rPr lang="en-GB" sz="1000" u="none">
                          <a:effectLst/>
                        </a:rPr>
                        <a:t>Consumer and producer communication</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spcAft>
                          <a:spcPts val="900"/>
                        </a:spcAft>
                      </a:pPr>
                      <a:r>
                        <a:rPr lang="en-GB" sz="1000" u="none">
                          <a:effectLst/>
                        </a:rPr>
                        <a:t>Service discovery and request routing</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lgn="ctr">
                        <a:spcAft>
                          <a:spcPts val="900"/>
                        </a:spcAft>
                      </a:pPr>
                      <a:r>
                        <a:rPr lang="en-GB" sz="1000" u="none">
                          <a:effectLst/>
                        </a:rPr>
                        <a:t>Communication option</a:t>
                      </a:r>
                      <a:endParaRPr lang="en-US" sz="1000" u="none">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209480065"/>
                  </a:ext>
                </a:extLst>
              </a:tr>
              <a:tr h="276225">
                <a:tc rowSpan="2">
                  <a:txBody>
                    <a:bodyPr/>
                    <a:lstStyle/>
                    <a:p>
                      <a:pPr>
                        <a:spcAft>
                          <a:spcPts val="900"/>
                        </a:spcAft>
                      </a:pPr>
                      <a:r>
                        <a:rPr lang="en-GB" sz="1000" u="none">
                          <a:effectLst/>
                        </a:rPr>
                        <a:t>Direct communication</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spcAft>
                          <a:spcPts val="900"/>
                        </a:spcAft>
                      </a:pPr>
                      <a:r>
                        <a:rPr lang="en-GB" sz="1000" u="none">
                          <a:effectLst/>
                        </a:rPr>
                        <a:t>Neither NRF nor SCP; direct routing between consumer and producer</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lgn="ctr">
                        <a:spcAft>
                          <a:spcPts val="900"/>
                        </a:spcAft>
                      </a:pPr>
                      <a:r>
                        <a:rPr lang="en-GB" sz="1000" u="none">
                          <a:effectLst/>
                        </a:rPr>
                        <a:t>A</a:t>
                      </a:r>
                      <a:endParaRPr lang="en-US" sz="1000" u="none">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966751822"/>
                  </a:ext>
                </a:extLst>
              </a:tr>
              <a:tr h="276225">
                <a:tc vMerge="1">
                  <a:txBody>
                    <a:bodyPr/>
                    <a:lstStyle/>
                    <a:p>
                      <a:endParaRPr lang="en-US"/>
                    </a:p>
                  </a:txBody>
                  <a:tcPr/>
                </a:tc>
                <a:tc>
                  <a:txBody>
                    <a:bodyPr/>
                    <a:lstStyle/>
                    <a:p>
                      <a:pPr>
                        <a:spcAft>
                          <a:spcPts val="900"/>
                        </a:spcAft>
                      </a:pPr>
                      <a:r>
                        <a:rPr lang="en-GB" sz="1000" u="none">
                          <a:effectLst/>
                        </a:rPr>
                        <a:t>Discovery using NRF services; no SCP; direct routing between consumer and producer</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lgn="ctr">
                        <a:spcAft>
                          <a:spcPts val="900"/>
                        </a:spcAft>
                      </a:pPr>
                      <a:r>
                        <a:rPr lang="en-GB" sz="1000" u="none">
                          <a:effectLst/>
                        </a:rPr>
                        <a:t>B</a:t>
                      </a:r>
                      <a:endParaRPr lang="en-US" sz="1000" u="none">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1008223974"/>
                  </a:ext>
                </a:extLst>
              </a:tr>
              <a:tr h="374015">
                <a:tc rowSpan="2">
                  <a:txBody>
                    <a:bodyPr/>
                    <a:lstStyle/>
                    <a:p>
                      <a:pPr>
                        <a:spcAft>
                          <a:spcPts val="900"/>
                        </a:spcAft>
                      </a:pPr>
                      <a:r>
                        <a:rPr lang="en-GB" sz="1000" u="none">
                          <a:effectLst/>
                        </a:rPr>
                        <a:t>Indirect communication</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spcAft>
                          <a:spcPts val="900"/>
                        </a:spcAft>
                      </a:pPr>
                      <a:r>
                        <a:rPr lang="en-GB" sz="1000" u="none">
                          <a:effectLst/>
                        </a:rPr>
                        <a:t>Discovery using NRF services; selection can be delegated to SCP. Routing between consumer and producer via SCP</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lgn="ctr">
                        <a:spcAft>
                          <a:spcPts val="900"/>
                        </a:spcAft>
                      </a:pPr>
                      <a:r>
                        <a:rPr lang="en-GB" sz="1000" u="none">
                          <a:effectLst/>
                        </a:rPr>
                        <a:t>C</a:t>
                      </a:r>
                      <a:endParaRPr lang="en-US" sz="1000" u="none">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456056397"/>
                  </a:ext>
                </a:extLst>
              </a:tr>
              <a:tr h="276225">
                <a:tc vMerge="1">
                  <a:txBody>
                    <a:bodyPr/>
                    <a:lstStyle/>
                    <a:p>
                      <a:endParaRPr lang="en-US"/>
                    </a:p>
                  </a:txBody>
                  <a:tcPr/>
                </a:tc>
                <a:tc>
                  <a:txBody>
                    <a:bodyPr/>
                    <a:lstStyle/>
                    <a:p>
                      <a:pPr>
                        <a:spcAft>
                          <a:spcPts val="900"/>
                        </a:spcAft>
                      </a:pPr>
                      <a:r>
                        <a:rPr lang="en-GB" sz="1000" u="none">
                          <a:effectLst/>
                        </a:rPr>
                        <a:t>Discovery and associated selection delegated to an SCP using discovery and selection parameters in service request; routing between consumer and producer via SCP</a:t>
                      </a:r>
                      <a:endParaRPr lang="en-US" sz="1000" u="none">
                        <a:effectLst/>
                        <a:latin typeface="Times New Roman" panose="02020603050405020304" pitchFamily="18" charset="0"/>
                        <a:ea typeface="SimSun" panose="02010600030101010101" pitchFamily="2" charset="-122"/>
                      </a:endParaRPr>
                    </a:p>
                  </a:txBody>
                  <a:tcPr marL="68580" marR="68580" marT="0" marB="0" anchor="ctr"/>
                </a:tc>
                <a:tc>
                  <a:txBody>
                    <a:bodyPr/>
                    <a:lstStyle/>
                    <a:p>
                      <a:pPr algn="ctr">
                        <a:spcAft>
                          <a:spcPts val="900"/>
                        </a:spcAft>
                      </a:pPr>
                      <a:r>
                        <a:rPr lang="en-GB" sz="1000" u="none">
                          <a:effectLst/>
                        </a:rPr>
                        <a:t>D</a:t>
                      </a:r>
                      <a:endParaRPr lang="en-US" sz="1000" u="none">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896948936"/>
                  </a:ext>
                </a:extLst>
              </a:tr>
            </a:tbl>
          </a:graphicData>
        </a:graphic>
      </p:graphicFrame>
      <p:pic>
        <p:nvPicPr>
          <p:cNvPr id="4" name="Picture 3">
            <a:extLst>
              <a:ext uri="{FF2B5EF4-FFF2-40B4-BE49-F238E27FC236}">
                <a16:creationId xmlns:a16="http://schemas.microsoft.com/office/drawing/2014/main" id="{510E5251-E972-4B0B-AEEA-82844DCC1F9E}"/>
              </a:ext>
            </a:extLst>
          </p:cNvPr>
          <p:cNvPicPr>
            <a:picLocks noChangeAspect="1"/>
          </p:cNvPicPr>
          <p:nvPr/>
        </p:nvPicPr>
        <p:blipFill>
          <a:blip r:embed="rId3"/>
          <a:stretch>
            <a:fillRect/>
          </a:stretch>
        </p:blipFill>
        <p:spPr>
          <a:xfrm>
            <a:off x="640074" y="2056806"/>
            <a:ext cx="6547672" cy="3866606"/>
          </a:xfrm>
          <a:prstGeom prst="rect">
            <a:avLst/>
          </a:prstGeom>
        </p:spPr>
      </p:pic>
      <p:sp>
        <p:nvSpPr>
          <p:cNvPr id="3" name="TextBox 2">
            <a:extLst>
              <a:ext uri="{FF2B5EF4-FFF2-40B4-BE49-F238E27FC236}">
                <a16:creationId xmlns:a16="http://schemas.microsoft.com/office/drawing/2014/main" id="{26900574-B422-4E65-B930-BCB6B674E527}"/>
              </a:ext>
            </a:extLst>
          </p:cNvPr>
          <p:cNvSpPr txBox="1"/>
          <p:nvPr/>
        </p:nvSpPr>
        <p:spPr bwMode="auto">
          <a:xfrm rot="16200000">
            <a:off x="-405950" y="2919407"/>
            <a:ext cx="1667692" cy="251795"/>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Arial" charset="0"/>
                <a:ea typeface="+mn-ea"/>
                <a:cs typeface="+mn-cs"/>
              </a:rPr>
              <a:t>Introduced in Rel-15</a:t>
            </a:r>
          </a:p>
        </p:txBody>
      </p:sp>
      <p:sp>
        <p:nvSpPr>
          <p:cNvPr id="7" name="TextBox 6">
            <a:extLst>
              <a:ext uri="{FF2B5EF4-FFF2-40B4-BE49-F238E27FC236}">
                <a16:creationId xmlns:a16="http://schemas.microsoft.com/office/drawing/2014/main" id="{3E71B509-8F6B-4AB6-81CB-85D2908A74B5}"/>
              </a:ext>
            </a:extLst>
          </p:cNvPr>
          <p:cNvSpPr txBox="1"/>
          <p:nvPr/>
        </p:nvSpPr>
        <p:spPr bwMode="auto">
          <a:xfrm rot="16200000">
            <a:off x="-405950" y="4797792"/>
            <a:ext cx="1667692" cy="251795"/>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Arial" charset="0"/>
                <a:ea typeface="+mn-ea"/>
                <a:cs typeface="+mn-cs"/>
              </a:rPr>
              <a:t>Introduced in Rel-16</a:t>
            </a:r>
          </a:p>
        </p:txBody>
      </p:sp>
      <p:grpSp>
        <p:nvGrpSpPr>
          <p:cNvPr id="12" name="Group 11">
            <a:extLst>
              <a:ext uri="{FF2B5EF4-FFF2-40B4-BE49-F238E27FC236}">
                <a16:creationId xmlns:a16="http://schemas.microsoft.com/office/drawing/2014/main" id="{1D5428FF-0432-4802-86DE-0EFF7B658A24}"/>
              </a:ext>
            </a:extLst>
          </p:cNvPr>
          <p:cNvGrpSpPr/>
          <p:nvPr/>
        </p:nvGrpSpPr>
        <p:grpSpPr>
          <a:xfrm>
            <a:off x="3913910" y="1557338"/>
            <a:ext cx="3260237" cy="2410706"/>
            <a:chOff x="3913910" y="1557338"/>
            <a:chExt cx="3260237" cy="2410706"/>
          </a:xfrm>
        </p:grpSpPr>
        <p:sp>
          <p:nvSpPr>
            <p:cNvPr id="8" name="Rectangle 7">
              <a:extLst>
                <a:ext uri="{FF2B5EF4-FFF2-40B4-BE49-F238E27FC236}">
                  <a16:creationId xmlns:a16="http://schemas.microsoft.com/office/drawing/2014/main" id="{14519F1B-80F5-4D12-AEDC-08B6BCEE467B}"/>
                </a:ext>
              </a:extLst>
            </p:cNvPr>
            <p:cNvSpPr/>
            <p:nvPr/>
          </p:nvSpPr>
          <p:spPr bwMode="auto">
            <a:xfrm>
              <a:off x="3913910" y="2045518"/>
              <a:ext cx="3260237" cy="1922526"/>
            </a:xfrm>
            <a:prstGeom prst="rect">
              <a:avLst/>
            </a:prstGeom>
            <a:noFill/>
            <a:ln w="44450"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1" name="Rectangle 10">
              <a:extLst>
                <a:ext uri="{FF2B5EF4-FFF2-40B4-BE49-F238E27FC236}">
                  <a16:creationId xmlns:a16="http://schemas.microsoft.com/office/drawing/2014/main" id="{B5B4E6B4-2B97-4F97-8F15-73DA7308487F}"/>
                </a:ext>
              </a:extLst>
            </p:cNvPr>
            <p:cNvSpPr/>
            <p:nvPr/>
          </p:nvSpPr>
          <p:spPr bwMode="auto">
            <a:xfrm>
              <a:off x="3913910" y="1557338"/>
              <a:ext cx="3260236" cy="432696"/>
            </a:xfrm>
            <a:prstGeom prst="rect">
              <a:avLst/>
            </a:prstGeom>
            <a:noFill/>
            <a:ln w="44450"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lvl="0" algn="ctr">
                <a:spcBef>
                  <a:spcPts val="300"/>
                </a:spcBef>
                <a:defRPr/>
              </a:pPr>
              <a:r>
                <a:rPr kumimoji="0" lang="en-US" sz="1400" b="1" u="none" strike="noStrike" kern="1200" cap="none" spc="0" normalizeH="0" baseline="0" noProof="0">
                  <a:ln>
                    <a:noFill/>
                  </a:ln>
                  <a:solidFill>
                    <a:schemeClr val="accent2"/>
                  </a:solidFill>
                  <a:effectLst/>
                  <a:uLnTx/>
                  <a:uFillTx/>
                  <a:latin typeface="+mn-lt"/>
                  <a:ea typeface="+mn-ea"/>
                  <a:cs typeface="+mn-cs"/>
                </a:rPr>
                <a:t>Scalable Rel-15 model, </a:t>
              </a:r>
              <a:r>
                <a:rPr lang="en-US" sz="1400" b="1">
                  <a:solidFill>
                    <a:schemeClr val="accent2"/>
                  </a:solidFill>
                  <a:latin typeface="+mn-lt"/>
                </a:rPr>
                <a:t>can be used </a:t>
              </a:r>
              <a:br>
                <a:rPr lang="en-US" sz="1400" b="1">
                  <a:solidFill>
                    <a:schemeClr val="accent2"/>
                  </a:solidFill>
                  <a:latin typeface="+mn-lt"/>
                </a:rPr>
              </a:br>
              <a:r>
                <a:rPr lang="en-US" sz="1400" b="1">
                  <a:solidFill>
                    <a:schemeClr val="accent2"/>
                  </a:solidFill>
                  <a:latin typeface="+mn-lt"/>
                </a:rPr>
                <a:t>with Rel-16 deployments</a:t>
              </a:r>
              <a:endParaRPr kumimoji="0" lang="en-US" sz="1400" b="1" u="none" strike="noStrike" kern="1200" cap="none" spc="0" normalizeH="0" baseline="0" noProof="0">
                <a:ln>
                  <a:noFill/>
                </a:ln>
                <a:solidFill>
                  <a:schemeClr val="accent2"/>
                </a:solidFill>
                <a:effectLst/>
                <a:uLnTx/>
                <a:uFillTx/>
                <a:latin typeface="+mn-lt"/>
              </a:endParaRPr>
            </a:p>
          </p:txBody>
        </p:sp>
      </p:grpSp>
      <p:grpSp>
        <p:nvGrpSpPr>
          <p:cNvPr id="14" name="Group 13">
            <a:extLst>
              <a:ext uri="{FF2B5EF4-FFF2-40B4-BE49-F238E27FC236}">
                <a16:creationId xmlns:a16="http://schemas.microsoft.com/office/drawing/2014/main" id="{AE888226-396A-4F75-AFD2-6628B976FB33}"/>
              </a:ext>
            </a:extLst>
          </p:cNvPr>
          <p:cNvGrpSpPr/>
          <p:nvPr/>
        </p:nvGrpSpPr>
        <p:grpSpPr>
          <a:xfrm>
            <a:off x="640074" y="3968044"/>
            <a:ext cx="3260237" cy="2255489"/>
            <a:chOff x="640074" y="3968044"/>
            <a:chExt cx="3260237" cy="2255489"/>
          </a:xfrm>
        </p:grpSpPr>
        <p:sp>
          <p:nvSpPr>
            <p:cNvPr id="5" name="Rectangle 4">
              <a:extLst>
                <a:ext uri="{FF2B5EF4-FFF2-40B4-BE49-F238E27FC236}">
                  <a16:creationId xmlns:a16="http://schemas.microsoft.com/office/drawing/2014/main" id="{E2CC8990-57E4-4A0E-8911-0D5FE91F1915}"/>
                </a:ext>
              </a:extLst>
            </p:cNvPr>
            <p:cNvSpPr/>
            <p:nvPr/>
          </p:nvSpPr>
          <p:spPr bwMode="auto">
            <a:xfrm>
              <a:off x="640074" y="3968044"/>
              <a:ext cx="3260237" cy="1955368"/>
            </a:xfrm>
            <a:prstGeom prst="rect">
              <a:avLst/>
            </a:prstGeom>
            <a:noFill/>
            <a:ln w="4445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3" name="Rectangle 12">
              <a:extLst>
                <a:ext uri="{FF2B5EF4-FFF2-40B4-BE49-F238E27FC236}">
                  <a16:creationId xmlns:a16="http://schemas.microsoft.com/office/drawing/2014/main" id="{69CB55BF-335A-4300-8957-BEB3B5518674}"/>
                </a:ext>
              </a:extLst>
            </p:cNvPr>
            <p:cNvSpPr/>
            <p:nvPr/>
          </p:nvSpPr>
          <p:spPr bwMode="auto">
            <a:xfrm>
              <a:off x="838856" y="5990183"/>
              <a:ext cx="3061455" cy="233350"/>
            </a:xfrm>
            <a:prstGeom prst="rect">
              <a:avLst/>
            </a:prstGeom>
            <a:noFill/>
            <a:ln w="44450"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400" b="1" i="0" u="none" strike="noStrike" kern="1200" cap="none" spc="0" normalizeH="0" baseline="0" noProof="0">
                  <a:ln>
                    <a:noFill/>
                  </a:ln>
                  <a:solidFill>
                    <a:srgbClr val="FF8C0A"/>
                  </a:solidFill>
                  <a:effectLst/>
                  <a:uLnTx/>
                  <a:uFillTx/>
                  <a:latin typeface="Ericsson Hilda"/>
                  <a:ea typeface="+mn-ea"/>
                  <a:cs typeface="+mn-cs"/>
                </a:rPr>
                <a:t>Rel-16 model, based on Rel-15</a:t>
              </a:r>
            </a:p>
          </p:txBody>
        </p:sp>
      </p:grpSp>
    </p:spTree>
    <p:extLst>
      <p:ext uri="{BB962C8B-B14F-4D97-AF65-F5344CB8AC3E}">
        <p14:creationId xmlns:p14="http://schemas.microsoft.com/office/powerpoint/2010/main" val="218730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Ericsson Hilda Light" panose="020B0604020202020204" charset="0"/>
                <a:cs typeface="Ericsson Hilda Light" panose="020B0604020202020204" charset="0"/>
              </a:rPr>
              <a:t>About this presentation – slide to be removed</a:t>
            </a:r>
          </a:p>
        </p:txBody>
      </p:sp>
      <p:sp>
        <p:nvSpPr>
          <p:cNvPr id="4" name="Content Placeholder 3">
            <a:extLst>
              <a:ext uri="{FF2B5EF4-FFF2-40B4-BE49-F238E27FC236}">
                <a16:creationId xmlns:a16="http://schemas.microsoft.com/office/drawing/2014/main" id="{9B906EF7-ACEE-4EC5-B09F-3B0F71D23883}"/>
              </a:ext>
            </a:extLst>
          </p:cNvPr>
          <p:cNvSpPr>
            <a:spLocks noGrp="1"/>
          </p:cNvSpPr>
          <p:nvPr>
            <p:ph sz="quarter" idx="10"/>
          </p:nvPr>
        </p:nvSpPr>
        <p:spPr>
          <a:xfrm>
            <a:off x="479425" y="1844674"/>
            <a:ext cx="11233150" cy="4668667"/>
          </a:xfrm>
        </p:spPr>
        <p:txBody>
          <a:bodyPr/>
          <a:lstStyle/>
          <a:p>
            <a:pPr marL="0" indent="0">
              <a:buNone/>
            </a:pPr>
            <a:r>
              <a:rPr lang="en-US" b="1">
                <a:latin typeface="Ericsson Hilda" panose="020B0604020202020204" charset="0"/>
                <a:cs typeface="Ericsson Hilda" panose="020B0604020202020204" charset="0"/>
              </a:rPr>
              <a:t>Scope of the presentation: </a:t>
            </a:r>
            <a:r>
              <a:rPr lang="en-US">
                <a:latin typeface="Ericsson Hilda" panose="020B0604020202020204" charset="0"/>
                <a:cs typeface="Ericsson Hilda" panose="020B0604020202020204" charset="0"/>
              </a:rPr>
              <a:t>This presentation describes Ericsson’s current view (</a:t>
            </a:r>
            <a:r>
              <a:rPr lang="en-US">
                <a:solidFill>
                  <a:srgbClr val="00B0F0"/>
                </a:solidFill>
                <a:latin typeface="Ericsson Hilda" panose="020B0604020202020204" charset="0"/>
                <a:cs typeface="Ericsson Hilda" panose="020B0604020202020204" charset="0"/>
              </a:rPr>
              <a:t>September 2020</a:t>
            </a:r>
            <a:r>
              <a:rPr lang="en-US">
                <a:latin typeface="Ericsson Hilda" panose="020B0604020202020204" charset="0"/>
                <a:cs typeface="Ericsson Hilda" panose="020B0604020202020204" charset="0"/>
              </a:rPr>
              <a:t>) of the 5G Core Network architecture acc to 3GPP rel-15 </a:t>
            </a:r>
            <a:r>
              <a:rPr lang="en-US">
                <a:solidFill>
                  <a:schemeClr val="accent1"/>
                </a:solidFill>
                <a:latin typeface="Ericsson Hilda" panose="020B0604020202020204" charset="0"/>
                <a:cs typeface="Ericsson Hilda" panose="020B0604020202020204" charset="0"/>
              </a:rPr>
              <a:t>and additions in rel-16</a:t>
            </a:r>
            <a:r>
              <a:rPr lang="en-US">
                <a:latin typeface="Ericsson Hilda" panose="020B0604020202020204" charset="0"/>
                <a:cs typeface="Ericsson Hilda" panose="020B0604020202020204" charset="0"/>
              </a:rPr>
              <a:t>. It includes both an overall architecture description and selected topics of the architecture in more detail. Statements in this presentation may change without notice. It will need to be revised as the ongoing internal studies or the ongoing standardization on 3GPP reach new insights and agreements, evolving towards the next gen core network standard.</a:t>
            </a:r>
          </a:p>
          <a:p>
            <a:pPr marL="0" indent="0">
              <a:buNone/>
            </a:pPr>
            <a:endParaRPr lang="en-US">
              <a:latin typeface="Ericsson Hilda" panose="020B0604020202020204" charset="0"/>
              <a:cs typeface="Ericsson Hilda" panose="020B0604020202020204" charset="0"/>
            </a:endParaRPr>
          </a:p>
          <a:p>
            <a:pPr marL="0" indent="0">
              <a:buNone/>
            </a:pPr>
            <a:r>
              <a:rPr lang="en-US" b="1">
                <a:latin typeface="Ericsson Hilda" panose="020B0604020202020204" charset="0"/>
                <a:cs typeface="Ericsson Hilda" panose="020B0604020202020204" charset="0"/>
              </a:rPr>
              <a:t>Objective with the presentation: </a:t>
            </a:r>
            <a:r>
              <a:rPr lang="en-US">
                <a:latin typeface="Ericsson Hilda" panose="020B0604020202020204" charset="0"/>
                <a:cs typeface="Ericsson Hilda" panose="020B0604020202020204" charset="0"/>
              </a:rPr>
              <a:t>The presentation should be seen as discussion material around 5G core network architecture options based on Ericsson’s (current) preferred view.</a:t>
            </a:r>
          </a:p>
          <a:p>
            <a:pPr marL="0" indent="0">
              <a:buNone/>
            </a:pPr>
            <a:endParaRPr lang="en-US">
              <a:latin typeface="Ericsson Hilda" panose="020B0604020202020204" charset="0"/>
              <a:cs typeface="Ericsson Hilda" panose="020B0604020202020204" charset="0"/>
            </a:endParaRPr>
          </a:p>
          <a:p>
            <a:pPr marL="0" indent="0">
              <a:buNone/>
            </a:pPr>
            <a:r>
              <a:rPr lang="en-US" b="1">
                <a:latin typeface="Ericsson Hilda" panose="020B0604020202020204" charset="0"/>
                <a:cs typeface="Ericsson Hilda" panose="020B0604020202020204" charset="0"/>
              </a:rPr>
              <a:t>Please use the latest version</a:t>
            </a:r>
            <a:r>
              <a:rPr lang="en-US">
                <a:latin typeface="Ericsson Hilda" panose="020B0604020202020204" charset="0"/>
                <a:cs typeface="Ericsson Hilda" panose="020B0604020202020204" charset="0"/>
              </a:rPr>
              <a:t>: The latest version of this presentation and associated material is available at the </a:t>
            </a:r>
            <a:r>
              <a:rPr lang="en-US">
                <a:latin typeface="Ericsson Hilda" panose="020B0604020202020204" charset="0"/>
                <a:cs typeface="Ericsson Hilda" panose="020B0604020202020204" charset="0"/>
                <a:hlinkClick r:id="rId3"/>
              </a:rPr>
              <a:t>5G Core Engagement </a:t>
            </a:r>
            <a:r>
              <a:rPr lang="en-US" err="1">
                <a:latin typeface="Ericsson Hilda" panose="020B0604020202020204" charset="0"/>
                <a:cs typeface="Ericsson Hilda" panose="020B0604020202020204" charset="0"/>
                <a:hlinkClick r:id="rId3"/>
              </a:rPr>
              <a:t>EriColl</a:t>
            </a:r>
            <a:r>
              <a:rPr lang="en-US">
                <a:latin typeface="Ericsson Hilda" panose="020B0604020202020204" charset="0"/>
                <a:cs typeface="Ericsson Hilda" panose="020B0604020202020204" charset="0"/>
              </a:rPr>
              <a:t>.</a:t>
            </a:r>
          </a:p>
          <a:p>
            <a:pPr marL="0" indent="0">
              <a:buNone/>
            </a:pPr>
            <a:endParaRPr lang="en-US">
              <a:latin typeface="Ericsson Hilda" panose="020B0604020202020204" charset="0"/>
              <a:cs typeface="Ericsson Hilda" panose="020B0604020202020204" charset="0"/>
            </a:endParaRPr>
          </a:p>
          <a:p>
            <a:pPr marL="0" indent="0">
              <a:buNone/>
            </a:pPr>
            <a:r>
              <a:rPr lang="en-US" b="1">
                <a:latin typeface="Ericsson Hilda" panose="020B0604020202020204" charset="0"/>
                <a:cs typeface="Ericsson Hilda" panose="020B0604020202020204" charset="0"/>
              </a:rPr>
              <a:t>Speakers notes</a:t>
            </a:r>
            <a:r>
              <a:rPr lang="en-US">
                <a:latin typeface="Ericsson Hilda" panose="020B0604020202020204" charset="0"/>
                <a:cs typeface="Ericsson Hilda" panose="020B0604020202020204" charset="0"/>
              </a:rPr>
              <a:t>: The presentation contain speakers notes for each slide to assist in the presentation of the material.</a:t>
            </a:r>
          </a:p>
        </p:txBody>
      </p:sp>
    </p:spTree>
    <p:extLst>
      <p:ext uri="{BB962C8B-B14F-4D97-AF65-F5344CB8AC3E}">
        <p14:creationId xmlns:p14="http://schemas.microsoft.com/office/powerpoint/2010/main" val="3884518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98A4C-1D2F-42A7-95C3-64987F089E9D}"/>
              </a:ext>
            </a:extLst>
          </p:cNvPr>
          <p:cNvSpPr>
            <a:spLocks noGrp="1"/>
          </p:cNvSpPr>
          <p:nvPr>
            <p:ph type="title"/>
          </p:nvPr>
        </p:nvSpPr>
        <p:spPr>
          <a:xfrm>
            <a:off x="479424" y="165106"/>
            <a:ext cx="10909043" cy="928754"/>
          </a:xfrm>
        </p:spPr>
        <p:txBody>
          <a:bodyPr/>
          <a:lstStyle/>
          <a:p>
            <a:r>
              <a:rPr lang="en-US"/>
              <a:t>Service framework – Discovery and Selection</a:t>
            </a:r>
            <a:br>
              <a:rPr lang="en-US" sz="2800"/>
            </a:br>
            <a:r>
              <a:rPr lang="en-US" sz="2800"/>
              <a:t>SBA service communication option details</a:t>
            </a:r>
            <a:endParaRPr lang="sv-SE"/>
          </a:p>
        </p:txBody>
      </p:sp>
      <p:pic>
        <p:nvPicPr>
          <p:cNvPr id="3" name="Picture 2">
            <a:extLst>
              <a:ext uri="{FF2B5EF4-FFF2-40B4-BE49-F238E27FC236}">
                <a16:creationId xmlns:a16="http://schemas.microsoft.com/office/drawing/2014/main" id="{22C05ACF-DEA2-4EC5-850F-7D1BA17A0BB0}"/>
              </a:ext>
            </a:extLst>
          </p:cNvPr>
          <p:cNvPicPr>
            <a:picLocks noChangeAspect="1"/>
          </p:cNvPicPr>
          <p:nvPr/>
        </p:nvPicPr>
        <p:blipFill>
          <a:blip r:embed="rId3"/>
          <a:stretch>
            <a:fillRect/>
          </a:stretch>
        </p:blipFill>
        <p:spPr>
          <a:xfrm>
            <a:off x="1766168" y="1219906"/>
            <a:ext cx="3438222" cy="2032932"/>
          </a:xfrm>
          <a:prstGeom prst="rect">
            <a:avLst/>
          </a:prstGeom>
        </p:spPr>
      </p:pic>
      <p:cxnSp>
        <p:nvCxnSpPr>
          <p:cNvPr id="4" name="Straight Connector 3">
            <a:extLst>
              <a:ext uri="{FF2B5EF4-FFF2-40B4-BE49-F238E27FC236}">
                <a16:creationId xmlns:a16="http://schemas.microsoft.com/office/drawing/2014/main" id="{95EF47F1-7E0A-4D59-993B-67BF60302925}"/>
              </a:ext>
            </a:extLst>
          </p:cNvPr>
          <p:cNvCxnSpPr>
            <a:cxnSpLocks/>
          </p:cNvCxnSpPr>
          <p:nvPr/>
        </p:nvCxnSpPr>
        <p:spPr bwMode="auto">
          <a:xfrm>
            <a:off x="6056273" y="1219906"/>
            <a:ext cx="0" cy="5208068"/>
          </a:xfrm>
          <a:prstGeom prst="line">
            <a:avLst/>
          </a:prstGeom>
          <a:solidFill>
            <a:schemeClr val="accent1"/>
          </a:solidFill>
          <a:ln w="76200" cap="flat" cmpd="sng" algn="ctr">
            <a:solidFill>
              <a:schemeClr val="bg1">
                <a:lumMod val="85000"/>
              </a:schemeClr>
            </a:solidFill>
            <a:prstDash val="solid"/>
            <a:round/>
            <a:headEnd type="none" w="med" len="med"/>
            <a:tailEnd type="none"/>
          </a:ln>
          <a:effectLst/>
        </p:spPr>
      </p:cxnSp>
      <p:cxnSp>
        <p:nvCxnSpPr>
          <p:cNvPr id="5" name="Straight Connector 4">
            <a:extLst>
              <a:ext uri="{FF2B5EF4-FFF2-40B4-BE49-F238E27FC236}">
                <a16:creationId xmlns:a16="http://schemas.microsoft.com/office/drawing/2014/main" id="{8A3FB3BE-52E1-4D54-9616-26AAFE6229F0}"/>
              </a:ext>
            </a:extLst>
          </p:cNvPr>
          <p:cNvCxnSpPr>
            <a:cxnSpLocks/>
          </p:cNvCxnSpPr>
          <p:nvPr/>
        </p:nvCxnSpPr>
        <p:spPr bwMode="auto">
          <a:xfrm>
            <a:off x="666572" y="3580685"/>
            <a:ext cx="11058258" cy="0"/>
          </a:xfrm>
          <a:prstGeom prst="line">
            <a:avLst/>
          </a:prstGeom>
          <a:solidFill>
            <a:schemeClr val="accent1"/>
          </a:solidFill>
          <a:ln w="76200" cap="flat" cmpd="sng" algn="ctr">
            <a:solidFill>
              <a:schemeClr val="bg1">
                <a:lumMod val="85000"/>
              </a:schemeClr>
            </a:solidFill>
            <a:prstDash val="solid"/>
            <a:round/>
            <a:headEnd type="none" w="med" len="med"/>
            <a:tailEnd type="none"/>
          </a:ln>
          <a:effectLst/>
        </p:spPr>
      </p:cxnSp>
      <p:pic>
        <p:nvPicPr>
          <p:cNvPr id="8" name="Picture 7">
            <a:extLst>
              <a:ext uri="{FF2B5EF4-FFF2-40B4-BE49-F238E27FC236}">
                <a16:creationId xmlns:a16="http://schemas.microsoft.com/office/drawing/2014/main" id="{9B65C5B8-66EF-48B6-B9C3-8CFEEB00B3C2}"/>
              </a:ext>
            </a:extLst>
          </p:cNvPr>
          <p:cNvPicPr>
            <a:picLocks noChangeAspect="1"/>
          </p:cNvPicPr>
          <p:nvPr/>
        </p:nvPicPr>
        <p:blipFill>
          <a:blip r:embed="rId4"/>
          <a:stretch>
            <a:fillRect/>
          </a:stretch>
        </p:blipFill>
        <p:spPr>
          <a:xfrm>
            <a:off x="7582859" y="1219906"/>
            <a:ext cx="3313190" cy="2264453"/>
          </a:xfrm>
          <a:prstGeom prst="rect">
            <a:avLst/>
          </a:prstGeom>
        </p:spPr>
      </p:pic>
      <p:pic>
        <p:nvPicPr>
          <p:cNvPr id="9" name="Picture 8">
            <a:extLst>
              <a:ext uri="{FF2B5EF4-FFF2-40B4-BE49-F238E27FC236}">
                <a16:creationId xmlns:a16="http://schemas.microsoft.com/office/drawing/2014/main" id="{02768C61-7750-4B2A-879A-86F25C66273D}"/>
              </a:ext>
            </a:extLst>
          </p:cNvPr>
          <p:cNvPicPr>
            <a:picLocks noChangeAspect="1"/>
          </p:cNvPicPr>
          <p:nvPr/>
        </p:nvPicPr>
        <p:blipFill>
          <a:blip r:embed="rId5"/>
          <a:stretch>
            <a:fillRect/>
          </a:stretch>
        </p:blipFill>
        <p:spPr>
          <a:xfrm>
            <a:off x="1778118" y="3721597"/>
            <a:ext cx="3691349" cy="2732457"/>
          </a:xfrm>
          <a:prstGeom prst="rect">
            <a:avLst/>
          </a:prstGeom>
        </p:spPr>
      </p:pic>
      <p:pic>
        <p:nvPicPr>
          <p:cNvPr id="10" name="Picture 9">
            <a:extLst>
              <a:ext uri="{FF2B5EF4-FFF2-40B4-BE49-F238E27FC236}">
                <a16:creationId xmlns:a16="http://schemas.microsoft.com/office/drawing/2014/main" id="{68AF6EDC-5ABD-4C33-ADA9-A1B36F5987EE}"/>
              </a:ext>
            </a:extLst>
          </p:cNvPr>
          <p:cNvPicPr>
            <a:picLocks noChangeAspect="1"/>
          </p:cNvPicPr>
          <p:nvPr/>
        </p:nvPicPr>
        <p:blipFill>
          <a:blip r:embed="rId6"/>
          <a:stretch>
            <a:fillRect/>
          </a:stretch>
        </p:blipFill>
        <p:spPr>
          <a:xfrm>
            <a:off x="7582859" y="3721597"/>
            <a:ext cx="3805608" cy="2549359"/>
          </a:xfrm>
          <a:prstGeom prst="rect">
            <a:avLst/>
          </a:prstGeom>
        </p:spPr>
      </p:pic>
      <p:sp>
        <p:nvSpPr>
          <p:cNvPr id="11" name="Rectangle 10">
            <a:extLst>
              <a:ext uri="{FF2B5EF4-FFF2-40B4-BE49-F238E27FC236}">
                <a16:creationId xmlns:a16="http://schemas.microsoft.com/office/drawing/2014/main" id="{2B4F50D2-B8D5-4562-851D-0901BC2AB315}"/>
              </a:ext>
            </a:extLst>
          </p:cNvPr>
          <p:cNvSpPr/>
          <p:nvPr/>
        </p:nvSpPr>
        <p:spPr>
          <a:xfrm>
            <a:off x="588963" y="1219906"/>
            <a:ext cx="869469" cy="830997"/>
          </a:xfrm>
          <a:prstGeom prst="rect">
            <a:avLst/>
          </a:prstGeom>
        </p:spPr>
        <p:txBody>
          <a:bodyPr wrap="none">
            <a:spAutoFit/>
          </a:bodyPr>
          <a:lstStyle/>
          <a:p>
            <a:r>
              <a:rPr lang="en-US" sz="2400" kern="1400" spc="-160">
                <a:solidFill>
                  <a:srgbClr val="181818"/>
                </a:solidFill>
                <a:latin typeface="Ericsson Hilda Light"/>
                <a:ea typeface="+mj-ea"/>
                <a:cs typeface="+mj-cs"/>
              </a:rPr>
              <a:t>Opt. A</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rPr>
              <a:t>R15</a:t>
            </a:r>
            <a:endParaRPr lang="sv-SE" sz="1100"/>
          </a:p>
        </p:txBody>
      </p:sp>
      <p:sp>
        <p:nvSpPr>
          <p:cNvPr id="13" name="Rectangle 12">
            <a:extLst>
              <a:ext uri="{FF2B5EF4-FFF2-40B4-BE49-F238E27FC236}">
                <a16:creationId xmlns:a16="http://schemas.microsoft.com/office/drawing/2014/main" id="{F6701AA8-419C-4484-90A9-512532D979D3}"/>
              </a:ext>
            </a:extLst>
          </p:cNvPr>
          <p:cNvSpPr/>
          <p:nvPr/>
        </p:nvSpPr>
        <p:spPr>
          <a:xfrm>
            <a:off x="6208345" y="1219906"/>
            <a:ext cx="871072" cy="830997"/>
          </a:xfrm>
          <a:prstGeom prst="rect">
            <a:avLst/>
          </a:prstGeom>
        </p:spPr>
        <p:txBody>
          <a:bodyPr wrap="none">
            <a:spAutoFit/>
          </a:bodyPr>
          <a:lstStyle/>
          <a:p>
            <a:r>
              <a:rPr lang="en-US" sz="2400" kern="1400" spc="-160">
                <a:solidFill>
                  <a:srgbClr val="181818"/>
                </a:solidFill>
                <a:latin typeface="Ericsson Hilda Light"/>
                <a:ea typeface="+mj-ea"/>
                <a:cs typeface="+mj-cs"/>
              </a:rPr>
              <a:t>Opt. B</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rPr>
              <a:t>R15</a:t>
            </a:r>
            <a:endParaRPr lang="sv-SE" sz="1100"/>
          </a:p>
        </p:txBody>
      </p:sp>
      <p:sp>
        <p:nvSpPr>
          <p:cNvPr id="14" name="Rectangle 13">
            <a:extLst>
              <a:ext uri="{FF2B5EF4-FFF2-40B4-BE49-F238E27FC236}">
                <a16:creationId xmlns:a16="http://schemas.microsoft.com/office/drawing/2014/main" id="{B89CF4E0-3B95-4D4C-B7FB-2EADF6A742F2}"/>
              </a:ext>
            </a:extLst>
          </p:cNvPr>
          <p:cNvSpPr/>
          <p:nvPr/>
        </p:nvSpPr>
        <p:spPr>
          <a:xfrm>
            <a:off x="588963" y="3721597"/>
            <a:ext cx="858248" cy="830997"/>
          </a:xfrm>
          <a:prstGeom prst="rect">
            <a:avLst/>
          </a:prstGeom>
        </p:spPr>
        <p:txBody>
          <a:bodyPr wrap="none">
            <a:spAutoFit/>
          </a:bodyPr>
          <a:lstStyle/>
          <a:p>
            <a:r>
              <a:rPr lang="en-US" sz="2400" kern="1400" spc="-160">
                <a:solidFill>
                  <a:srgbClr val="181818"/>
                </a:solidFill>
                <a:latin typeface="Ericsson Hilda Light"/>
                <a:ea typeface="+mj-ea"/>
                <a:cs typeface="+mj-cs"/>
              </a:rPr>
              <a:t>Opt. C</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ea typeface="+mj-ea"/>
                <a:cs typeface="+mj-cs"/>
              </a:rPr>
              <a:t>R16 </a:t>
            </a:r>
            <a:endParaRPr lang="sv-SE" sz="1100"/>
          </a:p>
        </p:txBody>
      </p:sp>
      <p:sp>
        <p:nvSpPr>
          <p:cNvPr id="15" name="Rectangle 14">
            <a:extLst>
              <a:ext uri="{FF2B5EF4-FFF2-40B4-BE49-F238E27FC236}">
                <a16:creationId xmlns:a16="http://schemas.microsoft.com/office/drawing/2014/main" id="{08716650-AFE8-4611-81CF-9223FA9AD6EE}"/>
              </a:ext>
            </a:extLst>
          </p:cNvPr>
          <p:cNvSpPr/>
          <p:nvPr/>
        </p:nvSpPr>
        <p:spPr>
          <a:xfrm>
            <a:off x="6208345" y="3721597"/>
            <a:ext cx="879087" cy="1000274"/>
          </a:xfrm>
          <a:prstGeom prst="rect">
            <a:avLst/>
          </a:prstGeom>
        </p:spPr>
        <p:txBody>
          <a:bodyPr wrap="none">
            <a:spAutoFit/>
          </a:bodyPr>
          <a:lstStyle/>
          <a:p>
            <a:r>
              <a:rPr lang="en-US" sz="2400" kern="1400" spc="-160">
                <a:solidFill>
                  <a:srgbClr val="181818"/>
                </a:solidFill>
                <a:latin typeface="Ericsson Hilda Light"/>
                <a:ea typeface="+mj-ea"/>
                <a:cs typeface="+mj-cs"/>
              </a:rPr>
              <a:t>Opt. D</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ea typeface="+mj-ea"/>
                <a:cs typeface="+mj-cs"/>
              </a:rPr>
              <a:t>R16 </a:t>
            </a:r>
            <a:br>
              <a:rPr lang="en-US" sz="2400" kern="1400" spc="-160">
                <a:solidFill>
                  <a:srgbClr val="181818"/>
                </a:solidFill>
                <a:latin typeface="Ericsson Hilda Light"/>
                <a:ea typeface="+mj-ea"/>
                <a:cs typeface="+mj-cs"/>
              </a:rPr>
            </a:br>
            <a:endParaRPr lang="sv-SE" sz="1100"/>
          </a:p>
        </p:txBody>
      </p:sp>
    </p:spTree>
    <p:extLst>
      <p:ext uri="{BB962C8B-B14F-4D97-AF65-F5344CB8AC3E}">
        <p14:creationId xmlns:p14="http://schemas.microsoft.com/office/powerpoint/2010/main" val="287287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98A4C-1D2F-42A7-95C3-64987F089E9D}"/>
              </a:ext>
            </a:extLst>
          </p:cNvPr>
          <p:cNvSpPr>
            <a:spLocks noGrp="1"/>
          </p:cNvSpPr>
          <p:nvPr>
            <p:ph type="title"/>
          </p:nvPr>
        </p:nvSpPr>
        <p:spPr>
          <a:xfrm>
            <a:off x="479424" y="165106"/>
            <a:ext cx="10909043" cy="928754"/>
          </a:xfrm>
        </p:spPr>
        <p:txBody>
          <a:bodyPr/>
          <a:lstStyle/>
          <a:p>
            <a:r>
              <a:rPr lang="en-US"/>
              <a:t>Service framework – Discovery and Selection</a:t>
            </a:r>
            <a:br>
              <a:rPr lang="en-US" sz="2800"/>
            </a:br>
            <a:r>
              <a:rPr lang="en-US" sz="2800"/>
              <a:t>SBA service communication option details</a:t>
            </a:r>
            <a:endParaRPr lang="sv-SE"/>
          </a:p>
        </p:txBody>
      </p:sp>
      <p:pic>
        <p:nvPicPr>
          <p:cNvPr id="3" name="Picture 2">
            <a:extLst>
              <a:ext uri="{FF2B5EF4-FFF2-40B4-BE49-F238E27FC236}">
                <a16:creationId xmlns:a16="http://schemas.microsoft.com/office/drawing/2014/main" id="{22C05ACF-DEA2-4EC5-850F-7D1BA17A0BB0}"/>
              </a:ext>
            </a:extLst>
          </p:cNvPr>
          <p:cNvPicPr>
            <a:picLocks noChangeAspect="1"/>
          </p:cNvPicPr>
          <p:nvPr/>
        </p:nvPicPr>
        <p:blipFill>
          <a:blip r:embed="rId3"/>
          <a:stretch>
            <a:fillRect/>
          </a:stretch>
        </p:blipFill>
        <p:spPr>
          <a:xfrm>
            <a:off x="1766168" y="1219906"/>
            <a:ext cx="3438222" cy="2032932"/>
          </a:xfrm>
          <a:prstGeom prst="rect">
            <a:avLst/>
          </a:prstGeom>
        </p:spPr>
      </p:pic>
      <p:cxnSp>
        <p:nvCxnSpPr>
          <p:cNvPr id="4" name="Straight Connector 3">
            <a:extLst>
              <a:ext uri="{FF2B5EF4-FFF2-40B4-BE49-F238E27FC236}">
                <a16:creationId xmlns:a16="http://schemas.microsoft.com/office/drawing/2014/main" id="{95EF47F1-7E0A-4D59-993B-67BF60302925}"/>
              </a:ext>
            </a:extLst>
          </p:cNvPr>
          <p:cNvCxnSpPr>
            <a:cxnSpLocks/>
          </p:cNvCxnSpPr>
          <p:nvPr/>
        </p:nvCxnSpPr>
        <p:spPr bwMode="auto">
          <a:xfrm>
            <a:off x="6056273" y="1219906"/>
            <a:ext cx="0" cy="5208068"/>
          </a:xfrm>
          <a:prstGeom prst="line">
            <a:avLst/>
          </a:prstGeom>
          <a:solidFill>
            <a:schemeClr val="accent1"/>
          </a:solidFill>
          <a:ln w="76200" cap="flat" cmpd="sng" algn="ctr">
            <a:solidFill>
              <a:schemeClr val="bg1">
                <a:lumMod val="85000"/>
              </a:schemeClr>
            </a:solidFill>
            <a:prstDash val="solid"/>
            <a:round/>
            <a:headEnd type="none" w="med" len="med"/>
            <a:tailEnd type="none"/>
          </a:ln>
          <a:effectLst/>
        </p:spPr>
      </p:cxnSp>
      <p:cxnSp>
        <p:nvCxnSpPr>
          <p:cNvPr id="5" name="Straight Connector 4">
            <a:extLst>
              <a:ext uri="{FF2B5EF4-FFF2-40B4-BE49-F238E27FC236}">
                <a16:creationId xmlns:a16="http://schemas.microsoft.com/office/drawing/2014/main" id="{8A3FB3BE-52E1-4D54-9616-26AAFE6229F0}"/>
              </a:ext>
            </a:extLst>
          </p:cNvPr>
          <p:cNvCxnSpPr>
            <a:cxnSpLocks/>
          </p:cNvCxnSpPr>
          <p:nvPr/>
        </p:nvCxnSpPr>
        <p:spPr bwMode="auto">
          <a:xfrm>
            <a:off x="666572" y="3580685"/>
            <a:ext cx="11058258" cy="0"/>
          </a:xfrm>
          <a:prstGeom prst="line">
            <a:avLst/>
          </a:prstGeom>
          <a:solidFill>
            <a:schemeClr val="accent1"/>
          </a:solidFill>
          <a:ln w="76200" cap="flat" cmpd="sng" algn="ctr">
            <a:solidFill>
              <a:schemeClr val="bg1">
                <a:lumMod val="85000"/>
              </a:schemeClr>
            </a:solidFill>
            <a:prstDash val="solid"/>
            <a:round/>
            <a:headEnd type="none" w="med" len="med"/>
            <a:tailEnd type="none"/>
          </a:ln>
          <a:effectLst/>
        </p:spPr>
      </p:cxnSp>
      <p:pic>
        <p:nvPicPr>
          <p:cNvPr id="8" name="Picture 7">
            <a:extLst>
              <a:ext uri="{FF2B5EF4-FFF2-40B4-BE49-F238E27FC236}">
                <a16:creationId xmlns:a16="http://schemas.microsoft.com/office/drawing/2014/main" id="{9B65C5B8-66EF-48B6-B9C3-8CFEEB00B3C2}"/>
              </a:ext>
            </a:extLst>
          </p:cNvPr>
          <p:cNvPicPr>
            <a:picLocks noChangeAspect="1"/>
          </p:cNvPicPr>
          <p:nvPr/>
        </p:nvPicPr>
        <p:blipFill>
          <a:blip r:embed="rId4"/>
          <a:stretch>
            <a:fillRect/>
          </a:stretch>
        </p:blipFill>
        <p:spPr>
          <a:xfrm>
            <a:off x="7582859" y="1219906"/>
            <a:ext cx="3313190" cy="2264453"/>
          </a:xfrm>
          <a:prstGeom prst="rect">
            <a:avLst/>
          </a:prstGeom>
        </p:spPr>
      </p:pic>
      <p:pic>
        <p:nvPicPr>
          <p:cNvPr id="9" name="Picture 8">
            <a:extLst>
              <a:ext uri="{FF2B5EF4-FFF2-40B4-BE49-F238E27FC236}">
                <a16:creationId xmlns:a16="http://schemas.microsoft.com/office/drawing/2014/main" id="{02768C61-7750-4B2A-879A-86F25C66273D}"/>
              </a:ext>
            </a:extLst>
          </p:cNvPr>
          <p:cNvPicPr>
            <a:picLocks noChangeAspect="1"/>
          </p:cNvPicPr>
          <p:nvPr/>
        </p:nvPicPr>
        <p:blipFill>
          <a:blip r:embed="rId5"/>
          <a:stretch>
            <a:fillRect/>
          </a:stretch>
        </p:blipFill>
        <p:spPr>
          <a:xfrm>
            <a:off x="1778118" y="3721597"/>
            <a:ext cx="3691349" cy="2732457"/>
          </a:xfrm>
          <a:prstGeom prst="rect">
            <a:avLst/>
          </a:prstGeom>
        </p:spPr>
      </p:pic>
      <p:pic>
        <p:nvPicPr>
          <p:cNvPr id="10" name="Picture 9">
            <a:extLst>
              <a:ext uri="{FF2B5EF4-FFF2-40B4-BE49-F238E27FC236}">
                <a16:creationId xmlns:a16="http://schemas.microsoft.com/office/drawing/2014/main" id="{68AF6EDC-5ABD-4C33-ADA9-A1B36F5987EE}"/>
              </a:ext>
            </a:extLst>
          </p:cNvPr>
          <p:cNvPicPr>
            <a:picLocks noChangeAspect="1"/>
          </p:cNvPicPr>
          <p:nvPr/>
        </p:nvPicPr>
        <p:blipFill>
          <a:blip r:embed="rId6"/>
          <a:stretch>
            <a:fillRect/>
          </a:stretch>
        </p:blipFill>
        <p:spPr>
          <a:xfrm>
            <a:off x="7582859" y="3721597"/>
            <a:ext cx="3805608" cy="2549359"/>
          </a:xfrm>
          <a:prstGeom prst="rect">
            <a:avLst/>
          </a:prstGeom>
        </p:spPr>
      </p:pic>
      <p:sp>
        <p:nvSpPr>
          <p:cNvPr id="11" name="Rectangle 10">
            <a:extLst>
              <a:ext uri="{FF2B5EF4-FFF2-40B4-BE49-F238E27FC236}">
                <a16:creationId xmlns:a16="http://schemas.microsoft.com/office/drawing/2014/main" id="{2B4F50D2-B8D5-4562-851D-0901BC2AB315}"/>
              </a:ext>
            </a:extLst>
          </p:cNvPr>
          <p:cNvSpPr/>
          <p:nvPr/>
        </p:nvSpPr>
        <p:spPr>
          <a:xfrm>
            <a:off x="588963" y="1219906"/>
            <a:ext cx="869469" cy="830997"/>
          </a:xfrm>
          <a:prstGeom prst="rect">
            <a:avLst/>
          </a:prstGeom>
        </p:spPr>
        <p:txBody>
          <a:bodyPr wrap="none">
            <a:spAutoFit/>
          </a:bodyPr>
          <a:lstStyle/>
          <a:p>
            <a:r>
              <a:rPr lang="en-US" sz="2400" kern="1400" spc="-160">
                <a:solidFill>
                  <a:srgbClr val="181818"/>
                </a:solidFill>
                <a:latin typeface="Ericsson Hilda Light"/>
                <a:ea typeface="+mj-ea"/>
                <a:cs typeface="+mj-cs"/>
              </a:rPr>
              <a:t>Opt. A</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rPr>
              <a:t>R15</a:t>
            </a:r>
            <a:endParaRPr lang="sv-SE" sz="1100"/>
          </a:p>
        </p:txBody>
      </p:sp>
      <p:sp>
        <p:nvSpPr>
          <p:cNvPr id="13" name="Rectangle 12">
            <a:extLst>
              <a:ext uri="{FF2B5EF4-FFF2-40B4-BE49-F238E27FC236}">
                <a16:creationId xmlns:a16="http://schemas.microsoft.com/office/drawing/2014/main" id="{F6701AA8-419C-4484-90A9-512532D979D3}"/>
              </a:ext>
            </a:extLst>
          </p:cNvPr>
          <p:cNvSpPr/>
          <p:nvPr/>
        </p:nvSpPr>
        <p:spPr>
          <a:xfrm>
            <a:off x="6208345" y="1219906"/>
            <a:ext cx="871072" cy="830997"/>
          </a:xfrm>
          <a:prstGeom prst="rect">
            <a:avLst/>
          </a:prstGeom>
        </p:spPr>
        <p:txBody>
          <a:bodyPr wrap="none">
            <a:spAutoFit/>
          </a:bodyPr>
          <a:lstStyle/>
          <a:p>
            <a:r>
              <a:rPr lang="en-US" sz="2400" kern="1400" spc="-160">
                <a:solidFill>
                  <a:srgbClr val="181818"/>
                </a:solidFill>
                <a:latin typeface="Ericsson Hilda Light"/>
                <a:ea typeface="+mj-ea"/>
                <a:cs typeface="+mj-cs"/>
              </a:rPr>
              <a:t>Opt. B</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rPr>
              <a:t>R15</a:t>
            </a:r>
            <a:endParaRPr lang="sv-SE" sz="1100"/>
          </a:p>
        </p:txBody>
      </p:sp>
      <p:sp>
        <p:nvSpPr>
          <p:cNvPr id="14" name="Rectangle 13">
            <a:extLst>
              <a:ext uri="{FF2B5EF4-FFF2-40B4-BE49-F238E27FC236}">
                <a16:creationId xmlns:a16="http://schemas.microsoft.com/office/drawing/2014/main" id="{B89CF4E0-3B95-4D4C-B7FB-2EADF6A742F2}"/>
              </a:ext>
            </a:extLst>
          </p:cNvPr>
          <p:cNvSpPr/>
          <p:nvPr/>
        </p:nvSpPr>
        <p:spPr>
          <a:xfrm>
            <a:off x="588963" y="3721597"/>
            <a:ext cx="858248" cy="830997"/>
          </a:xfrm>
          <a:prstGeom prst="rect">
            <a:avLst/>
          </a:prstGeom>
        </p:spPr>
        <p:txBody>
          <a:bodyPr wrap="none">
            <a:spAutoFit/>
          </a:bodyPr>
          <a:lstStyle/>
          <a:p>
            <a:r>
              <a:rPr lang="en-US" sz="2400" kern="1400" spc="-160">
                <a:solidFill>
                  <a:srgbClr val="181818"/>
                </a:solidFill>
                <a:latin typeface="Ericsson Hilda Light"/>
                <a:ea typeface="+mj-ea"/>
                <a:cs typeface="+mj-cs"/>
              </a:rPr>
              <a:t>Opt. C</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ea typeface="+mj-ea"/>
                <a:cs typeface="+mj-cs"/>
              </a:rPr>
              <a:t>R16 </a:t>
            </a:r>
            <a:endParaRPr lang="sv-SE" sz="1100"/>
          </a:p>
        </p:txBody>
      </p:sp>
      <p:sp>
        <p:nvSpPr>
          <p:cNvPr id="15" name="Rectangle 14">
            <a:extLst>
              <a:ext uri="{FF2B5EF4-FFF2-40B4-BE49-F238E27FC236}">
                <a16:creationId xmlns:a16="http://schemas.microsoft.com/office/drawing/2014/main" id="{08716650-AFE8-4611-81CF-9223FA9AD6EE}"/>
              </a:ext>
            </a:extLst>
          </p:cNvPr>
          <p:cNvSpPr/>
          <p:nvPr/>
        </p:nvSpPr>
        <p:spPr>
          <a:xfrm>
            <a:off x="6208345" y="3721597"/>
            <a:ext cx="879087" cy="1000274"/>
          </a:xfrm>
          <a:prstGeom prst="rect">
            <a:avLst/>
          </a:prstGeom>
        </p:spPr>
        <p:txBody>
          <a:bodyPr wrap="none">
            <a:spAutoFit/>
          </a:bodyPr>
          <a:lstStyle/>
          <a:p>
            <a:r>
              <a:rPr lang="en-US" sz="2400" kern="1400" spc="-160">
                <a:solidFill>
                  <a:srgbClr val="181818"/>
                </a:solidFill>
                <a:latin typeface="Ericsson Hilda Light"/>
                <a:ea typeface="+mj-ea"/>
                <a:cs typeface="+mj-cs"/>
              </a:rPr>
              <a:t>Opt. D</a:t>
            </a:r>
            <a:br>
              <a:rPr lang="en-US" sz="2400" kern="1400" spc="-160">
                <a:solidFill>
                  <a:srgbClr val="181818"/>
                </a:solidFill>
                <a:latin typeface="Ericsson Hilda Light"/>
                <a:ea typeface="+mj-ea"/>
                <a:cs typeface="+mj-cs"/>
              </a:rPr>
            </a:br>
            <a:r>
              <a:rPr lang="en-US" sz="2400" kern="1400" spc="-160">
                <a:solidFill>
                  <a:srgbClr val="181818"/>
                </a:solidFill>
                <a:latin typeface="Ericsson Hilda Light"/>
                <a:ea typeface="+mj-ea"/>
                <a:cs typeface="+mj-cs"/>
              </a:rPr>
              <a:t>R16 </a:t>
            </a:r>
            <a:br>
              <a:rPr lang="en-US" sz="2400" kern="1400" spc="-160">
                <a:solidFill>
                  <a:srgbClr val="181818"/>
                </a:solidFill>
                <a:latin typeface="Ericsson Hilda Light"/>
                <a:ea typeface="+mj-ea"/>
                <a:cs typeface="+mj-cs"/>
              </a:rPr>
            </a:br>
            <a:endParaRPr lang="sv-SE" sz="1100"/>
          </a:p>
        </p:txBody>
      </p:sp>
      <p:sp>
        <p:nvSpPr>
          <p:cNvPr id="16" name="Rectangle 15">
            <a:extLst>
              <a:ext uri="{FF2B5EF4-FFF2-40B4-BE49-F238E27FC236}">
                <a16:creationId xmlns:a16="http://schemas.microsoft.com/office/drawing/2014/main" id="{A658D2D9-AF0A-4E9E-BDC6-99E2B267EAED}"/>
              </a:ext>
            </a:extLst>
          </p:cNvPr>
          <p:cNvSpPr/>
          <p:nvPr/>
        </p:nvSpPr>
        <p:spPr bwMode="auto">
          <a:xfrm>
            <a:off x="409303" y="1018177"/>
            <a:ext cx="11315527" cy="2491582"/>
          </a:xfrm>
          <a:prstGeom prst="rect">
            <a:avLst/>
          </a:prstGeom>
          <a:solidFill>
            <a:schemeClr val="accent1">
              <a:alpha val="58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4400" b="0" i="0" u="none" strike="noStrike" cap="none" normalizeH="0" baseline="0">
                <a:ln>
                  <a:noFill/>
                </a:ln>
                <a:solidFill>
                  <a:schemeClr val="bg1"/>
                </a:solidFill>
                <a:effectLst/>
                <a:latin typeface="+mn-lt"/>
              </a:rPr>
              <a:t>Direct Communication</a:t>
            </a:r>
          </a:p>
        </p:txBody>
      </p:sp>
      <p:sp>
        <p:nvSpPr>
          <p:cNvPr id="17" name="Rectangle 16">
            <a:extLst>
              <a:ext uri="{FF2B5EF4-FFF2-40B4-BE49-F238E27FC236}">
                <a16:creationId xmlns:a16="http://schemas.microsoft.com/office/drawing/2014/main" id="{ED82821E-6B3F-46EA-A9DC-951C156B2EB2}"/>
              </a:ext>
            </a:extLst>
          </p:cNvPr>
          <p:cNvSpPr/>
          <p:nvPr/>
        </p:nvSpPr>
        <p:spPr bwMode="auto">
          <a:xfrm>
            <a:off x="409303" y="3651979"/>
            <a:ext cx="11315527" cy="2846921"/>
          </a:xfrm>
          <a:prstGeom prst="rect">
            <a:avLst/>
          </a:prstGeom>
          <a:solidFill>
            <a:schemeClr val="accent1">
              <a:alpha val="58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en-US" sz="4400">
                <a:solidFill>
                  <a:schemeClr val="bg1"/>
                </a:solidFill>
              </a:rPr>
              <a:t>Ind</a:t>
            </a:r>
            <a:r>
              <a:rPr kumimoji="0" lang="en-US" sz="4400" b="0" i="0" u="none" strike="noStrike" cap="none" normalizeH="0" baseline="0">
                <a:ln>
                  <a:noFill/>
                </a:ln>
                <a:solidFill>
                  <a:schemeClr val="bg1"/>
                </a:solidFill>
                <a:effectLst/>
                <a:latin typeface="+mn-lt"/>
              </a:rPr>
              <a:t>irect Communication</a:t>
            </a:r>
          </a:p>
        </p:txBody>
      </p:sp>
    </p:spTree>
    <p:extLst>
      <p:ext uri="{BB962C8B-B14F-4D97-AF65-F5344CB8AC3E}">
        <p14:creationId xmlns:p14="http://schemas.microsoft.com/office/powerpoint/2010/main" val="1736578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4" presetClass="entr" presetSubtype="1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randombar(horizontal)">
                                      <p:cBhvr>
                                        <p:cTn id="23" dur="500"/>
                                        <p:tgtEl>
                                          <p:spTgt spid="16"/>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randombar(horizontal)">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animBg="1"/>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E193B76-4A68-44E8-AF3E-4D00D3A0F73F}"/>
              </a:ext>
            </a:extLst>
          </p:cNvPr>
          <p:cNvPicPr>
            <a:picLocks noChangeAspect="1"/>
          </p:cNvPicPr>
          <p:nvPr/>
        </p:nvPicPr>
        <p:blipFill>
          <a:blip r:embed="rId3"/>
          <a:stretch>
            <a:fillRect/>
          </a:stretch>
        </p:blipFill>
        <p:spPr>
          <a:xfrm>
            <a:off x="6497164" y="1484040"/>
            <a:ext cx="5694837" cy="2376760"/>
          </a:xfrm>
          <a:prstGeom prst="rect">
            <a:avLst/>
          </a:prstGeom>
        </p:spPr>
      </p:pic>
      <p:cxnSp>
        <p:nvCxnSpPr>
          <p:cNvPr id="12" name="Straight Connector 11">
            <a:extLst>
              <a:ext uri="{FF2B5EF4-FFF2-40B4-BE49-F238E27FC236}">
                <a16:creationId xmlns:a16="http://schemas.microsoft.com/office/drawing/2014/main" id="{4B843B8A-0864-4512-9C27-38814A83057C}"/>
              </a:ext>
            </a:extLst>
          </p:cNvPr>
          <p:cNvCxnSpPr>
            <a:cxnSpLocks/>
          </p:cNvCxnSpPr>
          <p:nvPr/>
        </p:nvCxnSpPr>
        <p:spPr bwMode="auto">
          <a:xfrm>
            <a:off x="6413446" y="1484041"/>
            <a:ext cx="0" cy="4878659"/>
          </a:xfrm>
          <a:prstGeom prst="line">
            <a:avLst/>
          </a:prstGeom>
          <a:solidFill>
            <a:schemeClr val="accent1"/>
          </a:solidFill>
          <a:ln w="76200" cap="flat" cmpd="sng" algn="ctr">
            <a:solidFill>
              <a:schemeClr val="bg1">
                <a:lumMod val="85000"/>
              </a:schemeClr>
            </a:solidFill>
            <a:prstDash val="solid"/>
            <a:round/>
            <a:headEnd type="none" w="med" len="med"/>
            <a:tailEnd type="none"/>
          </a:ln>
          <a:effectLst/>
        </p:spPr>
      </p:cxnSp>
      <p:sp>
        <p:nvSpPr>
          <p:cNvPr id="3" name="TextBox 2">
            <a:extLst>
              <a:ext uri="{FF2B5EF4-FFF2-40B4-BE49-F238E27FC236}">
                <a16:creationId xmlns:a16="http://schemas.microsoft.com/office/drawing/2014/main" id="{73F1A711-5FFB-4F4A-9CE8-C1344338E2E9}"/>
              </a:ext>
            </a:extLst>
          </p:cNvPr>
          <p:cNvSpPr txBox="1"/>
          <p:nvPr/>
        </p:nvSpPr>
        <p:spPr bwMode="auto">
          <a:xfrm>
            <a:off x="6609852" y="4136989"/>
            <a:ext cx="5469459" cy="2473942"/>
          </a:xfrm>
          <a:prstGeom prst="rect">
            <a:avLst/>
          </a:prstGeom>
          <a:solidFill>
            <a:schemeClr val="accent2">
              <a:lumMod val="20000"/>
              <a:lumOff val="80000"/>
            </a:schemeClr>
          </a:solidFill>
          <a:ln w="12700">
            <a:solidFill>
              <a:schemeClr val="accent2"/>
            </a:solidFill>
            <a:miter lim="800000"/>
            <a:headEnd/>
            <a:tailEnd/>
          </a:ln>
        </p:spPr>
        <p:txBody>
          <a:bodyPr vert="horz" wrap="square" lIns="72000" tIns="36000" rIns="73152" bIns="36576" numCol="1" rtlCol="0" anchor="t" anchorCtr="0" compatLnSpc="1">
            <a:prstTxWarp prst="textNoShape">
              <a:avLst/>
            </a:prstTxWarp>
            <a:spAutoFit/>
          </a:bodyPr>
          <a:lstStyle/>
          <a:p>
            <a:r>
              <a:rPr lang="en-US" sz="1800"/>
              <a:t>Example of considerations to choose filter to match capabilities:</a:t>
            </a:r>
            <a:endParaRPr lang="sv-SE"/>
          </a:p>
          <a:p>
            <a:pPr marL="179388" lvl="3" indent="-179388">
              <a:spcBef>
                <a:spcPts val="0"/>
              </a:spcBef>
              <a:buFont typeface="Ericsson Hilda" panose="00000500000000000000" pitchFamily="2" charset="0"/>
              <a:buChar char="—"/>
            </a:pPr>
            <a:r>
              <a:rPr lang="en-US" sz="1600"/>
              <a:t>S-NSSAI</a:t>
            </a:r>
          </a:p>
          <a:p>
            <a:pPr marL="179388" lvl="3" indent="-179388">
              <a:spcBef>
                <a:spcPts val="0"/>
              </a:spcBef>
              <a:buFont typeface="Ericsson Hilda" panose="00000500000000000000" pitchFamily="2" charset="0"/>
              <a:buChar char="—"/>
            </a:pPr>
            <a:r>
              <a:rPr lang="en-US" sz="1600"/>
              <a:t>Default DNN or UE requested specific DNN</a:t>
            </a:r>
            <a:endParaRPr lang="sv-SE" sz="1600"/>
          </a:p>
          <a:p>
            <a:pPr marL="179388" lvl="3" indent="-179388">
              <a:spcBef>
                <a:spcPts val="0"/>
              </a:spcBef>
              <a:buFont typeface="Ericsson Hilda" panose="00000500000000000000" pitchFamily="2" charset="0"/>
              <a:buChar char="—"/>
            </a:pPr>
            <a:r>
              <a:rPr lang="en-US" sz="1600"/>
              <a:t>Subscription information retrieved from UDM such as:</a:t>
            </a:r>
            <a:endParaRPr lang="sv-SE" sz="1600"/>
          </a:p>
          <a:p>
            <a:pPr marL="539750" lvl="4" indent="-179388">
              <a:spcBef>
                <a:spcPts val="0"/>
              </a:spcBef>
              <a:buFont typeface="Ericsson Hilda" panose="00000500000000000000" pitchFamily="2" charset="0"/>
              <a:buChar char="—"/>
            </a:pPr>
            <a:r>
              <a:rPr lang="en-US" sz="1400"/>
              <a:t>Default DNN for the subscriber</a:t>
            </a:r>
            <a:endParaRPr lang="sv-SE" sz="1400"/>
          </a:p>
          <a:p>
            <a:pPr marL="539750" lvl="4" indent="-179388">
              <a:spcBef>
                <a:spcPts val="0"/>
              </a:spcBef>
              <a:buFont typeface="Ericsson Hilda" panose="00000500000000000000" pitchFamily="2" charset="0"/>
              <a:buChar char="—"/>
            </a:pPr>
            <a:r>
              <a:rPr lang="en-US" sz="1400"/>
              <a:t>The subscribed DNNs for the S-NSSAI</a:t>
            </a:r>
            <a:endParaRPr lang="sv-SE" sz="1400"/>
          </a:p>
          <a:p>
            <a:pPr marL="539750" lvl="4" indent="-179388">
              <a:spcBef>
                <a:spcPts val="0"/>
              </a:spcBef>
              <a:buFont typeface="Ericsson Hilda" panose="00000500000000000000" pitchFamily="2" charset="0"/>
              <a:buChar char="—"/>
            </a:pPr>
            <a:r>
              <a:rPr lang="en-US" sz="1400"/>
              <a:t>Per DNN whether LBO is allowed or not</a:t>
            </a:r>
          </a:p>
          <a:p>
            <a:pPr marL="539750" lvl="4" indent="-179388">
              <a:spcBef>
                <a:spcPts val="0"/>
              </a:spcBef>
              <a:buFont typeface="Ericsson Hilda" panose="00000500000000000000" pitchFamily="2" charset="0"/>
              <a:buChar char="—"/>
            </a:pPr>
            <a:r>
              <a:rPr lang="en-US" sz="1400"/>
              <a:t>Whether EPC interworking must be supported for the DNN </a:t>
            </a:r>
            <a:endParaRPr lang="sv-SE" sz="1400"/>
          </a:p>
          <a:p>
            <a:pPr marL="179388" lvl="3" indent="-179388">
              <a:spcBef>
                <a:spcPts val="0"/>
              </a:spcBef>
              <a:buFont typeface="Ericsson Hilda" panose="00000500000000000000" pitchFamily="2" charset="0"/>
              <a:buChar char="—"/>
            </a:pPr>
            <a:r>
              <a:rPr lang="en-US" sz="1600"/>
              <a:t>UE Capability: e.g. support for EPC NAS</a:t>
            </a:r>
            <a:endParaRPr lang="sv-SE" sz="1000"/>
          </a:p>
        </p:txBody>
      </p:sp>
      <p:pic>
        <p:nvPicPr>
          <p:cNvPr id="4" name="Picture 3">
            <a:extLst>
              <a:ext uri="{FF2B5EF4-FFF2-40B4-BE49-F238E27FC236}">
                <a16:creationId xmlns:a16="http://schemas.microsoft.com/office/drawing/2014/main" id="{8811335E-E801-4FEF-ADEB-3088558EAA2E}"/>
              </a:ext>
            </a:extLst>
          </p:cNvPr>
          <p:cNvPicPr>
            <a:picLocks noChangeAspect="1"/>
          </p:cNvPicPr>
          <p:nvPr/>
        </p:nvPicPr>
        <p:blipFill>
          <a:blip r:embed="rId4"/>
          <a:stretch>
            <a:fillRect/>
          </a:stretch>
        </p:blipFill>
        <p:spPr>
          <a:xfrm>
            <a:off x="-5875" y="1924969"/>
            <a:ext cx="6432291" cy="3908564"/>
          </a:xfrm>
          <a:prstGeom prst="rect">
            <a:avLst/>
          </a:prstGeom>
        </p:spPr>
      </p:pic>
      <p:sp>
        <p:nvSpPr>
          <p:cNvPr id="6" name="Title 5">
            <a:extLst>
              <a:ext uri="{FF2B5EF4-FFF2-40B4-BE49-F238E27FC236}">
                <a16:creationId xmlns:a16="http://schemas.microsoft.com/office/drawing/2014/main" id="{3472A89A-C14B-4441-B153-38485EEE3FD4}"/>
              </a:ext>
            </a:extLst>
          </p:cNvPr>
          <p:cNvSpPr>
            <a:spLocks noGrp="1"/>
          </p:cNvSpPr>
          <p:nvPr>
            <p:ph type="title"/>
          </p:nvPr>
        </p:nvSpPr>
        <p:spPr>
          <a:xfrm>
            <a:off x="479424" y="476250"/>
            <a:ext cx="9959976" cy="1081088"/>
          </a:xfrm>
        </p:spPr>
        <p:txBody>
          <a:bodyPr/>
          <a:lstStyle/>
          <a:p>
            <a:r>
              <a:rPr lang="en-US"/>
              <a:t>Service framework – Discovery and Selection</a:t>
            </a:r>
            <a:br>
              <a:rPr lang="en-US" sz="2800"/>
            </a:br>
            <a:r>
              <a:rPr lang="en-US" sz="2800"/>
              <a:t>Candidates, Filtering and Selection</a:t>
            </a:r>
            <a:br>
              <a:rPr lang="sv-SE"/>
            </a:br>
            <a:endParaRPr lang="sv-SE"/>
          </a:p>
        </p:txBody>
      </p:sp>
    </p:spTree>
    <p:extLst>
      <p:ext uri="{BB962C8B-B14F-4D97-AF65-F5344CB8AC3E}">
        <p14:creationId xmlns:p14="http://schemas.microsoft.com/office/powerpoint/2010/main" val="127528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3A1DB-2A4B-4AC9-AB92-47A604F54117}"/>
              </a:ext>
            </a:extLst>
          </p:cNvPr>
          <p:cNvSpPr txBox="1">
            <a:spLocks noGrp="1"/>
          </p:cNvSpPr>
          <p:nvPr>
            <p:ph type="title"/>
          </p:nvPr>
        </p:nvSpPr>
        <p:spPr>
          <a:xfrm>
            <a:off x="479419" y="476246"/>
            <a:ext cx="10387712" cy="1081085"/>
          </a:xfrm>
        </p:spPr>
        <p:txBody>
          <a:bodyPr/>
          <a:lstStyle/>
          <a:p>
            <a:pPr lvl="0"/>
            <a:r>
              <a:rPr lang="en-US"/>
              <a:t>Service framework – </a:t>
            </a:r>
            <a:r>
              <a:rPr lang="sv-SE"/>
              <a:t>NF Set and NF Service sets</a:t>
            </a:r>
            <a:br>
              <a:rPr lang="sv-SE" sz="3600"/>
            </a:br>
            <a:r>
              <a:rPr lang="sv-SE" sz="2800"/>
              <a:t>Introduction of definitions</a:t>
            </a:r>
            <a:endParaRPr lang="en-US" sz="3600">
              <a:solidFill>
                <a:srgbClr val="0082F0"/>
              </a:solidFill>
            </a:endParaRPr>
          </a:p>
        </p:txBody>
      </p:sp>
      <p:sp>
        <p:nvSpPr>
          <p:cNvPr id="3" name="Content Placeholder 2">
            <a:extLst>
              <a:ext uri="{FF2B5EF4-FFF2-40B4-BE49-F238E27FC236}">
                <a16:creationId xmlns:a16="http://schemas.microsoft.com/office/drawing/2014/main" id="{BF8D7C05-9388-42B0-ADC7-6F56E26AEA6C}"/>
              </a:ext>
            </a:extLst>
          </p:cNvPr>
          <p:cNvSpPr txBox="1">
            <a:spLocks noGrp="1"/>
          </p:cNvSpPr>
          <p:nvPr>
            <p:ph idx="1"/>
          </p:nvPr>
        </p:nvSpPr>
        <p:spPr>
          <a:xfrm>
            <a:off x="479428" y="1577231"/>
            <a:ext cx="5665907" cy="4957384"/>
          </a:xfrm>
        </p:spPr>
        <p:txBody>
          <a:bodyPr/>
          <a:lstStyle/>
          <a:p>
            <a:pPr marL="0" lvl="0" indent="0">
              <a:buNone/>
            </a:pPr>
            <a:r>
              <a:rPr lang="en-US" sz="1600"/>
              <a:t>Definitions</a:t>
            </a:r>
          </a:p>
          <a:p>
            <a:pPr lvl="0"/>
            <a:r>
              <a:rPr lang="en-US" sz="1600" b="1"/>
              <a:t>NF Set</a:t>
            </a:r>
            <a:r>
              <a:rPr lang="en-US" sz="1600"/>
              <a:t>: A group of interchangeable NF instances of the same type.</a:t>
            </a:r>
          </a:p>
          <a:p>
            <a:pPr lvl="0"/>
            <a:r>
              <a:rPr lang="en-US" sz="1600" b="1"/>
              <a:t>NF Service Set</a:t>
            </a:r>
            <a:r>
              <a:rPr lang="en-US" sz="1600"/>
              <a:t>: A group of interchangeable NF Service instances of the same service type within an NF instance</a:t>
            </a:r>
            <a:r>
              <a:rPr lang="en-GB" sz="1600"/>
              <a:t>, with </a:t>
            </a:r>
            <a:r>
              <a:rPr lang="en-US" sz="1600"/>
              <a:t>access to the same context data.</a:t>
            </a:r>
          </a:p>
          <a:p>
            <a:pPr marL="0" lvl="0" indent="0">
              <a:buNone/>
            </a:pPr>
            <a:endParaRPr lang="en-US" sz="1600"/>
          </a:p>
          <a:p>
            <a:pPr marL="0" lvl="0" indent="0">
              <a:buNone/>
            </a:pPr>
            <a:r>
              <a:rPr lang="en-US" sz="1600"/>
              <a:t>NF profile of NF instance in an NRF includes: </a:t>
            </a:r>
          </a:p>
          <a:p>
            <a:pPr lvl="0"/>
            <a:r>
              <a:rPr lang="en-US" sz="1600"/>
              <a:t>NF Set ID</a:t>
            </a:r>
          </a:p>
          <a:p>
            <a:pPr lvl="0"/>
            <a:r>
              <a:rPr lang="en-US" sz="1600"/>
              <a:t>NF Service Set ID</a:t>
            </a:r>
          </a:p>
          <a:p>
            <a:pPr lvl="0"/>
            <a:endParaRPr lang="en-US" sz="1600"/>
          </a:p>
          <a:p>
            <a:pPr marL="0" indent="0">
              <a:buNone/>
            </a:pPr>
            <a:r>
              <a:rPr lang="en-GB" sz="1600">
                <a:ea typeface="Times New Roman" panose="02020603050405020304" pitchFamily="18" charset="0"/>
                <a:cs typeface="Times New Roman" panose="02020603050405020304" pitchFamily="18" charset="0"/>
              </a:rPr>
              <a:t>NF Service Instance re-selection:</a:t>
            </a:r>
          </a:p>
          <a:p>
            <a:pPr lvl="1"/>
            <a:r>
              <a:rPr lang="en-GB" sz="1600">
                <a:ea typeface="Times New Roman" panose="02020603050405020304" pitchFamily="18" charset="0"/>
                <a:cs typeface="Times New Roman" panose="02020603050405020304" pitchFamily="18" charset="0"/>
              </a:rPr>
              <a:t>Rel-15: </a:t>
            </a:r>
            <a:r>
              <a:rPr lang="sv-SE" sz="1600">
                <a:ea typeface="Times New Roman" panose="02020603050405020304" pitchFamily="18" charset="0"/>
                <a:cs typeface="Times New Roman" panose="02020603050405020304" pitchFamily="18" charset="0"/>
              </a:rPr>
              <a:t>E</a:t>
            </a:r>
            <a:r>
              <a:rPr lang="x-none" sz="1600">
                <a:ea typeface="Times New Roman" panose="02020603050405020304" pitchFamily="18" charset="0"/>
                <a:cs typeface="Times New Roman" panose="02020603050405020304" pitchFamily="18" charset="0"/>
              </a:rPr>
              <a:t>quivalent</a:t>
            </a:r>
            <a:r>
              <a:rPr lang="en-GB" sz="1600">
                <a:ea typeface="Times New Roman" panose="02020603050405020304" pitchFamily="18" charset="0"/>
                <a:cs typeface="Times New Roman" panose="02020603050405020304" pitchFamily="18" charset="0"/>
              </a:rPr>
              <a:t> NF Service Instance within in a NF instance</a:t>
            </a:r>
          </a:p>
          <a:p>
            <a:pPr lvl="1"/>
            <a:r>
              <a:rPr lang="en-GB" sz="1600">
                <a:ea typeface="Times New Roman" panose="02020603050405020304" pitchFamily="18" charset="0"/>
                <a:cs typeface="Times New Roman" panose="02020603050405020304" pitchFamily="18" charset="0"/>
              </a:rPr>
              <a:t>Rel-16: A</a:t>
            </a:r>
            <a:r>
              <a:rPr lang="x-none" sz="1600">
                <a:ea typeface="Times New Roman" panose="02020603050405020304" pitchFamily="18" charset="0"/>
                <a:cs typeface="Times New Roman" panose="02020603050405020304" pitchFamily="18" charset="0"/>
              </a:rPr>
              <a:t>n NF Service instance:</a:t>
            </a:r>
            <a:endParaRPr lang="sv-SE" sz="1600">
              <a:ea typeface="Times New Roman" panose="02020603050405020304" pitchFamily="18" charset="0"/>
              <a:cs typeface="Times New Roman" panose="02020603050405020304" pitchFamily="18" charset="0"/>
            </a:endParaRPr>
          </a:p>
          <a:p>
            <a:pPr lvl="2"/>
            <a:r>
              <a:rPr lang="x-none" sz="1600">
                <a:ea typeface="Times New Roman" panose="02020603050405020304" pitchFamily="18" charset="0"/>
                <a:cs typeface="Times New Roman" panose="02020603050405020304" pitchFamily="18" charset="0"/>
              </a:rPr>
              <a:t>within the NF instance</a:t>
            </a:r>
            <a:endParaRPr lang="sv-SE" sz="1600">
              <a:ea typeface="Times New Roman" panose="02020603050405020304" pitchFamily="18" charset="0"/>
              <a:cs typeface="Times New Roman" panose="02020603050405020304" pitchFamily="18" charset="0"/>
            </a:endParaRPr>
          </a:p>
          <a:p>
            <a:pPr lvl="2"/>
            <a:r>
              <a:rPr lang="x-none" sz="1600">
                <a:ea typeface="Times New Roman" panose="02020603050405020304" pitchFamily="18" charset="0"/>
                <a:cs typeface="Times New Roman" panose="02020603050405020304" pitchFamily="18" charset="0"/>
              </a:rPr>
              <a:t>within the NF Service Set (if applicable)</a:t>
            </a:r>
            <a:endParaRPr lang="sv-SE" sz="1600">
              <a:ea typeface="Times New Roman" panose="02020603050405020304" pitchFamily="18" charset="0"/>
              <a:cs typeface="Times New Roman" panose="02020603050405020304" pitchFamily="18" charset="0"/>
            </a:endParaRPr>
          </a:p>
          <a:p>
            <a:pPr lvl="2"/>
            <a:r>
              <a:rPr lang="x-none" sz="1600">
                <a:ea typeface="Times New Roman" panose="02020603050405020304" pitchFamily="18" charset="0"/>
                <a:cs typeface="Times New Roman" panose="02020603050405020304" pitchFamily="18" charset="0"/>
              </a:rPr>
              <a:t>within the NF Set (if applicable)</a:t>
            </a:r>
            <a:endParaRPr lang="en-US" sz="1600">
              <a:ea typeface="Times New Roman" panose="02020603050405020304" pitchFamily="18" charset="0"/>
              <a:cs typeface="Times New Roman" panose="02020603050405020304" pitchFamily="18" charset="0"/>
            </a:endParaRPr>
          </a:p>
          <a:p>
            <a:pPr lvl="1"/>
            <a:endParaRPr lang="en-US" sz="1600">
              <a:solidFill>
                <a:schemeClr val="accent2"/>
              </a:solidFill>
              <a:latin typeface="Arial" panose="020B0604020202020204" pitchFamily="34" charset="0"/>
              <a:ea typeface="Times New Roman" panose="02020603050405020304" pitchFamily="18" charset="0"/>
              <a:cs typeface="Times New Roman" panose="02020603050405020304" pitchFamily="18" charset="0"/>
            </a:endParaRPr>
          </a:p>
          <a:p>
            <a:pPr lvl="0"/>
            <a:endParaRPr lang="en-US" sz="1600"/>
          </a:p>
          <a:p>
            <a:pPr marL="0" lvl="0" indent="0">
              <a:buNone/>
            </a:pPr>
            <a:endParaRPr lang="en-US" sz="1600"/>
          </a:p>
        </p:txBody>
      </p:sp>
      <p:sp>
        <p:nvSpPr>
          <p:cNvPr id="5" name="Rectangle 211">
            <a:extLst>
              <a:ext uri="{FF2B5EF4-FFF2-40B4-BE49-F238E27FC236}">
                <a16:creationId xmlns:a16="http://schemas.microsoft.com/office/drawing/2014/main" id="{2B8FBD76-0E4A-4786-AA20-AC776DF0FC52}"/>
              </a:ext>
            </a:extLst>
          </p:cNvPr>
          <p:cNvSpPr/>
          <p:nvPr/>
        </p:nvSpPr>
        <p:spPr>
          <a:xfrm>
            <a:off x="7743118" y="5565666"/>
            <a:ext cx="129396" cy="215661"/>
          </a:xfrm>
          <a:prstGeom prst="rect">
            <a:avLst/>
          </a:prstGeom>
          <a:solidFill>
            <a:srgbClr val="0082F0"/>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b="0" i="0" u="none" strike="noStrike" kern="1200" cap="none" spc="0" baseline="0">
              <a:solidFill>
                <a:srgbClr val="FFFFFF"/>
              </a:solidFill>
              <a:uFillTx/>
              <a:latin typeface="Ericsson Hilda"/>
            </a:endParaRPr>
          </a:p>
        </p:txBody>
      </p:sp>
      <p:sp>
        <p:nvSpPr>
          <p:cNvPr id="6" name="TextBox 212">
            <a:extLst>
              <a:ext uri="{FF2B5EF4-FFF2-40B4-BE49-F238E27FC236}">
                <a16:creationId xmlns:a16="http://schemas.microsoft.com/office/drawing/2014/main" id="{99C437E9-9A33-492A-B33E-4D090311D3D6}"/>
              </a:ext>
            </a:extLst>
          </p:cNvPr>
          <p:cNvSpPr txBox="1"/>
          <p:nvPr/>
        </p:nvSpPr>
        <p:spPr>
          <a:xfrm>
            <a:off x="7872515" y="5497287"/>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b="0" i="0" u="none" strike="noStrike" kern="1200" cap="none" spc="0" baseline="0">
                <a:solidFill>
                  <a:srgbClr val="181818"/>
                </a:solidFill>
                <a:uFillTx/>
                <a:latin typeface="Ericsson Hilda"/>
              </a:rPr>
              <a:t>NF</a:t>
            </a:r>
          </a:p>
        </p:txBody>
      </p:sp>
      <p:sp>
        <p:nvSpPr>
          <p:cNvPr id="7" name="Rectangle 213">
            <a:extLst>
              <a:ext uri="{FF2B5EF4-FFF2-40B4-BE49-F238E27FC236}">
                <a16:creationId xmlns:a16="http://schemas.microsoft.com/office/drawing/2014/main" id="{7EB4F56E-3D0C-4EE1-AA02-8846FC126B0B}"/>
              </a:ext>
            </a:extLst>
          </p:cNvPr>
          <p:cNvSpPr/>
          <p:nvPr/>
        </p:nvSpPr>
        <p:spPr>
          <a:xfrm>
            <a:off x="8499373" y="5561944"/>
            <a:ext cx="129396" cy="215661"/>
          </a:xfrm>
          <a:prstGeom prst="rect">
            <a:avLst/>
          </a:prstGeom>
          <a:solidFill>
            <a:schemeClr val="accent5"/>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b="0" i="0" u="none" strike="noStrike" kern="1200" cap="none" spc="0" baseline="0">
              <a:solidFill>
                <a:srgbClr val="FFFFFF"/>
              </a:solidFill>
              <a:uFillTx/>
              <a:latin typeface="Ericsson Hilda"/>
            </a:endParaRPr>
          </a:p>
        </p:txBody>
      </p:sp>
      <p:sp>
        <p:nvSpPr>
          <p:cNvPr id="8" name="TextBox 214">
            <a:extLst>
              <a:ext uri="{FF2B5EF4-FFF2-40B4-BE49-F238E27FC236}">
                <a16:creationId xmlns:a16="http://schemas.microsoft.com/office/drawing/2014/main" id="{9B9F3043-71D4-4874-87CF-F41589F5F0B8}"/>
              </a:ext>
            </a:extLst>
          </p:cNvPr>
          <p:cNvSpPr txBox="1"/>
          <p:nvPr/>
        </p:nvSpPr>
        <p:spPr>
          <a:xfrm>
            <a:off x="8628769" y="5493556"/>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b="0" i="0" u="none" strike="noStrike" kern="1200" cap="none" spc="0" baseline="0">
                <a:solidFill>
                  <a:srgbClr val="181818"/>
                </a:solidFill>
                <a:uFillTx/>
                <a:latin typeface="Ericsson Hilda"/>
              </a:rPr>
              <a:t>NF Set</a:t>
            </a:r>
          </a:p>
        </p:txBody>
      </p:sp>
      <p:sp>
        <p:nvSpPr>
          <p:cNvPr id="9" name="Rectangle 24">
            <a:extLst>
              <a:ext uri="{FF2B5EF4-FFF2-40B4-BE49-F238E27FC236}">
                <a16:creationId xmlns:a16="http://schemas.microsoft.com/office/drawing/2014/main" id="{E452DC42-F018-4602-9F6A-508185992FE6}"/>
              </a:ext>
            </a:extLst>
          </p:cNvPr>
          <p:cNvSpPr/>
          <p:nvPr/>
        </p:nvSpPr>
        <p:spPr>
          <a:xfrm>
            <a:off x="6369744" y="1960881"/>
            <a:ext cx="4209007" cy="2724044"/>
          </a:xfrm>
          <a:prstGeom prst="rect">
            <a:avLst/>
          </a:prstGeom>
          <a:noFill/>
          <a:ln w="44450" cap="flat">
            <a:solidFill>
              <a:schemeClr val="accent5"/>
            </a:solid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0" name="Rectangle 25">
            <a:extLst>
              <a:ext uri="{FF2B5EF4-FFF2-40B4-BE49-F238E27FC236}">
                <a16:creationId xmlns:a16="http://schemas.microsoft.com/office/drawing/2014/main" id="{3F42AC3B-373A-49C9-A9FC-5C1785732B84}"/>
              </a:ext>
            </a:extLst>
          </p:cNvPr>
          <p:cNvSpPr/>
          <p:nvPr/>
        </p:nvSpPr>
        <p:spPr>
          <a:xfrm>
            <a:off x="6780959" y="2184114"/>
            <a:ext cx="1316964" cy="2293772"/>
          </a:xfrm>
          <a:prstGeom prst="rect">
            <a:avLst/>
          </a:prstGeom>
          <a:solidFill>
            <a:srgbClr val="0082F0"/>
          </a:solidFill>
          <a:ln w="12701" cap="flat">
            <a:solidFill>
              <a:srgbClr val="0082F0"/>
            </a:solidFill>
            <a:custDash>
              <a:ds d="100000" sp="100000"/>
            </a:custDash>
            <a:roun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1" name="Rectangle 26">
            <a:extLst>
              <a:ext uri="{FF2B5EF4-FFF2-40B4-BE49-F238E27FC236}">
                <a16:creationId xmlns:a16="http://schemas.microsoft.com/office/drawing/2014/main" id="{49CFC7C0-25BC-4303-94FC-BA81FCC16601}"/>
              </a:ext>
            </a:extLst>
          </p:cNvPr>
          <p:cNvSpPr/>
          <p:nvPr/>
        </p:nvSpPr>
        <p:spPr>
          <a:xfrm>
            <a:off x="8857049" y="2184114"/>
            <a:ext cx="1406109" cy="2293772"/>
          </a:xfrm>
          <a:prstGeom prst="rect">
            <a:avLst/>
          </a:prstGeom>
          <a:solidFill>
            <a:srgbClr val="0082F0"/>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2" name="Rectangle 27">
            <a:extLst>
              <a:ext uri="{FF2B5EF4-FFF2-40B4-BE49-F238E27FC236}">
                <a16:creationId xmlns:a16="http://schemas.microsoft.com/office/drawing/2014/main" id="{9F37525F-AD59-466F-94CE-32F1C330787B}"/>
              </a:ext>
            </a:extLst>
          </p:cNvPr>
          <p:cNvSpPr/>
          <p:nvPr/>
        </p:nvSpPr>
        <p:spPr>
          <a:xfrm>
            <a:off x="6933362" y="2549883"/>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3" name="Rectangle 28">
            <a:extLst>
              <a:ext uri="{FF2B5EF4-FFF2-40B4-BE49-F238E27FC236}">
                <a16:creationId xmlns:a16="http://schemas.microsoft.com/office/drawing/2014/main" id="{9CC62EF1-8F6A-4CDC-8968-B83EFE31BE98}"/>
              </a:ext>
            </a:extLst>
          </p:cNvPr>
          <p:cNvSpPr/>
          <p:nvPr/>
        </p:nvSpPr>
        <p:spPr>
          <a:xfrm>
            <a:off x="6933362" y="2999037"/>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4" name="Rectangle 29">
            <a:extLst>
              <a:ext uri="{FF2B5EF4-FFF2-40B4-BE49-F238E27FC236}">
                <a16:creationId xmlns:a16="http://schemas.microsoft.com/office/drawing/2014/main" id="{2B8E451A-E583-40A8-9229-EBF05C492BB6}"/>
              </a:ext>
            </a:extLst>
          </p:cNvPr>
          <p:cNvSpPr/>
          <p:nvPr/>
        </p:nvSpPr>
        <p:spPr>
          <a:xfrm>
            <a:off x="6947746" y="3436111"/>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5" name="Rectangle 30">
            <a:extLst>
              <a:ext uri="{FF2B5EF4-FFF2-40B4-BE49-F238E27FC236}">
                <a16:creationId xmlns:a16="http://schemas.microsoft.com/office/drawing/2014/main" id="{C87A3A63-5045-4BDF-A9E8-0AAA8047FA14}"/>
              </a:ext>
            </a:extLst>
          </p:cNvPr>
          <p:cNvSpPr/>
          <p:nvPr/>
        </p:nvSpPr>
        <p:spPr>
          <a:xfrm>
            <a:off x="6947746" y="3931862"/>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6" name="Rectangle 31">
            <a:extLst>
              <a:ext uri="{FF2B5EF4-FFF2-40B4-BE49-F238E27FC236}">
                <a16:creationId xmlns:a16="http://schemas.microsoft.com/office/drawing/2014/main" id="{9DCD0B41-E456-40B6-AE3E-E18F03A15691}"/>
              </a:ext>
            </a:extLst>
          </p:cNvPr>
          <p:cNvSpPr/>
          <p:nvPr/>
        </p:nvSpPr>
        <p:spPr>
          <a:xfrm>
            <a:off x="9078179" y="2545567"/>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7" name="Rectangle 32">
            <a:extLst>
              <a:ext uri="{FF2B5EF4-FFF2-40B4-BE49-F238E27FC236}">
                <a16:creationId xmlns:a16="http://schemas.microsoft.com/office/drawing/2014/main" id="{3C671A1E-C8A8-4E16-9CAA-0DFED3B6EE11}"/>
              </a:ext>
            </a:extLst>
          </p:cNvPr>
          <p:cNvSpPr/>
          <p:nvPr/>
        </p:nvSpPr>
        <p:spPr>
          <a:xfrm>
            <a:off x="9078179" y="2994730"/>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8" name="Rectangle 33">
            <a:extLst>
              <a:ext uri="{FF2B5EF4-FFF2-40B4-BE49-F238E27FC236}">
                <a16:creationId xmlns:a16="http://schemas.microsoft.com/office/drawing/2014/main" id="{56D59A2B-7B0E-403B-8D90-7A50FDFAD036}"/>
              </a:ext>
            </a:extLst>
          </p:cNvPr>
          <p:cNvSpPr/>
          <p:nvPr/>
        </p:nvSpPr>
        <p:spPr>
          <a:xfrm>
            <a:off x="9092553" y="3431795"/>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19" name="Rectangle 34">
            <a:extLst>
              <a:ext uri="{FF2B5EF4-FFF2-40B4-BE49-F238E27FC236}">
                <a16:creationId xmlns:a16="http://schemas.microsoft.com/office/drawing/2014/main" id="{520D8A59-AE63-46C4-8F21-A58E1F496F39}"/>
              </a:ext>
            </a:extLst>
          </p:cNvPr>
          <p:cNvSpPr/>
          <p:nvPr/>
        </p:nvSpPr>
        <p:spPr>
          <a:xfrm>
            <a:off x="9092553" y="3927546"/>
            <a:ext cx="931645"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20" name="Rectangle: Rounded Corners 35">
            <a:extLst>
              <a:ext uri="{FF2B5EF4-FFF2-40B4-BE49-F238E27FC236}">
                <a16:creationId xmlns:a16="http://schemas.microsoft.com/office/drawing/2014/main" id="{C68D1C70-337D-41D5-87CF-48BE285E2A16}"/>
              </a:ext>
            </a:extLst>
          </p:cNvPr>
          <p:cNvSpPr/>
          <p:nvPr/>
        </p:nvSpPr>
        <p:spPr>
          <a:xfrm>
            <a:off x="6476162" y="2045235"/>
            <a:ext cx="1952436" cy="3291492"/>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noFill/>
          <a:ln w="12701" cap="flat">
            <a:solidFill>
              <a:srgbClr val="0082F0"/>
            </a:solidFill>
            <a:custDash>
              <a:ds d="100000" sp="100000"/>
            </a:custDash>
            <a:roun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21" name="TextBox 36">
            <a:extLst>
              <a:ext uri="{FF2B5EF4-FFF2-40B4-BE49-F238E27FC236}">
                <a16:creationId xmlns:a16="http://schemas.microsoft.com/office/drawing/2014/main" id="{78CD3ADD-255D-4D7C-955F-E173BEBBDA39}"/>
              </a:ext>
            </a:extLst>
          </p:cNvPr>
          <p:cNvSpPr txBox="1"/>
          <p:nvPr/>
        </p:nvSpPr>
        <p:spPr>
          <a:xfrm>
            <a:off x="7231072" y="4847350"/>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2000" b="0" i="0" u="none" strike="noStrike" kern="1200" cap="none" spc="0" baseline="0">
                <a:solidFill>
                  <a:srgbClr val="181818"/>
                </a:solidFill>
                <a:uFillTx/>
                <a:latin typeface="Ericsson Hilda"/>
              </a:rPr>
              <a:t>DC1</a:t>
            </a:r>
          </a:p>
        </p:txBody>
      </p:sp>
      <p:sp>
        <p:nvSpPr>
          <p:cNvPr id="22" name="Rectangle: Rounded Corners 37">
            <a:extLst>
              <a:ext uri="{FF2B5EF4-FFF2-40B4-BE49-F238E27FC236}">
                <a16:creationId xmlns:a16="http://schemas.microsoft.com/office/drawing/2014/main" id="{C89160CD-E2FF-48DC-B99D-D1A2BEA120D7}"/>
              </a:ext>
            </a:extLst>
          </p:cNvPr>
          <p:cNvSpPr/>
          <p:nvPr/>
        </p:nvSpPr>
        <p:spPr>
          <a:xfrm>
            <a:off x="8552618" y="2083338"/>
            <a:ext cx="1952436" cy="3291492"/>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noFill/>
          <a:ln w="12701" cap="flat">
            <a:solidFill>
              <a:srgbClr val="0082F0"/>
            </a:solidFill>
            <a:custDash>
              <a:ds d="100000" sp="100000"/>
            </a:custDash>
            <a:roun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sz="2000" b="0" i="0" u="none" strike="noStrike" kern="1200" cap="none" spc="0" baseline="0">
              <a:solidFill>
                <a:srgbClr val="FFFFFF"/>
              </a:solidFill>
              <a:uFillTx/>
              <a:latin typeface="Ericsson Hilda"/>
            </a:endParaRPr>
          </a:p>
        </p:txBody>
      </p:sp>
      <p:sp>
        <p:nvSpPr>
          <p:cNvPr id="23" name="TextBox 38">
            <a:extLst>
              <a:ext uri="{FF2B5EF4-FFF2-40B4-BE49-F238E27FC236}">
                <a16:creationId xmlns:a16="http://schemas.microsoft.com/office/drawing/2014/main" id="{3331A42E-AACB-4B56-930B-A2C6D46F90A1}"/>
              </a:ext>
            </a:extLst>
          </p:cNvPr>
          <p:cNvSpPr txBox="1"/>
          <p:nvPr/>
        </p:nvSpPr>
        <p:spPr>
          <a:xfrm>
            <a:off x="9307528" y="4885453"/>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2000" b="0" i="0" u="none" strike="noStrike" kern="1200" cap="none" spc="0" baseline="0">
                <a:solidFill>
                  <a:srgbClr val="181818"/>
                </a:solidFill>
                <a:uFillTx/>
                <a:latin typeface="Ericsson Hilda"/>
              </a:rPr>
              <a:t>DC2</a:t>
            </a:r>
          </a:p>
        </p:txBody>
      </p:sp>
      <p:cxnSp>
        <p:nvCxnSpPr>
          <p:cNvPr id="24" name="Straight Connector 39">
            <a:extLst>
              <a:ext uri="{FF2B5EF4-FFF2-40B4-BE49-F238E27FC236}">
                <a16:creationId xmlns:a16="http://schemas.microsoft.com/office/drawing/2014/main" id="{95855EA0-9B67-4DEB-AC96-6590DC017270}"/>
              </a:ext>
            </a:extLst>
          </p:cNvPr>
          <p:cNvCxnSpPr>
            <a:stCxn id="25" idx="0"/>
            <a:endCxn id="10" idx="2"/>
          </p:cNvCxnSpPr>
          <p:nvPr/>
        </p:nvCxnSpPr>
        <p:spPr>
          <a:xfrm flipH="1" flipV="1">
            <a:off x="7439441" y="4477886"/>
            <a:ext cx="1051167" cy="334744"/>
          </a:xfrm>
          <a:prstGeom prst="straightConnector1">
            <a:avLst/>
          </a:prstGeom>
          <a:noFill/>
          <a:ln w="12701" cap="flat">
            <a:solidFill>
              <a:srgbClr val="181818"/>
            </a:solidFill>
            <a:prstDash val="solid"/>
            <a:round/>
          </a:ln>
        </p:spPr>
      </p:cxnSp>
      <p:sp>
        <p:nvSpPr>
          <p:cNvPr id="25" name="Rectangle 40">
            <a:extLst>
              <a:ext uri="{FF2B5EF4-FFF2-40B4-BE49-F238E27FC236}">
                <a16:creationId xmlns:a16="http://schemas.microsoft.com/office/drawing/2014/main" id="{6EE848AE-79EF-4637-B6EB-3A3A581016D5}"/>
              </a:ext>
            </a:extLst>
          </p:cNvPr>
          <p:cNvSpPr/>
          <p:nvPr/>
        </p:nvSpPr>
        <p:spPr>
          <a:xfrm>
            <a:off x="7920045" y="4812630"/>
            <a:ext cx="1141125" cy="353278"/>
          </a:xfrm>
          <a:prstGeom prst="rect">
            <a:avLst/>
          </a:prstGeom>
          <a:solidFill>
            <a:srgbClr val="FFFFFF"/>
          </a:solidFill>
          <a:ln w="12701" cap="flat">
            <a:solidFill>
              <a:srgbClr val="181818"/>
            </a:solidFill>
            <a:custDash>
              <a:ds d="300000" sp="300000"/>
            </a:custDash>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181818"/>
                </a:solidFill>
                <a:uFillTx/>
                <a:latin typeface="Ericsson Hilda"/>
              </a:rPr>
              <a:t>Storage Resource</a:t>
            </a:r>
          </a:p>
        </p:txBody>
      </p:sp>
      <p:cxnSp>
        <p:nvCxnSpPr>
          <p:cNvPr id="26" name="Straight Connector 45">
            <a:extLst>
              <a:ext uri="{FF2B5EF4-FFF2-40B4-BE49-F238E27FC236}">
                <a16:creationId xmlns:a16="http://schemas.microsoft.com/office/drawing/2014/main" id="{E00DA9B3-DB9E-44B8-AA09-C23C1D48CEEC}"/>
              </a:ext>
            </a:extLst>
          </p:cNvPr>
          <p:cNvCxnSpPr>
            <a:stCxn id="25" idx="0"/>
            <a:endCxn id="11" idx="2"/>
          </p:cNvCxnSpPr>
          <p:nvPr/>
        </p:nvCxnSpPr>
        <p:spPr>
          <a:xfrm flipV="1">
            <a:off x="8490608" y="4477886"/>
            <a:ext cx="1069496" cy="334744"/>
          </a:xfrm>
          <a:prstGeom prst="straightConnector1">
            <a:avLst/>
          </a:prstGeom>
          <a:noFill/>
          <a:ln w="12701" cap="flat">
            <a:solidFill>
              <a:srgbClr val="181818"/>
            </a:solidFill>
            <a:prstDash val="solid"/>
            <a:round/>
          </a:ln>
        </p:spPr>
      </p:cxnSp>
      <p:sp>
        <p:nvSpPr>
          <p:cNvPr id="27" name="Rectangle 48">
            <a:extLst>
              <a:ext uri="{FF2B5EF4-FFF2-40B4-BE49-F238E27FC236}">
                <a16:creationId xmlns:a16="http://schemas.microsoft.com/office/drawing/2014/main" id="{A4417108-7699-4E4C-B11F-45799A3361A0}"/>
              </a:ext>
            </a:extLst>
          </p:cNvPr>
          <p:cNvSpPr/>
          <p:nvPr/>
        </p:nvSpPr>
        <p:spPr>
          <a:xfrm>
            <a:off x="9712818" y="5565666"/>
            <a:ext cx="129396" cy="215661"/>
          </a:xfrm>
          <a:prstGeom prst="rect">
            <a:avLst/>
          </a:prstGeom>
          <a:solidFill>
            <a:srgbClr val="AF78D2"/>
          </a:solidFill>
          <a:ln cap="flat">
            <a:noFill/>
            <a:prstDash val="solid"/>
          </a:ln>
        </p:spPr>
        <p:txBody>
          <a:bodyPr vert="horz" wrap="square" lIns="71999" tIns="35999" rIns="73152" bIns="36576" anchor="t" anchorCtr="0" compatLnSpc="1">
            <a:noAutofit/>
          </a:bodyPr>
          <a:lstStyle/>
          <a:p>
            <a:pPr marL="357192" marR="0" lvl="0" indent="-357192" algn="l" defTabSz="914400" rtl="0" fontAlgn="auto" hangingPunct="1">
              <a:lnSpc>
                <a:spcPct val="100000"/>
              </a:lnSpc>
              <a:spcBef>
                <a:spcPts val="300"/>
              </a:spcBef>
              <a:spcAft>
                <a:spcPts val="0"/>
              </a:spcAft>
              <a:buSzPct val="100000"/>
              <a:buFont typeface="Ericsson Hilda" pitchFamily="2"/>
              <a:buChar char="—"/>
              <a:tabLst/>
              <a:defRPr sz="1800" b="0" i="0" u="none" strike="noStrike" kern="0" cap="none" spc="0" baseline="0">
                <a:solidFill>
                  <a:srgbClr val="000000"/>
                </a:solidFill>
                <a:uFillTx/>
              </a:defRPr>
            </a:pPr>
            <a:endParaRPr lang="en-GB" b="0" i="0" u="none" strike="noStrike" kern="1200" cap="none" spc="0" baseline="0">
              <a:solidFill>
                <a:srgbClr val="FFFFFF"/>
              </a:solidFill>
              <a:uFillTx/>
              <a:latin typeface="Ericsson Hilda"/>
            </a:endParaRPr>
          </a:p>
        </p:txBody>
      </p:sp>
      <p:sp>
        <p:nvSpPr>
          <p:cNvPr id="28" name="TextBox 49">
            <a:extLst>
              <a:ext uri="{FF2B5EF4-FFF2-40B4-BE49-F238E27FC236}">
                <a16:creationId xmlns:a16="http://schemas.microsoft.com/office/drawing/2014/main" id="{CBBB1CBD-C93B-4725-82E4-39749E47413C}"/>
              </a:ext>
            </a:extLst>
          </p:cNvPr>
          <p:cNvSpPr txBox="1"/>
          <p:nvPr/>
        </p:nvSpPr>
        <p:spPr>
          <a:xfrm>
            <a:off x="9842215" y="5497287"/>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b="0" i="0" u="none" strike="noStrike" kern="1200" cap="none" spc="0" baseline="0">
                <a:solidFill>
                  <a:srgbClr val="181818"/>
                </a:solidFill>
                <a:uFillTx/>
                <a:latin typeface="Ericsson Hilda"/>
              </a:rPr>
              <a:t>NF Service Set</a:t>
            </a:r>
          </a:p>
        </p:txBody>
      </p:sp>
      <p:sp>
        <p:nvSpPr>
          <p:cNvPr id="34" name="TextBox 36">
            <a:extLst>
              <a:ext uri="{FF2B5EF4-FFF2-40B4-BE49-F238E27FC236}">
                <a16:creationId xmlns:a16="http://schemas.microsoft.com/office/drawing/2014/main" id="{B729297C-F98A-429E-AD9A-5EB42BD29B5C}"/>
              </a:ext>
            </a:extLst>
          </p:cNvPr>
          <p:cNvSpPr txBox="1"/>
          <p:nvPr/>
        </p:nvSpPr>
        <p:spPr>
          <a:xfrm>
            <a:off x="6818700" y="2184114"/>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b="0" i="0" u="none" strike="noStrike" kern="1200" cap="none" spc="0" baseline="0">
                <a:solidFill>
                  <a:srgbClr val="181818"/>
                </a:solidFill>
                <a:uFillTx/>
                <a:latin typeface="Ericsson Hilda"/>
              </a:rPr>
              <a:t>NF1</a:t>
            </a:r>
          </a:p>
        </p:txBody>
      </p:sp>
      <p:sp>
        <p:nvSpPr>
          <p:cNvPr id="35" name="TextBox 36">
            <a:extLst>
              <a:ext uri="{FF2B5EF4-FFF2-40B4-BE49-F238E27FC236}">
                <a16:creationId xmlns:a16="http://schemas.microsoft.com/office/drawing/2014/main" id="{63238A6A-6790-4D4E-8057-5F5B0444B9B9}"/>
              </a:ext>
            </a:extLst>
          </p:cNvPr>
          <p:cNvSpPr txBox="1"/>
          <p:nvPr/>
        </p:nvSpPr>
        <p:spPr>
          <a:xfrm>
            <a:off x="8925888" y="2190579"/>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b="0" i="0" u="none" strike="noStrike" kern="1200" cap="none" spc="0" baseline="0">
                <a:solidFill>
                  <a:srgbClr val="181818"/>
                </a:solidFill>
                <a:uFillTx/>
                <a:latin typeface="Ericsson Hilda"/>
              </a:rPr>
              <a:t>NF2</a:t>
            </a:r>
          </a:p>
        </p:txBody>
      </p:sp>
      <p:sp>
        <p:nvSpPr>
          <p:cNvPr id="36" name="TextBox 214">
            <a:extLst>
              <a:ext uri="{FF2B5EF4-FFF2-40B4-BE49-F238E27FC236}">
                <a16:creationId xmlns:a16="http://schemas.microsoft.com/office/drawing/2014/main" id="{CDE4C637-3C1E-451D-8EE6-316F0A29A5EF}"/>
              </a:ext>
            </a:extLst>
          </p:cNvPr>
          <p:cNvSpPr txBox="1"/>
          <p:nvPr/>
        </p:nvSpPr>
        <p:spPr>
          <a:xfrm>
            <a:off x="6303482" y="1577231"/>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2000" b="0" i="0" u="none" strike="noStrike" kern="1200" cap="none" spc="0" baseline="0">
                <a:solidFill>
                  <a:srgbClr val="181818"/>
                </a:solidFill>
                <a:uFillTx/>
                <a:latin typeface="Ericsson Hilda"/>
              </a:rPr>
              <a:t>NF Set</a:t>
            </a:r>
          </a:p>
        </p:txBody>
      </p:sp>
      <p:sp>
        <p:nvSpPr>
          <p:cNvPr id="37" name="TextBox 49">
            <a:extLst>
              <a:ext uri="{FF2B5EF4-FFF2-40B4-BE49-F238E27FC236}">
                <a16:creationId xmlns:a16="http://schemas.microsoft.com/office/drawing/2014/main" id="{1E897A7C-6B5B-40E2-8278-146786D8114C}"/>
              </a:ext>
            </a:extLst>
          </p:cNvPr>
          <p:cNvSpPr txBox="1"/>
          <p:nvPr/>
        </p:nvSpPr>
        <p:spPr>
          <a:xfrm>
            <a:off x="6903468" y="2524924"/>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1</a:t>
            </a:r>
          </a:p>
        </p:txBody>
      </p:sp>
      <p:sp>
        <p:nvSpPr>
          <p:cNvPr id="38" name="TextBox 49">
            <a:extLst>
              <a:ext uri="{FF2B5EF4-FFF2-40B4-BE49-F238E27FC236}">
                <a16:creationId xmlns:a16="http://schemas.microsoft.com/office/drawing/2014/main" id="{2CEAE83E-82D8-4C0B-8A8A-13B7371903CE}"/>
              </a:ext>
            </a:extLst>
          </p:cNvPr>
          <p:cNvSpPr txBox="1"/>
          <p:nvPr/>
        </p:nvSpPr>
        <p:spPr>
          <a:xfrm>
            <a:off x="9043567" y="2544341"/>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1</a:t>
            </a:r>
          </a:p>
        </p:txBody>
      </p:sp>
      <p:sp>
        <p:nvSpPr>
          <p:cNvPr id="39" name="TextBox 49">
            <a:extLst>
              <a:ext uri="{FF2B5EF4-FFF2-40B4-BE49-F238E27FC236}">
                <a16:creationId xmlns:a16="http://schemas.microsoft.com/office/drawing/2014/main" id="{E2632F0A-3EC8-408C-A683-C9B3ECAC58C6}"/>
              </a:ext>
            </a:extLst>
          </p:cNvPr>
          <p:cNvSpPr txBox="1"/>
          <p:nvPr/>
        </p:nvSpPr>
        <p:spPr>
          <a:xfrm>
            <a:off x="9057950" y="3911797"/>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n</a:t>
            </a:r>
          </a:p>
        </p:txBody>
      </p:sp>
      <p:sp>
        <p:nvSpPr>
          <p:cNvPr id="40" name="TextBox 49">
            <a:extLst>
              <a:ext uri="{FF2B5EF4-FFF2-40B4-BE49-F238E27FC236}">
                <a16:creationId xmlns:a16="http://schemas.microsoft.com/office/drawing/2014/main" id="{6F7293D5-45E4-481F-A5EE-9C4F5A63DDEC}"/>
              </a:ext>
            </a:extLst>
          </p:cNvPr>
          <p:cNvSpPr txBox="1"/>
          <p:nvPr/>
        </p:nvSpPr>
        <p:spPr>
          <a:xfrm>
            <a:off x="6930252" y="3916811"/>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n</a:t>
            </a:r>
          </a:p>
        </p:txBody>
      </p:sp>
      <p:sp>
        <p:nvSpPr>
          <p:cNvPr id="41" name="TextBox 49">
            <a:extLst>
              <a:ext uri="{FF2B5EF4-FFF2-40B4-BE49-F238E27FC236}">
                <a16:creationId xmlns:a16="http://schemas.microsoft.com/office/drawing/2014/main" id="{3E220B12-8ACC-44ED-BC8B-E949098D5D63}"/>
              </a:ext>
            </a:extLst>
          </p:cNvPr>
          <p:cNvSpPr txBox="1"/>
          <p:nvPr/>
        </p:nvSpPr>
        <p:spPr>
          <a:xfrm>
            <a:off x="6971200" y="3427434"/>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a:t>
            </a:r>
          </a:p>
        </p:txBody>
      </p:sp>
      <p:sp>
        <p:nvSpPr>
          <p:cNvPr id="43" name="TextBox 49">
            <a:extLst>
              <a:ext uri="{FF2B5EF4-FFF2-40B4-BE49-F238E27FC236}">
                <a16:creationId xmlns:a16="http://schemas.microsoft.com/office/drawing/2014/main" id="{4BFC6408-80E0-45EC-8478-10D42F5364F8}"/>
              </a:ext>
            </a:extLst>
          </p:cNvPr>
          <p:cNvSpPr txBox="1"/>
          <p:nvPr/>
        </p:nvSpPr>
        <p:spPr>
          <a:xfrm>
            <a:off x="9109798" y="3427434"/>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a:t>
            </a:r>
          </a:p>
        </p:txBody>
      </p:sp>
      <p:sp>
        <p:nvSpPr>
          <p:cNvPr id="44" name="TextBox 49">
            <a:extLst>
              <a:ext uri="{FF2B5EF4-FFF2-40B4-BE49-F238E27FC236}">
                <a16:creationId xmlns:a16="http://schemas.microsoft.com/office/drawing/2014/main" id="{316F532F-895B-4A53-AC1C-452F1488C86E}"/>
              </a:ext>
            </a:extLst>
          </p:cNvPr>
          <p:cNvSpPr txBox="1"/>
          <p:nvPr/>
        </p:nvSpPr>
        <p:spPr>
          <a:xfrm>
            <a:off x="6903468" y="2991920"/>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2</a:t>
            </a:r>
          </a:p>
        </p:txBody>
      </p:sp>
      <p:sp>
        <p:nvSpPr>
          <p:cNvPr id="45" name="TextBox 49">
            <a:extLst>
              <a:ext uri="{FF2B5EF4-FFF2-40B4-BE49-F238E27FC236}">
                <a16:creationId xmlns:a16="http://schemas.microsoft.com/office/drawing/2014/main" id="{5C83C55B-A381-40E7-BA45-4AABD7894ACC}"/>
              </a:ext>
            </a:extLst>
          </p:cNvPr>
          <p:cNvSpPr txBox="1"/>
          <p:nvPr/>
        </p:nvSpPr>
        <p:spPr>
          <a:xfrm>
            <a:off x="9055434" y="2978731"/>
            <a:ext cx="914400" cy="351257"/>
          </a:xfrm>
          <a:prstGeom prst="rect">
            <a:avLst/>
          </a:prstGeom>
          <a:noFill/>
          <a:ln cap="flat">
            <a:noFill/>
          </a:ln>
        </p:spPr>
        <p:txBody>
          <a:bodyPr vert="horz" wrap="none" lIns="71999" tIns="35999" rIns="73152" bIns="36576"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0" u="none" strike="noStrike" kern="1200" cap="none" spc="0" baseline="0">
                <a:solidFill>
                  <a:srgbClr val="181818"/>
                </a:solidFill>
                <a:uFillTx/>
                <a:latin typeface="Ericsson Hilda"/>
              </a:rPr>
              <a:t>NF Service 2</a:t>
            </a:r>
          </a:p>
        </p:txBody>
      </p:sp>
    </p:spTree>
    <p:extLst>
      <p:ext uri="{BB962C8B-B14F-4D97-AF65-F5344CB8AC3E}">
        <p14:creationId xmlns:p14="http://schemas.microsoft.com/office/powerpoint/2010/main" val="33601516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7C280-073F-4E37-A070-736CC130220C}"/>
              </a:ext>
            </a:extLst>
          </p:cNvPr>
          <p:cNvSpPr>
            <a:spLocks noGrp="1"/>
          </p:cNvSpPr>
          <p:nvPr>
            <p:ph type="title"/>
          </p:nvPr>
        </p:nvSpPr>
        <p:spPr/>
        <p:txBody>
          <a:bodyPr/>
          <a:lstStyle/>
          <a:p>
            <a:r>
              <a:rPr lang="en-US"/>
              <a:t>Service framework – Rel-16 SCP</a:t>
            </a:r>
            <a:br>
              <a:rPr lang="en-US" sz="2800"/>
            </a:br>
            <a:r>
              <a:rPr lang="en-US" sz="2800"/>
              <a:t>potential initial use cases</a:t>
            </a:r>
          </a:p>
        </p:txBody>
      </p:sp>
      <p:sp>
        <p:nvSpPr>
          <p:cNvPr id="4" name="Rectangle: Rounded Corners 3">
            <a:extLst>
              <a:ext uri="{FF2B5EF4-FFF2-40B4-BE49-F238E27FC236}">
                <a16:creationId xmlns:a16="http://schemas.microsoft.com/office/drawing/2014/main" id="{D6071876-8BC7-4688-B7BC-7A362A0B952F}"/>
              </a:ext>
            </a:extLst>
          </p:cNvPr>
          <p:cNvSpPr/>
          <p:nvPr/>
        </p:nvSpPr>
        <p:spPr bwMode="auto">
          <a:xfrm>
            <a:off x="4503168" y="2548985"/>
            <a:ext cx="1160207" cy="1858297"/>
          </a:xfrm>
          <a:prstGeom prst="round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5" name="Rectangle: Rounded Corners 4">
            <a:extLst>
              <a:ext uri="{FF2B5EF4-FFF2-40B4-BE49-F238E27FC236}">
                <a16:creationId xmlns:a16="http://schemas.microsoft.com/office/drawing/2014/main" id="{02DC5414-3D04-4FB0-9A6F-6504C5B052D1}"/>
              </a:ext>
            </a:extLst>
          </p:cNvPr>
          <p:cNvSpPr/>
          <p:nvPr/>
        </p:nvSpPr>
        <p:spPr bwMode="auto">
          <a:xfrm>
            <a:off x="3047995" y="2548992"/>
            <a:ext cx="1160207" cy="1858297"/>
          </a:xfrm>
          <a:prstGeom prst="round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6" name="Rectangle: Rounded Corners 5">
            <a:extLst>
              <a:ext uri="{FF2B5EF4-FFF2-40B4-BE49-F238E27FC236}">
                <a16:creationId xmlns:a16="http://schemas.microsoft.com/office/drawing/2014/main" id="{FC77BD3C-851B-4ABC-A61B-ADE467153881}"/>
              </a:ext>
            </a:extLst>
          </p:cNvPr>
          <p:cNvSpPr/>
          <p:nvPr/>
        </p:nvSpPr>
        <p:spPr bwMode="auto">
          <a:xfrm>
            <a:off x="9530861" y="2373087"/>
            <a:ext cx="2417885" cy="2034195"/>
          </a:xfrm>
          <a:prstGeom prst="round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6" name="Straight Connector 15">
            <a:extLst>
              <a:ext uri="{FF2B5EF4-FFF2-40B4-BE49-F238E27FC236}">
                <a16:creationId xmlns:a16="http://schemas.microsoft.com/office/drawing/2014/main" id="{BE9F3A80-D2DF-4419-B88C-1CA40960B0EB}"/>
              </a:ext>
            </a:extLst>
          </p:cNvPr>
          <p:cNvCxnSpPr>
            <a:cxnSpLocks/>
          </p:cNvCxnSpPr>
          <p:nvPr/>
        </p:nvCxnSpPr>
        <p:spPr bwMode="auto">
          <a:xfrm flipV="1">
            <a:off x="5979064" y="1557338"/>
            <a:ext cx="0" cy="3460976"/>
          </a:xfrm>
          <a:prstGeom prst="line">
            <a:avLst/>
          </a:prstGeom>
          <a:solidFill>
            <a:schemeClr val="accent1"/>
          </a:solidFill>
          <a:ln w="19050" cap="flat" cmpd="sng" algn="ctr">
            <a:solidFill>
              <a:schemeClr val="tx1"/>
            </a:solidFill>
            <a:prstDash val="solid"/>
            <a:round/>
            <a:headEnd type="none" w="med" len="med"/>
            <a:tailEnd type="none"/>
          </a:ln>
          <a:effectLst/>
        </p:spPr>
      </p:cxnSp>
      <p:sp>
        <p:nvSpPr>
          <p:cNvPr id="17" name="Rectangle: Rounded Corners 16">
            <a:extLst>
              <a:ext uri="{FF2B5EF4-FFF2-40B4-BE49-F238E27FC236}">
                <a16:creationId xmlns:a16="http://schemas.microsoft.com/office/drawing/2014/main" id="{C6D7757F-E5EB-495A-9AC6-F9AE03ECF1E4}"/>
              </a:ext>
            </a:extLst>
          </p:cNvPr>
          <p:cNvSpPr/>
          <p:nvPr/>
        </p:nvSpPr>
        <p:spPr bwMode="auto">
          <a:xfrm>
            <a:off x="3392124" y="2837663"/>
            <a:ext cx="471948" cy="265468"/>
          </a:xfrm>
          <a:prstGeom prst="roundRect">
            <a:avLst/>
          </a:prstGeom>
          <a:solidFill>
            <a:srgbClr val="00B0F0"/>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NF1</a:t>
            </a:r>
          </a:p>
        </p:txBody>
      </p:sp>
      <p:sp>
        <p:nvSpPr>
          <p:cNvPr id="18" name="Rectangle: Rounded Corners 17">
            <a:extLst>
              <a:ext uri="{FF2B5EF4-FFF2-40B4-BE49-F238E27FC236}">
                <a16:creationId xmlns:a16="http://schemas.microsoft.com/office/drawing/2014/main" id="{85AE146D-60B0-449B-8A43-89115D3EA14C}"/>
              </a:ext>
            </a:extLst>
          </p:cNvPr>
          <p:cNvSpPr/>
          <p:nvPr/>
        </p:nvSpPr>
        <p:spPr bwMode="auto">
          <a:xfrm>
            <a:off x="4842947" y="2837663"/>
            <a:ext cx="471948" cy="265468"/>
          </a:xfrm>
          <a:prstGeom prst="roundRect">
            <a:avLst/>
          </a:prstGeom>
          <a:solidFill>
            <a:srgbClr val="00B0F0"/>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NF2</a:t>
            </a:r>
          </a:p>
        </p:txBody>
      </p:sp>
      <p:sp>
        <p:nvSpPr>
          <p:cNvPr id="19" name="Rectangle: Rounded Corners 18">
            <a:extLst>
              <a:ext uri="{FF2B5EF4-FFF2-40B4-BE49-F238E27FC236}">
                <a16:creationId xmlns:a16="http://schemas.microsoft.com/office/drawing/2014/main" id="{18184D4E-9FBD-4D38-92F8-77759844E989}"/>
              </a:ext>
            </a:extLst>
          </p:cNvPr>
          <p:cNvSpPr/>
          <p:nvPr/>
        </p:nvSpPr>
        <p:spPr bwMode="auto">
          <a:xfrm>
            <a:off x="3736254" y="3358769"/>
            <a:ext cx="471948" cy="265468"/>
          </a:xfrm>
          <a:prstGeom prst="roundRect">
            <a:avLst/>
          </a:prstGeom>
          <a:solidFill>
            <a:schemeClr val="bg1"/>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SCP</a:t>
            </a:r>
          </a:p>
        </p:txBody>
      </p:sp>
      <p:sp>
        <p:nvSpPr>
          <p:cNvPr id="20" name="Rectangle: Rounded Corners 19">
            <a:extLst>
              <a:ext uri="{FF2B5EF4-FFF2-40B4-BE49-F238E27FC236}">
                <a16:creationId xmlns:a16="http://schemas.microsoft.com/office/drawing/2014/main" id="{FF7E6A9E-2545-4123-AA1F-702C8F1AAB83}"/>
              </a:ext>
            </a:extLst>
          </p:cNvPr>
          <p:cNvSpPr/>
          <p:nvPr/>
        </p:nvSpPr>
        <p:spPr bwMode="auto">
          <a:xfrm>
            <a:off x="4503168" y="3358769"/>
            <a:ext cx="471948" cy="265468"/>
          </a:xfrm>
          <a:prstGeom prst="roundRect">
            <a:avLst/>
          </a:prstGeom>
          <a:solidFill>
            <a:schemeClr val="bg1"/>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SCP</a:t>
            </a:r>
          </a:p>
        </p:txBody>
      </p:sp>
      <p:cxnSp>
        <p:nvCxnSpPr>
          <p:cNvPr id="22" name="Straight Connector 21">
            <a:extLst>
              <a:ext uri="{FF2B5EF4-FFF2-40B4-BE49-F238E27FC236}">
                <a16:creationId xmlns:a16="http://schemas.microsoft.com/office/drawing/2014/main" id="{34398CB9-7142-4B29-AB6D-0593DB5A95DA}"/>
              </a:ext>
            </a:extLst>
          </p:cNvPr>
          <p:cNvCxnSpPr>
            <a:stCxn id="17" idx="2"/>
            <a:endCxn id="19" idx="0"/>
          </p:cNvCxnSpPr>
          <p:nvPr/>
        </p:nvCxnSpPr>
        <p:spPr bwMode="auto">
          <a:xfrm>
            <a:off x="3628098" y="3103131"/>
            <a:ext cx="344130" cy="255638"/>
          </a:xfrm>
          <a:prstGeom prst="line">
            <a:avLst/>
          </a:prstGeom>
          <a:solidFill>
            <a:schemeClr val="accent1"/>
          </a:solidFill>
          <a:ln w="19050" cap="flat" cmpd="sng" algn="ctr">
            <a:solidFill>
              <a:schemeClr val="tx1"/>
            </a:solidFill>
            <a:prstDash val="solid"/>
            <a:round/>
            <a:headEnd type="none" w="med" len="med"/>
            <a:tailEnd type="none"/>
          </a:ln>
          <a:effectLst/>
        </p:spPr>
      </p:cxnSp>
      <p:cxnSp>
        <p:nvCxnSpPr>
          <p:cNvPr id="24" name="Straight Connector 23">
            <a:extLst>
              <a:ext uri="{FF2B5EF4-FFF2-40B4-BE49-F238E27FC236}">
                <a16:creationId xmlns:a16="http://schemas.microsoft.com/office/drawing/2014/main" id="{5B2A7BD8-370C-4E77-AEA6-7C1DA0D9A74D}"/>
              </a:ext>
            </a:extLst>
          </p:cNvPr>
          <p:cNvCxnSpPr>
            <a:stCxn id="20" idx="0"/>
            <a:endCxn id="18" idx="2"/>
          </p:cNvCxnSpPr>
          <p:nvPr/>
        </p:nvCxnSpPr>
        <p:spPr bwMode="auto">
          <a:xfrm flipV="1">
            <a:off x="4739142" y="3103131"/>
            <a:ext cx="339779" cy="255638"/>
          </a:xfrm>
          <a:prstGeom prst="line">
            <a:avLst/>
          </a:prstGeom>
          <a:solidFill>
            <a:schemeClr val="accent1"/>
          </a:solidFill>
          <a:ln w="19050" cap="flat" cmpd="sng" algn="ctr">
            <a:solidFill>
              <a:schemeClr val="tx1"/>
            </a:solidFill>
            <a:prstDash val="solid"/>
            <a:round/>
            <a:headEnd type="none" w="med" len="med"/>
            <a:tailEnd type="none"/>
          </a:ln>
          <a:effectLst/>
        </p:spPr>
      </p:cxnSp>
      <p:cxnSp>
        <p:nvCxnSpPr>
          <p:cNvPr id="26" name="Straight Connector 25">
            <a:extLst>
              <a:ext uri="{FF2B5EF4-FFF2-40B4-BE49-F238E27FC236}">
                <a16:creationId xmlns:a16="http://schemas.microsoft.com/office/drawing/2014/main" id="{0F6A98C3-F07D-43F0-A604-C34A08127E7C}"/>
              </a:ext>
            </a:extLst>
          </p:cNvPr>
          <p:cNvCxnSpPr>
            <a:stCxn id="19" idx="3"/>
            <a:endCxn id="20" idx="1"/>
          </p:cNvCxnSpPr>
          <p:nvPr/>
        </p:nvCxnSpPr>
        <p:spPr bwMode="auto">
          <a:xfrm>
            <a:off x="4208202" y="3491503"/>
            <a:ext cx="294966" cy="0"/>
          </a:xfrm>
          <a:prstGeom prst="line">
            <a:avLst/>
          </a:prstGeom>
          <a:solidFill>
            <a:schemeClr val="accent1"/>
          </a:solidFill>
          <a:ln w="19050" cap="flat" cmpd="sng" algn="ctr">
            <a:solidFill>
              <a:schemeClr val="tx1"/>
            </a:solidFill>
            <a:prstDash val="solid"/>
            <a:round/>
            <a:headEnd type="none" w="med" len="med"/>
            <a:tailEnd type="none"/>
          </a:ln>
          <a:effectLst/>
        </p:spPr>
      </p:cxnSp>
      <p:sp>
        <p:nvSpPr>
          <p:cNvPr id="29" name="Rectangle: Rounded Corners 28">
            <a:extLst>
              <a:ext uri="{FF2B5EF4-FFF2-40B4-BE49-F238E27FC236}">
                <a16:creationId xmlns:a16="http://schemas.microsoft.com/office/drawing/2014/main" id="{66CF70B6-0FB7-429F-9A03-92FD505FBD2C}"/>
              </a:ext>
            </a:extLst>
          </p:cNvPr>
          <p:cNvSpPr/>
          <p:nvPr/>
        </p:nvSpPr>
        <p:spPr bwMode="auto">
          <a:xfrm>
            <a:off x="10159080" y="2607691"/>
            <a:ext cx="471948" cy="265468"/>
          </a:xfrm>
          <a:prstGeom prst="roundRect">
            <a:avLst/>
          </a:prstGeom>
          <a:solidFill>
            <a:srgbClr val="FFC000"/>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NF1</a:t>
            </a:r>
          </a:p>
        </p:txBody>
      </p:sp>
      <p:sp>
        <p:nvSpPr>
          <p:cNvPr id="30" name="Rectangle: Rounded Corners 29">
            <a:extLst>
              <a:ext uri="{FF2B5EF4-FFF2-40B4-BE49-F238E27FC236}">
                <a16:creationId xmlns:a16="http://schemas.microsoft.com/office/drawing/2014/main" id="{408A7A38-4D73-40A4-9474-441B92C44610}"/>
              </a:ext>
            </a:extLst>
          </p:cNvPr>
          <p:cNvSpPr/>
          <p:nvPr/>
        </p:nvSpPr>
        <p:spPr bwMode="auto">
          <a:xfrm>
            <a:off x="10321313" y="4017239"/>
            <a:ext cx="471948" cy="265468"/>
          </a:xfrm>
          <a:prstGeom prst="roundRect">
            <a:avLst/>
          </a:prstGeom>
          <a:solidFill>
            <a:srgbClr val="00B0F0"/>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NF2</a:t>
            </a:r>
          </a:p>
        </p:txBody>
      </p:sp>
      <p:sp>
        <p:nvSpPr>
          <p:cNvPr id="31" name="Rectangle: Rounded Corners 30">
            <a:extLst>
              <a:ext uri="{FF2B5EF4-FFF2-40B4-BE49-F238E27FC236}">
                <a16:creationId xmlns:a16="http://schemas.microsoft.com/office/drawing/2014/main" id="{E99708E8-816A-475C-9407-E348A86E6E3B}"/>
              </a:ext>
            </a:extLst>
          </p:cNvPr>
          <p:cNvSpPr/>
          <p:nvPr/>
        </p:nvSpPr>
        <p:spPr bwMode="auto">
          <a:xfrm>
            <a:off x="10395054" y="3195163"/>
            <a:ext cx="471948" cy="265468"/>
          </a:xfrm>
          <a:prstGeom prst="roundRect">
            <a:avLst/>
          </a:prstGeom>
          <a:solidFill>
            <a:schemeClr val="bg1"/>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SCP</a:t>
            </a:r>
          </a:p>
        </p:txBody>
      </p:sp>
      <p:cxnSp>
        <p:nvCxnSpPr>
          <p:cNvPr id="33" name="Straight Connector 32">
            <a:extLst>
              <a:ext uri="{FF2B5EF4-FFF2-40B4-BE49-F238E27FC236}">
                <a16:creationId xmlns:a16="http://schemas.microsoft.com/office/drawing/2014/main" id="{360A3C7C-FDEB-42CD-BEE6-AEDB72A40B91}"/>
              </a:ext>
            </a:extLst>
          </p:cNvPr>
          <p:cNvCxnSpPr>
            <a:cxnSpLocks/>
            <a:stCxn id="29" idx="2"/>
          </p:cNvCxnSpPr>
          <p:nvPr/>
        </p:nvCxnSpPr>
        <p:spPr bwMode="auto">
          <a:xfrm>
            <a:off x="10395054" y="2873159"/>
            <a:ext cx="235974" cy="322004"/>
          </a:xfrm>
          <a:prstGeom prst="line">
            <a:avLst/>
          </a:prstGeom>
          <a:solidFill>
            <a:schemeClr val="accent1"/>
          </a:solidFill>
          <a:ln w="19050" cap="flat" cmpd="sng" algn="ctr">
            <a:solidFill>
              <a:schemeClr val="tx1"/>
            </a:solidFill>
            <a:prstDash val="solid"/>
            <a:round/>
            <a:headEnd type="none" w="med" len="med"/>
            <a:tailEnd type="none"/>
          </a:ln>
          <a:effectLst/>
        </p:spPr>
      </p:cxnSp>
      <p:cxnSp>
        <p:nvCxnSpPr>
          <p:cNvPr id="34" name="Straight Connector 33">
            <a:extLst>
              <a:ext uri="{FF2B5EF4-FFF2-40B4-BE49-F238E27FC236}">
                <a16:creationId xmlns:a16="http://schemas.microsoft.com/office/drawing/2014/main" id="{E50FC242-E205-4EE0-9B0F-BDC3A09FF333}"/>
              </a:ext>
            </a:extLst>
          </p:cNvPr>
          <p:cNvCxnSpPr>
            <a:cxnSpLocks/>
            <a:stCxn id="31" idx="2"/>
          </p:cNvCxnSpPr>
          <p:nvPr/>
        </p:nvCxnSpPr>
        <p:spPr bwMode="auto">
          <a:xfrm flipH="1">
            <a:off x="10557287" y="3460631"/>
            <a:ext cx="73741" cy="556608"/>
          </a:xfrm>
          <a:prstGeom prst="line">
            <a:avLst/>
          </a:prstGeom>
          <a:solidFill>
            <a:schemeClr val="accent1"/>
          </a:solidFill>
          <a:ln w="19050" cap="flat" cmpd="sng" algn="ctr">
            <a:solidFill>
              <a:schemeClr val="tx1"/>
            </a:solidFill>
            <a:prstDash val="solid"/>
            <a:round/>
            <a:headEnd type="none" w="med" len="med"/>
            <a:tailEnd type="none"/>
          </a:ln>
          <a:effectLst/>
        </p:spPr>
      </p:cxnSp>
      <p:sp>
        <p:nvSpPr>
          <p:cNvPr id="95" name="TextBox 94">
            <a:extLst>
              <a:ext uri="{FF2B5EF4-FFF2-40B4-BE49-F238E27FC236}">
                <a16:creationId xmlns:a16="http://schemas.microsoft.com/office/drawing/2014/main" id="{71546B49-178F-44BA-AF56-48B155721E0D}"/>
              </a:ext>
            </a:extLst>
          </p:cNvPr>
          <p:cNvSpPr txBox="1"/>
          <p:nvPr/>
        </p:nvSpPr>
        <p:spPr bwMode="auto">
          <a:xfrm>
            <a:off x="304800" y="2373087"/>
            <a:ext cx="2556383" cy="1267458"/>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sng" strike="noStrike" kern="1200" cap="none" spc="0" normalizeH="0" baseline="0" noProof="0">
                <a:ln>
                  <a:noFill/>
                </a:ln>
                <a:solidFill>
                  <a:srgbClr val="181818"/>
                </a:solidFill>
                <a:effectLst/>
                <a:uLnTx/>
                <a:uFillTx/>
                <a:latin typeface="Ericsson Hilda"/>
                <a:ea typeface="+mn-ea"/>
                <a:cs typeface="+mn-cs"/>
              </a:rPr>
              <a:t>Case 1 – Multisite</a:t>
            </a:r>
          </a:p>
          <a:p>
            <a:pPr marL="342900" marR="0" lvl="0" indent="-342900" algn="l" defTabSz="914400" rtl="0" eaLnBrk="1" fontAlgn="auto" latinLnBrk="0" hangingPunct="1">
              <a:lnSpc>
                <a:spcPct val="100000"/>
              </a:lnSpc>
              <a:spcBef>
                <a:spcPts val="0"/>
              </a:spcBef>
              <a:spcAft>
                <a:spcPts val="0"/>
              </a:spcAft>
              <a:buClr>
                <a:srgbClr val="181818"/>
              </a:buClr>
              <a:buSzTx/>
              <a:buFont typeface="Arial" panose="020B0604020202020204" pitchFamily="34" charset="0"/>
              <a:buChar char="•"/>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SCP used to avoid exposure of site-internal networking details between sites</a:t>
            </a:r>
          </a:p>
        </p:txBody>
      </p:sp>
      <p:sp>
        <p:nvSpPr>
          <p:cNvPr id="96" name="TextBox 95">
            <a:extLst>
              <a:ext uri="{FF2B5EF4-FFF2-40B4-BE49-F238E27FC236}">
                <a16:creationId xmlns:a16="http://schemas.microsoft.com/office/drawing/2014/main" id="{D1F7EA80-9E5D-4531-84DD-4A7F4ABA57F3}"/>
              </a:ext>
            </a:extLst>
          </p:cNvPr>
          <p:cNvSpPr txBox="1"/>
          <p:nvPr/>
        </p:nvSpPr>
        <p:spPr bwMode="auto">
          <a:xfrm>
            <a:off x="6006239" y="2407763"/>
            <a:ext cx="3225449" cy="1021237"/>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sng" strike="noStrike" kern="1200" cap="none" spc="0" normalizeH="0" baseline="0" noProof="0">
                <a:ln>
                  <a:noFill/>
                </a:ln>
                <a:solidFill>
                  <a:srgbClr val="181818"/>
                </a:solidFill>
                <a:effectLst/>
                <a:uLnTx/>
                <a:uFillTx/>
                <a:latin typeface="Ericsson Hilda"/>
                <a:ea typeface="+mn-ea"/>
                <a:cs typeface="+mn-cs"/>
              </a:rPr>
              <a:t>Case 2 – Multivendor i/w</a:t>
            </a:r>
          </a:p>
          <a:p>
            <a:pPr marL="342900" marR="0" lvl="0" indent="-342900" algn="l" defTabSz="914400" rtl="0" eaLnBrk="1" fontAlgn="auto" latinLnBrk="0" hangingPunct="1">
              <a:lnSpc>
                <a:spcPct val="100000"/>
              </a:lnSpc>
              <a:spcBef>
                <a:spcPts val="0"/>
              </a:spcBef>
              <a:spcAft>
                <a:spcPts val="0"/>
              </a:spcAft>
              <a:buClr>
                <a:srgbClr val="181818"/>
              </a:buClr>
              <a:buSzTx/>
              <a:buFont typeface="Arial" panose="020B0604020202020204" pitchFamily="34" charset="0"/>
              <a:buChar char="•"/>
              <a:tabLst/>
              <a:defRPr/>
            </a:pPr>
            <a:r>
              <a:rPr kumimoji="0" lang="en-US" sz="1600" b="0" i="0" u="none" strike="noStrike" kern="1200" cap="none" spc="0" normalizeH="0" baseline="0" noProof="0">
                <a:ln>
                  <a:noFill/>
                </a:ln>
                <a:solidFill>
                  <a:srgbClr val="181818"/>
                </a:solidFill>
                <a:effectLst/>
                <a:uLnTx/>
                <a:uFillTx/>
                <a:latin typeface="Ericsson Hilda"/>
                <a:ea typeface="+mn-ea"/>
                <a:cs typeface="+mn-cs"/>
              </a:rPr>
              <a:t>SCP used to solve multivendor SBA interoperability issues</a:t>
            </a:r>
          </a:p>
          <a:p>
            <a:pPr marL="342900" marR="0" lvl="0" indent="-342900" algn="l" defTabSz="914400" rtl="0" eaLnBrk="1" fontAlgn="auto" latinLnBrk="0" hangingPunct="1">
              <a:lnSpc>
                <a:spcPct val="100000"/>
              </a:lnSpc>
              <a:spcBef>
                <a:spcPts val="0"/>
              </a:spcBef>
              <a:spcAft>
                <a:spcPts val="0"/>
              </a:spcAft>
              <a:buClr>
                <a:srgbClr val="181818"/>
              </a:buClr>
              <a:buSzTx/>
              <a:buFont typeface="Arial" panose="020B0604020202020204" pitchFamily="34" charset="0"/>
              <a:buChar char="•"/>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1" name="Rectangle: Rounded Corners 20">
            <a:extLst>
              <a:ext uri="{FF2B5EF4-FFF2-40B4-BE49-F238E27FC236}">
                <a16:creationId xmlns:a16="http://schemas.microsoft.com/office/drawing/2014/main" id="{CDC0A6E6-EA52-4CD1-8E35-52A7660C75CD}"/>
              </a:ext>
            </a:extLst>
          </p:cNvPr>
          <p:cNvSpPr/>
          <p:nvPr/>
        </p:nvSpPr>
        <p:spPr bwMode="auto">
          <a:xfrm>
            <a:off x="11163249" y="2878915"/>
            <a:ext cx="471948" cy="265468"/>
          </a:xfrm>
          <a:prstGeom prst="roundRect">
            <a:avLst/>
          </a:prstGeom>
          <a:solidFill>
            <a:schemeClr val="accent3"/>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NF3</a:t>
            </a:r>
          </a:p>
        </p:txBody>
      </p:sp>
      <p:cxnSp>
        <p:nvCxnSpPr>
          <p:cNvPr id="23" name="Straight Connector 22">
            <a:extLst>
              <a:ext uri="{FF2B5EF4-FFF2-40B4-BE49-F238E27FC236}">
                <a16:creationId xmlns:a16="http://schemas.microsoft.com/office/drawing/2014/main" id="{63B38710-A68E-411F-AEC6-ABAF25D11E92}"/>
              </a:ext>
            </a:extLst>
          </p:cNvPr>
          <p:cNvCxnSpPr>
            <a:cxnSpLocks/>
            <a:stCxn id="21" idx="1"/>
          </p:cNvCxnSpPr>
          <p:nvPr/>
        </p:nvCxnSpPr>
        <p:spPr bwMode="auto">
          <a:xfrm flipH="1">
            <a:off x="10836866" y="3011649"/>
            <a:ext cx="326383" cy="183514"/>
          </a:xfrm>
          <a:prstGeom prst="line">
            <a:avLst/>
          </a:prstGeom>
          <a:solidFill>
            <a:schemeClr val="accent1"/>
          </a:solidFill>
          <a:ln w="19050" cap="flat" cmpd="sng" algn="ctr">
            <a:solidFill>
              <a:schemeClr val="tx1"/>
            </a:solidFill>
            <a:prstDash val="solid"/>
            <a:round/>
            <a:headEnd type="none" w="med" len="med"/>
            <a:tailEnd type="none"/>
          </a:ln>
          <a:effectLst/>
        </p:spPr>
      </p:cxnSp>
    </p:spTree>
    <p:extLst>
      <p:ext uri="{BB962C8B-B14F-4D97-AF65-F5344CB8AC3E}">
        <p14:creationId xmlns:p14="http://schemas.microsoft.com/office/powerpoint/2010/main" val="34841278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702521-217C-4526-9E88-F8CEFDCDDFC8}"/>
              </a:ext>
            </a:extLst>
          </p:cNvPr>
          <p:cNvSpPr>
            <a:spLocks noGrp="1"/>
          </p:cNvSpPr>
          <p:nvPr>
            <p:ph sz="quarter" idx="11"/>
          </p:nvPr>
        </p:nvSpPr>
        <p:spPr>
          <a:xfrm>
            <a:off x="479425" y="1842544"/>
            <a:ext cx="5901784" cy="4539206"/>
          </a:xfrm>
        </p:spPr>
        <p:txBody>
          <a:bodyPr/>
          <a:lstStyle/>
          <a:p>
            <a:pPr marL="457200" indent="-457200">
              <a:spcBef>
                <a:spcPts val="600"/>
              </a:spcBef>
              <a:spcAft>
                <a:spcPts val="0"/>
              </a:spcAft>
              <a:buFont typeface="+mj-lt"/>
              <a:buAutoNum type="arabicPeriod"/>
            </a:pPr>
            <a:r>
              <a:rPr lang="en-US" sz="1800" b="1"/>
              <a:t>Regionalization and structuring of networks</a:t>
            </a:r>
          </a:p>
          <a:p>
            <a:pPr lvl="1">
              <a:spcBef>
                <a:spcPts val="0"/>
              </a:spcBef>
              <a:spcAft>
                <a:spcPts val="0"/>
              </a:spcAft>
            </a:pPr>
            <a:r>
              <a:rPr lang="en-US" sz="1400"/>
              <a:t>consistent, domain independent view on signaling flows and volumes</a:t>
            </a:r>
          </a:p>
          <a:p>
            <a:pPr lvl="1">
              <a:spcBef>
                <a:spcPts val="0"/>
              </a:spcBef>
              <a:spcAft>
                <a:spcPts val="0"/>
              </a:spcAft>
            </a:pPr>
            <a:r>
              <a:rPr lang="en-US" sz="1400"/>
              <a:t>reduce notifications flooding</a:t>
            </a:r>
          </a:p>
          <a:p>
            <a:pPr lvl="1">
              <a:spcBef>
                <a:spcPts val="0"/>
              </a:spcBef>
              <a:spcAft>
                <a:spcPts val="0"/>
              </a:spcAft>
            </a:pPr>
            <a:r>
              <a:rPr lang="en-US" sz="1400"/>
              <a:t>failure containment esp. when using ‘sets’</a:t>
            </a:r>
          </a:p>
          <a:p>
            <a:pPr lvl="1">
              <a:spcBef>
                <a:spcPts val="0"/>
              </a:spcBef>
              <a:spcAft>
                <a:spcPts val="0"/>
              </a:spcAft>
            </a:pPr>
            <a:r>
              <a:rPr lang="en-US" sz="1400"/>
              <a:t>logging and ‘tracing’  for fault localization</a:t>
            </a:r>
          </a:p>
          <a:p>
            <a:pPr lvl="1">
              <a:spcBef>
                <a:spcPts val="0"/>
              </a:spcBef>
              <a:spcAft>
                <a:spcPts val="0"/>
              </a:spcAft>
            </a:pPr>
            <a:r>
              <a:rPr lang="en-US" sz="1400"/>
              <a:t>Ensure compliance to  signaling data retention requirements</a:t>
            </a:r>
          </a:p>
          <a:p>
            <a:pPr marL="457200" indent="-457200">
              <a:spcBef>
                <a:spcPts val="600"/>
              </a:spcBef>
              <a:spcAft>
                <a:spcPts val="0"/>
              </a:spcAft>
              <a:buFont typeface="+mj-lt"/>
              <a:buAutoNum type="arabicPeriod"/>
            </a:pPr>
            <a:r>
              <a:rPr lang="en-US" sz="1800" b="1"/>
              <a:t>Network wide signaling peak and overload protection</a:t>
            </a:r>
          </a:p>
          <a:p>
            <a:pPr marL="712470" lvl="1">
              <a:spcBef>
                <a:spcPts val="0"/>
              </a:spcBef>
              <a:spcAft>
                <a:spcPts val="0"/>
              </a:spcAft>
            </a:pPr>
            <a:r>
              <a:rPr lang="en-US" sz="1400"/>
              <a:t>additional line of defense in more complex deployments</a:t>
            </a:r>
          </a:p>
          <a:p>
            <a:pPr marL="712470" lvl="1">
              <a:spcBef>
                <a:spcPts val="0"/>
              </a:spcBef>
              <a:spcAft>
                <a:spcPts val="0"/>
              </a:spcAft>
            </a:pPr>
            <a:r>
              <a:rPr lang="en-US" sz="1400"/>
              <a:t>protect shared resources e.g. transport network functions</a:t>
            </a:r>
          </a:p>
          <a:p>
            <a:pPr marL="712470" lvl="1">
              <a:spcBef>
                <a:spcPts val="0"/>
              </a:spcBef>
              <a:spcAft>
                <a:spcPts val="0"/>
              </a:spcAft>
            </a:pPr>
            <a:r>
              <a:rPr lang="en-US" sz="1400"/>
              <a:t>aligned 4G/5G traffic rates</a:t>
            </a:r>
          </a:p>
          <a:p>
            <a:pPr marL="712470" lvl="1">
              <a:spcBef>
                <a:spcPts val="0"/>
              </a:spcBef>
              <a:spcAft>
                <a:spcPts val="0"/>
              </a:spcAft>
            </a:pPr>
            <a:r>
              <a:rPr lang="en-US" sz="1400"/>
              <a:t>Advanced load balancing considering multi domain data</a:t>
            </a:r>
          </a:p>
          <a:p>
            <a:pPr marL="457200" indent="-457200">
              <a:spcBef>
                <a:spcPts val="600"/>
              </a:spcBef>
              <a:spcAft>
                <a:spcPts val="0"/>
              </a:spcAft>
              <a:buFont typeface="+mj-lt"/>
              <a:buAutoNum type="arabicPeriod"/>
            </a:pPr>
            <a:r>
              <a:rPr lang="en-US" sz="1800" b="1"/>
              <a:t>SBI Application Level Firewall</a:t>
            </a:r>
          </a:p>
          <a:p>
            <a:pPr lvl="1">
              <a:spcBef>
                <a:spcPts val="0"/>
              </a:spcBef>
              <a:spcAft>
                <a:spcPts val="0"/>
              </a:spcAft>
            </a:pPr>
            <a:r>
              <a:rPr lang="en-US" sz="1400"/>
              <a:t>Ensure policies and priorities esp. from less trusted sites e.g. customer near deployments</a:t>
            </a:r>
          </a:p>
          <a:p>
            <a:pPr lvl="1">
              <a:spcBef>
                <a:spcPts val="0"/>
              </a:spcBef>
              <a:spcAft>
                <a:spcPts val="0"/>
              </a:spcAft>
            </a:pPr>
            <a:r>
              <a:rPr lang="en-US" sz="1400"/>
              <a:t>Protect critical functions or slices from </a:t>
            </a:r>
            <a:r>
              <a:rPr lang="en-US" sz="1400" err="1"/>
              <a:t>from</a:t>
            </a:r>
            <a:r>
              <a:rPr lang="en-US" sz="1400"/>
              <a:t> malicious use</a:t>
            </a:r>
          </a:p>
          <a:p>
            <a:pPr marL="457200" indent="-457200">
              <a:spcBef>
                <a:spcPts val="600"/>
              </a:spcBef>
              <a:spcAft>
                <a:spcPts val="0"/>
              </a:spcAft>
              <a:buFont typeface="+mj-lt"/>
              <a:buAutoNum type="arabicPeriod"/>
            </a:pPr>
            <a:r>
              <a:rPr lang="en-US" sz="1800" b="1"/>
              <a:t>SBI message manipulation for interoperability</a:t>
            </a:r>
          </a:p>
          <a:p>
            <a:pPr lvl="1">
              <a:spcBef>
                <a:spcPts val="0"/>
              </a:spcBef>
              <a:spcAft>
                <a:spcPts val="0"/>
              </a:spcAft>
            </a:pPr>
            <a:r>
              <a:rPr lang="en-US" sz="1400"/>
              <a:t>Fix issues by header and/or body content modifications</a:t>
            </a:r>
          </a:p>
          <a:p>
            <a:pPr lvl="1">
              <a:spcBef>
                <a:spcPts val="0"/>
              </a:spcBef>
              <a:spcAft>
                <a:spcPts val="0"/>
              </a:spcAft>
            </a:pPr>
            <a:r>
              <a:rPr lang="en-US" sz="1400"/>
              <a:t>Logging and signaling data capturing for fault localization</a:t>
            </a:r>
          </a:p>
        </p:txBody>
      </p:sp>
      <p:sp>
        <p:nvSpPr>
          <p:cNvPr id="5" name="Title 4">
            <a:extLst>
              <a:ext uri="{FF2B5EF4-FFF2-40B4-BE49-F238E27FC236}">
                <a16:creationId xmlns:a16="http://schemas.microsoft.com/office/drawing/2014/main" id="{05F4BAD1-E6E3-4912-89F2-BE44BBD34EEB}"/>
              </a:ext>
            </a:extLst>
          </p:cNvPr>
          <p:cNvSpPr>
            <a:spLocks noGrp="1"/>
          </p:cNvSpPr>
          <p:nvPr>
            <p:ph type="title"/>
          </p:nvPr>
        </p:nvSpPr>
        <p:spPr>
          <a:xfrm>
            <a:off x="479424" y="476250"/>
            <a:ext cx="10912775" cy="1081088"/>
          </a:xfrm>
        </p:spPr>
        <p:txBody>
          <a:bodyPr/>
          <a:lstStyle/>
          <a:p>
            <a:r>
              <a:rPr lang="en-US"/>
              <a:t>Service framework</a:t>
            </a:r>
            <a:br>
              <a:rPr lang="en-US" sz="2800"/>
            </a:br>
            <a:r>
              <a:rPr lang="en-US" sz="2800"/>
              <a:t>Introduction to signaling services beyond discovery and selection</a:t>
            </a:r>
            <a:endParaRPr lang="sv-SE"/>
          </a:p>
        </p:txBody>
      </p:sp>
      <p:grpSp>
        <p:nvGrpSpPr>
          <p:cNvPr id="3" name="Group 2">
            <a:extLst>
              <a:ext uri="{FF2B5EF4-FFF2-40B4-BE49-F238E27FC236}">
                <a16:creationId xmlns:a16="http://schemas.microsoft.com/office/drawing/2014/main" id="{6B8D5042-B303-4F70-BCE6-5D17CF1D2992}"/>
              </a:ext>
            </a:extLst>
          </p:cNvPr>
          <p:cNvGrpSpPr/>
          <p:nvPr/>
        </p:nvGrpSpPr>
        <p:grpSpPr>
          <a:xfrm>
            <a:off x="6838952" y="2277854"/>
            <a:ext cx="5205570" cy="2627802"/>
            <a:chOff x="6096000" y="2227446"/>
            <a:chExt cx="5947717" cy="3002444"/>
          </a:xfrm>
        </p:grpSpPr>
        <p:grpSp>
          <p:nvGrpSpPr>
            <p:cNvPr id="95" name="Group 94">
              <a:extLst>
                <a:ext uri="{FF2B5EF4-FFF2-40B4-BE49-F238E27FC236}">
                  <a16:creationId xmlns:a16="http://schemas.microsoft.com/office/drawing/2014/main" id="{667C4176-2159-4135-845D-CBD2A0EF769C}"/>
                </a:ext>
              </a:extLst>
            </p:cNvPr>
            <p:cNvGrpSpPr/>
            <p:nvPr/>
          </p:nvGrpSpPr>
          <p:grpSpPr>
            <a:xfrm>
              <a:off x="6096000" y="3824115"/>
              <a:ext cx="5430565" cy="1405775"/>
              <a:chOff x="5310394" y="3585990"/>
              <a:chExt cx="5430565" cy="1405775"/>
            </a:xfrm>
          </p:grpSpPr>
          <p:grpSp>
            <p:nvGrpSpPr>
              <p:cNvPr id="96" name="Group 95">
                <a:extLst>
                  <a:ext uri="{FF2B5EF4-FFF2-40B4-BE49-F238E27FC236}">
                    <a16:creationId xmlns:a16="http://schemas.microsoft.com/office/drawing/2014/main" id="{8308A947-3646-4239-960C-AFEC2B80AF23}"/>
                  </a:ext>
                </a:extLst>
              </p:cNvPr>
              <p:cNvGrpSpPr/>
              <p:nvPr/>
            </p:nvGrpSpPr>
            <p:grpSpPr>
              <a:xfrm>
                <a:off x="8258611" y="3585990"/>
                <a:ext cx="2482348" cy="1405775"/>
                <a:chOff x="2118659" y="5656023"/>
                <a:chExt cx="384970" cy="540678"/>
              </a:xfrm>
            </p:grpSpPr>
            <p:sp>
              <p:nvSpPr>
                <p:cNvPr id="219" name="Rectangle 218">
                  <a:extLst>
                    <a:ext uri="{FF2B5EF4-FFF2-40B4-BE49-F238E27FC236}">
                      <a16:creationId xmlns:a16="http://schemas.microsoft.com/office/drawing/2014/main" id="{50F23823-7A02-4F5A-9AA8-F9EFF0C293CB}"/>
                    </a:ext>
                  </a:extLst>
                </p:cNvPr>
                <p:cNvSpPr/>
                <p:nvPr/>
              </p:nvSpPr>
              <p:spPr bwMode="auto">
                <a:xfrm>
                  <a:off x="2118659" y="5656023"/>
                  <a:ext cx="384970" cy="540678"/>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20" name="Rectangle 219">
                  <a:extLst>
                    <a:ext uri="{FF2B5EF4-FFF2-40B4-BE49-F238E27FC236}">
                      <a16:creationId xmlns:a16="http://schemas.microsoft.com/office/drawing/2014/main" id="{329B8F23-62FD-4D2B-8FD2-34A42F7EE5FC}"/>
                    </a:ext>
                  </a:extLst>
                </p:cNvPr>
                <p:cNvSpPr/>
                <p:nvPr/>
              </p:nvSpPr>
              <p:spPr bwMode="auto">
                <a:xfrm>
                  <a:off x="2118659" y="6112781"/>
                  <a:ext cx="384970" cy="8392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Regional / National DC</a:t>
                  </a:r>
                </a:p>
              </p:txBody>
            </p:sp>
          </p:grpSp>
          <p:grpSp>
            <p:nvGrpSpPr>
              <p:cNvPr id="98" name="Group 97">
                <a:extLst>
                  <a:ext uri="{FF2B5EF4-FFF2-40B4-BE49-F238E27FC236}">
                    <a16:creationId xmlns:a16="http://schemas.microsoft.com/office/drawing/2014/main" id="{13191EC4-3F20-4997-AB2C-53CEB0BD2399}"/>
                  </a:ext>
                </a:extLst>
              </p:cNvPr>
              <p:cNvGrpSpPr/>
              <p:nvPr/>
            </p:nvGrpSpPr>
            <p:grpSpPr>
              <a:xfrm>
                <a:off x="5310394" y="3585990"/>
                <a:ext cx="2482348" cy="1405775"/>
                <a:chOff x="2118659" y="5656023"/>
                <a:chExt cx="384970" cy="540678"/>
              </a:xfrm>
            </p:grpSpPr>
            <p:sp>
              <p:nvSpPr>
                <p:cNvPr id="217" name="Rectangle 216">
                  <a:extLst>
                    <a:ext uri="{FF2B5EF4-FFF2-40B4-BE49-F238E27FC236}">
                      <a16:creationId xmlns:a16="http://schemas.microsoft.com/office/drawing/2014/main" id="{8B56AEC9-70CF-4452-84C0-B1AD2892EADA}"/>
                    </a:ext>
                  </a:extLst>
                </p:cNvPr>
                <p:cNvSpPr/>
                <p:nvPr/>
              </p:nvSpPr>
              <p:spPr bwMode="auto">
                <a:xfrm>
                  <a:off x="2118659" y="5656023"/>
                  <a:ext cx="384970" cy="540678"/>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18" name="Rectangle 217">
                  <a:extLst>
                    <a:ext uri="{FF2B5EF4-FFF2-40B4-BE49-F238E27FC236}">
                      <a16:creationId xmlns:a16="http://schemas.microsoft.com/office/drawing/2014/main" id="{E7906ED3-A576-431F-AD8C-7826E2F688E8}"/>
                    </a:ext>
                  </a:extLst>
                </p:cNvPr>
                <p:cNvSpPr/>
                <p:nvPr/>
              </p:nvSpPr>
              <p:spPr bwMode="auto">
                <a:xfrm>
                  <a:off x="2118659" y="6112781"/>
                  <a:ext cx="384970" cy="8392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Regional / National DC</a:t>
                  </a:r>
                </a:p>
              </p:txBody>
            </p:sp>
          </p:grpSp>
          <p:cxnSp>
            <p:nvCxnSpPr>
              <p:cNvPr id="103" name="Straight Connector 102">
                <a:extLst>
                  <a:ext uri="{FF2B5EF4-FFF2-40B4-BE49-F238E27FC236}">
                    <a16:creationId xmlns:a16="http://schemas.microsoft.com/office/drawing/2014/main" id="{50288A66-E0F5-4D7B-8E1A-086EDE540352}"/>
                  </a:ext>
                </a:extLst>
              </p:cNvPr>
              <p:cNvCxnSpPr>
                <a:cxnSpLocks/>
              </p:cNvCxnSpPr>
              <p:nvPr/>
            </p:nvCxnSpPr>
            <p:spPr bwMode="auto">
              <a:xfrm>
                <a:off x="5725589" y="4169403"/>
                <a:ext cx="1895425" cy="200190"/>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06" name="Straight Connector 105">
                <a:extLst>
                  <a:ext uri="{FF2B5EF4-FFF2-40B4-BE49-F238E27FC236}">
                    <a16:creationId xmlns:a16="http://schemas.microsoft.com/office/drawing/2014/main" id="{BA54BAFA-B02D-4968-A570-5A24BD3027A8}"/>
                  </a:ext>
                </a:extLst>
              </p:cNvPr>
              <p:cNvCxnSpPr>
                <a:cxnSpLocks/>
                <a:stCxn id="168" idx="2"/>
              </p:cNvCxnSpPr>
              <p:nvPr/>
            </p:nvCxnSpPr>
            <p:spPr bwMode="auto">
              <a:xfrm>
                <a:off x="6307129" y="4166366"/>
                <a:ext cx="1313885" cy="203227"/>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09" name="Straight Connector 108">
                <a:extLst>
                  <a:ext uri="{FF2B5EF4-FFF2-40B4-BE49-F238E27FC236}">
                    <a16:creationId xmlns:a16="http://schemas.microsoft.com/office/drawing/2014/main" id="{4181A936-EF00-45C1-82B9-B18FD294A564}"/>
                  </a:ext>
                </a:extLst>
              </p:cNvPr>
              <p:cNvCxnSpPr>
                <a:cxnSpLocks/>
                <a:stCxn id="184" idx="2"/>
              </p:cNvCxnSpPr>
              <p:nvPr/>
            </p:nvCxnSpPr>
            <p:spPr bwMode="auto">
              <a:xfrm>
                <a:off x="6880641" y="4166366"/>
                <a:ext cx="740373" cy="203227"/>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10" name="Straight Connector 109">
                <a:extLst>
                  <a:ext uri="{FF2B5EF4-FFF2-40B4-BE49-F238E27FC236}">
                    <a16:creationId xmlns:a16="http://schemas.microsoft.com/office/drawing/2014/main" id="{8AF5E20E-F7B9-42A8-A474-87C3D8CA7FC8}"/>
                  </a:ext>
                </a:extLst>
              </p:cNvPr>
              <p:cNvCxnSpPr>
                <a:cxnSpLocks/>
                <a:stCxn id="185" idx="2"/>
              </p:cNvCxnSpPr>
              <p:nvPr/>
            </p:nvCxnSpPr>
            <p:spPr bwMode="auto">
              <a:xfrm>
                <a:off x="7444927" y="4161472"/>
                <a:ext cx="176087" cy="208121"/>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12" name="Straight Connector 111">
                <a:extLst>
                  <a:ext uri="{FF2B5EF4-FFF2-40B4-BE49-F238E27FC236}">
                    <a16:creationId xmlns:a16="http://schemas.microsoft.com/office/drawing/2014/main" id="{CDBF7B3F-0381-4E6E-A910-A84EE976076A}"/>
                  </a:ext>
                </a:extLst>
              </p:cNvPr>
              <p:cNvCxnSpPr>
                <a:cxnSpLocks/>
                <a:stCxn id="201" idx="2"/>
              </p:cNvCxnSpPr>
              <p:nvPr/>
            </p:nvCxnSpPr>
            <p:spPr bwMode="auto">
              <a:xfrm flipH="1">
                <a:off x="8454013" y="4156386"/>
                <a:ext cx="381248" cy="213207"/>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13" name="Straight Connector 112">
                <a:extLst>
                  <a:ext uri="{FF2B5EF4-FFF2-40B4-BE49-F238E27FC236}">
                    <a16:creationId xmlns:a16="http://schemas.microsoft.com/office/drawing/2014/main" id="{5DCB05AF-1D5A-4948-8C77-D3126F0DFC16}"/>
                  </a:ext>
                </a:extLst>
              </p:cNvPr>
              <p:cNvCxnSpPr>
                <a:cxnSpLocks/>
              </p:cNvCxnSpPr>
              <p:nvPr/>
            </p:nvCxnSpPr>
            <p:spPr bwMode="auto">
              <a:xfrm flipH="1">
                <a:off x="8454012" y="4156385"/>
                <a:ext cx="1506339" cy="21320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132" name="Straight Connector 131">
                <a:extLst>
                  <a:ext uri="{FF2B5EF4-FFF2-40B4-BE49-F238E27FC236}">
                    <a16:creationId xmlns:a16="http://schemas.microsoft.com/office/drawing/2014/main" id="{C45EF312-EBB9-43DF-B6BF-F826C52BF58E}"/>
                  </a:ext>
                </a:extLst>
              </p:cNvPr>
              <p:cNvCxnSpPr/>
              <p:nvPr/>
            </p:nvCxnSpPr>
            <p:spPr bwMode="auto">
              <a:xfrm>
                <a:off x="7621014" y="4369593"/>
                <a:ext cx="833212" cy="0"/>
              </a:xfrm>
              <a:prstGeom prst="line">
                <a:avLst/>
              </a:prstGeom>
              <a:solidFill>
                <a:schemeClr val="accent1"/>
              </a:solidFill>
              <a:ln w="28575" cap="flat" cmpd="sng" algn="ctr">
                <a:solidFill>
                  <a:schemeClr val="accent3"/>
                </a:solidFill>
                <a:prstDash val="solid"/>
                <a:round/>
                <a:headEnd type="none" w="med" len="med"/>
                <a:tailEnd type="none"/>
              </a:ln>
              <a:effectLst/>
            </p:spPr>
          </p:cxnSp>
          <p:cxnSp>
            <p:nvCxnSpPr>
              <p:cNvPr id="135" name="Straight Connector 134">
                <a:extLst>
                  <a:ext uri="{FF2B5EF4-FFF2-40B4-BE49-F238E27FC236}">
                    <a16:creationId xmlns:a16="http://schemas.microsoft.com/office/drawing/2014/main" id="{DCAC438E-7CE7-40D3-9C8C-39DD86D137EB}"/>
                  </a:ext>
                </a:extLst>
              </p:cNvPr>
              <p:cNvCxnSpPr>
                <a:cxnSpLocks/>
                <a:stCxn id="211" idx="0"/>
              </p:cNvCxnSpPr>
              <p:nvPr/>
            </p:nvCxnSpPr>
            <p:spPr bwMode="auto">
              <a:xfrm flipV="1">
                <a:off x="7504969" y="4207985"/>
                <a:ext cx="136899" cy="354079"/>
              </a:xfrm>
              <a:prstGeom prst="line">
                <a:avLst/>
              </a:prstGeom>
              <a:solidFill>
                <a:schemeClr val="accent1"/>
              </a:solidFill>
              <a:ln w="12700" cap="flat" cmpd="sng" algn="ctr">
                <a:solidFill>
                  <a:schemeClr val="tx1"/>
                </a:solidFill>
                <a:prstDash val="dash"/>
                <a:round/>
                <a:headEnd type="none" w="med" len="med"/>
                <a:tailEnd type="none"/>
              </a:ln>
              <a:effectLst/>
            </p:spPr>
          </p:cxnSp>
          <p:sp>
            <p:nvSpPr>
              <p:cNvPr id="167" name="Rectangle 166">
                <a:extLst>
                  <a:ext uri="{FF2B5EF4-FFF2-40B4-BE49-F238E27FC236}">
                    <a16:creationId xmlns:a16="http://schemas.microsoft.com/office/drawing/2014/main" id="{DA7C4D94-0A93-4EAC-B50E-CA8FC38E2D00}"/>
                  </a:ext>
                </a:extLst>
              </p:cNvPr>
              <p:cNvSpPr/>
              <p:nvPr/>
            </p:nvSpPr>
            <p:spPr bwMode="auto">
              <a:xfrm>
                <a:off x="5455920" y="3688478"/>
                <a:ext cx="543198"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600" b="0" i="0" u="none" strike="noStrike" cap="none" normalizeH="0" baseline="0">
                    <a:ln>
                      <a:noFill/>
                    </a:ln>
                    <a:effectLst/>
                    <a:latin typeface="+mn-lt"/>
                  </a:rPr>
                  <a:t>CHG</a:t>
                </a:r>
              </a:p>
            </p:txBody>
          </p:sp>
          <p:sp>
            <p:nvSpPr>
              <p:cNvPr id="168" name="Rectangle 167">
                <a:extLst>
                  <a:ext uri="{FF2B5EF4-FFF2-40B4-BE49-F238E27FC236}">
                    <a16:creationId xmlns:a16="http://schemas.microsoft.com/office/drawing/2014/main" id="{E51ABD55-D044-4015-94F4-65AE6657FA58}"/>
                  </a:ext>
                </a:extLst>
              </p:cNvPr>
              <p:cNvSpPr/>
              <p:nvPr/>
            </p:nvSpPr>
            <p:spPr bwMode="auto">
              <a:xfrm>
                <a:off x="6035530" y="3688477"/>
                <a:ext cx="543198"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algn="ctr" fontAlgn="base">
                  <a:spcBef>
                    <a:spcPts val="300"/>
                  </a:spcBef>
                  <a:spcAft>
                    <a:spcPct val="0"/>
                  </a:spcAft>
                </a:pPr>
                <a:r>
                  <a:rPr lang="en-US" sz="600"/>
                  <a:t>IMS</a:t>
                </a:r>
              </a:p>
            </p:txBody>
          </p:sp>
          <p:sp>
            <p:nvSpPr>
              <p:cNvPr id="184" name="Rectangle 183">
                <a:extLst>
                  <a:ext uri="{FF2B5EF4-FFF2-40B4-BE49-F238E27FC236}">
                    <a16:creationId xmlns:a16="http://schemas.microsoft.com/office/drawing/2014/main" id="{8323F9F1-9C6E-43F6-BD7E-9E57EA21BBA1}"/>
                  </a:ext>
                </a:extLst>
              </p:cNvPr>
              <p:cNvSpPr/>
              <p:nvPr/>
            </p:nvSpPr>
            <p:spPr bwMode="auto">
              <a:xfrm>
                <a:off x="6609042" y="3688477"/>
                <a:ext cx="543198"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algn="ctr" fontAlgn="base">
                  <a:spcBef>
                    <a:spcPts val="300"/>
                  </a:spcBef>
                  <a:spcAft>
                    <a:spcPct val="0"/>
                  </a:spcAft>
                </a:pPr>
                <a:r>
                  <a:rPr lang="en-US" sz="600"/>
                  <a:t>PC</a:t>
                </a:r>
              </a:p>
            </p:txBody>
          </p:sp>
          <p:sp>
            <p:nvSpPr>
              <p:cNvPr id="185" name="Rectangle 184">
                <a:extLst>
                  <a:ext uri="{FF2B5EF4-FFF2-40B4-BE49-F238E27FC236}">
                    <a16:creationId xmlns:a16="http://schemas.microsoft.com/office/drawing/2014/main" id="{E68B6DEA-565E-42E4-B1C6-BE4A827515FC}"/>
                  </a:ext>
                </a:extLst>
              </p:cNvPr>
              <p:cNvSpPr/>
              <p:nvPr/>
            </p:nvSpPr>
            <p:spPr bwMode="auto">
              <a:xfrm>
                <a:off x="7173328" y="3683583"/>
                <a:ext cx="543198"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algn="ctr" fontAlgn="base">
                  <a:spcBef>
                    <a:spcPts val="300"/>
                  </a:spcBef>
                  <a:spcAft>
                    <a:spcPct val="0"/>
                  </a:spcAft>
                </a:pPr>
                <a:r>
                  <a:rPr lang="en-US" sz="600"/>
                  <a:t>UDM</a:t>
                </a:r>
              </a:p>
            </p:txBody>
          </p:sp>
          <p:sp>
            <p:nvSpPr>
              <p:cNvPr id="186" name="Rectangle 185">
                <a:extLst>
                  <a:ext uri="{FF2B5EF4-FFF2-40B4-BE49-F238E27FC236}">
                    <a16:creationId xmlns:a16="http://schemas.microsoft.com/office/drawing/2014/main" id="{00549EA3-55C8-463D-8951-C206339C46E1}"/>
                  </a:ext>
                </a:extLst>
              </p:cNvPr>
              <p:cNvSpPr/>
              <p:nvPr/>
            </p:nvSpPr>
            <p:spPr bwMode="auto">
              <a:xfrm>
                <a:off x="6045317" y="4287751"/>
                <a:ext cx="543198"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600" b="0" i="0" u="none" strike="noStrike" cap="none" normalizeH="0" baseline="0" err="1">
                    <a:ln>
                      <a:noFill/>
                    </a:ln>
                    <a:effectLst/>
                    <a:latin typeface="+mn-lt"/>
                  </a:rPr>
                  <a:t>xyz</a:t>
                </a:r>
                <a:endParaRPr kumimoji="0" lang="en-US" sz="600" b="0" i="0" u="none" strike="noStrike" cap="none" normalizeH="0" baseline="0">
                  <a:ln>
                    <a:noFill/>
                  </a:ln>
                  <a:effectLst/>
                  <a:latin typeface="+mn-lt"/>
                </a:endParaRPr>
              </a:p>
            </p:txBody>
          </p:sp>
          <p:sp>
            <p:nvSpPr>
              <p:cNvPr id="187" name="TextBox 186">
                <a:extLst>
                  <a:ext uri="{FF2B5EF4-FFF2-40B4-BE49-F238E27FC236}">
                    <a16:creationId xmlns:a16="http://schemas.microsoft.com/office/drawing/2014/main" id="{8E499FAB-948D-4025-910B-B9156A0E582C}"/>
                  </a:ext>
                </a:extLst>
              </p:cNvPr>
              <p:cNvSpPr txBox="1"/>
              <p:nvPr/>
            </p:nvSpPr>
            <p:spPr bwMode="auto">
              <a:xfrm>
                <a:off x="5506009"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88" name="TextBox 187">
                <a:extLst>
                  <a:ext uri="{FF2B5EF4-FFF2-40B4-BE49-F238E27FC236}">
                    <a16:creationId xmlns:a16="http://schemas.microsoft.com/office/drawing/2014/main" id="{F5C68953-9B6C-4987-94DD-485ED7432FA9}"/>
                  </a:ext>
                </a:extLst>
              </p:cNvPr>
              <p:cNvSpPr txBox="1"/>
              <p:nvPr/>
            </p:nvSpPr>
            <p:spPr bwMode="auto">
              <a:xfrm>
                <a:off x="5782234"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89" name="TextBox 188">
                <a:extLst>
                  <a:ext uri="{FF2B5EF4-FFF2-40B4-BE49-F238E27FC236}">
                    <a16:creationId xmlns:a16="http://schemas.microsoft.com/office/drawing/2014/main" id="{240E4D30-DF50-4AF4-AB94-183B8CF4C0C1}"/>
                  </a:ext>
                </a:extLst>
              </p:cNvPr>
              <p:cNvSpPr txBox="1"/>
              <p:nvPr/>
            </p:nvSpPr>
            <p:spPr bwMode="auto">
              <a:xfrm>
                <a:off x="6066677"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0" name="TextBox 189">
                <a:extLst>
                  <a:ext uri="{FF2B5EF4-FFF2-40B4-BE49-F238E27FC236}">
                    <a16:creationId xmlns:a16="http://schemas.microsoft.com/office/drawing/2014/main" id="{76077D5F-49A5-49BE-8885-14EF14815217}"/>
                  </a:ext>
                </a:extLst>
              </p:cNvPr>
              <p:cNvSpPr txBox="1"/>
              <p:nvPr/>
            </p:nvSpPr>
            <p:spPr bwMode="auto">
              <a:xfrm>
                <a:off x="6342902"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1" name="TextBox 190">
                <a:extLst>
                  <a:ext uri="{FF2B5EF4-FFF2-40B4-BE49-F238E27FC236}">
                    <a16:creationId xmlns:a16="http://schemas.microsoft.com/office/drawing/2014/main" id="{D592A404-F03F-4D3C-AA85-A59D3EE9B4D7}"/>
                  </a:ext>
                </a:extLst>
              </p:cNvPr>
              <p:cNvSpPr txBox="1"/>
              <p:nvPr/>
            </p:nvSpPr>
            <p:spPr bwMode="auto">
              <a:xfrm>
                <a:off x="6631576" y="3693150"/>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2" name="TextBox 191">
                <a:extLst>
                  <a:ext uri="{FF2B5EF4-FFF2-40B4-BE49-F238E27FC236}">
                    <a16:creationId xmlns:a16="http://schemas.microsoft.com/office/drawing/2014/main" id="{F3D466B7-8889-438E-ADDD-E0750C75BC6D}"/>
                  </a:ext>
                </a:extLst>
              </p:cNvPr>
              <p:cNvSpPr txBox="1"/>
              <p:nvPr/>
            </p:nvSpPr>
            <p:spPr bwMode="auto">
              <a:xfrm>
                <a:off x="6907801" y="3693150"/>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3" name="TextBox 192">
                <a:extLst>
                  <a:ext uri="{FF2B5EF4-FFF2-40B4-BE49-F238E27FC236}">
                    <a16:creationId xmlns:a16="http://schemas.microsoft.com/office/drawing/2014/main" id="{1053253D-184E-4F2A-9C9C-9DE7E6076D2D}"/>
                  </a:ext>
                </a:extLst>
              </p:cNvPr>
              <p:cNvSpPr txBox="1"/>
              <p:nvPr/>
            </p:nvSpPr>
            <p:spPr bwMode="auto">
              <a:xfrm>
                <a:off x="7184026" y="3688774"/>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4" name="TextBox 193">
                <a:extLst>
                  <a:ext uri="{FF2B5EF4-FFF2-40B4-BE49-F238E27FC236}">
                    <a16:creationId xmlns:a16="http://schemas.microsoft.com/office/drawing/2014/main" id="{F0AAA05E-7DA5-40E7-B7F1-FB545F291F99}"/>
                  </a:ext>
                </a:extLst>
              </p:cNvPr>
              <p:cNvSpPr txBox="1"/>
              <p:nvPr/>
            </p:nvSpPr>
            <p:spPr bwMode="auto">
              <a:xfrm>
                <a:off x="7460251" y="3688774"/>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5" name="TextBox 194">
                <a:extLst>
                  <a:ext uri="{FF2B5EF4-FFF2-40B4-BE49-F238E27FC236}">
                    <a16:creationId xmlns:a16="http://schemas.microsoft.com/office/drawing/2014/main" id="{28270BFB-E9B3-469B-AF09-CAF8BC9AB931}"/>
                  </a:ext>
                </a:extLst>
              </p:cNvPr>
              <p:cNvSpPr txBox="1"/>
              <p:nvPr/>
            </p:nvSpPr>
            <p:spPr bwMode="auto">
              <a:xfrm>
                <a:off x="6095406" y="428775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196" name="TextBox 195">
                <a:extLst>
                  <a:ext uri="{FF2B5EF4-FFF2-40B4-BE49-F238E27FC236}">
                    <a16:creationId xmlns:a16="http://schemas.microsoft.com/office/drawing/2014/main" id="{919BFE49-A84A-4389-AF8E-51D143C5CF48}"/>
                  </a:ext>
                </a:extLst>
              </p:cNvPr>
              <p:cNvSpPr txBox="1"/>
              <p:nvPr/>
            </p:nvSpPr>
            <p:spPr bwMode="auto">
              <a:xfrm>
                <a:off x="6371631" y="428775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cxnSp>
            <p:nvCxnSpPr>
              <p:cNvPr id="197" name="Straight Connector 196">
                <a:extLst>
                  <a:ext uri="{FF2B5EF4-FFF2-40B4-BE49-F238E27FC236}">
                    <a16:creationId xmlns:a16="http://schemas.microsoft.com/office/drawing/2014/main" id="{2F5CC47E-DCD8-4059-B26E-96BD9360DF71}"/>
                  </a:ext>
                </a:extLst>
              </p:cNvPr>
              <p:cNvCxnSpPr>
                <a:cxnSpLocks/>
              </p:cNvCxnSpPr>
              <p:nvPr/>
            </p:nvCxnSpPr>
            <p:spPr bwMode="auto">
              <a:xfrm flipV="1">
                <a:off x="6588515" y="4369593"/>
                <a:ext cx="1039984" cy="157104"/>
              </a:xfrm>
              <a:prstGeom prst="line">
                <a:avLst/>
              </a:prstGeom>
              <a:solidFill>
                <a:schemeClr val="accent1"/>
              </a:solidFill>
              <a:ln w="6350" cap="flat" cmpd="sng" algn="ctr">
                <a:solidFill>
                  <a:schemeClr val="accent3"/>
                </a:solidFill>
                <a:prstDash val="solid"/>
                <a:round/>
                <a:headEnd type="none" w="med" len="med"/>
                <a:tailEnd type="none"/>
              </a:ln>
              <a:effectLst/>
            </p:spPr>
          </p:cxnSp>
          <p:sp>
            <p:nvSpPr>
              <p:cNvPr id="198" name="Rectangle 197">
                <a:extLst>
                  <a:ext uri="{FF2B5EF4-FFF2-40B4-BE49-F238E27FC236}">
                    <a16:creationId xmlns:a16="http://schemas.microsoft.com/office/drawing/2014/main" id="{C61F58B5-1662-4650-A5A4-77F31165C494}"/>
                  </a:ext>
                </a:extLst>
              </p:cNvPr>
              <p:cNvSpPr/>
              <p:nvPr/>
            </p:nvSpPr>
            <p:spPr>
              <a:xfrm>
                <a:off x="7168890" y="4509041"/>
                <a:ext cx="394147" cy="35165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181818"/>
                    </a:solidFill>
                    <a:effectLst/>
                    <a:uLnTx/>
                    <a:uFillTx/>
                    <a:latin typeface="Wingdings" panose="05000000000000000000" pitchFamily="2" charset="2"/>
                    <a:ea typeface="+mn-ea"/>
                    <a:cs typeface="+mn-cs"/>
                  </a:rPr>
                  <a:t></a:t>
                </a:r>
                <a:endParaRPr kumimoji="0" lang="sv-SE" sz="800" b="0" i="0" u="none" strike="noStrike" kern="1200" cap="none" spc="0" normalizeH="0" baseline="0" noProof="0">
                  <a:ln>
                    <a:noFill/>
                  </a:ln>
                  <a:solidFill>
                    <a:srgbClr val="181818"/>
                  </a:solidFill>
                  <a:effectLst/>
                  <a:uLnTx/>
                  <a:uFillTx/>
                  <a:latin typeface="MS Shell Dlg 2" panose="020B0604030504040204" pitchFamily="34" charset="0"/>
                  <a:ea typeface="+mn-ea"/>
                  <a:cs typeface="+mn-cs"/>
                </a:endParaRPr>
              </a:p>
            </p:txBody>
          </p:sp>
          <p:sp>
            <p:nvSpPr>
              <p:cNvPr id="199" name="Rectangle 198">
                <a:extLst>
                  <a:ext uri="{FF2B5EF4-FFF2-40B4-BE49-F238E27FC236}">
                    <a16:creationId xmlns:a16="http://schemas.microsoft.com/office/drawing/2014/main" id="{75C79D60-57F2-43D1-B98C-FF8A0D8F2677}"/>
                  </a:ext>
                </a:extLst>
              </p:cNvPr>
              <p:cNvSpPr/>
              <p:nvPr/>
            </p:nvSpPr>
            <p:spPr>
              <a:xfrm>
                <a:off x="8348066" y="4500467"/>
                <a:ext cx="394147" cy="35165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181818"/>
                    </a:solidFill>
                    <a:effectLst/>
                    <a:uLnTx/>
                    <a:uFillTx/>
                    <a:latin typeface="Wingdings" panose="05000000000000000000" pitchFamily="2" charset="2"/>
                    <a:ea typeface="+mn-ea"/>
                    <a:cs typeface="+mn-cs"/>
                  </a:rPr>
                  <a:t></a:t>
                </a:r>
                <a:endParaRPr kumimoji="0" lang="sv-SE" sz="800" b="0" i="0" u="none" strike="noStrike" kern="1200" cap="none" spc="0" normalizeH="0" baseline="0" noProof="0">
                  <a:ln>
                    <a:noFill/>
                  </a:ln>
                  <a:solidFill>
                    <a:srgbClr val="181818"/>
                  </a:solidFill>
                  <a:effectLst/>
                  <a:uLnTx/>
                  <a:uFillTx/>
                  <a:latin typeface="MS Shell Dlg 2" panose="020B0604030504040204" pitchFamily="34" charset="0"/>
                  <a:ea typeface="+mn-ea"/>
                  <a:cs typeface="+mn-cs"/>
                </a:endParaRPr>
              </a:p>
            </p:txBody>
          </p:sp>
          <p:cxnSp>
            <p:nvCxnSpPr>
              <p:cNvPr id="200" name="Straight Connector 199">
                <a:extLst>
                  <a:ext uri="{FF2B5EF4-FFF2-40B4-BE49-F238E27FC236}">
                    <a16:creationId xmlns:a16="http://schemas.microsoft.com/office/drawing/2014/main" id="{EDD3B510-6047-44BE-B4BF-6BE8C9FD7C6D}"/>
                  </a:ext>
                </a:extLst>
              </p:cNvPr>
              <p:cNvCxnSpPr>
                <a:cxnSpLocks/>
                <a:stCxn id="199" idx="0"/>
              </p:cNvCxnSpPr>
              <p:nvPr/>
            </p:nvCxnSpPr>
            <p:spPr bwMode="auto">
              <a:xfrm flipH="1" flipV="1">
                <a:off x="8517503" y="4201761"/>
                <a:ext cx="27636" cy="298706"/>
              </a:xfrm>
              <a:prstGeom prst="line">
                <a:avLst/>
              </a:prstGeom>
              <a:solidFill>
                <a:schemeClr val="accent1"/>
              </a:solidFill>
              <a:ln w="12700" cap="flat" cmpd="sng" algn="ctr">
                <a:solidFill>
                  <a:schemeClr val="tx1"/>
                </a:solidFill>
                <a:prstDash val="dash"/>
                <a:round/>
                <a:headEnd type="none" w="med" len="med"/>
                <a:tailEnd type="none"/>
              </a:ln>
              <a:effectLst/>
            </p:spPr>
          </p:cxnSp>
          <p:sp>
            <p:nvSpPr>
              <p:cNvPr id="201" name="Rectangle 200">
                <a:extLst>
                  <a:ext uri="{FF2B5EF4-FFF2-40B4-BE49-F238E27FC236}">
                    <a16:creationId xmlns:a16="http://schemas.microsoft.com/office/drawing/2014/main" id="{09A47106-515B-46C6-8C4C-AA411349CEC1}"/>
                  </a:ext>
                </a:extLst>
              </p:cNvPr>
              <p:cNvSpPr/>
              <p:nvPr/>
            </p:nvSpPr>
            <p:spPr bwMode="auto">
              <a:xfrm>
                <a:off x="8419127" y="3678497"/>
                <a:ext cx="832267"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600" b="0" i="0" u="none" strike="noStrike" cap="none" normalizeH="0" baseline="0">
                    <a:ln>
                      <a:noFill/>
                    </a:ln>
                    <a:effectLst/>
                    <a:latin typeface="+mn-lt"/>
                  </a:rPr>
                  <a:t>CHG</a:t>
                </a:r>
              </a:p>
            </p:txBody>
          </p:sp>
          <p:sp>
            <p:nvSpPr>
              <p:cNvPr id="202" name="Rectangle 201">
                <a:extLst>
                  <a:ext uri="{FF2B5EF4-FFF2-40B4-BE49-F238E27FC236}">
                    <a16:creationId xmlns:a16="http://schemas.microsoft.com/office/drawing/2014/main" id="{04735641-DB2C-4366-9069-DE1B3B2A3D85}"/>
                  </a:ext>
                </a:extLst>
              </p:cNvPr>
              <p:cNvSpPr/>
              <p:nvPr/>
            </p:nvSpPr>
            <p:spPr bwMode="auto">
              <a:xfrm>
                <a:off x="9282901" y="3678496"/>
                <a:ext cx="1380019" cy="477889"/>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b" anchorCtr="0" forceAA="0" compatLnSpc="1">
                <a:prstTxWarp prst="textNoShape">
                  <a:avLst/>
                </a:prstTxWarp>
                <a:noAutofit/>
              </a:bodyPr>
              <a:lstStyle/>
              <a:p>
                <a:pPr algn="ctr" fontAlgn="base">
                  <a:spcBef>
                    <a:spcPts val="300"/>
                  </a:spcBef>
                  <a:spcAft>
                    <a:spcPct val="0"/>
                  </a:spcAft>
                </a:pPr>
                <a:r>
                  <a:rPr lang="en-US" sz="600"/>
                  <a:t>PC</a:t>
                </a:r>
              </a:p>
            </p:txBody>
          </p:sp>
          <p:sp>
            <p:nvSpPr>
              <p:cNvPr id="203" name="TextBox 202">
                <a:extLst>
                  <a:ext uri="{FF2B5EF4-FFF2-40B4-BE49-F238E27FC236}">
                    <a16:creationId xmlns:a16="http://schemas.microsoft.com/office/drawing/2014/main" id="{C6C94123-BB79-47B3-8D07-A3C8484035BD}"/>
                  </a:ext>
                </a:extLst>
              </p:cNvPr>
              <p:cNvSpPr txBox="1"/>
              <p:nvPr/>
            </p:nvSpPr>
            <p:spPr bwMode="auto">
              <a:xfrm>
                <a:off x="8454226"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4" name="TextBox 203">
                <a:extLst>
                  <a:ext uri="{FF2B5EF4-FFF2-40B4-BE49-F238E27FC236}">
                    <a16:creationId xmlns:a16="http://schemas.microsoft.com/office/drawing/2014/main" id="{07365F69-1EC6-4262-98FD-CFF46C5B3611}"/>
                  </a:ext>
                </a:extLst>
              </p:cNvPr>
              <p:cNvSpPr txBox="1"/>
              <p:nvPr/>
            </p:nvSpPr>
            <p:spPr bwMode="auto">
              <a:xfrm>
                <a:off x="8730451"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5" name="TextBox 204">
                <a:extLst>
                  <a:ext uri="{FF2B5EF4-FFF2-40B4-BE49-F238E27FC236}">
                    <a16:creationId xmlns:a16="http://schemas.microsoft.com/office/drawing/2014/main" id="{AD63F8EF-A26B-4AE3-A60C-2A7D91B96C1D}"/>
                  </a:ext>
                </a:extLst>
              </p:cNvPr>
              <p:cNvSpPr txBox="1"/>
              <p:nvPr/>
            </p:nvSpPr>
            <p:spPr bwMode="auto">
              <a:xfrm>
                <a:off x="9014894"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6" name="TextBox 205">
                <a:extLst>
                  <a:ext uri="{FF2B5EF4-FFF2-40B4-BE49-F238E27FC236}">
                    <a16:creationId xmlns:a16="http://schemas.microsoft.com/office/drawing/2014/main" id="{AC53F171-2B68-4FAA-AA1A-5929AB8DF1C3}"/>
                  </a:ext>
                </a:extLst>
              </p:cNvPr>
              <p:cNvSpPr txBox="1"/>
              <p:nvPr/>
            </p:nvSpPr>
            <p:spPr bwMode="auto">
              <a:xfrm>
                <a:off x="9291119" y="3688478"/>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7" name="TextBox 206">
                <a:extLst>
                  <a:ext uri="{FF2B5EF4-FFF2-40B4-BE49-F238E27FC236}">
                    <a16:creationId xmlns:a16="http://schemas.microsoft.com/office/drawing/2014/main" id="{5DCA3A25-6875-4580-A3DE-D8658F55582B}"/>
                  </a:ext>
                </a:extLst>
              </p:cNvPr>
              <p:cNvSpPr txBox="1"/>
              <p:nvPr/>
            </p:nvSpPr>
            <p:spPr bwMode="auto">
              <a:xfrm>
                <a:off x="9579793" y="3693150"/>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8" name="TextBox 207">
                <a:extLst>
                  <a:ext uri="{FF2B5EF4-FFF2-40B4-BE49-F238E27FC236}">
                    <a16:creationId xmlns:a16="http://schemas.microsoft.com/office/drawing/2014/main" id="{26609D43-DB88-4396-A32D-9F869F274D49}"/>
                  </a:ext>
                </a:extLst>
              </p:cNvPr>
              <p:cNvSpPr txBox="1"/>
              <p:nvPr/>
            </p:nvSpPr>
            <p:spPr bwMode="auto">
              <a:xfrm>
                <a:off x="9856018" y="3693150"/>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09" name="TextBox 208">
                <a:extLst>
                  <a:ext uri="{FF2B5EF4-FFF2-40B4-BE49-F238E27FC236}">
                    <a16:creationId xmlns:a16="http://schemas.microsoft.com/office/drawing/2014/main" id="{5DC644D9-18E6-45F7-99F1-1FC9D24960E5}"/>
                  </a:ext>
                </a:extLst>
              </p:cNvPr>
              <p:cNvSpPr txBox="1"/>
              <p:nvPr/>
            </p:nvSpPr>
            <p:spPr bwMode="auto">
              <a:xfrm>
                <a:off x="10132243" y="3688774"/>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10" name="TextBox 209">
                <a:extLst>
                  <a:ext uri="{FF2B5EF4-FFF2-40B4-BE49-F238E27FC236}">
                    <a16:creationId xmlns:a16="http://schemas.microsoft.com/office/drawing/2014/main" id="{6DF2FCD2-85E0-4B5A-991C-7B1B5AF87657}"/>
                  </a:ext>
                </a:extLst>
              </p:cNvPr>
              <p:cNvSpPr txBox="1"/>
              <p:nvPr/>
            </p:nvSpPr>
            <p:spPr bwMode="auto">
              <a:xfrm>
                <a:off x="10408468" y="3688774"/>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11" name="Rectangle 210">
                <a:extLst>
                  <a:ext uri="{FF2B5EF4-FFF2-40B4-BE49-F238E27FC236}">
                    <a16:creationId xmlns:a16="http://schemas.microsoft.com/office/drawing/2014/main" id="{97B2BCE2-4EFA-482C-BAD8-825F96CD3C2A}"/>
                  </a:ext>
                </a:extLst>
              </p:cNvPr>
              <p:cNvSpPr/>
              <p:nvPr/>
            </p:nvSpPr>
            <p:spPr>
              <a:xfrm>
                <a:off x="7447260" y="4562063"/>
                <a:ext cx="115417" cy="246160"/>
              </a:xfrm>
              <a:prstGeom prst="rect">
                <a:avLst/>
              </a:prstGeom>
            </p:spPr>
            <p:txBody>
              <a:bodyPr wrap="square" lIns="0" tIns="0" rIns="0" bIns="0" anchor="ctr" anchorCtr="0">
                <a:spAutoFit/>
              </a:bodyPr>
              <a:lstStyle/>
              <a:p>
                <a:pPr algn="ctr"/>
                <a:r>
                  <a:rPr lang="sv-SE" sz="1400">
                    <a:latin typeface="Wingdings" panose="05000000000000000000" pitchFamily="2" charset="2"/>
                  </a:rPr>
                  <a:t></a:t>
                </a:r>
              </a:p>
            </p:txBody>
          </p:sp>
          <p:sp>
            <p:nvSpPr>
              <p:cNvPr id="212" name="Rectangle 211">
                <a:extLst>
                  <a:ext uri="{FF2B5EF4-FFF2-40B4-BE49-F238E27FC236}">
                    <a16:creationId xmlns:a16="http://schemas.microsoft.com/office/drawing/2014/main" id="{39704CB7-034A-4576-8966-954FFA2F7130}"/>
                  </a:ext>
                </a:extLst>
              </p:cNvPr>
              <p:cNvSpPr/>
              <p:nvPr/>
            </p:nvSpPr>
            <p:spPr>
              <a:xfrm>
                <a:off x="8616717" y="4553489"/>
                <a:ext cx="115417" cy="246160"/>
              </a:xfrm>
              <a:prstGeom prst="rect">
                <a:avLst/>
              </a:prstGeom>
            </p:spPr>
            <p:txBody>
              <a:bodyPr wrap="square" lIns="0" tIns="0" rIns="0" bIns="0" anchor="ctr" anchorCtr="0">
                <a:spAutoFit/>
              </a:bodyPr>
              <a:lstStyle/>
              <a:p>
                <a:pPr algn="ctr"/>
                <a:r>
                  <a:rPr lang="sv-SE" sz="1400">
                    <a:latin typeface="Wingdings" panose="05000000000000000000" pitchFamily="2" charset="2"/>
                  </a:rPr>
                  <a:t></a:t>
                </a:r>
              </a:p>
            </p:txBody>
          </p:sp>
          <p:sp>
            <p:nvSpPr>
              <p:cNvPr id="213" name="Rectangle 212">
                <a:extLst>
                  <a:ext uri="{FF2B5EF4-FFF2-40B4-BE49-F238E27FC236}">
                    <a16:creationId xmlns:a16="http://schemas.microsoft.com/office/drawing/2014/main" id="{D92BE4A0-0E1E-4B9B-A1E5-FAE8EA940D0A}"/>
                  </a:ext>
                </a:extLst>
              </p:cNvPr>
              <p:cNvSpPr/>
              <p:nvPr/>
            </p:nvSpPr>
            <p:spPr>
              <a:xfrm>
                <a:off x="7616175" y="4562063"/>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endParaRPr lang="sv-SE" sz="800">
                  <a:latin typeface="MS Shell Dlg 2" panose="020B0604030504040204" pitchFamily="34" charset="0"/>
                </a:endParaRPr>
              </a:p>
            </p:txBody>
          </p:sp>
          <p:sp>
            <p:nvSpPr>
              <p:cNvPr id="214" name="Rectangle 213">
                <a:extLst>
                  <a:ext uri="{FF2B5EF4-FFF2-40B4-BE49-F238E27FC236}">
                    <a16:creationId xmlns:a16="http://schemas.microsoft.com/office/drawing/2014/main" id="{CF19B1EF-C023-4510-BAF3-A1FC63ADDF71}"/>
                  </a:ext>
                </a:extLst>
              </p:cNvPr>
              <p:cNvSpPr/>
              <p:nvPr/>
            </p:nvSpPr>
            <p:spPr>
              <a:xfrm>
                <a:off x="8789111" y="4553489"/>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endParaRPr lang="sv-SE" sz="800">
                  <a:latin typeface="MS Shell Dlg 2" panose="020B0604030504040204" pitchFamily="34" charset="0"/>
                </a:endParaRPr>
              </a:p>
            </p:txBody>
          </p:sp>
          <p:sp>
            <p:nvSpPr>
              <p:cNvPr id="215" name="Rectangle 214">
                <a:extLst>
                  <a:ext uri="{FF2B5EF4-FFF2-40B4-BE49-F238E27FC236}">
                    <a16:creationId xmlns:a16="http://schemas.microsoft.com/office/drawing/2014/main" id="{C21D34BD-75FE-4E05-A79D-C26BD296E775}"/>
                  </a:ext>
                </a:extLst>
              </p:cNvPr>
              <p:cNvSpPr/>
              <p:nvPr/>
            </p:nvSpPr>
            <p:spPr>
              <a:xfrm>
                <a:off x="8968890" y="4553489"/>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p>
            </p:txBody>
          </p:sp>
          <p:sp>
            <p:nvSpPr>
              <p:cNvPr id="216" name="Rectangle 215">
                <a:extLst>
                  <a:ext uri="{FF2B5EF4-FFF2-40B4-BE49-F238E27FC236}">
                    <a16:creationId xmlns:a16="http://schemas.microsoft.com/office/drawing/2014/main" id="{C6605523-1D20-41C9-938A-CC9C157FEF2F}"/>
                  </a:ext>
                </a:extLst>
              </p:cNvPr>
              <p:cNvSpPr/>
              <p:nvPr/>
            </p:nvSpPr>
            <p:spPr>
              <a:xfrm>
                <a:off x="7795450" y="4562063"/>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p>
            </p:txBody>
          </p:sp>
        </p:grpSp>
        <p:grpSp>
          <p:nvGrpSpPr>
            <p:cNvPr id="221" name="Group 220">
              <a:extLst>
                <a:ext uri="{FF2B5EF4-FFF2-40B4-BE49-F238E27FC236}">
                  <a16:creationId xmlns:a16="http://schemas.microsoft.com/office/drawing/2014/main" id="{9132C805-E837-4663-8EDE-97445FEC024E}"/>
                </a:ext>
              </a:extLst>
            </p:cNvPr>
            <p:cNvGrpSpPr/>
            <p:nvPr/>
          </p:nvGrpSpPr>
          <p:grpSpPr>
            <a:xfrm>
              <a:off x="6096000" y="2227446"/>
              <a:ext cx="5947717" cy="1405775"/>
              <a:chOff x="5310394" y="1989321"/>
              <a:chExt cx="5947717" cy="1405775"/>
            </a:xfrm>
          </p:grpSpPr>
          <p:grpSp>
            <p:nvGrpSpPr>
              <p:cNvPr id="222" name="Group 221">
                <a:extLst>
                  <a:ext uri="{FF2B5EF4-FFF2-40B4-BE49-F238E27FC236}">
                    <a16:creationId xmlns:a16="http://schemas.microsoft.com/office/drawing/2014/main" id="{689E19D8-6922-4AC5-8816-C772DB5DB611}"/>
                  </a:ext>
                </a:extLst>
              </p:cNvPr>
              <p:cNvGrpSpPr/>
              <p:nvPr/>
            </p:nvGrpSpPr>
            <p:grpSpPr>
              <a:xfrm>
                <a:off x="8258611" y="1989321"/>
                <a:ext cx="2482348" cy="1405775"/>
                <a:chOff x="2118659" y="5656023"/>
                <a:chExt cx="384970" cy="540678"/>
              </a:xfrm>
            </p:grpSpPr>
            <p:sp>
              <p:nvSpPr>
                <p:cNvPr id="263" name="Rectangle 262">
                  <a:extLst>
                    <a:ext uri="{FF2B5EF4-FFF2-40B4-BE49-F238E27FC236}">
                      <a16:creationId xmlns:a16="http://schemas.microsoft.com/office/drawing/2014/main" id="{7F7B4BC0-9656-4E3F-A4FD-DCBB5B70701E}"/>
                    </a:ext>
                  </a:extLst>
                </p:cNvPr>
                <p:cNvSpPr/>
                <p:nvPr/>
              </p:nvSpPr>
              <p:spPr bwMode="auto">
                <a:xfrm>
                  <a:off x="2118659" y="5656023"/>
                  <a:ext cx="384970" cy="540678"/>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64" name="Rectangle 263">
                  <a:extLst>
                    <a:ext uri="{FF2B5EF4-FFF2-40B4-BE49-F238E27FC236}">
                      <a16:creationId xmlns:a16="http://schemas.microsoft.com/office/drawing/2014/main" id="{6716C232-30B0-45F3-BA57-C37FE570FF71}"/>
                    </a:ext>
                  </a:extLst>
                </p:cNvPr>
                <p:cNvSpPr/>
                <p:nvPr/>
              </p:nvSpPr>
              <p:spPr bwMode="auto">
                <a:xfrm>
                  <a:off x="2118659" y="6112781"/>
                  <a:ext cx="384970" cy="8392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Regional / National DC</a:t>
                  </a:r>
                </a:p>
              </p:txBody>
            </p:sp>
          </p:grpSp>
          <p:grpSp>
            <p:nvGrpSpPr>
              <p:cNvPr id="223" name="Group 222">
                <a:extLst>
                  <a:ext uri="{FF2B5EF4-FFF2-40B4-BE49-F238E27FC236}">
                    <a16:creationId xmlns:a16="http://schemas.microsoft.com/office/drawing/2014/main" id="{BBAB45AA-7C0B-4D09-88C0-5EBA449CD9EF}"/>
                  </a:ext>
                </a:extLst>
              </p:cNvPr>
              <p:cNvGrpSpPr/>
              <p:nvPr/>
            </p:nvGrpSpPr>
            <p:grpSpPr>
              <a:xfrm>
                <a:off x="5310394" y="1989321"/>
                <a:ext cx="2482348" cy="1405775"/>
                <a:chOff x="2118659" y="5656023"/>
                <a:chExt cx="384970" cy="540678"/>
              </a:xfrm>
            </p:grpSpPr>
            <p:sp>
              <p:nvSpPr>
                <p:cNvPr id="261" name="Rectangle 260">
                  <a:extLst>
                    <a:ext uri="{FF2B5EF4-FFF2-40B4-BE49-F238E27FC236}">
                      <a16:creationId xmlns:a16="http://schemas.microsoft.com/office/drawing/2014/main" id="{4CE224F9-20D1-4041-9103-DA82D6E3CF3C}"/>
                    </a:ext>
                  </a:extLst>
                </p:cNvPr>
                <p:cNvSpPr/>
                <p:nvPr/>
              </p:nvSpPr>
              <p:spPr bwMode="auto">
                <a:xfrm>
                  <a:off x="2118659" y="5656023"/>
                  <a:ext cx="384970" cy="540678"/>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62" name="Rectangle 261">
                  <a:extLst>
                    <a:ext uri="{FF2B5EF4-FFF2-40B4-BE49-F238E27FC236}">
                      <a16:creationId xmlns:a16="http://schemas.microsoft.com/office/drawing/2014/main" id="{D8D4D1F5-DC87-48D2-8A0F-170DC584269B}"/>
                    </a:ext>
                  </a:extLst>
                </p:cNvPr>
                <p:cNvSpPr/>
                <p:nvPr/>
              </p:nvSpPr>
              <p:spPr bwMode="auto">
                <a:xfrm>
                  <a:off x="2118659" y="6112781"/>
                  <a:ext cx="384970" cy="8392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81818"/>
                      </a:solidFill>
                      <a:effectLst/>
                      <a:uLnTx/>
                      <a:uFillTx/>
                      <a:latin typeface="Ericsson Hilda"/>
                      <a:ea typeface="+mn-ea"/>
                      <a:cs typeface="+mn-cs"/>
                    </a:rPr>
                    <a:t>Regional / National DC</a:t>
                  </a:r>
                </a:p>
              </p:txBody>
            </p:sp>
          </p:grpSp>
          <p:sp>
            <p:nvSpPr>
              <p:cNvPr id="224" name="TextBox 223">
                <a:extLst>
                  <a:ext uri="{FF2B5EF4-FFF2-40B4-BE49-F238E27FC236}">
                    <a16:creationId xmlns:a16="http://schemas.microsoft.com/office/drawing/2014/main" id="{0A405BCD-E55A-4C69-822F-0E92EFA74053}"/>
                  </a:ext>
                </a:extLst>
              </p:cNvPr>
              <p:cNvSpPr txBox="1"/>
              <p:nvPr/>
            </p:nvSpPr>
            <p:spPr bwMode="auto">
              <a:xfrm>
                <a:off x="5506009"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25" name="TextBox 224">
                <a:extLst>
                  <a:ext uri="{FF2B5EF4-FFF2-40B4-BE49-F238E27FC236}">
                    <a16:creationId xmlns:a16="http://schemas.microsoft.com/office/drawing/2014/main" id="{A90FF093-01A9-48B9-BB76-E8CEEF671444}"/>
                  </a:ext>
                </a:extLst>
              </p:cNvPr>
              <p:cNvSpPr txBox="1"/>
              <p:nvPr/>
            </p:nvSpPr>
            <p:spPr bwMode="auto">
              <a:xfrm>
                <a:off x="5782234"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26" name="TextBox 225">
                <a:extLst>
                  <a:ext uri="{FF2B5EF4-FFF2-40B4-BE49-F238E27FC236}">
                    <a16:creationId xmlns:a16="http://schemas.microsoft.com/office/drawing/2014/main" id="{75435759-5F6A-49F2-8EF8-1351C7E13C2E}"/>
                  </a:ext>
                </a:extLst>
              </p:cNvPr>
              <p:cNvSpPr txBox="1"/>
              <p:nvPr/>
            </p:nvSpPr>
            <p:spPr bwMode="auto">
              <a:xfrm>
                <a:off x="6066677"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27" name="TextBox 226">
                <a:extLst>
                  <a:ext uri="{FF2B5EF4-FFF2-40B4-BE49-F238E27FC236}">
                    <a16:creationId xmlns:a16="http://schemas.microsoft.com/office/drawing/2014/main" id="{11E78B57-691B-43C3-BE6F-20B5527FCAF4}"/>
                  </a:ext>
                </a:extLst>
              </p:cNvPr>
              <p:cNvSpPr txBox="1"/>
              <p:nvPr/>
            </p:nvSpPr>
            <p:spPr bwMode="auto">
              <a:xfrm>
                <a:off x="6342902"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28" name="TextBox 227">
                <a:extLst>
                  <a:ext uri="{FF2B5EF4-FFF2-40B4-BE49-F238E27FC236}">
                    <a16:creationId xmlns:a16="http://schemas.microsoft.com/office/drawing/2014/main" id="{1648AEC7-8D71-404E-9E4B-19D3671DC3FE}"/>
                  </a:ext>
                </a:extLst>
              </p:cNvPr>
              <p:cNvSpPr txBox="1"/>
              <p:nvPr/>
            </p:nvSpPr>
            <p:spPr bwMode="auto">
              <a:xfrm>
                <a:off x="6631576" y="209648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29" name="TextBox 228">
                <a:extLst>
                  <a:ext uri="{FF2B5EF4-FFF2-40B4-BE49-F238E27FC236}">
                    <a16:creationId xmlns:a16="http://schemas.microsoft.com/office/drawing/2014/main" id="{F8E2A1E7-B6C1-44E1-88EE-B959B2AEB989}"/>
                  </a:ext>
                </a:extLst>
              </p:cNvPr>
              <p:cNvSpPr txBox="1"/>
              <p:nvPr/>
            </p:nvSpPr>
            <p:spPr bwMode="auto">
              <a:xfrm>
                <a:off x="6907801" y="209648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30" name="TextBox 229">
                <a:extLst>
                  <a:ext uri="{FF2B5EF4-FFF2-40B4-BE49-F238E27FC236}">
                    <a16:creationId xmlns:a16="http://schemas.microsoft.com/office/drawing/2014/main" id="{50C6B004-A1CA-42E5-BF71-24BEC188ADED}"/>
                  </a:ext>
                </a:extLst>
              </p:cNvPr>
              <p:cNvSpPr txBox="1"/>
              <p:nvPr/>
            </p:nvSpPr>
            <p:spPr bwMode="auto">
              <a:xfrm>
                <a:off x="7184026" y="2092105"/>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31" name="TextBox 230">
                <a:extLst>
                  <a:ext uri="{FF2B5EF4-FFF2-40B4-BE49-F238E27FC236}">
                    <a16:creationId xmlns:a16="http://schemas.microsoft.com/office/drawing/2014/main" id="{E95E9B12-40C8-4F44-8BC0-C6C96C9332CA}"/>
                  </a:ext>
                </a:extLst>
              </p:cNvPr>
              <p:cNvSpPr txBox="1"/>
              <p:nvPr/>
            </p:nvSpPr>
            <p:spPr bwMode="auto">
              <a:xfrm>
                <a:off x="7460251" y="2092105"/>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cxnSp>
            <p:nvCxnSpPr>
              <p:cNvPr id="232" name="Straight Connector 231">
                <a:extLst>
                  <a:ext uri="{FF2B5EF4-FFF2-40B4-BE49-F238E27FC236}">
                    <a16:creationId xmlns:a16="http://schemas.microsoft.com/office/drawing/2014/main" id="{53E7974D-8800-4D08-B920-839AF9AB43D2}"/>
                  </a:ext>
                </a:extLst>
              </p:cNvPr>
              <p:cNvCxnSpPr>
                <a:cxnSpLocks/>
                <a:stCxn id="224" idx="2"/>
              </p:cNvCxnSpPr>
              <p:nvPr/>
            </p:nvCxnSpPr>
            <p:spPr bwMode="auto">
              <a:xfrm>
                <a:off x="5610342" y="2420126"/>
                <a:ext cx="2010672" cy="35279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33" name="Straight Connector 232">
                <a:extLst>
                  <a:ext uri="{FF2B5EF4-FFF2-40B4-BE49-F238E27FC236}">
                    <a16:creationId xmlns:a16="http://schemas.microsoft.com/office/drawing/2014/main" id="{553528F1-116E-4D8B-B8A0-44F61C8BCBB3}"/>
                  </a:ext>
                </a:extLst>
              </p:cNvPr>
              <p:cNvCxnSpPr>
                <a:cxnSpLocks/>
                <a:stCxn id="226" idx="2"/>
              </p:cNvCxnSpPr>
              <p:nvPr/>
            </p:nvCxnSpPr>
            <p:spPr bwMode="auto">
              <a:xfrm>
                <a:off x="6171010" y="2420126"/>
                <a:ext cx="1450004" cy="35279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34" name="Straight Connector 233">
                <a:extLst>
                  <a:ext uri="{FF2B5EF4-FFF2-40B4-BE49-F238E27FC236}">
                    <a16:creationId xmlns:a16="http://schemas.microsoft.com/office/drawing/2014/main" id="{2A2A37FB-CFE3-4CE1-94A2-CDA419F5F337}"/>
                  </a:ext>
                </a:extLst>
              </p:cNvPr>
              <p:cNvCxnSpPr>
                <a:cxnSpLocks/>
                <a:stCxn id="227" idx="2"/>
              </p:cNvCxnSpPr>
              <p:nvPr/>
            </p:nvCxnSpPr>
            <p:spPr bwMode="auto">
              <a:xfrm>
                <a:off x="6447235" y="2420126"/>
                <a:ext cx="1173779" cy="35279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35" name="Straight Connector 234">
                <a:extLst>
                  <a:ext uri="{FF2B5EF4-FFF2-40B4-BE49-F238E27FC236}">
                    <a16:creationId xmlns:a16="http://schemas.microsoft.com/office/drawing/2014/main" id="{A1B01216-2C5F-4CF2-A428-42CEA042F937}"/>
                  </a:ext>
                </a:extLst>
              </p:cNvPr>
              <p:cNvCxnSpPr>
                <a:cxnSpLocks/>
                <a:stCxn id="229" idx="2"/>
              </p:cNvCxnSpPr>
              <p:nvPr/>
            </p:nvCxnSpPr>
            <p:spPr bwMode="auto">
              <a:xfrm>
                <a:off x="7012134" y="2424798"/>
                <a:ext cx="608880" cy="348126"/>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36" name="Straight Connector 235">
                <a:extLst>
                  <a:ext uri="{FF2B5EF4-FFF2-40B4-BE49-F238E27FC236}">
                    <a16:creationId xmlns:a16="http://schemas.microsoft.com/office/drawing/2014/main" id="{8F620A76-8D9E-41D8-A732-FF735C9AF8CC}"/>
                  </a:ext>
                </a:extLst>
              </p:cNvPr>
              <p:cNvCxnSpPr>
                <a:cxnSpLocks/>
                <a:stCxn id="231" idx="2"/>
              </p:cNvCxnSpPr>
              <p:nvPr/>
            </p:nvCxnSpPr>
            <p:spPr bwMode="auto">
              <a:xfrm>
                <a:off x="7564584" y="2420422"/>
                <a:ext cx="56430" cy="352502"/>
              </a:xfrm>
              <a:prstGeom prst="line">
                <a:avLst/>
              </a:prstGeom>
              <a:solidFill>
                <a:schemeClr val="accent1"/>
              </a:solidFill>
              <a:ln w="6350" cap="flat" cmpd="sng" algn="ctr">
                <a:solidFill>
                  <a:schemeClr val="accent3"/>
                </a:solidFill>
                <a:prstDash val="solid"/>
                <a:round/>
                <a:headEnd type="none" w="med" len="med"/>
                <a:tailEnd type="none"/>
              </a:ln>
              <a:effectLst/>
            </p:spPr>
          </p:cxnSp>
          <p:sp>
            <p:nvSpPr>
              <p:cNvPr id="237" name="TextBox 236">
                <a:extLst>
                  <a:ext uri="{FF2B5EF4-FFF2-40B4-BE49-F238E27FC236}">
                    <a16:creationId xmlns:a16="http://schemas.microsoft.com/office/drawing/2014/main" id="{8852AAD9-C11B-41B4-83A3-338C5EFC1E31}"/>
                  </a:ext>
                </a:extLst>
              </p:cNvPr>
              <p:cNvSpPr txBox="1"/>
              <p:nvPr/>
            </p:nvSpPr>
            <p:spPr bwMode="auto">
              <a:xfrm>
                <a:off x="8454226"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38" name="TextBox 237">
                <a:extLst>
                  <a:ext uri="{FF2B5EF4-FFF2-40B4-BE49-F238E27FC236}">
                    <a16:creationId xmlns:a16="http://schemas.microsoft.com/office/drawing/2014/main" id="{A0086E18-084C-45FA-AC2D-D96B3967F635}"/>
                  </a:ext>
                </a:extLst>
              </p:cNvPr>
              <p:cNvSpPr txBox="1"/>
              <p:nvPr/>
            </p:nvSpPr>
            <p:spPr bwMode="auto">
              <a:xfrm>
                <a:off x="8730451"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39" name="TextBox 238">
                <a:extLst>
                  <a:ext uri="{FF2B5EF4-FFF2-40B4-BE49-F238E27FC236}">
                    <a16:creationId xmlns:a16="http://schemas.microsoft.com/office/drawing/2014/main" id="{EC73D6CC-32C6-43C0-95DE-B3DE85C52D4D}"/>
                  </a:ext>
                </a:extLst>
              </p:cNvPr>
              <p:cNvSpPr txBox="1"/>
              <p:nvPr/>
            </p:nvSpPr>
            <p:spPr bwMode="auto">
              <a:xfrm>
                <a:off x="9014894"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40" name="TextBox 239">
                <a:extLst>
                  <a:ext uri="{FF2B5EF4-FFF2-40B4-BE49-F238E27FC236}">
                    <a16:creationId xmlns:a16="http://schemas.microsoft.com/office/drawing/2014/main" id="{95CE73E0-1223-416F-ACFD-B413407912F4}"/>
                  </a:ext>
                </a:extLst>
              </p:cNvPr>
              <p:cNvSpPr txBox="1"/>
              <p:nvPr/>
            </p:nvSpPr>
            <p:spPr bwMode="auto">
              <a:xfrm>
                <a:off x="9291119" y="2091809"/>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41" name="TextBox 240">
                <a:extLst>
                  <a:ext uri="{FF2B5EF4-FFF2-40B4-BE49-F238E27FC236}">
                    <a16:creationId xmlns:a16="http://schemas.microsoft.com/office/drawing/2014/main" id="{6334E2E2-2659-4918-B65C-4E81DC3AA24C}"/>
                  </a:ext>
                </a:extLst>
              </p:cNvPr>
              <p:cNvSpPr txBox="1"/>
              <p:nvPr/>
            </p:nvSpPr>
            <p:spPr bwMode="auto">
              <a:xfrm>
                <a:off x="9579793" y="209648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42" name="TextBox 241">
                <a:extLst>
                  <a:ext uri="{FF2B5EF4-FFF2-40B4-BE49-F238E27FC236}">
                    <a16:creationId xmlns:a16="http://schemas.microsoft.com/office/drawing/2014/main" id="{578E76C2-C651-4554-8B58-EA1405B30AEC}"/>
                  </a:ext>
                </a:extLst>
              </p:cNvPr>
              <p:cNvSpPr txBox="1"/>
              <p:nvPr/>
            </p:nvSpPr>
            <p:spPr bwMode="auto">
              <a:xfrm>
                <a:off x="9856018" y="2096481"/>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43" name="TextBox 242">
                <a:extLst>
                  <a:ext uri="{FF2B5EF4-FFF2-40B4-BE49-F238E27FC236}">
                    <a16:creationId xmlns:a16="http://schemas.microsoft.com/office/drawing/2014/main" id="{8F560DCA-1F4B-4CAF-9C2C-71C0B4DF13E6}"/>
                  </a:ext>
                </a:extLst>
              </p:cNvPr>
              <p:cNvSpPr txBox="1"/>
              <p:nvPr/>
            </p:nvSpPr>
            <p:spPr bwMode="auto">
              <a:xfrm>
                <a:off x="10132243" y="2092105"/>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sp>
            <p:nvSpPr>
              <p:cNvPr id="244" name="TextBox 243">
                <a:extLst>
                  <a:ext uri="{FF2B5EF4-FFF2-40B4-BE49-F238E27FC236}">
                    <a16:creationId xmlns:a16="http://schemas.microsoft.com/office/drawing/2014/main" id="{003F4EB1-3658-4D37-A045-E005639A5CB5}"/>
                  </a:ext>
                </a:extLst>
              </p:cNvPr>
              <p:cNvSpPr txBox="1"/>
              <p:nvPr/>
            </p:nvSpPr>
            <p:spPr bwMode="auto">
              <a:xfrm>
                <a:off x="10408468" y="2092105"/>
                <a:ext cx="208666" cy="328317"/>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 </a:t>
                </a:r>
                <a:br>
                  <a:rPr kumimoji="0" lang="en-US" sz="10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700" b="0" i="0" u="none" strike="noStrike" kern="1200" cap="none" spc="0" normalizeH="0" baseline="0" noProof="0">
                    <a:ln>
                      <a:noFill/>
                    </a:ln>
                    <a:solidFill>
                      <a:srgbClr val="181818"/>
                    </a:solidFill>
                    <a:effectLst/>
                    <a:uLnTx/>
                    <a:uFillTx/>
                    <a:latin typeface="Ericsson Hilda"/>
                    <a:ea typeface="+mn-ea"/>
                    <a:cs typeface="+mn-cs"/>
                  </a:rPr>
                  <a:t>NF</a:t>
                </a:r>
              </a:p>
            </p:txBody>
          </p:sp>
          <p:cxnSp>
            <p:nvCxnSpPr>
              <p:cNvPr id="245" name="Straight Connector 244">
                <a:extLst>
                  <a:ext uri="{FF2B5EF4-FFF2-40B4-BE49-F238E27FC236}">
                    <a16:creationId xmlns:a16="http://schemas.microsoft.com/office/drawing/2014/main" id="{A76212B9-E699-4855-BF8C-47756B4CF13C}"/>
                  </a:ext>
                </a:extLst>
              </p:cNvPr>
              <p:cNvCxnSpPr>
                <a:cxnSpLocks/>
                <a:stCxn id="239" idx="2"/>
              </p:cNvCxnSpPr>
              <p:nvPr/>
            </p:nvCxnSpPr>
            <p:spPr bwMode="auto">
              <a:xfrm flipH="1">
                <a:off x="8454012" y="2420126"/>
                <a:ext cx="665215" cy="35279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46" name="Straight Connector 245">
                <a:extLst>
                  <a:ext uri="{FF2B5EF4-FFF2-40B4-BE49-F238E27FC236}">
                    <a16:creationId xmlns:a16="http://schemas.microsoft.com/office/drawing/2014/main" id="{E32FFEB1-16D3-48E4-90E5-A4F14D1C4676}"/>
                  </a:ext>
                </a:extLst>
              </p:cNvPr>
              <p:cNvCxnSpPr>
                <a:cxnSpLocks/>
                <a:stCxn id="241" idx="2"/>
              </p:cNvCxnSpPr>
              <p:nvPr/>
            </p:nvCxnSpPr>
            <p:spPr bwMode="auto">
              <a:xfrm flipH="1">
                <a:off x="8454012" y="2424798"/>
                <a:ext cx="1230114" cy="348126"/>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47" name="Straight Connector 246">
                <a:extLst>
                  <a:ext uri="{FF2B5EF4-FFF2-40B4-BE49-F238E27FC236}">
                    <a16:creationId xmlns:a16="http://schemas.microsoft.com/office/drawing/2014/main" id="{4A587803-6382-4BC6-A7B6-252649AE224F}"/>
                  </a:ext>
                </a:extLst>
              </p:cNvPr>
              <p:cNvCxnSpPr>
                <a:cxnSpLocks/>
                <a:stCxn id="238" idx="2"/>
              </p:cNvCxnSpPr>
              <p:nvPr/>
            </p:nvCxnSpPr>
            <p:spPr bwMode="auto">
              <a:xfrm flipH="1">
                <a:off x="8454012" y="2420126"/>
                <a:ext cx="380772" cy="352798"/>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48" name="Straight Connector 247">
                <a:extLst>
                  <a:ext uri="{FF2B5EF4-FFF2-40B4-BE49-F238E27FC236}">
                    <a16:creationId xmlns:a16="http://schemas.microsoft.com/office/drawing/2014/main" id="{B5696089-40C1-4850-BF6E-DA1647324279}"/>
                  </a:ext>
                </a:extLst>
              </p:cNvPr>
              <p:cNvCxnSpPr>
                <a:cxnSpLocks/>
                <a:stCxn id="242" idx="2"/>
              </p:cNvCxnSpPr>
              <p:nvPr/>
            </p:nvCxnSpPr>
            <p:spPr bwMode="auto">
              <a:xfrm flipH="1">
                <a:off x="8454012" y="2424798"/>
                <a:ext cx="1506339" cy="348126"/>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49" name="Straight Connector 248">
                <a:extLst>
                  <a:ext uri="{FF2B5EF4-FFF2-40B4-BE49-F238E27FC236}">
                    <a16:creationId xmlns:a16="http://schemas.microsoft.com/office/drawing/2014/main" id="{7FA21C2E-5066-4E22-95E5-5FE734018968}"/>
                  </a:ext>
                </a:extLst>
              </p:cNvPr>
              <p:cNvCxnSpPr>
                <a:cxnSpLocks/>
                <a:stCxn id="243" idx="2"/>
              </p:cNvCxnSpPr>
              <p:nvPr/>
            </p:nvCxnSpPr>
            <p:spPr bwMode="auto">
              <a:xfrm flipH="1">
                <a:off x="8454012" y="2420422"/>
                <a:ext cx="1782564" cy="352502"/>
              </a:xfrm>
              <a:prstGeom prst="line">
                <a:avLst/>
              </a:prstGeom>
              <a:solidFill>
                <a:schemeClr val="accent1"/>
              </a:solidFill>
              <a:ln w="6350" cap="flat" cmpd="sng" algn="ctr">
                <a:solidFill>
                  <a:schemeClr val="accent3"/>
                </a:solidFill>
                <a:prstDash val="solid"/>
                <a:round/>
                <a:headEnd type="none" w="med" len="med"/>
                <a:tailEnd type="none"/>
              </a:ln>
              <a:effectLst/>
            </p:spPr>
          </p:cxnSp>
          <p:cxnSp>
            <p:nvCxnSpPr>
              <p:cNvPr id="250" name="Straight Connector 249">
                <a:extLst>
                  <a:ext uri="{FF2B5EF4-FFF2-40B4-BE49-F238E27FC236}">
                    <a16:creationId xmlns:a16="http://schemas.microsoft.com/office/drawing/2014/main" id="{D8085C0E-225C-4AAE-BB4B-36CF38C9B080}"/>
                  </a:ext>
                </a:extLst>
              </p:cNvPr>
              <p:cNvCxnSpPr/>
              <p:nvPr/>
            </p:nvCxnSpPr>
            <p:spPr bwMode="auto">
              <a:xfrm>
                <a:off x="7621014" y="2772924"/>
                <a:ext cx="833212" cy="0"/>
              </a:xfrm>
              <a:prstGeom prst="line">
                <a:avLst/>
              </a:prstGeom>
              <a:solidFill>
                <a:schemeClr val="accent1"/>
              </a:solidFill>
              <a:ln w="28575" cap="flat" cmpd="sng" algn="ctr">
                <a:solidFill>
                  <a:schemeClr val="accent3"/>
                </a:solidFill>
                <a:prstDash val="solid"/>
                <a:round/>
                <a:headEnd type="none" w="med" len="med"/>
                <a:tailEnd type="none"/>
              </a:ln>
              <a:effectLst/>
            </p:spPr>
          </p:cxnSp>
          <p:cxnSp>
            <p:nvCxnSpPr>
              <p:cNvPr id="253" name="Straight Connector 252">
                <a:extLst>
                  <a:ext uri="{FF2B5EF4-FFF2-40B4-BE49-F238E27FC236}">
                    <a16:creationId xmlns:a16="http://schemas.microsoft.com/office/drawing/2014/main" id="{43E8DA43-9ABB-4943-9650-6A0DA0A058F1}"/>
                  </a:ext>
                </a:extLst>
              </p:cNvPr>
              <p:cNvCxnSpPr/>
              <p:nvPr/>
            </p:nvCxnSpPr>
            <p:spPr bwMode="auto">
              <a:xfrm>
                <a:off x="8558559" y="2596525"/>
                <a:ext cx="2324789" cy="0"/>
              </a:xfrm>
              <a:prstGeom prst="line">
                <a:avLst/>
              </a:prstGeom>
              <a:solidFill>
                <a:schemeClr val="accent1"/>
              </a:solidFill>
              <a:ln w="12700" cap="flat" cmpd="sng" algn="ctr">
                <a:solidFill>
                  <a:schemeClr val="tx1"/>
                </a:solidFill>
                <a:prstDash val="dash"/>
                <a:round/>
                <a:headEnd type="none" w="med" len="med"/>
                <a:tailEnd type="none"/>
              </a:ln>
              <a:effectLst/>
            </p:spPr>
          </p:cxnSp>
          <p:cxnSp>
            <p:nvCxnSpPr>
              <p:cNvPr id="254" name="Straight Connector 253">
                <a:extLst>
                  <a:ext uri="{FF2B5EF4-FFF2-40B4-BE49-F238E27FC236}">
                    <a16:creationId xmlns:a16="http://schemas.microsoft.com/office/drawing/2014/main" id="{4F2847FB-0340-4036-B61C-947D15009CCE}"/>
                  </a:ext>
                </a:extLst>
              </p:cNvPr>
              <p:cNvCxnSpPr>
                <a:cxnSpLocks/>
              </p:cNvCxnSpPr>
              <p:nvPr/>
            </p:nvCxnSpPr>
            <p:spPr bwMode="auto">
              <a:xfrm>
                <a:off x="8037620" y="2584389"/>
                <a:ext cx="0" cy="345638"/>
              </a:xfrm>
              <a:prstGeom prst="line">
                <a:avLst/>
              </a:prstGeom>
              <a:solidFill>
                <a:schemeClr val="accent1"/>
              </a:solidFill>
              <a:ln w="12700" cap="flat" cmpd="sng" algn="ctr">
                <a:solidFill>
                  <a:schemeClr val="tx1"/>
                </a:solidFill>
                <a:prstDash val="dash"/>
                <a:round/>
                <a:headEnd type="none" w="med" len="med"/>
                <a:tailEnd type="none"/>
              </a:ln>
              <a:effectLst/>
            </p:spPr>
          </p:cxnSp>
          <p:sp>
            <p:nvSpPr>
              <p:cNvPr id="255" name="Rectangle 254">
                <a:extLst>
                  <a:ext uri="{FF2B5EF4-FFF2-40B4-BE49-F238E27FC236}">
                    <a16:creationId xmlns:a16="http://schemas.microsoft.com/office/drawing/2014/main" id="{C8E31CE7-67DB-4EAE-BFA9-B8500E36A69F}"/>
                  </a:ext>
                </a:extLst>
              </p:cNvPr>
              <p:cNvSpPr/>
              <p:nvPr/>
            </p:nvSpPr>
            <p:spPr>
              <a:xfrm>
                <a:off x="7842695" y="2823912"/>
                <a:ext cx="394147" cy="35165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181818"/>
                    </a:solidFill>
                    <a:effectLst/>
                    <a:uLnTx/>
                    <a:uFillTx/>
                    <a:latin typeface="Wingdings" panose="05000000000000000000" pitchFamily="2" charset="2"/>
                    <a:ea typeface="+mn-ea"/>
                    <a:cs typeface="+mn-cs"/>
                  </a:rPr>
                  <a:t></a:t>
                </a:r>
                <a:endParaRPr kumimoji="0" lang="sv-SE" sz="800" b="0" i="0" u="none" strike="noStrike" kern="1200" cap="none" spc="0" normalizeH="0" baseline="0" noProof="0">
                  <a:ln>
                    <a:noFill/>
                  </a:ln>
                  <a:solidFill>
                    <a:srgbClr val="181818"/>
                  </a:solidFill>
                  <a:effectLst/>
                  <a:uLnTx/>
                  <a:uFillTx/>
                  <a:latin typeface="MS Shell Dlg 2" panose="020B0604030504040204" pitchFamily="34" charset="0"/>
                  <a:ea typeface="+mn-ea"/>
                  <a:cs typeface="+mn-cs"/>
                </a:endParaRPr>
              </a:p>
            </p:txBody>
          </p:sp>
          <p:sp>
            <p:nvSpPr>
              <p:cNvPr id="256" name="Rectangle 255">
                <a:extLst>
                  <a:ext uri="{FF2B5EF4-FFF2-40B4-BE49-F238E27FC236}">
                    <a16:creationId xmlns:a16="http://schemas.microsoft.com/office/drawing/2014/main" id="{9984E4BE-8DBE-440F-AF4E-97F0B1CA0B60}"/>
                  </a:ext>
                </a:extLst>
              </p:cNvPr>
              <p:cNvSpPr/>
              <p:nvPr/>
            </p:nvSpPr>
            <p:spPr>
              <a:xfrm>
                <a:off x="8130162" y="2885498"/>
                <a:ext cx="115417" cy="246160"/>
              </a:xfrm>
              <a:prstGeom prst="rect">
                <a:avLst/>
              </a:prstGeom>
            </p:spPr>
            <p:txBody>
              <a:bodyPr wrap="square" lIns="0" tIns="0" rIns="0" bIns="0" anchor="ctr" anchorCtr="0">
                <a:spAutoFit/>
              </a:bodyPr>
              <a:lstStyle/>
              <a:p>
                <a:pPr algn="ctr"/>
                <a:r>
                  <a:rPr lang="sv-SE" sz="1400">
                    <a:latin typeface="Wingdings" panose="05000000000000000000" pitchFamily="2" charset="2"/>
                  </a:rPr>
                  <a:t></a:t>
                </a:r>
              </a:p>
            </p:txBody>
          </p:sp>
          <p:sp>
            <p:nvSpPr>
              <p:cNvPr id="257" name="Rectangle 256">
                <a:extLst>
                  <a:ext uri="{FF2B5EF4-FFF2-40B4-BE49-F238E27FC236}">
                    <a16:creationId xmlns:a16="http://schemas.microsoft.com/office/drawing/2014/main" id="{821D0D0F-AA1B-4035-9705-A668A06FFF37}"/>
                  </a:ext>
                </a:extLst>
              </p:cNvPr>
              <p:cNvSpPr/>
              <p:nvPr/>
            </p:nvSpPr>
            <p:spPr>
              <a:xfrm>
                <a:off x="8340467" y="2885498"/>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endParaRPr lang="sv-SE" sz="800">
                  <a:latin typeface="MS Shell Dlg 2" panose="020B0604030504040204" pitchFamily="34" charset="0"/>
                </a:endParaRPr>
              </a:p>
            </p:txBody>
          </p:sp>
          <p:sp>
            <p:nvSpPr>
              <p:cNvPr id="258" name="Rectangle 257">
                <a:extLst>
                  <a:ext uri="{FF2B5EF4-FFF2-40B4-BE49-F238E27FC236}">
                    <a16:creationId xmlns:a16="http://schemas.microsoft.com/office/drawing/2014/main" id="{36670E31-D97B-4B1D-B266-DC7A49247D33}"/>
                  </a:ext>
                </a:extLst>
              </p:cNvPr>
              <p:cNvSpPr/>
              <p:nvPr/>
            </p:nvSpPr>
            <p:spPr>
              <a:xfrm>
                <a:off x="10972125" y="2467376"/>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endParaRPr lang="sv-SE" sz="800">
                  <a:latin typeface="MS Shell Dlg 2" panose="020B0604030504040204" pitchFamily="34" charset="0"/>
                </a:endParaRPr>
              </a:p>
            </p:txBody>
          </p:sp>
          <p:sp>
            <p:nvSpPr>
              <p:cNvPr id="259" name="Rectangle 258">
                <a:extLst>
                  <a:ext uri="{FF2B5EF4-FFF2-40B4-BE49-F238E27FC236}">
                    <a16:creationId xmlns:a16="http://schemas.microsoft.com/office/drawing/2014/main" id="{FF4B5DE4-D495-4E31-9A38-CF5374FD7150}"/>
                  </a:ext>
                </a:extLst>
              </p:cNvPr>
              <p:cNvSpPr/>
              <p:nvPr/>
            </p:nvSpPr>
            <p:spPr>
              <a:xfrm>
                <a:off x="11155545" y="2467376"/>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p>
            </p:txBody>
          </p:sp>
          <p:sp>
            <p:nvSpPr>
              <p:cNvPr id="260" name="Rectangle 259">
                <a:extLst>
                  <a:ext uri="{FF2B5EF4-FFF2-40B4-BE49-F238E27FC236}">
                    <a16:creationId xmlns:a16="http://schemas.microsoft.com/office/drawing/2014/main" id="{1A66335E-CE90-44EE-8FFC-946AC2EC5C26}"/>
                  </a:ext>
                </a:extLst>
              </p:cNvPr>
              <p:cNvSpPr/>
              <p:nvPr/>
            </p:nvSpPr>
            <p:spPr>
              <a:xfrm>
                <a:off x="8539471" y="2885498"/>
                <a:ext cx="102566" cy="246160"/>
              </a:xfrm>
              <a:prstGeom prst="rect">
                <a:avLst/>
              </a:prstGeom>
            </p:spPr>
            <p:txBody>
              <a:bodyPr wrap="none" lIns="0" tIns="0" rIns="0" bIns="0" anchor="ctr" anchorCtr="0">
                <a:spAutoFit/>
              </a:bodyPr>
              <a:lstStyle/>
              <a:p>
                <a:pPr algn="ctr"/>
                <a:r>
                  <a:rPr lang="sv-SE" sz="1400">
                    <a:latin typeface="Wingdings" panose="05000000000000000000" pitchFamily="2" charset="2"/>
                  </a:rPr>
                  <a:t></a:t>
                </a:r>
              </a:p>
            </p:txBody>
          </p:sp>
        </p:grpSp>
      </p:grpSp>
      <p:cxnSp>
        <p:nvCxnSpPr>
          <p:cNvPr id="102" name="Straight Connector 101">
            <a:extLst>
              <a:ext uri="{FF2B5EF4-FFF2-40B4-BE49-F238E27FC236}">
                <a16:creationId xmlns:a16="http://schemas.microsoft.com/office/drawing/2014/main" id="{136553FA-9EF5-4B30-A910-4975A371CBA4}"/>
              </a:ext>
            </a:extLst>
          </p:cNvPr>
          <p:cNvCxnSpPr>
            <a:cxnSpLocks/>
            <a:stCxn id="244" idx="2"/>
          </p:cNvCxnSpPr>
          <p:nvPr/>
        </p:nvCxnSpPr>
        <p:spPr bwMode="auto">
          <a:xfrm flipH="1">
            <a:off x="9602528" y="2655163"/>
            <a:ext cx="1789683" cy="308517"/>
          </a:xfrm>
          <a:prstGeom prst="line">
            <a:avLst/>
          </a:prstGeom>
          <a:solidFill>
            <a:schemeClr val="accent1"/>
          </a:solidFill>
          <a:ln w="6350" cap="flat" cmpd="sng" algn="ctr">
            <a:solidFill>
              <a:schemeClr val="accent6"/>
            </a:solidFill>
            <a:prstDash val="solid"/>
            <a:round/>
            <a:headEnd type="none" w="med" len="med"/>
            <a:tailEnd type="none"/>
          </a:ln>
          <a:effectLst/>
        </p:spPr>
      </p:cxnSp>
      <p:cxnSp>
        <p:nvCxnSpPr>
          <p:cNvPr id="105" name="Straight Connector 104">
            <a:extLst>
              <a:ext uri="{FF2B5EF4-FFF2-40B4-BE49-F238E27FC236}">
                <a16:creationId xmlns:a16="http://schemas.microsoft.com/office/drawing/2014/main" id="{92BC6B76-28E0-48D8-B399-4ACE9A4617D4}"/>
              </a:ext>
            </a:extLst>
          </p:cNvPr>
          <p:cNvCxnSpPr>
            <a:cxnSpLocks/>
            <a:stCxn id="237" idx="2"/>
          </p:cNvCxnSpPr>
          <p:nvPr/>
        </p:nvCxnSpPr>
        <p:spPr bwMode="auto">
          <a:xfrm flipH="1">
            <a:off x="9602528" y="2654904"/>
            <a:ext cx="79288" cy="308776"/>
          </a:xfrm>
          <a:prstGeom prst="line">
            <a:avLst/>
          </a:prstGeom>
          <a:solidFill>
            <a:schemeClr val="accent1"/>
          </a:solidFill>
          <a:ln w="6350" cap="flat" cmpd="sng" algn="ctr">
            <a:solidFill>
              <a:schemeClr val="accent6"/>
            </a:solidFill>
            <a:prstDash val="solid"/>
            <a:round/>
            <a:headEnd type="none" w="med" len="med"/>
            <a:tailEnd type="none"/>
          </a:ln>
          <a:effectLst/>
        </p:spPr>
      </p:cxnSp>
      <p:cxnSp>
        <p:nvCxnSpPr>
          <p:cNvPr id="108" name="Straight Connector 107">
            <a:extLst>
              <a:ext uri="{FF2B5EF4-FFF2-40B4-BE49-F238E27FC236}">
                <a16:creationId xmlns:a16="http://schemas.microsoft.com/office/drawing/2014/main" id="{1C3C3E93-805B-434D-96E6-61897A125693}"/>
              </a:ext>
            </a:extLst>
          </p:cNvPr>
          <p:cNvCxnSpPr>
            <a:cxnSpLocks/>
            <a:stCxn id="240" idx="2"/>
          </p:cNvCxnSpPr>
          <p:nvPr/>
        </p:nvCxnSpPr>
        <p:spPr bwMode="auto">
          <a:xfrm flipH="1">
            <a:off x="9602529" y="2654904"/>
            <a:ext cx="811754" cy="308776"/>
          </a:xfrm>
          <a:prstGeom prst="line">
            <a:avLst/>
          </a:prstGeom>
          <a:solidFill>
            <a:schemeClr val="accent1"/>
          </a:solidFill>
          <a:ln w="6350" cap="flat" cmpd="sng" algn="ctr">
            <a:solidFill>
              <a:schemeClr val="accent6"/>
            </a:solidFill>
            <a:prstDash val="solid"/>
            <a:round/>
            <a:headEnd type="none" w="med" len="med"/>
            <a:tailEnd type="none"/>
          </a:ln>
          <a:effectLst/>
        </p:spPr>
      </p:cxnSp>
      <p:cxnSp>
        <p:nvCxnSpPr>
          <p:cNvPr id="111" name="Straight Connector 110">
            <a:extLst>
              <a:ext uri="{FF2B5EF4-FFF2-40B4-BE49-F238E27FC236}">
                <a16:creationId xmlns:a16="http://schemas.microsoft.com/office/drawing/2014/main" id="{68339791-D47B-48E0-B6C5-BB5B8D1D333A}"/>
              </a:ext>
            </a:extLst>
          </p:cNvPr>
          <p:cNvCxnSpPr>
            <a:cxnSpLocks/>
            <a:stCxn id="230" idx="2"/>
          </p:cNvCxnSpPr>
          <p:nvPr/>
        </p:nvCxnSpPr>
        <p:spPr bwMode="auto">
          <a:xfrm>
            <a:off x="8570110" y="2655163"/>
            <a:ext cx="291146" cy="308517"/>
          </a:xfrm>
          <a:prstGeom prst="line">
            <a:avLst/>
          </a:prstGeom>
          <a:solidFill>
            <a:schemeClr val="accent1"/>
          </a:solidFill>
          <a:ln w="6350" cap="flat" cmpd="sng" algn="ctr">
            <a:solidFill>
              <a:schemeClr val="accent6"/>
            </a:solidFill>
            <a:prstDash val="solid"/>
            <a:round/>
            <a:headEnd type="none" w="med" len="med"/>
            <a:tailEnd type="none"/>
          </a:ln>
          <a:effectLst/>
        </p:spPr>
      </p:cxnSp>
      <p:cxnSp>
        <p:nvCxnSpPr>
          <p:cNvPr id="114" name="Straight Connector 113">
            <a:extLst>
              <a:ext uri="{FF2B5EF4-FFF2-40B4-BE49-F238E27FC236}">
                <a16:creationId xmlns:a16="http://schemas.microsoft.com/office/drawing/2014/main" id="{CBE30135-A266-4A5F-AECC-E008ED7AC11A}"/>
              </a:ext>
            </a:extLst>
          </p:cNvPr>
          <p:cNvCxnSpPr>
            <a:cxnSpLocks/>
            <a:stCxn id="228" idx="2"/>
          </p:cNvCxnSpPr>
          <p:nvPr/>
        </p:nvCxnSpPr>
        <p:spPr bwMode="auto">
          <a:xfrm>
            <a:off x="8086594" y="2658993"/>
            <a:ext cx="800231" cy="304687"/>
          </a:xfrm>
          <a:prstGeom prst="line">
            <a:avLst/>
          </a:prstGeom>
          <a:solidFill>
            <a:schemeClr val="accent1"/>
          </a:solidFill>
          <a:ln w="6350" cap="flat" cmpd="sng" algn="ctr">
            <a:solidFill>
              <a:schemeClr val="accent6"/>
            </a:solidFill>
            <a:prstDash val="solid"/>
            <a:round/>
            <a:headEnd type="none" w="med" len="med"/>
            <a:tailEnd type="none"/>
          </a:ln>
          <a:effectLst/>
        </p:spPr>
      </p:cxnSp>
      <p:cxnSp>
        <p:nvCxnSpPr>
          <p:cNvPr id="117" name="Straight Connector 116">
            <a:extLst>
              <a:ext uri="{FF2B5EF4-FFF2-40B4-BE49-F238E27FC236}">
                <a16:creationId xmlns:a16="http://schemas.microsoft.com/office/drawing/2014/main" id="{A3C4A784-0ED4-4451-9C10-89CADAEDC850}"/>
              </a:ext>
            </a:extLst>
          </p:cNvPr>
          <p:cNvCxnSpPr>
            <a:cxnSpLocks/>
            <a:stCxn id="225" idx="2"/>
          </p:cNvCxnSpPr>
          <p:nvPr/>
        </p:nvCxnSpPr>
        <p:spPr bwMode="auto">
          <a:xfrm>
            <a:off x="7343232" y="2654904"/>
            <a:ext cx="1524575" cy="308776"/>
          </a:xfrm>
          <a:prstGeom prst="line">
            <a:avLst/>
          </a:prstGeom>
          <a:solidFill>
            <a:schemeClr val="accent1"/>
          </a:solidFill>
          <a:ln w="6350" cap="flat" cmpd="sng" algn="ctr">
            <a:solidFill>
              <a:schemeClr val="accent6"/>
            </a:solidFill>
            <a:prstDash val="solid"/>
            <a:round/>
            <a:headEnd type="none" w="med" len="med"/>
            <a:tailEnd type="none"/>
          </a:ln>
          <a:effectLst/>
        </p:spPr>
      </p:cxnSp>
      <p:sp>
        <p:nvSpPr>
          <p:cNvPr id="107" name="TextBox 106">
            <a:extLst>
              <a:ext uri="{FF2B5EF4-FFF2-40B4-BE49-F238E27FC236}">
                <a16:creationId xmlns:a16="http://schemas.microsoft.com/office/drawing/2014/main" id="{809901EE-E453-4284-AA7E-9E00015A95F0}"/>
              </a:ext>
            </a:extLst>
          </p:cNvPr>
          <p:cNvSpPr txBox="1"/>
          <p:nvPr/>
        </p:nvSpPr>
        <p:spPr bwMode="auto">
          <a:xfrm>
            <a:off x="9123777" y="2663402"/>
            <a:ext cx="212697" cy="339044"/>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700">
                <a:solidFill>
                  <a:srgbClr val="181818"/>
                </a:solidFill>
                <a:latin typeface="Ericsson Technical Icons" panose="00000500000000000000" pitchFamily="2" charset="0"/>
              </a:rPr>
              <a:t>S</a:t>
            </a:r>
            <a:endParaRPr lang="en-US" sz="7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181818"/>
                </a:solidFill>
                <a:effectLst/>
                <a:uLnTx/>
                <a:uFillTx/>
                <a:latin typeface="Ericsson Hilda"/>
                <a:ea typeface="+mn-ea"/>
                <a:cs typeface="+mn-cs"/>
              </a:rPr>
              <a:t>SCP</a:t>
            </a:r>
          </a:p>
        </p:txBody>
      </p:sp>
      <p:sp>
        <p:nvSpPr>
          <p:cNvPr id="115" name="TextBox 114">
            <a:extLst>
              <a:ext uri="{FF2B5EF4-FFF2-40B4-BE49-F238E27FC236}">
                <a16:creationId xmlns:a16="http://schemas.microsoft.com/office/drawing/2014/main" id="{CDC3F093-85B1-4F7A-8804-B8927BF10AC2}"/>
              </a:ext>
            </a:extLst>
          </p:cNvPr>
          <p:cNvSpPr txBox="1"/>
          <p:nvPr/>
        </p:nvSpPr>
        <p:spPr bwMode="auto">
          <a:xfrm>
            <a:off x="8914279" y="4192275"/>
            <a:ext cx="212697" cy="339044"/>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700">
                <a:solidFill>
                  <a:srgbClr val="181818"/>
                </a:solidFill>
                <a:latin typeface="Ericsson Technical Icons" panose="00000500000000000000" pitchFamily="2" charset="0"/>
              </a:rPr>
              <a:t>S</a:t>
            </a:r>
            <a:endParaRPr lang="en-US" sz="7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181818"/>
                </a:solidFill>
                <a:effectLst/>
                <a:uLnTx/>
                <a:uFillTx/>
                <a:latin typeface="Ericsson Hilda"/>
                <a:ea typeface="+mn-ea"/>
                <a:cs typeface="+mn-cs"/>
              </a:rPr>
              <a:t>SCP</a:t>
            </a:r>
          </a:p>
        </p:txBody>
      </p:sp>
      <p:sp>
        <p:nvSpPr>
          <p:cNvPr id="116" name="TextBox 115">
            <a:extLst>
              <a:ext uri="{FF2B5EF4-FFF2-40B4-BE49-F238E27FC236}">
                <a16:creationId xmlns:a16="http://schemas.microsoft.com/office/drawing/2014/main" id="{E6DAFB54-60AA-4FFC-99B5-7FB7B7884FEB}"/>
              </a:ext>
            </a:extLst>
          </p:cNvPr>
          <p:cNvSpPr txBox="1"/>
          <p:nvPr/>
        </p:nvSpPr>
        <p:spPr bwMode="auto">
          <a:xfrm>
            <a:off x="9375798" y="4189040"/>
            <a:ext cx="212697" cy="339044"/>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700">
                <a:solidFill>
                  <a:srgbClr val="181818"/>
                </a:solidFill>
                <a:latin typeface="Ericsson Technical Icons" panose="00000500000000000000" pitchFamily="2" charset="0"/>
              </a:rPr>
              <a:t>S</a:t>
            </a:r>
            <a:endParaRPr lang="en-US" sz="7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7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181818"/>
                </a:solidFill>
                <a:effectLst/>
                <a:uLnTx/>
                <a:uFillTx/>
                <a:latin typeface="Ericsson Hilda"/>
                <a:ea typeface="+mn-ea"/>
                <a:cs typeface="+mn-cs"/>
              </a:rPr>
              <a:t>SCP</a:t>
            </a:r>
          </a:p>
        </p:txBody>
      </p:sp>
    </p:spTree>
    <p:extLst>
      <p:ext uri="{BB962C8B-B14F-4D97-AF65-F5344CB8AC3E}">
        <p14:creationId xmlns:p14="http://schemas.microsoft.com/office/powerpoint/2010/main" val="39764658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FB87D-D353-40C2-A30B-634B99B6A69B}"/>
              </a:ext>
            </a:extLst>
          </p:cNvPr>
          <p:cNvSpPr>
            <a:spLocks noGrp="1"/>
          </p:cNvSpPr>
          <p:nvPr>
            <p:ph type="title"/>
          </p:nvPr>
        </p:nvSpPr>
        <p:spPr/>
        <p:txBody>
          <a:bodyPr/>
          <a:lstStyle/>
          <a:p>
            <a:r>
              <a:rPr lang="en-US"/>
              <a:t>Service framework - Recommendations</a:t>
            </a:r>
            <a:br>
              <a:rPr lang="en-US"/>
            </a:br>
            <a:endParaRPr lang="sv-SE"/>
          </a:p>
        </p:txBody>
      </p:sp>
      <p:sp>
        <p:nvSpPr>
          <p:cNvPr id="3" name="Content Placeholder 2">
            <a:extLst>
              <a:ext uri="{FF2B5EF4-FFF2-40B4-BE49-F238E27FC236}">
                <a16:creationId xmlns:a16="http://schemas.microsoft.com/office/drawing/2014/main" id="{E3888F19-29C5-4446-B917-CA8F5BF8A8AE}"/>
              </a:ext>
            </a:extLst>
          </p:cNvPr>
          <p:cNvSpPr>
            <a:spLocks noGrp="1"/>
          </p:cNvSpPr>
          <p:nvPr>
            <p:ph sz="quarter" idx="10"/>
          </p:nvPr>
        </p:nvSpPr>
        <p:spPr>
          <a:xfrm>
            <a:off x="479424" y="1844675"/>
            <a:ext cx="11433175" cy="4639252"/>
          </a:xfrm>
        </p:spPr>
        <p:txBody>
          <a:bodyPr>
            <a:normAutofit/>
          </a:bodyPr>
          <a:lstStyle/>
          <a:p>
            <a:pPr marL="0" indent="0">
              <a:spcBef>
                <a:spcPts val="0"/>
              </a:spcBef>
              <a:spcAft>
                <a:spcPts val="600"/>
              </a:spcAft>
              <a:buNone/>
            </a:pPr>
            <a:r>
              <a:rPr lang="en-US" b="1"/>
              <a:t>Recommendation – Discovery and selection</a:t>
            </a:r>
          </a:p>
          <a:p>
            <a:pPr>
              <a:spcBef>
                <a:spcPts val="0"/>
              </a:spcBef>
              <a:spcAft>
                <a:spcPts val="600"/>
              </a:spcAft>
            </a:pPr>
            <a:r>
              <a:rPr lang="en-US"/>
              <a:t>The discovery, filtering and selection mechanisms as well as procedures as specified in R15 option B are fully sufficient for all cases </a:t>
            </a:r>
          </a:p>
          <a:p>
            <a:pPr>
              <a:spcBef>
                <a:spcPts val="0"/>
              </a:spcBef>
              <a:spcAft>
                <a:spcPts val="600"/>
              </a:spcAft>
            </a:pPr>
            <a:r>
              <a:rPr lang="en-US"/>
              <a:t>Support of NRF is a key function in the Ericsson solution</a:t>
            </a:r>
          </a:p>
          <a:p>
            <a:pPr>
              <a:spcBef>
                <a:spcPts val="0"/>
              </a:spcBef>
              <a:spcAft>
                <a:spcPts val="600"/>
              </a:spcAft>
            </a:pPr>
            <a:endParaRPr lang="en-US" b="1"/>
          </a:p>
          <a:p>
            <a:pPr marL="0" indent="0">
              <a:spcBef>
                <a:spcPts val="0"/>
              </a:spcBef>
              <a:spcAft>
                <a:spcPts val="600"/>
              </a:spcAft>
              <a:buNone/>
            </a:pPr>
            <a:r>
              <a:rPr lang="en-US" b="1"/>
              <a:t>Recommendation - Signaling infrastructure for additional signaling services </a:t>
            </a:r>
          </a:p>
          <a:p>
            <a:pPr>
              <a:spcBef>
                <a:spcPts val="0"/>
              </a:spcBef>
              <a:spcAft>
                <a:spcPts val="300"/>
              </a:spcAft>
            </a:pPr>
            <a:r>
              <a:rPr lang="en-US"/>
              <a:t>In case the MNO requires a signaling infrastructure with advanced signaling services, a</a:t>
            </a:r>
            <a:r>
              <a:rPr lang="en-US">
                <a:ea typeface="+mn-ea"/>
                <a:cs typeface="+mn-cs"/>
              </a:rPr>
              <a:t> SCP based R16 opt. C is the recommended solution</a:t>
            </a:r>
          </a:p>
          <a:p>
            <a:pPr>
              <a:spcBef>
                <a:spcPts val="0"/>
              </a:spcBef>
              <a:spcAft>
                <a:spcPts val="600"/>
              </a:spcAft>
            </a:pPr>
            <a:r>
              <a:rPr lang="en-US"/>
              <a:t>The additional signaling services in the SCP beyond standards is an optional value adding complement to the signaling related features in the NFs and NF domains e.g. UDM</a:t>
            </a:r>
            <a:endParaRPr lang="sv-SE"/>
          </a:p>
          <a:p>
            <a:pPr>
              <a:spcBef>
                <a:spcPts val="0"/>
              </a:spcBef>
              <a:spcAft>
                <a:spcPts val="600"/>
              </a:spcAft>
            </a:pPr>
            <a:endParaRPr lang="en-US" sz="1800"/>
          </a:p>
        </p:txBody>
      </p:sp>
    </p:spTree>
    <p:extLst>
      <p:ext uri="{BB962C8B-B14F-4D97-AF65-F5344CB8AC3E}">
        <p14:creationId xmlns:p14="http://schemas.microsoft.com/office/powerpoint/2010/main" val="1805009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a:xfrm>
            <a:off x="6240463" y="1773422"/>
            <a:ext cx="5472112" cy="4392613"/>
          </a:xfrm>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773423"/>
            <a:ext cx="5472113" cy="4758006"/>
          </a:xfrm>
        </p:spPr>
        <p:txBody>
          <a:bodyPr/>
          <a:lstStyle/>
          <a:p>
            <a:r>
              <a:rPr lang="en-US" dirty="0"/>
              <a:t>The 5G Core System</a:t>
            </a:r>
          </a:p>
          <a:p>
            <a:r>
              <a:rPr lang="en-US" b="1" dirty="0"/>
              <a:t>Core Network Architecture &amp; Technology</a:t>
            </a:r>
          </a:p>
          <a:p>
            <a:pPr lvl="1"/>
            <a:r>
              <a:rPr lang="en-US" sz="1800" dirty="0"/>
              <a:t>Overall 5G Core Network Architecture</a:t>
            </a:r>
          </a:p>
          <a:p>
            <a:pPr lvl="1"/>
            <a:r>
              <a:rPr lang="en-US" sz="1800" dirty="0"/>
              <a:t>SBA and Service Framework</a:t>
            </a:r>
          </a:p>
          <a:p>
            <a:pPr lvl="1"/>
            <a:r>
              <a:rPr lang="en-US" sz="1800" b="1"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464374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664A4C7-9089-6947-BD10-7E45D49B8ACB}"/>
              </a:ext>
            </a:extLst>
          </p:cNvPr>
          <p:cNvSpPr txBox="1"/>
          <p:nvPr/>
        </p:nvSpPr>
        <p:spPr bwMode="auto">
          <a:xfrm>
            <a:off x="570096" y="2367265"/>
            <a:ext cx="3077450" cy="28767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Customers</a:t>
            </a:r>
          </a:p>
        </p:txBody>
      </p:sp>
      <p:sp>
        <p:nvSpPr>
          <p:cNvPr id="18" name="Rectangle 17">
            <a:extLst>
              <a:ext uri="{FF2B5EF4-FFF2-40B4-BE49-F238E27FC236}">
                <a16:creationId xmlns:a16="http://schemas.microsoft.com/office/drawing/2014/main" id="{E867529C-709C-4343-8A71-1DD7E03B61FB}"/>
              </a:ext>
            </a:extLst>
          </p:cNvPr>
          <p:cNvSpPr/>
          <p:nvPr/>
        </p:nvSpPr>
        <p:spPr bwMode="auto">
          <a:xfrm>
            <a:off x="479425" y="3890864"/>
            <a:ext cx="11233150" cy="2346424"/>
          </a:xfrm>
          <a:prstGeom prst="rect">
            <a:avLst/>
          </a:prstGeom>
          <a:solidFill>
            <a:schemeClr val="bg1"/>
          </a:solidFill>
          <a:ln w="22225" cap="flat" cmpd="sng" algn="ctr">
            <a:solidFill>
              <a:srgbClr val="242424"/>
            </a:solidFill>
            <a:prstDash val="solid"/>
            <a:miter lim="800000"/>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cxnSp>
        <p:nvCxnSpPr>
          <p:cNvPr id="61" name="Straight Arrow Connector 60">
            <a:extLst>
              <a:ext uri="{FF2B5EF4-FFF2-40B4-BE49-F238E27FC236}">
                <a16:creationId xmlns:a16="http://schemas.microsoft.com/office/drawing/2014/main" id="{05F5BDE2-5370-C949-B5F9-894A0E0E67EF}"/>
              </a:ext>
            </a:extLst>
          </p:cNvPr>
          <p:cNvCxnSpPr>
            <a:cxnSpLocks/>
          </p:cNvCxnSpPr>
          <p:nvPr/>
        </p:nvCxnSpPr>
        <p:spPr bwMode="auto">
          <a:xfrm flipH="1" flipV="1">
            <a:off x="6093508" y="5058964"/>
            <a:ext cx="2492" cy="220434"/>
          </a:xfrm>
          <a:prstGeom prst="straightConnector1">
            <a:avLst/>
          </a:prstGeom>
          <a:solidFill>
            <a:schemeClr val="accent1"/>
          </a:solidFill>
          <a:ln w="22225" cap="flat" cmpd="sng" algn="ctr">
            <a:solidFill>
              <a:schemeClr val="tx1"/>
            </a:solidFill>
            <a:prstDash val="solid"/>
            <a:round/>
            <a:headEnd type="none" w="med" len="med"/>
            <a:tailEnd type="triangle" w="lg" len="med"/>
          </a:ln>
          <a:effectLst/>
        </p:spPr>
      </p:cxnSp>
      <p:sp>
        <p:nvSpPr>
          <p:cNvPr id="40" name="Rectangle 39">
            <a:extLst>
              <a:ext uri="{FF2B5EF4-FFF2-40B4-BE49-F238E27FC236}">
                <a16:creationId xmlns:a16="http://schemas.microsoft.com/office/drawing/2014/main" id="{9D839D3B-A956-2645-B85F-3FFE40615850}"/>
              </a:ext>
            </a:extLst>
          </p:cNvPr>
          <p:cNvSpPr/>
          <p:nvPr/>
        </p:nvSpPr>
        <p:spPr bwMode="auto">
          <a:xfrm>
            <a:off x="655320" y="5252675"/>
            <a:ext cx="10786254" cy="814232"/>
          </a:xfrm>
          <a:prstGeom prst="rect">
            <a:avLst/>
          </a:prstGeom>
          <a:solidFill>
            <a:schemeClr val="bg2"/>
          </a:solidFill>
          <a:ln w="22225" cap="flat" cmpd="sng" algn="ctr">
            <a:solidFill>
              <a:srgbClr val="242424"/>
            </a:solidFill>
            <a:prstDash val="dash"/>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Ericsson Hilda"/>
              <a:ea typeface="+mn-ea"/>
              <a:cs typeface="+mn-cs"/>
            </a:endParaRPr>
          </a:p>
        </p:txBody>
      </p:sp>
      <p:sp>
        <p:nvSpPr>
          <p:cNvPr id="56" name="Rectangle 55">
            <a:extLst>
              <a:ext uri="{FF2B5EF4-FFF2-40B4-BE49-F238E27FC236}">
                <a16:creationId xmlns:a16="http://schemas.microsoft.com/office/drawing/2014/main" id="{C35AD323-3A4B-2945-A8B6-D066F99EE97A}"/>
              </a:ext>
            </a:extLst>
          </p:cNvPr>
          <p:cNvSpPr/>
          <p:nvPr/>
        </p:nvSpPr>
        <p:spPr bwMode="auto">
          <a:xfrm>
            <a:off x="749210" y="5478168"/>
            <a:ext cx="10611216" cy="52144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Ericsson Hilda"/>
              <a:ea typeface="+mn-ea"/>
              <a:cs typeface="+mn-cs"/>
            </a:endParaRPr>
          </a:p>
        </p:txBody>
      </p:sp>
      <p:sp>
        <p:nvSpPr>
          <p:cNvPr id="55" name="Rectangle 54">
            <a:extLst>
              <a:ext uri="{FF2B5EF4-FFF2-40B4-BE49-F238E27FC236}">
                <a16:creationId xmlns:a16="http://schemas.microsoft.com/office/drawing/2014/main" id="{2E70352A-68D2-1B43-9769-B32B1168DCED}"/>
              </a:ext>
            </a:extLst>
          </p:cNvPr>
          <p:cNvSpPr/>
          <p:nvPr/>
        </p:nvSpPr>
        <p:spPr bwMode="auto">
          <a:xfrm>
            <a:off x="655320" y="4182331"/>
            <a:ext cx="7893257" cy="814232"/>
          </a:xfrm>
          <a:prstGeom prst="rect">
            <a:avLst/>
          </a:prstGeom>
          <a:solidFill>
            <a:schemeClr val="bg2"/>
          </a:solidFill>
          <a:ln w="22225" cap="flat" cmpd="sng" algn="ctr">
            <a:solidFill>
              <a:srgbClr val="242424"/>
            </a:solidFill>
            <a:prstDash val="dash"/>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5" name="Rectangle 14">
            <a:extLst>
              <a:ext uri="{FF2B5EF4-FFF2-40B4-BE49-F238E27FC236}">
                <a16:creationId xmlns:a16="http://schemas.microsoft.com/office/drawing/2014/main" id="{5955C93B-9B1B-044D-A373-F53A5F27613B}"/>
              </a:ext>
            </a:extLst>
          </p:cNvPr>
          <p:cNvSpPr/>
          <p:nvPr/>
        </p:nvSpPr>
        <p:spPr bwMode="auto">
          <a:xfrm>
            <a:off x="479425" y="2943807"/>
            <a:ext cx="11233150" cy="681136"/>
          </a:xfrm>
          <a:prstGeom prst="rect">
            <a:avLst/>
          </a:prstGeom>
          <a:solidFill>
            <a:schemeClr val="bg1"/>
          </a:solidFill>
          <a:ln w="22225" cap="flat" cmpd="sng" algn="ctr">
            <a:solidFill>
              <a:srgbClr val="242424"/>
            </a:solidFill>
            <a:prstDash val="solid"/>
            <a:miter lim="800000"/>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51" name="Rectangle 50">
            <a:extLst>
              <a:ext uri="{FF2B5EF4-FFF2-40B4-BE49-F238E27FC236}">
                <a16:creationId xmlns:a16="http://schemas.microsoft.com/office/drawing/2014/main" id="{AC65F25D-1A8D-D44D-907B-E95320E83A9C}"/>
              </a:ext>
            </a:extLst>
          </p:cNvPr>
          <p:cNvSpPr/>
          <p:nvPr/>
        </p:nvSpPr>
        <p:spPr bwMode="auto">
          <a:xfrm>
            <a:off x="3647546" y="4448175"/>
            <a:ext cx="762529" cy="4381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52" name="Rectangle 51">
            <a:extLst>
              <a:ext uri="{FF2B5EF4-FFF2-40B4-BE49-F238E27FC236}">
                <a16:creationId xmlns:a16="http://schemas.microsoft.com/office/drawing/2014/main" id="{A3B70E2D-556B-244E-A9DA-709E1AE6B5F0}"/>
              </a:ext>
            </a:extLst>
          </p:cNvPr>
          <p:cNvSpPr/>
          <p:nvPr/>
        </p:nvSpPr>
        <p:spPr bwMode="auto">
          <a:xfrm>
            <a:off x="4806421" y="4448175"/>
            <a:ext cx="762529" cy="4381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53" name="Rectangle 52">
            <a:extLst>
              <a:ext uri="{FF2B5EF4-FFF2-40B4-BE49-F238E27FC236}">
                <a16:creationId xmlns:a16="http://schemas.microsoft.com/office/drawing/2014/main" id="{DD0E19CE-202E-0A41-852B-097621CF00CD}"/>
              </a:ext>
            </a:extLst>
          </p:cNvPr>
          <p:cNvSpPr/>
          <p:nvPr/>
        </p:nvSpPr>
        <p:spPr bwMode="auto">
          <a:xfrm>
            <a:off x="6132586" y="4448175"/>
            <a:ext cx="2056662" cy="3746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54" name="Rectangle 53">
            <a:extLst>
              <a:ext uri="{FF2B5EF4-FFF2-40B4-BE49-F238E27FC236}">
                <a16:creationId xmlns:a16="http://schemas.microsoft.com/office/drawing/2014/main" id="{9CF3C79F-D458-F241-8F02-901D8BF1019B}"/>
              </a:ext>
            </a:extLst>
          </p:cNvPr>
          <p:cNvSpPr/>
          <p:nvPr/>
        </p:nvSpPr>
        <p:spPr bwMode="auto">
          <a:xfrm>
            <a:off x="6319911" y="4511675"/>
            <a:ext cx="2056662" cy="3746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1" name="Rectangle 40">
            <a:extLst>
              <a:ext uri="{FF2B5EF4-FFF2-40B4-BE49-F238E27FC236}">
                <a16:creationId xmlns:a16="http://schemas.microsoft.com/office/drawing/2014/main" id="{EA726937-55CA-4840-A355-707AD33F75AD}"/>
              </a:ext>
            </a:extLst>
          </p:cNvPr>
          <p:cNvSpPr/>
          <p:nvPr/>
        </p:nvSpPr>
        <p:spPr bwMode="auto">
          <a:xfrm>
            <a:off x="769088" y="4448175"/>
            <a:ext cx="2056662" cy="3746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2" name="Rectangle 41">
            <a:extLst>
              <a:ext uri="{FF2B5EF4-FFF2-40B4-BE49-F238E27FC236}">
                <a16:creationId xmlns:a16="http://schemas.microsoft.com/office/drawing/2014/main" id="{A54EEB70-375B-B344-B089-D87201DF7812}"/>
              </a:ext>
            </a:extLst>
          </p:cNvPr>
          <p:cNvSpPr/>
          <p:nvPr/>
        </p:nvSpPr>
        <p:spPr bwMode="auto">
          <a:xfrm>
            <a:off x="956413" y="4511675"/>
            <a:ext cx="2056662" cy="374650"/>
          </a:xfrm>
          <a:prstGeom prst="rect">
            <a:avLst/>
          </a:prstGeom>
          <a:solidFill>
            <a:schemeClr val="accent1"/>
          </a:solidFill>
          <a:ln w="158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cxnSp>
        <p:nvCxnSpPr>
          <p:cNvPr id="19" name="Straight Arrow Connector 18">
            <a:extLst>
              <a:ext uri="{FF2B5EF4-FFF2-40B4-BE49-F238E27FC236}">
                <a16:creationId xmlns:a16="http://schemas.microsoft.com/office/drawing/2014/main" id="{9CEA414E-7BFF-274B-9BBA-A4EFECB33182}"/>
              </a:ext>
            </a:extLst>
          </p:cNvPr>
          <p:cNvCxnSpPr>
            <a:cxnSpLocks/>
            <a:stCxn id="18" idx="0"/>
          </p:cNvCxnSpPr>
          <p:nvPr/>
        </p:nvCxnSpPr>
        <p:spPr bwMode="auto">
          <a:xfrm flipH="1" flipV="1">
            <a:off x="6093508" y="3670430"/>
            <a:ext cx="2492" cy="220434"/>
          </a:xfrm>
          <a:prstGeom prst="straightConnector1">
            <a:avLst/>
          </a:prstGeom>
          <a:solidFill>
            <a:schemeClr val="accent1"/>
          </a:solidFill>
          <a:ln w="22225" cap="flat" cmpd="sng" algn="ctr">
            <a:solidFill>
              <a:schemeClr val="tx1"/>
            </a:solidFill>
            <a:prstDash val="solid"/>
            <a:round/>
            <a:headEnd type="none" w="med" len="med"/>
            <a:tailEnd type="triangle" w="lg" len="med"/>
          </a:ln>
          <a:effectLst/>
        </p:spPr>
      </p:cxnSp>
      <p:sp>
        <p:nvSpPr>
          <p:cNvPr id="3" name="Title 2">
            <a:extLst>
              <a:ext uri="{FF2B5EF4-FFF2-40B4-BE49-F238E27FC236}">
                <a16:creationId xmlns:a16="http://schemas.microsoft.com/office/drawing/2014/main" id="{BF322EE6-ACB5-C44B-B794-601AE7732197}"/>
              </a:ext>
            </a:extLst>
          </p:cNvPr>
          <p:cNvSpPr>
            <a:spLocks noGrp="1"/>
          </p:cNvSpPr>
          <p:nvPr>
            <p:ph type="title"/>
          </p:nvPr>
        </p:nvSpPr>
        <p:spPr>
          <a:xfrm>
            <a:off x="479424" y="476250"/>
            <a:ext cx="10192293" cy="1081088"/>
          </a:xfrm>
        </p:spPr>
        <p:txBody>
          <a:bodyPr/>
          <a:lstStyle/>
          <a:p>
            <a:r>
              <a:rPr lang="en-US"/>
              <a:t>Using Network Slicing to build use-case-specific networks</a:t>
            </a:r>
          </a:p>
        </p:txBody>
      </p:sp>
      <p:pic>
        <p:nvPicPr>
          <p:cNvPr id="11" name="Graphic 10">
            <a:extLst>
              <a:ext uri="{FF2B5EF4-FFF2-40B4-BE49-F238E27FC236}">
                <a16:creationId xmlns:a16="http://schemas.microsoft.com/office/drawing/2014/main" id="{8E3B08A7-58B8-7B4A-818A-2C07FCE4C16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50396" y="2336827"/>
            <a:ext cx="369171" cy="292260"/>
          </a:xfrm>
          <a:prstGeom prst="rect">
            <a:avLst/>
          </a:prstGeom>
        </p:spPr>
      </p:pic>
      <p:pic>
        <p:nvPicPr>
          <p:cNvPr id="12" name="Graphic 11">
            <a:extLst>
              <a:ext uri="{FF2B5EF4-FFF2-40B4-BE49-F238E27FC236}">
                <a16:creationId xmlns:a16="http://schemas.microsoft.com/office/drawing/2014/main" id="{F4DCE799-D3B5-2448-B3A0-CEDA56BD56A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5884" y="2316079"/>
            <a:ext cx="486956" cy="333757"/>
          </a:xfrm>
          <a:prstGeom prst="rect">
            <a:avLst/>
          </a:prstGeom>
        </p:spPr>
      </p:pic>
      <p:sp>
        <p:nvSpPr>
          <p:cNvPr id="14" name="TextBox 13">
            <a:extLst>
              <a:ext uri="{FF2B5EF4-FFF2-40B4-BE49-F238E27FC236}">
                <a16:creationId xmlns:a16="http://schemas.microsoft.com/office/drawing/2014/main" id="{61DC494F-2483-BA40-924B-DE3F87BC13F5}"/>
              </a:ext>
            </a:extLst>
          </p:cNvPr>
          <p:cNvSpPr txBox="1"/>
          <p:nvPr/>
        </p:nvSpPr>
        <p:spPr bwMode="auto">
          <a:xfrm>
            <a:off x="397233" y="1762483"/>
            <a:ext cx="9537878" cy="28767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Logical network offerings delivered using network slices</a:t>
            </a:r>
          </a:p>
        </p:txBody>
      </p:sp>
      <p:cxnSp>
        <p:nvCxnSpPr>
          <p:cNvPr id="16" name="Straight Arrow Connector 15">
            <a:extLst>
              <a:ext uri="{FF2B5EF4-FFF2-40B4-BE49-F238E27FC236}">
                <a16:creationId xmlns:a16="http://schemas.microsoft.com/office/drawing/2014/main" id="{67A65DB9-975E-0B41-8F00-AAD9DD39A4C5}"/>
              </a:ext>
            </a:extLst>
          </p:cNvPr>
          <p:cNvCxnSpPr>
            <a:cxnSpLocks/>
            <a:stCxn id="15" idx="0"/>
          </p:cNvCxnSpPr>
          <p:nvPr/>
        </p:nvCxnSpPr>
        <p:spPr bwMode="auto">
          <a:xfrm flipH="1" flipV="1">
            <a:off x="6093508" y="2723373"/>
            <a:ext cx="2492" cy="220434"/>
          </a:xfrm>
          <a:prstGeom prst="straightConnector1">
            <a:avLst/>
          </a:prstGeom>
          <a:solidFill>
            <a:schemeClr val="accent1"/>
          </a:solidFill>
          <a:ln w="22225" cap="flat" cmpd="sng" algn="ctr">
            <a:solidFill>
              <a:schemeClr val="tx1"/>
            </a:solidFill>
            <a:prstDash val="solid"/>
            <a:round/>
            <a:headEnd type="none" w="med" len="med"/>
            <a:tailEnd type="triangle" w="lg" len="med"/>
          </a:ln>
          <a:effectLst/>
        </p:spPr>
      </p:cxnSp>
      <p:grpSp>
        <p:nvGrpSpPr>
          <p:cNvPr id="22" name="Group 21">
            <a:extLst>
              <a:ext uri="{FF2B5EF4-FFF2-40B4-BE49-F238E27FC236}">
                <a16:creationId xmlns:a16="http://schemas.microsoft.com/office/drawing/2014/main" id="{609DF11A-04AA-6B47-93DC-743F0A0F637B}"/>
              </a:ext>
            </a:extLst>
          </p:cNvPr>
          <p:cNvGrpSpPr/>
          <p:nvPr/>
        </p:nvGrpSpPr>
        <p:grpSpPr>
          <a:xfrm>
            <a:off x="5917507" y="2123547"/>
            <a:ext cx="402404" cy="526289"/>
            <a:chOff x="5917507" y="2123547"/>
            <a:chExt cx="402404" cy="526289"/>
          </a:xfrm>
        </p:grpSpPr>
        <p:pic>
          <p:nvPicPr>
            <p:cNvPr id="13" name="Graphic 12">
              <a:extLst>
                <a:ext uri="{FF2B5EF4-FFF2-40B4-BE49-F238E27FC236}">
                  <a16:creationId xmlns:a16="http://schemas.microsoft.com/office/drawing/2014/main" id="{8047F50B-3C94-CC40-A8C5-E0FA831D23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17507" y="2157747"/>
              <a:ext cx="370752" cy="492089"/>
            </a:xfrm>
            <a:prstGeom prst="rect">
              <a:avLst/>
            </a:prstGeom>
          </p:spPr>
        </p:pic>
        <p:sp>
          <p:nvSpPr>
            <p:cNvPr id="21" name="Rectangle 20">
              <a:extLst>
                <a:ext uri="{FF2B5EF4-FFF2-40B4-BE49-F238E27FC236}">
                  <a16:creationId xmlns:a16="http://schemas.microsoft.com/office/drawing/2014/main" id="{34FBA65C-B36C-B04F-8530-BD3989E49C94}"/>
                </a:ext>
              </a:extLst>
            </p:cNvPr>
            <p:cNvSpPr/>
            <p:nvPr/>
          </p:nvSpPr>
          <p:spPr bwMode="auto">
            <a:xfrm>
              <a:off x="6017455" y="2123547"/>
              <a:ext cx="302456" cy="147046"/>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sp>
        <p:nvSpPr>
          <p:cNvPr id="23" name="TextBox 22">
            <a:extLst>
              <a:ext uri="{FF2B5EF4-FFF2-40B4-BE49-F238E27FC236}">
                <a16:creationId xmlns:a16="http://schemas.microsoft.com/office/drawing/2014/main" id="{97FDEA52-B8BD-564D-AD28-65FD1B0CEA6D}"/>
              </a:ext>
            </a:extLst>
          </p:cNvPr>
          <p:cNvSpPr txBox="1"/>
          <p:nvPr/>
        </p:nvSpPr>
        <p:spPr bwMode="auto">
          <a:xfrm>
            <a:off x="570096" y="3913088"/>
            <a:ext cx="3077450" cy="28767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etwork</a:t>
            </a:r>
          </a:p>
        </p:txBody>
      </p:sp>
      <p:sp>
        <p:nvSpPr>
          <p:cNvPr id="24" name="TextBox 23">
            <a:extLst>
              <a:ext uri="{FF2B5EF4-FFF2-40B4-BE49-F238E27FC236}">
                <a16:creationId xmlns:a16="http://schemas.microsoft.com/office/drawing/2014/main" id="{5AD25DA7-FE69-4B4A-9513-B707FE65E33B}"/>
              </a:ext>
            </a:extLst>
          </p:cNvPr>
          <p:cNvSpPr txBox="1"/>
          <p:nvPr/>
        </p:nvSpPr>
        <p:spPr bwMode="auto">
          <a:xfrm>
            <a:off x="570096" y="2960282"/>
            <a:ext cx="3077450" cy="28767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Services/products</a:t>
            </a:r>
          </a:p>
        </p:txBody>
      </p:sp>
      <p:sp>
        <p:nvSpPr>
          <p:cNvPr id="26" name="Rectangle 25">
            <a:extLst>
              <a:ext uri="{FF2B5EF4-FFF2-40B4-BE49-F238E27FC236}">
                <a16:creationId xmlns:a16="http://schemas.microsoft.com/office/drawing/2014/main" id="{E567DDF4-3294-A54C-BAC2-6873B5714397}"/>
              </a:ext>
            </a:extLst>
          </p:cNvPr>
          <p:cNvSpPr/>
          <p:nvPr/>
        </p:nvSpPr>
        <p:spPr bwMode="auto">
          <a:xfrm>
            <a:off x="655319" y="3221986"/>
            <a:ext cx="3413181" cy="24501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Ericsson Hilda"/>
                <a:ea typeface="+mn-ea"/>
                <a:cs typeface="+mn-cs"/>
              </a:rPr>
              <a:t>Logical MBB net</a:t>
            </a:r>
          </a:p>
        </p:txBody>
      </p:sp>
      <p:sp>
        <p:nvSpPr>
          <p:cNvPr id="27" name="Rectangle 26">
            <a:extLst>
              <a:ext uri="{FF2B5EF4-FFF2-40B4-BE49-F238E27FC236}">
                <a16:creationId xmlns:a16="http://schemas.microsoft.com/office/drawing/2014/main" id="{F288F9D3-144D-D340-946D-883B7C9B0428}"/>
              </a:ext>
            </a:extLst>
          </p:cNvPr>
          <p:cNvSpPr/>
          <p:nvPr/>
        </p:nvSpPr>
        <p:spPr bwMode="auto">
          <a:xfrm>
            <a:off x="4330280" y="3221986"/>
            <a:ext cx="3413181" cy="24501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Ericsson Hilda"/>
                <a:ea typeface="+mn-ea"/>
                <a:cs typeface="+mn-cs"/>
              </a:rPr>
              <a:t>Logical Enterprise Net</a:t>
            </a:r>
          </a:p>
        </p:txBody>
      </p:sp>
      <p:sp>
        <p:nvSpPr>
          <p:cNvPr id="28" name="Rectangle 27">
            <a:extLst>
              <a:ext uri="{FF2B5EF4-FFF2-40B4-BE49-F238E27FC236}">
                <a16:creationId xmlns:a16="http://schemas.microsoft.com/office/drawing/2014/main" id="{81953D6E-C44F-BC4C-B57A-B140CE762169}"/>
              </a:ext>
            </a:extLst>
          </p:cNvPr>
          <p:cNvSpPr/>
          <p:nvPr/>
        </p:nvSpPr>
        <p:spPr bwMode="auto">
          <a:xfrm>
            <a:off x="8028392" y="3221986"/>
            <a:ext cx="3413181" cy="24501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Ericsson Hilda"/>
                <a:ea typeface="+mn-ea"/>
                <a:cs typeface="+mn-cs"/>
              </a:rPr>
              <a:t>Logical Industry Net</a:t>
            </a:r>
          </a:p>
        </p:txBody>
      </p:sp>
      <p:sp>
        <p:nvSpPr>
          <p:cNvPr id="29" name="Rectangle 28">
            <a:extLst>
              <a:ext uri="{FF2B5EF4-FFF2-40B4-BE49-F238E27FC236}">
                <a16:creationId xmlns:a16="http://schemas.microsoft.com/office/drawing/2014/main" id="{85767910-161D-EE41-8282-946965EB9A5A}"/>
              </a:ext>
            </a:extLst>
          </p:cNvPr>
          <p:cNvSpPr/>
          <p:nvPr/>
        </p:nvSpPr>
        <p:spPr bwMode="auto">
          <a:xfrm>
            <a:off x="769088" y="4177214"/>
            <a:ext cx="3413181" cy="245016"/>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1200" cap="none" spc="0" normalizeH="0" baseline="0" noProof="0">
                <a:ln>
                  <a:noFill/>
                </a:ln>
                <a:solidFill>
                  <a:srgbClr val="242424"/>
                </a:solidFill>
                <a:effectLst/>
                <a:uLnTx/>
                <a:uFillTx/>
                <a:latin typeface="Ericsson Hilda"/>
                <a:ea typeface="+mn-ea"/>
                <a:cs typeface="+mn-cs"/>
              </a:rPr>
              <a:t>Network Slices</a:t>
            </a:r>
          </a:p>
        </p:txBody>
      </p:sp>
      <p:sp>
        <p:nvSpPr>
          <p:cNvPr id="30" name="Rectangle 29">
            <a:extLst>
              <a:ext uri="{FF2B5EF4-FFF2-40B4-BE49-F238E27FC236}">
                <a16:creationId xmlns:a16="http://schemas.microsoft.com/office/drawing/2014/main" id="{61B8BCB2-9784-B84F-91BF-2FE3464CC838}"/>
              </a:ext>
            </a:extLst>
          </p:cNvPr>
          <p:cNvSpPr/>
          <p:nvPr/>
        </p:nvSpPr>
        <p:spPr bwMode="auto">
          <a:xfrm>
            <a:off x="769088" y="5257623"/>
            <a:ext cx="3413181" cy="245016"/>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1200" cap="none" spc="0" normalizeH="0" baseline="0" noProof="0">
                <a:ln>
                  <a:noFill/>
                </a:ln>
                <a:solidFill>
                  <a:srgbClr val="242424"/>
                </a:solidFill>
                <a:effectLst/>
                <a:uLnTx/>
                <a:uFillTx/>
                <a:latin typeface="Ericsson Hilda"/>
                <a:ea typeface="+mn-ea"/>
                <a:cs typeface="+mn-cs"/>
              </a:rPr>
              <a:t>Resources/components</a:t>
            </a:r>
          </a:p>
        </p:txBody>
      </p:sp>
      <p:sp>
        <p:nvSpPr>
          <p:cNvPr id="31" name="Rectangle 30">
            <a:extLst>
              <a:ext uri="{FF2B5EF4-FFF2-40B4-BE49-F238E27FC236}">
                <a16:creationId xmlns:a16="http://schemas.microsoft.com/office/drawing/2014/main" id="{4ED1AE88-0C65-284A-8E0A-CFEB1AEC51A4}"/>
              </a:ext>
            </a:extLst>
          </p:cNvPr>
          <p:cNvSpPr/>
          <p:nvPr/>
        </p:nvSpPr>
        <p:spPr bwMode="auto">
          <a:xfrm>
            <a:off x="9023724" y="4179249"/>
            <a:ext cx="2417849" cy="814232"/>
          </a:xfrm>
          <a:prstGeom prst="rect">
            <a:avLst/>
          </a:prstGeom>
          <a:solidFill>
            <a:schemeClr val="bg2"/>
          </a:solidFill>
          <a:ln w="22225" cap="flat" cmpd="sng" algn="ctr">
            <a:solidFill>
              <a:srgbClr val="242424"/>
            </a:solidFill>
            <a:prstDash val="dash"/>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300" b="0" i="0" u="none" strike="noStrike" kern="1200" cap="none" spc="0" normalizeH="0" baseline="0" noProof="0">
                <a:ln>
                  <a:noFill/>
                </a:ln>
                <a:solidFill>
                  <a:srgbClr val="242424"/>
                </a:solidFill>
                <a:effectLst/>
                <a:uLnTx/>
                <a:uFillTx/>
                <a:latin typeface="Ericsson Hilda"/>
                <a:ea typeface="+mn-ea"/>
                <a:cs typeface="+mn-cs"/>
              </a:rPr>
              <a:t>Network slice</a:t>
            </a:r>
            <a:br>
              <a:rPr kumimoji="0" lang="en-US" sz="1300" b="0" i="0" u="none" strike="noStrike" kern="1200" cap="none" spc="0" normalizeH="0" baseline="0" noProof="0">
                <a:ln>
                  <a:noFill/>
                </a:ln>
                <a:solidFill>
                  <a:srgbClr val="242424"/>
                </a:solidFill>
                <a:effectLst/>
                <a:uLnTx/>
                <a:uFillTx/>
                <a:latin typeface="Ericsson Hilda"/>
                <a:ea typeface="+mn-ea"/>
                <a:cs typeface="+mn-cs"/>
              </a:rPr>
            </a:br>
            <a:r>
              <a:rPr kumimoji="0" lang="en-US" sz="1300" b="0" i="0" u="none" strike="noStrike" kern="1200" cap="none" spc="0" normalizeH="0" baseline="0" noProof="0">
                <a:ln>
                  <a:noFill/>
                </a:ln>
                <a:solidFill>
                  <a:srgbClr val="242424"/>
                </a:solidFill>
                <a:effectLst/>
                <a:uLnTx/>
                <a:uFillTx/>
                <a:latin typeface="Ericsson Hilda"/>
                <a:ea typeface="+mn-ea"/>
                <a:cs typeface="+mn-cs"/>
              </a:rPr>
              <a:t>management</a:t>
            </a:r>
          </a:p>
        </p:txBody>
      </p:sp>
      <p:pic>
        <p:nvPicPr>
          <p:cNvPr id="7" name="Graphic 6">
            <a:extLst>
              <a:ext uri="{FF2B5EF4-FFF2-40B4-BE49-F238E27FC236}">
                <a16:creationId xmlns:a16="http://schemas.microsoft.com/office/drawing/2014/main" id="{5C199ADA-5A20-3640-954A-BB72DDDF76F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51609" y="5558833"/>
            <a:ext cx="270433" cy="201499"/>
          </a:xfrm>
          <a:prstGeom prst="rect">
            <a:avLst/>
          </a:prstGeom>
        </p:spPr>
      </p:pic>
      <p:sp>
        <p:nvSpPr>
          <p:cNvPr id="32" name="Rectangle 31">
            <a:extLst>
              <a:ext uri="{FF2B5EF4-FFF2-40B4-BE49-F238E27FC236}">
                <a16:creationId xmlns:a16="http://schemas.microsoft.com/office/drawing/2014/main" id="{4C1EC68B-AEBE-914D-8BBE-3732E921260D}"/>
              </a:ext>
            </a:extLst>
          </p:cNvPr>
          <p:cNvSpPr/>
          <p:nvPr/>
        </p:nvSpPr>
        <p:spPr bwMode="auto">
          <a:xfrm>
            <a:off x="1187689" y="5799286"/>
            <a:ext cx="1564816" cy="21494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150" b="0" i="0" u="none" strike="noStrike" kern="1200" cap="none" spc="0" normalizeH="0" baseline="0" noProof="0">
                <a:ln>
                  <a:noFill/>
                </a:ln>
                <a:solidFill>
                  <a:srgbClr val="FFFFFF"/>
                </a:solidFill>
                <a:effectLst/>
                <a:uLnTx/>
                <a:uFillTx/>
                <a:latin typeface="Ericsson Hilda"/>
                <a:ea typeface="+mn-ea"/>
                <a:cs typeface="+mn-cs"/>
              </a:rPr>
              <a:t>Access resources</a:t>
            </a:r>
          </a:p>
        </p:txBody>
      </p:sp>
      <p:sp>
        <p:nvSpPr>
          <p:cNvPr id="33" name="Rectangle 32">
            <a:extLst>
              <a:ext uri="{FF2B5EF4-FFF2-40B4-BE49-F238E27FC236}">
                <a16:creationId xmlns:a16="http://schemas.microsoft.com/office/drawing/2014/main" id="{76027ADB-DF7D-8E40-8247-7F369E121AA6}"/>
              </a:ext>
            </a:extLst>
          </p:cNvPr>
          <p:cNvSpPr/>
          <p:nvPr/>
        </p:nvSpPr>
        <p:spPr bwMode="auto">
          <a:xfrm>
            <a:off x="3224676" y="5777985"/>
            <a:ext cx="1678804" cy="221711"/>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150" b="0" i="0" u="none" strike="noStrike" kern="1200" cap="none" spc="0" normalizeH="0" baseline="0" noProof="0">
                <a:ln>
                  <a:noFill/>
                </a:ln>
                <a:solidFill>
                  <a:srgbClr val="FFFFFF"/>
                </a:solidFill>
                <a:effectLst/>
                <a:uLnTx/>
                <a:uFillTx/>
                <a:latin typeface="Ericsson Hilda"/>
                <a:ea typeface="+mn-ea"/>
                <a:cs typeface="+mn-cs"/>
              </a:rPr>
              <a:t>Transport resources</a:t>
            </a:r>
          </a:p>
        </p:txBody>
      </p:sp>
      <p:sp>
        <p:nvSpPr>
          <p:cNvPr id="34" name="Rectangle 33">
            <a:extLst>
              <a:ext uri="{FF2B5EF4-FFF2-40B4-BE49-F238E27FC236}">
                <a16:creationId xmlns:a16="http://schemas.microsoft.com/office/drawing/2014/main" id="{BBAE29D1-967B-7744-804C-E712BCBD2FF8}"/>
              </a:ext>
            </a:extLst>
          </p:cNvPr>
          <p:cNvSpPr/>
          <p:nvPr/>
        </p:nvSpPr>
        <p:spPr bwMode="auto">
          <a:xfrm>
            <a:off x="5537847" y="5799286"/>
            <a:ext cx="1097955" cy="20040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150" b="0" i="0" u="none" strike="noStrike" kern="1200" cap="none" spc="0" normalizeH="0" baseline="0" noProof="0">
                <a:ln>
                  <a:noFill/>
                </a:ln>
                <a:solidFill>
                  <a:srgbClr val="FFFFFF"/>
                </a:solidFill>
                <a:effectLst/>
                <a:uLnTx/>
                <a:uFillTx/>
                <a:latin typeface="Ericsson Hilda"/>
                <a:ea typeface="+mn-ea"/>
                <a:cs typeface="+mn-cs"/>
              </a:rPr>
              <a:t>Cloud resources</a:t>
            </a:r>
          </a:p>
        </p:txBody>
      </p:sp>
      <p:sp>
        <p:nvSpPr>
          <p:cNvPr id="35" name="Rectangle 34">
            <a:extLst>
              <a:ext uri="{FF2B5EF4-FFF2-40B4-BE49-F238E27FC236}">
                <a16:creationId xmlns:a16="http://schemas.microsoft.com/office/drawing/2014/main" id="{B0528E93-071C-644A-8EC1-3E27CF33DA6B}"/>
              </a:ext>
            </a:extLst>
          </p:cNvPr>
          <p:cNvSpPr/>
          <p:nvPr/>
        </p:nvSpPr>
        <p:spPr bwMode="auto">
          <a:xfrm>
            <a:off x="7191653" y="5799286"/>
            <a:ext cx="1788170" cy="200325"/>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150" b="0" i="0" u="none" strike="noStrike" kern="1200" cap="none" spc="0" normalizeH="0" baseline="0" noProof="0">
                <a:ln>
                  <a:noFill/>
                </a:ln>
                <a:solidFill>
                  <a:srgbClr val="FFFFFF"/>
                </a:solidFill>
                <a:effectLst/>
                <a:uLnTx/>
                <a:uFillTx/>
                <a:latin typeface="Ericsson Hilda"/>
                <a:ea typeface="+mn-ea"/>
                <a:cs typeface="+mn-cs"/>
              </a:rPr>
              <a:t>Network function</a:t>
            </a:r>
          </a:p>
        </p:txBody>
      </p:sp>
      <p:sp>
        <p:nvSpPr>
          <p:cNvPr id="37" name="Rectangle 36">
            <a:extLst>
              <a:ext uri="{FF2B5EF4-FFF2-40B4-BE49-F238E27FC236}">
                <a16:creationId xmlns:a16="http://schemas.microsoft.com/office/drawing/2014/main" id="{8E827B7E-AAA6-0640-A37D-848FCD844789}"/>
              </a:ext>
            </a:extLst>
          </p:cNvPr>
          <p:cNvSpPr/>
          <p:nvPr/>
        </p:nvSpPr>
        <p:spPr bwMode="auto">
          <a:xfrm>
            <a:off x="9161724" y="5799286"/>
            <a:ext cx="1652978" cy="20040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150" b="0" i="0" u="none" strike="noStrike" kern="1200" cap="none" spc="0" normalizeH="0" baseline="0" noProof="0">
                <a:ln>
                  <a:noFill/>
                </a:ln>
                <a:solidFill>
                  <a:srgbClr val="FFFFFF"/>
                </a:solidFill>
                <a:effectLst/>
                <a:uLnTx/>
                <a:uFillTx/>
                <a:latin typeface="Ericsson Hilda"/>
                <a:ea typeface="+mn-ea"/>
                <a:cs typeface="+mn-cs"/>
              </a:rPr>
              <a:t>Network management</a:t>
            </a:r>
          </a:p>
        </p:txBody>
      </p:sp>
      <p:sp>
        <p:nvSpPr>
          <p:cNvPr id="43" name="Rectangle 42">
            <a:extLst>
              <a:ext uri="{FF2B5EF4-FFF2-40B4-BE49-F238E27FC236}">
                <a16:creationId xmlns:a16="http://schemas.microsoft.com/office/drawing/2014/main" id="{F7252324-039A-F348-8D1D-63E8B0794EA7}"/>
              </a:ext>
            </a:extLst>
          </p:cNvPr>
          <p:cNvSpPr/>
          <p:nvPr/>
        </p:nvSpPr>
        <p:spPr bwMode="auto">
          <a:xfrm>
            <a:off x="1784350" y="4564229"/>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4" name="Rectangle 43">
            <a:extLst>
              <a:ext uri="{FF2B5EF4-FFF2-40B4-BE49-F238E27FC236}">
                <a16:creationId xmlns:a16="http://schemas.microsoft.com/office/drawing/2014/main" id="{C2C0DC60-0A97-7D48-8367-8784BB099C47}"/>
              </a:ext>
            </a:extLst>
          </p:cNvPr>
          <p:cNvSpPr/>
          <p:nvPr/>
        </p:nvSpPr>
        <p:spPr bwMode="auto">
          <a:xfrm>
            <a:off x="1270000" y="4707104"/>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5" name="Rectangle 44">
            <a:extLst>
              <a:ext uri="{FF2B5EF4-FFF2-40B4-BE49-F238E27FC236}">
                <a16:creationId xmlns:a16="http://schemas.microsoft.com/office/drawing/2014/main" id="{920E4486-083A-F746-8153-93E7D568AB51}"/>
              </a:ext>
            </a:extLst>
          </p:cNvPr>
          <p:cNvSpPr/>
          <p:nvPr/>
        </p:nvSpPr>
        <p:spPr bwMode="auto">
          <a:xfrm>
            <a:off x="2317750" y="4707104"/>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6" name="Rectangle 45">
            <a:extLst>
              <a:ext uri="{FF2B5EF4-FFF2-40B4-BE49-F238E27FC236}">
                <a16:creationId xmlns:a16="http://schemas.microsoft.com/office/drawing/2014/main" id="{D1203B5C-D974-3148-8968-D7E47501B45E}"/>
              </a:ext>
            </a:extLst>
          </p:cNvPr>
          <p:cNvSpPr/>
          <p:nvPr/>
        </p:nvSpPr>
        <p:spPr bwMode="auto">
          <a:xfrm>
            <a:off x="3851275" y="4517565"/>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7" name="Rectangle 46">
            <a:extLst>
              <a:ext uri="{FF2B5EF4-FFF2-40B4-BE49-F238E27FC236}">
                <a16:creationId xmlns:a16="http://schemas.microsoft.com/office/drawing/2014/main" id="{0871A224-9E62-5C4A-B668-C064FC3BC5B8}"/>
              </a:ext>
            </a:extLst>
          </p:cNvPr>
          <p:cNvSpPr/>
          <p:nvPr/>
        </p:nvSpPr>
        <p:spPr bwMode="auto">
          <a:xfrm>
            <a:off x="4972050" y="4517565"/>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8" name="Rectangle 47">
            <a:extLst>
              <a:ext uri="{FF2B5EF4-FFF2-40B4-BE49-F238E27FC236}">
                <a16:creationId xmlns:a16="http://schemas.microsoft.com/office/drawing/2014/main" id="{449B58A8-7D05-1944-893E-56FFF20E35EC}"/>
              </a:ext>
            </a:extLst>
          </p:cNvPr>
          <p:cNvSpPr/>
          <p:nvPr/>
        </p:nvSpPr>
        <p:spPr bwMode="auto">
          <a:xfrm>
            <a:off x="3851275" y="4692190"/>
            <a:ext cx="1524000"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9" name="Rectangle 48">
            <a:extLst>
              <a:ext uri="{FF2B5EF4-FFF2-40B4-BE49-F238E27FC236}">
                <a16:creationId xmlns:a16="http://schemas.microsoft.com/office/drawing/2014/main" id="{7B40F672-86A6-8340-B959-7039D802B1A0}"/>
              </a:ext>
            </a:extLst>
          </p:cNvPr>
          <p:cNvSpPr/>
          <p:nvPr/>
        </p:nvSpPr>
        <p:spPr bwMode="auto">
          <a:xfrm>
            <a:off x="6861175" y="4554704"/>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50" name="Rectangle 49">
            <a:extLst>
              <a:ext uri="{FF2B5EF4-FFF2-40B4-BE49-F238E27FC236}">
                <a16:creationId xmlns:a16="http://schemas.microsoft.com/office/drawing/2014/main" id="{D50D575B-3C66-0F46-9C41-345B382BF991}"/>
              </a:ext>
            </a:extLst>
          </p:cNvPr>
          <p:cNvSpPr/>
          <p:nvPr/>
        </p:nvSpPr>
        <p:spPr bwMode="auto">
          <a:xfrm>
            <a:off x="7391400" y="4703929"/>
            <a:ext cx="403225" cy="130175"/>
          </a:xfrm>
          <a:prstGeom prst="rect">
            <a:avLst/>
          </a:prstGeom>
          <a:solidFill>
            <a:schemeClr val="bg1">
              <a:lumMod val="65000"/>
            </a:schemeClr>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57" name="Graphic 56">
            <a:extLst>
              <a:ext uri="{FF2B5EF4-FFF2-40B4-BE49-F238E27FC236}">
                <a16:creationId xmlns:a16="http://schemas.microsoft.com/office/drawing/2014/main" id="{2636A2D1-01C9-C046-B543-E456005C8C8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21395" y="5544681"/>
            <a:ext cx="284813" cy="254606"/>
          </a:xfrm>
          <a:prstGeom prst="rect">
            <a:avLst/>
          </a:prstGeom>
        </p:spPr>
      </p:pic>
      <p:pic>
        <p:nvPicPr>
          <p:cNvPr id="58" name="Graphic 57">
            <a:extLst>
              <a:ext uri="{FF2B5EF4-FFF2-40B4-BE49-F238E27FC236}">
                <a16:creationId xmlns:a16="http://schemas.microsoft.com/office/drawing/2014/main" id="{BA3A7305-D0C0-FD4E-B9B1-93CDD8160D3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43472" y="5562821"/>
            <a:ext cx="237675" cy="230980"/>
          </a:xfrm>
          <a:prstGeom prst="rect">
            <a:avLst/>
          </a:prstGeom>
        </p:spPr>
      </p:pic>
      <p:pic>
        <p:nvPicPr>
          <p:cNvPr id="59" name="Graphic 58">
            <a:extLst>
              <a:ext uri="{FF2B5EF4-FFF2-40B4-BE49-F238E27FC236}">
                <a16:creationId xmlns:a16="http://schemas.microsoft.com/office/drawing/2014/main" id="{634A37F6-50EA-7949-B840-5ACE987D137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23046" y="5558746"/>
            <a:ext cx="269488" cy="264204"/>
          </a:xfrm>
          <a:prstGeom prst="rect">
            <a:avLst/>
          </a:prstGeom>
        </p:spPr>
      </p:pic>
      <p:pic>
        <p:nvPicPr>
          <p:cNvPr id="60" name="Graphic 59">
            <a:extLst>
              <a:ext uri="{FF2B5EF4-FFF2-40B4-BE49-F238E27FC236}">
                <a16:creationId xmlns:a16="http://schemas.microsoft.com/office/drawing/2014/main" id="{791432B6-B940-8D4C-8D0F-4E12A6FF143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829326" y="5558746"/>
            <a:ext cx="322285" cy="230204"/>
          </a:xfrm>
          <a:prstGeom prst="rect">
            <a:avLst/>
          </a:prstGeom>
        </p:spPr>
      </p:pic>
    </p:spTree>
    <p:extLst>
      <p:ext uri="{BB962C8B-B14F-4D97-AF65-F5344CB8AC3E}">
        <p14:creationId xmlns:p14="http://schemas.microsoft.com/office/powerpoint/2010/main" val="5916808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C06854-5F6D-4DF6-95F6-6391912DEECF}"/>
              </a:ext>
            </a:extLst>
          </p:cNvPr>
          <p:cNvPicPr>
            <a:picLocks noChangeAspect="1"/>
          </p:cNvPicPr>
          <p:nvPr/>
        </p:nvPicPr>
        <p:blipFill rotWithShape="1">
          <a:blip r:embed="rId3"/>
          <a:srcRect t="17347" b="4919"/>
          <a:stretch/>
        </p:blipFill>
        <p:spPr>
          <a:xfrm>
            <a:off x="5842696" y="3825177"/>
            <a:ext cx="6096528" cy="2665709"/>
          </a:xfrm>
          <a:prstGeom prst="rect">
            <a:avLst/>
          </a:prstGeom>
        </p:spPr>
      </p:pic>
      <p:sp>
        <p:nvSpPr>
          <p:cNvPr id="3" name="Content Placeholder 2">
            <a:extLst>
              <a:ext uri="{FF2B5EF4-FFF2-40B4-BE49-F238E27FC236}">
                <a16:creationId xmlns:a16="http://schemas.microsoft.com/office/drawing/2014/main" id="{ACC04E09-CDCA-4185-A966-5D8D50082573}"/>
              </a:ext>
            </a:extLst>
          </p:cNvPr>
          <p:cNvSpPr>
            <a:spLocks noGrp="1"/>
          </p:cNvSpPr>
          <p:nvPr>
            <p:ph sz="quarter" idx="10"/>
          </p:nvPr>
        </p:nvSpPr>
        <p:spPr/>
        <p:txBody>
          <a:bodyPr/>
          <a:lstStyle/>
          <a:p>
            <a:r>
              <a:rPr lang="en-US" sz="2400"/>
              <a:t>Management and orchestration of network slices - LCM</a:t>
            </a:r>
          </a:p>
          <a:p>
            <a:pPr lvl="2"/>
            <a:r>
              <a:rPr lang="en-US"/>
              <a:t>i.e. how Network Service Providers can design, instantiate, operate and </a:t>
            </a:r>
            <a:br>
              <a:rPr lang="en-US"/>
            </a:br>
            <a:r>
              <a:rPr lang="en-US"/>
              <a:t>de-commission network slices</a:t>
            </a:r>
          </a:p>
          <a:p>
            <a:pPr lvl="2"/>
            <a:endParaRPr lang="en-US"/>
          </a:p>
          <a:p>
            <a:pPr lvl="2"/>
            <a:endParaRPr lang="en-US"/>
          </a:p>
          <a:p>
            <a:r>
              <a:rPr lang="en-US" sz="2400"/>
              <a:t>Traffic Steering mechanisms supporting Network Slicing</a:t>
            </a:r>
          </a:p>
          <a:p>
            <a:pPr lvl="2"/>
            <a:r>
              <a:rPr lang="en-US"/>
              <a:t>i.e. how a UE can be served by the Network Slice(s) to which it is allowed</a:t>
            </a:r>
          </a:p>
        </p:txBody>
      </p:sp>
      <p:sp>
        <p:nvSpPr>
          <p:cNvPr id="2" name="Title 1">
            <a:extLst>
              <a:ext uri="{FF2B5EF4-FFF2-40B4-BE49-F238E27FC236}">
                <a16:creationId xmlns:a16="http://schemas.microsoft.com/office/drawing/2014/main" id="{7DD00786-5065-427D-B167-A475F835004B}"/>
              </a:ext>
            </a:extLst>
          </p:cNvPr>
          <p:cNvSpPr>
            <a:spLocks noGrp="1"/>
          </p:cNvSpPr>
          <p:nvPr>
            <p:ph type="title"/>
          </p:nvPr>
        </p:nvSpPr>
        <p:spPr/>
        <p:txBody>
          <a:bodyPr/>
          <a:lstStyle/>
          <a:p>
            <a:r>
              <a:rPr lang="en-US"/>
              <a:t>Network slicing two perspectives</a:t>
            </a:r>
          </a:p>
        </p:txBody>
      </p:sp>
      <p:pic>
        <p:nvPicPr>
          <p:cNvPr id="5" name="Picture 4">
            <a:extLst>
              <a:ext uri="{FF2B5EF4-FFF2-40B4-BE49-F238E27FC236}">
                <a16:creationId xmlns:a16="http://schemas.microsoft.com/office/drawing/2014/main" id="{45F57774-D839-4177-9686-5E5125A9A7A1}"/>
              </a:ext>
            </a:extLst>
          </p:cNvPr>
          <p:cNvPicPr>
            <a:picLocks noChangeAspect="1"/>
          </p:cNvPicPr>
          <p:nvPr/>
        </p:nvPicPr>
        <p:blipFill rotWithShape="1">
          <a:blip r:embed="rId4"/>
          <a:srcRect t="19858" b="2792"/>
          <a:stretch/>
        </p:blipFill>
        <p:spPr>
          <a:xfrm>
            <a:off x="5904854" y="1277515"/>
            <a:ext cx="5972213" cy="2606215"/>
          </a:xfrm>
          <a:prstGeom prst="rect">
            <a:avLst/>
          </a:prstGeom>
        </p:spPr>
      </p:pic>
    </p:spTree>
    <p:extLst>
      <p:ext uri="{BB962C8B-B14F-4D97-AF65-F5344CB8AC3E}">
        <p14:creationId xmlns:p14="http://schemas.microsoft.com/office/powerpoint/2010/main" val="2676878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b="1" dirty="0"/>
              <a:t>The 5G Core System</a:t>
            </a:r>
          </a:p>
          <a:p>
            <a:r>
              <a:rPr lang="en-US" dirty="0"/>
              <a:t>Core Network Architecture &amp; Technology</a:t>
            </a:r>
          </a:p>
          <a:p>
            <a:pPr lvl="1"/>
            <a:r>
              <a:rPr lang="en-US" sz="1800" dirty="0"/>
              <a:t>Overall 5G Core Network Architecture</a:t>
            </a:r>
          </a:p>
          <a:p>
            <a:pPr lvl="1"/>
            <a:r>
              <a:rPr lang="en-US" sz="1800" dirty="0"/>
              <a:t>SBA and Service Framework</a:t>
            </a:r>
          </a:p>
          <a:p>
            <a:pPr lvl="1"/>
            <a:r>
              <a:rPr lang="en-US" sz="1800"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3999316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F586AD6-98B2-44BE-B1D7-05A47C3CA66C}"/>
              </a:ext>
            </a:extLst>
          </p:cNvPr>
          <p:cNvSpPr>
            <a:spLocks noGrp="1"/>
          </p:cNvSpPr>
          <p:nvPr>
            <p:ph type="title"/>
          </p:nvPr>
        </p:nvSpPr>
        <p:spPr>
          <a:xfrm>
            <a:off x="479424" y="476250"/>
            <a:ext cx="10795724" cy="1081088"/>
          </a:xfrm>
        </p:spPr>
        <p:txBody>
          <a:bodyPr/>
          <a:lstStyle/>
          <a:p>
            <a:r>
              <a:rPr lang="en-US"/>
              <a:t>Examples of Network Slicing used for different services</a:t>
            </a:r>
          </a:p>
        </p:txBody>
      </p:sp>
      <p:sp>
        <p:nvSpPr>
          <p:cNvPr id="118" name="Rektangel med rundade hörn 117"/>
          <p:cNvSpPr/>
          <p:nvPr/>
        </p:nvSpPr>
        <p:spPr bwMode="auto">
          <a:xfrm>
            <a:off x="3160852" y="3031604"/>
            <a:ext cx="2231652" cy="3398367"/>
          </a:xfrm>
          <a:prstGeom prst="roundRect">
            <a:avLst>
              <a:gd name="adj" fmla="val 0"/>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r>
              <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rPr>
              <a:t> </a:t>
            </a:r>
          </a:p>
        </p:txBody>
      </p:sp>
      <p:sp>
        <p:nvSpPr>
          <p:cNvPr id="119" name="Rektangel med rundade hörn 118"/>
          <p:cNvSpPr/>
          <p:nvPr/>
        </p:nvSpPr>
        <p:spPr bwMode="auto">
          <a:xfrm>
            <a:off x="5425360" y="3214397"/>
            <a:ext cx="1864094" cy="2963793"/>
          </a:xfrm>
          <a:prstGeom prst="roundRect">
            <a:avLst>
              <a:gd name="adj" fmla="val 0"/>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121" name="Rektangel med rundade hörn 120"/>
          <p:cNvSpPr/>
          <p:nvPr/>
        </p:nvSpPr>
        <p:spPr bwMode="auto">
          <a:xfrm>
            <a:off x="7322309" y="3549913"/>
            <a:ext cx="1864094" cy="2478899"/>
          </a:xfrm>
          <a:prstGeom prst="roundRect">
            <a:avLst>
              <a:gd name="adj" fmla="val 0"/>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cxnSp>
        <p:nvCxnSpPr>
          <p:cNvPr id="201" name="Rak 200"/>
          <p:cNvCxnSpPr/>
          <p:nvPr/>
        </p:nvCxnSpPr>
        <p:spPr bwMode="auto">
          <a:xfrm flipH="1">
            <a:off x="4288535" y="5012977"/>
            <a:ext cx="476568"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206" name="Rak 205"/>
          <p:cNvCxnSpPr/>
          <p:nvPr/>
        </p:nvCxnSpPr>
        <p:spPr bwMode="auto">
          <a:xfrm flipH="1">
            <a:off x="5079235" y="5019099"/>
            <a:ext cx="1226016"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sp>
        <p:nvSpPr>
          <p:cNvPr id="210" name="Oval 231">
            <a:extLst>
              <a:ext uri="{FF2B5EF4-FFF2-40B4-BE49-F238E27FC236}">
                <a16:creationId xmlns:a16="http://schemas.microsoft.com/office/drawing/2014/main" id="{06864419-6411-0D40-A6A4-5A6C9C41491B}"/>
              </a:ext>
            </a:extLst>
          </p:cNvPr>
          <p:cNvSpPr/>
          <p:nvPr/>
        </p:nvSpPr>
        <p:spPr bwMode="auto">
          <a:xfrm>
            <a:off x="5491171" y="4834107"/>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229" name="Oval 467">
            <a:extLst>
              <a:ext uri="{FF2B5EF4-FFF2-40B4-BE49-F238E27FC236}">
                <a16:creationId xmlns:a16="http://schemas.microsoft.com/office/drawing/2014/main" id="{485963AA-6F4B-4386-933F-61D6A18CA01F}"/>
              </a:ext>
            </a:extLst>
          </p:cNvPr>
          <p:cNvSpPr/>
          <p:nvPr/>
        </p:nvSpPr>
        <p:spPr bwMode="auto">
          <a:xfrm>
            <a:off x="4103306" y="4612686"/>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232" name="Oval 469">
            <a:extLst>
              <a:ext uri="{FF2B5EF4-FFF2-40B4-BE49-F238E27FC236}">
                <a16:creationId xmlns:a16="http://schemas.microsoft.com/office/drawing/2014/main" id="{7DEB507F-9D23-4A16-BA3E-43CB700200A3}"/>
              </a:ext>
            </a:extLst>
          </p:cNvPr>
          <p:cNvSpPr/>
          <p:nvPr/>
        </p:nvSpPr>
        <p:spPr bwMode="auto">
          <a:xfrm>
            <a:off x="4103059" y="5018929"/>
            <a:ext cx="395136" cy="388388"/>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cxnSp>
        <p:nvCxnSpPr>
          <p:cNvPr id="233" name="Rak 232"/>
          <p:cNvCxnSpPr/>
          <p:nvPr/>
        </p:nvCxnSpPr>
        <p:spPr bwMode="auto">
          <a:xfrm flipH="1">
            <a:off x="4083930" y="5326704"/>
            <a:ext cx="994435" cy="496507"/>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234" name="Rak 233"/>
          <p:cNvCxnSpPr/>
          <p:nvPr/>
        </p:nvCxnSpPr>
        <p:spPr bwMode="auto">
          <a:xfrm flipH="1">
            <a:off x="5073014" y="5329131"/>
            <a:ext cx="3354033"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236" name="Rak 235"/>
          <p:cNvCxnSpPr/>
          <p:nvPr/>
        </p:nvCxnSpPr>
        <p:spPr bwMode="auto">
          <a:xfrm flipH="1">
            <a:off x="4074685" y="4219981"/>
            <a:ext cx="4369876"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sp>
        <p:nvSpPr>
          <p:cNvPr id="297" name="Ellips 296"/>
          <p:cNvSpPr/>
          <p:nvPr/>
        </p:nvSpPr>
        <p:spPr bwMode="auto">
          <a:xfrm>
            <a:off x="3228995" y="4077695"/>
            <a:ext cx="297308" cy="59579"/>
          </a:xfrm>
          <a:prstGeom prst="ellipse">
            <a:avLst/>
          </a:prstGeom>
          <a:solidFill>
            <a:schemeClr val="bg1">
              <a:lumMod val="75000"/>
            </a:schemeClr>
          </a:solid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299" name="Ellips 298"/>
          <p:cNvSpPr/>
          <p:nvPr/>
        </p:nvSpPr>
        <p:spPr bwMode="auto">
          <a:xfrm>
            <a:off x="3201629" y="4252884"/>
            <a:ext cx="297308" cy="59579"/>
          </a:xfrm>
          <a:prstGeom prst="ellipse">
            <a:avLst/>
          </a:prstGeom>
          <a:solidFill>
            <a:schemeClr val="bg1">
              <a:lumMod val="75000"/>
            </a:schemeClr>
          </a:solid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301" name="Ellips 300"/>
          <p:cNvSpPr/>
          <p:nvPr/>
        </p:nvSpPr>
        <p:spPr bwMode="auto">
          <a:xfrm>
            <a:off x="3381517" y="4173228"/>
            <a:ext cx="297308" cy="59579"/>
          </a:xfrm>
          <a:prstGeom prst="ellipse">
            <a:avLst/>
          </a:prstGeom>
          <a:solidFill>
            <a:schemeClr val="bg1">
              <a:lumMod val="75000"/>
            </a:schemeClr>
          </a:solid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nvGrpSpPr>
          <p:cNvPr id="293" name="Grupp 292"/>
          <p:cNvGrpSpPr/>
          <p:nvPr/>
        </p:nvGrpSpPr>
        <p:grpSpPr>
          <a:xfrm>
            <a:off x="3728256" y="4134623"/>
            <a:ext cx="384372" cy="102659"/>
            <a:chOff x="2131759" y="5231811"/>
            <a:chExt cx="528087" cy="143297"/>
          </a:xfrm>
          <a:solidFill>
            <a:schemeClr val="bg1">
              <a:lumMod val="75000"/>
            </a:schemeClr>
          </a:solidFill>
        </p:grpSpPr>
        <p:sp>
          <p:nvSpPr>
            <p:cNvPr id="294" name="Ellips 293"/>
            <p:cNvSpPr/>
            <p:nvPr/>
          </p:nvSpPr>
          <p:spPr bwMode="auto">
            <a:xfrm>
              <a:off x="2131759" y="523181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295" name="Ellips 294"/>
            <p:cNvSpPr/>
            <p:nvPr/>
          </p:nvSpPr>
          <p:spPr bwMode="auto">
            <a:xfrm>
              <a:off x="2296859" y="53270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296" name="Ellips 295"/>
            <p:cNvSpPr/>
            <p:nvPr/>
          </p:nvSpPr>
          <p:spPr bwMode="auto">
            <a:xfrm>
              <a:off x="2423859" y="52381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grpSp>
        <p:nvGrpSpPr>
          <p:cNvPr id="2" name="Grupp 1"/>
          <p:cNvGrpSpPr/>
          <p:nvPr/>
        </p:nvGrpSpPr>
        <p:grpSpPr>
          <a:xfrm>
            <a:off x="3207268" y="3518673"/>
            <a:ext cx="715711" cy="171958"/>
            <a:chOff x="2034017" y="3720412"/>
            <a:chExt cx="983313" cy="240028"/>
          </a:xfrm>
        </p:grpSpPr>
        <p:sp>
          <p:nvSpPr>
            <p:cNvPr id="311" name="Ellips 310"/>
            <p:cNvSpPr/>
            <p:nvPr/>
          </p:nvSpPr>
          <p:spPr bwMode="auto">
            <a:xfrm>
              <a:off x="2034017" y="3720412"/>
              <a:ext cx="408470" cy="83164"/>
            </a:xfrm>
            <a:prstGeom prst="ellipse">
              <a:avLst/>
            </a:prstGeom>
            <a:solidFill>
              <a:schemeClr val="bg1">
                <a:lumMod val="75000"/>
              </a:schemeClr>
            </a:solid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nvGrpSpPr>
            <p:cNvPr id="306" name="Grupp 305"/>
            <p:cNvGrpSpPr/>
            <p:nvPr/>
          </p:nvGrpSpPr>
          <p:grpSpPr>
            <a:xfrm>
              <a:off x="2369743" y="3829843"/>
              <a:ext cx="647587" cy="130597"/>
              <a:chOff x="4845445" y="5092111"/>
              <a:chExt cx="647587" cy="130597"/>
            </a:xfrm>
            <a:solidFill>
              <a:schemeClr val="bg1">
                <a:lumMod val="75000"/>
              </a:schemeClr>
            </a:solidFill>
          </p:grpSpPr>
          <p:sp>
            <p:nvSpPr>
              <p:cNvPr id="307" name="Ellips 306"/>
              <p:cNvSpPr/>
              <p:nvPr/>
            </p:nvSpPr>
            <p:spPr bwMode="auto">
              <a:xfrm>
                <a:off x="4845445" y="50984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308" name="Ellips 307"/>
              <p:cNvSpPr/>
              <p:nvPr/>
            </p:nvSpPr>
            <p:spPr bwMode="auto">
              <a:xfrm>
                <a:off x="4959745" y="51746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309" name="Ellips 308"/>
              <p:cNvSpPr/>
              <p:nvPr/>
            </p:nvSpPr>
            <p:spPr bwMode="auto">
              <a:xfrm>
                <a:off x="5112145" y="509211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310" name="Ellips 309"/>
              <p:cNvSpPr/>
              <p:nvPr/>
            </p:nvSpPr>
            <p:spPr bwMode="auto">
              <a:xfrm>
                <a:off x="5257045" y="51746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grpSp>
      <p:sp>
        <p:nvSpPr>
          <p:cNvPr id="314" name="Oval 395">
            <a:extLst>
              <a:ext uri="{FF2B5EF4-FFF2-40B4-BE49-F238E27FC236}">
                <a16:creationId xmlns:a16="http://schemas.microsoft.com/office/drawing/2014/main" id="{E8A84579-4FAA-4F45-A2B0-B832738C98AA}"/>
              </a:ext>
            </a:extLst>
          </p:cNvPr>
          <p:cNvSpPr/>
          <p:nvPr/>
        </p:nvSpPr>
        <p:spPr bwMode="auto">
          <a:xfrm>
            <a:off x="7746571" y="5132404"/>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315" name="Oval 235">
            <a:extLst>
              <a:ext uri="{FF2B5EF4-FFF2-40B4-BE49-F238E27FC236}">
                <a16:creationId xmlns:a16="http://schemas.microsoft.com/office/drawing/2014/main" id="{EC9B2CE4-CA28-7841-B91F-118E80036D94}"/>
              </a:ext>
            </a:extLst>
          </p:cNvPr>
          <p:cNvSpPr/>
          <p:nvPr/>
        </p:nvSpPr>
        <p:spPr bwMode="auto">
          <a:xfrm>
            <a:off x="7348787" y="5125500"/>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cxnSp>
        <p:nvCxnSpPr>
          <p:cNvPr id="316" name="Rak 315"/>
          <p:cNvCxnSpPr/>
          <p:nvPr/>
        </p:nvCxnSpPr>
        <p:spPr bwMode="auto">
          <a:xfrm flipH="1">
            <a:off x="6299429" y="4604957"/>
            <a:ext cx="594735" cy="414674"/>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17" name="Rak 316"/>
          <p:cNvCxnSpPr/>
          <p:nvPr/>
        </p:nvCxnSpPr>
        <p:spPr bwMode="auto">
          <a:xfrm flipH="1">
            <a:off x="6894528" y="4602326"/>
            <a:ext cx="1567548"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sp>
        <p:nvSpPr>
          <p:cNvPr id="322" name="Oval 365">
            <a:extLst>
              <a:ext uri="{FF2B5EF4-FFF2-40B4-BE49-F238E27FC236}">
                <a16:creationId xmlns:a16="http://schemas.microsoft.com/office/drawing/2014/main" id="{9B88E1A9-3A09-40AF-89A3-ADF37869FA1B}"/>
              </a:ext>
            </a:extLst>
          </p:cNvPr>
          <p:cNvSpPr/>
          <p:nvPr/>
        </p:nvSpPr>
        <p:spPr bwMode="auto">
          <a:xfrm>
            <a:off x="7743923" y="4440834"/>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323" name="Oval 233">
            <a:extLst>
              <a:ext uri="{FF2B5EF4-FFF2-40B4-BE49-F238E27FC236}">
                <a16:creationId xmlns:a16="http://schemas.microsoft.com/office/drawing/2014/main" id="{BA277767-8F5C-814C-AA5B-40AAB8B7106B}"/>
              </a:ext>
            </a:extLst>
          </p:cNvPr>
          <p:cNvSpPr/>
          <p:nvPr/>
        </p:nvSpPr>
        <p:spPr bwMode="auto">
          <a:xfrm>
            <a:off x="7341059" y="4449138"/>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325" name="Oval 436">
            <a:extLst>
              <a:ext uri="{FF2B5EF4-FFF2-40B4-BE49-F238E27FC236}">
                <a16:creationId xmlns:a16="http://schemas.microsoft.com/office/drawing/2014/main" id="{E784D80A-10CB-4E87-A844-348EED5592C0}"/>
              </a:ext>
            </a:extLst>
          </p:cNvPr>
          <p:cNvSpPr/>
          <p:nvPr/>
        </p:nvSpPr>
        <p:spPr bwMode="auto">
          <a:xfrm>
            <a:off x="6094795" y="3833090"/>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326" name="Oval 232">
            <a:extLst>
              <a:ext uri="{FF2B5EF4-FFF2-40B4-BE49-F238E27FC236}">
                <a16:creationId xmlns:a16="http://schemas.microsoft.com/office/drawing/2014/main" id="{6D31EDC0-3C98-294C-AD54-1531EE7ECA31}"/>
              </a:ext>
            </a:extLst>
          </p:cNvPr>
          <p:cNvSpPr/>
          <p:nvPr/>
        </p:nvSpPr>
        <p:spPr bwMode="auto">
          <a:xfrm>
            <a:off x="6094548" y="4223855"/>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327" name="Oval 227">
            <a:extLst>
              <a:ext uri="{FF2B5EF4-FFF2-40B4-BE49-F238E27FC236}">
                <a16:creationId xmlns:a16="http://schemas.microsoft.com/office/drawing/2014/main" id="{D6C67D93-CA1F-B749-BBAB-7059B19EDE8F}"/>
              </a:ext>
            </a:extLst>
          </p:cNvPr>
          <p:cNvSpPr/>
          <p:nvPr/>
        </p:nvSpPr>
        <p:spPr bwMode="auto">
          <a:xfrm>
            <a:off x="4947877" y="4029481"/>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cxnSp>
        <p:nvCxnSpPr>
          <p:cNvPr id="328" name="Rak 327"/>
          <p:cNvCxnSpPr/>
          <p:nvPr/>
        </p:nvCxnSpPr>
        <p:spPr bwMode="auto">
          <a:xfrm flipH="1" flipV="1">
            <a:off x="4305821" y="3557589"/>
            <a:ext cx="1980888" cy="1667"/>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29" name="Rak 328"/>
          <p:cNvCxnSpPr/>
          <p:nvPr/>
        </p:nvCxnSpPr>
        <p:spPr bwMode="auto">
          <a:xfrm flipH="1" flipV="1">
            <a:off x="6281518" y="3556280"/>
            <a:ext cx="648036" cy="303616"/>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30" name="Rak 329"/>
          <p:cNvCxnSpPr/>
          <p:nvPr/>
        </p:nvCxnSpPr>
        <p:spPr bwMode="auto">
          <a:xfrm flipH="1">
            <a:off x="6920799" y="3857963"/>
            <a:ext cx="1532519" cy="0"/>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31" name="Rak 330"/>
          <p:cNvCxnSpPr/>
          <p:nvPr/>
        </p:nvCxnSpPr>
        <p:spPr bwMode="auto">
          <a:xfrm flipH="1">
            <a:off x="8413316" y="4665290"/>
            <a:ext cx="766314" cy="669502"/>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32" name="Rak 331"/>
          <p:cNvCxnSpPr/>
          <p:nvPr/>
        </p:nvCxnSpPr>
        <p:spPr bwMode="auto">
          <a:xfrm flipH="1" flipV="1">
            <a:off x="8453318" y="3859898"/>
            <a:ext cx="718095" cy="797305"/>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33" name="Rak 332"/>
          <p:cNvCxnSpPr/>
          <p:nvPr/>
        </p:nvCxnSpPr>
        <p:spPr bwMode="auto">
          <a:xfrm flipH="1" flipV="1">
            <a:off x="8443240" y="4220617"/>
            <a:ext cx="726852" cy="443905"/>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cxnSp>
        <p:nvCxnSpPr>
          <p:cNvPr id="335" name="Rak 334"/>
          <p:cNvCxnSpPr/>
          <p:nvPr/>
        </p:nvCxnSpPr>
        <p:spPr bwMode="auto">
          <a:xfrm flipH="1" flipV="1">
            <a:off x="8462616" y="4597878"/>
            <a:ext cx="700580" cy="66988"/>
          </a:xfrm>
          <a:prstGeom prst="line">
            <a:avLst/>
          </a:prstGeom>
          <a:solidFill>
            <a:schemeClr val="accent1"/>
          </a:solidFill>
          <a:ln w="12700" cap="flat" cmpd="sng" algn="ctr">
            <a:solidFill>
              <a:schemeClr val="tx1">
                <a:lumMod val="50000"/>
              </a:schemeClr>
            </a:solidFill>
            <a:prstDash val="solid"/>
            <a:round/>
            <a:headEnd type="none" w="med" len="med"/>
            <a:tailEnd type="none" w="med" len="med"/>
          </a:ln>
          <a:effectLst/>
        </p:spPr>
      </p:cxnSp>
      <p:sp>
        <p:nvSpPr>
          <p:cNvPr id="345" name="Oval 437">
            <a:extLst>
              <a:ext uri="{FF2B5EF4-FFF2-40B4-BE49-F238E27FC236}">
                <a16:creationId xmlns:a16="http://schemas.microsoft.com/office/drawing/2014/main" id="{164D43B8-ED40-47CE-8ED3-AD66539A0F38}"/>
              </a:ext>
            </a:extLst>
          </p:cNvPr>
          <p:cNvSpPr/>
          <p:nvPr/>
        </p:nvSpPr>
        <p:spPr bwMode="auto">
          <a:xfrm>
            <a:off x="4529904" y="4078607"/>
            <a:ext cx="383471" cy="79667"/>
          </a:xfrm>
          <a:prstGeom prst="ellipse">
            <a:avLst/>
          </a:prstGeom>
          <a:solidFill>
            <a:schemeClr val="bg1">
              <a:lumMod val="75000"/>
            </a:schemeClr>
          </a:solidFill>
          <a:ln w="12700" cap="flat" cmpd="sng" algn="ctr">
            <a:noFill/>
            <a:prstDash val="dash"/>
            <a:round/>
            <a:headEnd type="none" w="med" len="med"/>
            <a:tailEnd type="none" w="med" len="med"/>
          </a:ln>
          <a:effectLst/>
        </p:spPr>
        <p:txBody>
          <a:bodyPr wrap="none" lIns="72000" rIns="72000"/>
          <a:lstStyle/>
          <a:p>
            <a:pPr marL="0" marR="0" lvl="0" indent="0" algn="l" defTabSz="914354" rtl="0" eaLnBrk="1" fontAlgn="base"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a:ln>
                <a:noFill/>
              </a:ln>
              <a:solidFill>
                <a:srgbClr val="58585A"/>
              </a:solidFill>
              <a:effectLst/>
              <a:uLnTx/>
              <a:uFillTx/>
              <a:ea typeface="Ericsson Hilda" charset="0"/>
              <a:cs typeface="Ericsson Hilda" charset="0"/>
              <a:sym typeface="Arial"/>
            </a:endParaRPr>
          </a:p>
        </p:txBody>
      </p:sp>
      <p:sp>
        <p:nvSpPr>
          <p:cNvPr id="347" name="Oval 355">
            <a:extLst>
              <a:ext uri="{FF2B5EF4-FFF2-40B4-BE49-F238E27FC236}">
                <a16:creationId xmlns:a16="http://schemas.microsoft.com/office/drawing/2014/main" id="{7719E5CF-D612-46F0-9A57-ED47477086F3}"/>
              </a:ext>
            </a:extLst>
          </p:cNvPr>
          <p:cNvSpPr/>
          <p:nvPr/>
        </p:nvSpPr>
        <p:spPr bwMode="auto">
          <a:xfrm>
            <a:off x="4103307" y="3163037"/>
            <a:ext cx="394644"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348" name="Oval 228">
            <a:extLst>
              <a:ext uri="{FF2B5EF4-FFF2-40B4-BE49-F238E27FC236}">
                <a16:creationId xmlns:a16="http://schemas.microsoft.com/office/drawing/2014/main" id="{B8C6321C-00A5-3647-A722-C14D2F461875}"/>
              </a:ext>
            </a:extLst>
          </p:cNvPr>
          <p:cNvSpPr/>
          <p:nvPr/>
        </p:nvSpPr>
        <p:spPr bwMode="auto">
          <a:xfrm>
            <a:off x="4103059" y="3567860"/>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358" name="Ellips 357"/>
          <p:cNvSpPr/>
          <p:nvPr/>
        </p:nvSpPr>
        <p:spPr bwMode="auto">
          <a:xfrm>
            <a:off x="9110114" y="4618415"/>
            <a:ext cx="96330" cy="94814"/>
          </a:xfrm>
          <a:prstGeom prst="ellipse">
            <a:avLst/>
          </a:prstGeom>
          <a:solidFill>
            <a:schemeClr val="tx1">
              <a:lumMod val="7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359" name="TextBox 31">
            <a:extLst>
              <a:ext uri="{FF2B5EF4-FFF2-40B4-BE49-F238E27FC236}">
                <a16:creationId xmlns:a16="http://schemas.microsoft.com/office/drawing/2014/main" id="{EFF32208-BC9F-B34A-981B-1D4FCFD1D45A}"/>
              </a:ext>
            </a:extLst>
          </p:cNvPr>
          <p:cNvSpPr txBox="1"/>
          <p:nvPr/>
        </p:nvSpPr>
        <p:spPr>
          <a:xfrm>
            <a:off x="3770547" y="6146237"/>
            <a:ext cx="797129" cy="307777"/>
          </a:xfrm>
          <a:prstGeom prst="rect">
            <a:avLst/>
          </a:prstGeom>
          <a:noFill/>
        </p:spPr>
        <p:txBody>
          <a:bodyPr wrap="none" rtlCol="0">
            <a:spAutoFit/>
          </a:bodyPr>
          <a:lstStyle/>
          <a:p>
            <a:pPr marL="0" marR="0" lvl="0" indent="0" algn="ctr" defTabSz="914354"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81818">
                    <a:lumMod val="50000"/>
                  </a:srgbClr>
                </a:solidFill>
                <a:effectLst/>
                <a:uLnTx/>
                <a:uFillTx/>
                <a:ea typeface="Ericsson Hilda" charset="0"/>
                <a:cs typeface="Ericsson Hilda" charset="0"/>
                <a:sym typeface="Arial"/>
              </a:rPr>
              <a:t>Access sites</a:t>
            </a:r>
          </a:p>
        </p:txBody>
      </p:sp>
      <p:sp>
        <p:nvSpPr>
          <p:cNvPr id="360" name="TextBox 31">
            <a:extLst>
              <a:ext uri="{FF2B5EF4-FFF2-40B4-BE49-F238E27FC236}">
                <a16:creationId xmlns:a16="http://schemas.microsoft.com/office/drawing/2014/main" id="{EFF32208-BC9F-B34A-981B-1D4FCFD1D45A}"/>
              </a:ext>
            </a:extLst>
          </p:cNvPr>
          <p:cNvSpPr txBox="1"/>
          <p:nvPr/>
        </p:nvSpPr>
        <p:spPr>
          <a:xfrm>
            <a:off x="5773747" y="5870413"/>
            <a:ext cx="1116820" cy="307777"/>
          </a:xfrm>
          <a:prstGeom prst="rect">
            <a:avLst/>
          </a:prstGeom>
          <a:noFill/>
        </p:spPr>
        <p:txBody>
          <a:bodyPr wrap="none" rtlCol="0">
            <a:spAutoFit/>
          </a:bodyPr>
          <a:lstStyle/>
          <a:p>
            <a:pPr marL="0" marR="0" lvl="0" indent="0" algn="ctr" defTabSz="914354"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81818">
                    <a:lumMod val="50000"/>
                  </a:srgbClr>
                </a:solidFill>
                <a:effectLst/>
                <a:uLnTx/>
                <a:uFillTx/>
                <a:ea typeface="Ericsson Hilda" charset="0"/>
                <a:cs typeface="Ericsson Hilda" charset="0"/>
                <a:sym typeface="Arial"/>
              </a:rPr>
              <a:t>Aggregation sites</a:t>
            </a:r>
          </a:p>
        </p:txBody>
      </p:sp>
      <p:sp>
        <p:nvSpPr>
          <p:cNvPr id="361" name="TextBox 31">
            <a:extLst>
              <a:ext uri="{FF2B5EF4-FFF2-40B4-BE49-F238E27FC236}">
                <a16:creationId xmlns:a16="http://schemas.microsoft.com/office/drawing/2014/main" id="{EFF32208-BC9F-B34A-981B-1D4FCFD1D45A}"/>
              </a:ext>
            </a:extLst>
          </p:cNvPr>
          <p:cNvSpPr txBox="1"/>
          <p:nvPr/>
        </p:nvSpPr>
        <p:spPr>
          <a:xfrm>
            <a:off x="7635179" y="5731748"/>
            <a:ext cx="1242829" cy="307777"/>
          </a:xfrm>
          <a:prstGeom prst="rect">
            <a:avLst/>
          </a:prstGeom>
          <a:noFill/>
          <a:ln>
            <a:noFill/>
          </a:ln>
        </p:spPr>
        <p:txBody>
          <a:bodyPr wrap="none" rtlCol="0">
            <a:spAutoFit/>
          </a:bodyPr>
          <a:lstStyle/>
          <a:p>
            <a:pPr marL="0" marR="0" lvl="0" indent="0" algn="ctr" defTabSz="914354"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81818">
                    <a:lumMod val="50000"/>
                  </a:srgbClr>
                </a:solidFill>
                <a:effectLst/>
                <a:uLnTx/>
                <a:uFillTx/>
                <a:ea typeface="Ericsson Hilda" charset="0"/>
                <a:cs typeface="Ericsson Hilda" charset="0"/>
                <a:sym typeface="Arial"/>
              </a:rPr>
              <a:t>Central datacenters</a:t>
            </a:r>
          </a:p>
        </p:txBody>
      </p:sp>
      <p:sp>
        <p:nvSpPr>
          <p:cNvPr id="125" name="Rektangel 124"/>
          <p:cNvSpPr/>
          <p:nvPr/>
        </p:nvSpPr>
        <p:spPr bwMode="auto">
          <a:xfrm>
            <a:off x="9277276" y="4259161"/>
            <a:ext cx="746512" cy="735317"/>
          </a:xfrm>
          <a:prstGeom prst="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126" name="Rektangel 125"/>
          <p:cNvSpPr/>
          <p:nvPr/>
        </p:nvSpPr>
        <p:spPr bwMode="auto">
          <a:xfrm>
            <a:off x="9343010" y="4323861"/>
            <a:ext cx="746512" cy="735317"/>
          </a:xfrm>
          <a:prstGeom prst="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129" name="Rektangel 128"/>
          <p:cNvSpPr/>
          <p:nvPr/>
        </p:nvSpPr>
        <p:spPr bwMode="auto">
          <a:xfrm>
            <a:off x="9408744" y="4396648"/>
            <a:ext cx="746512" cy="735317"/>
          </a:xfrm>
          <a:prstGeom prst="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130" name="Rektangel 129"/>
          <p:cNvSpPr/>
          <p:nvPr/>
        </p:nvSpPr>
        <p:spPr bwMode="auto">
          <a:xfrm>
            <a:off x="9474477" y="4461347"/>
            <a:ext cx="746512" cy="735317"/>
          </a:xfrm>
          <a:prstGeom prst="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131" name="Rektangel 130"/>
          <p:cNvSpPr/>
          <p:nvPr/>
        </p:nvSpPr>
        <p:spPr bwMode="auto">
          <a:xfrm>
            <a:off x="9540210" y="4526047"/>
            <a:ext cx="746512" cy="735317"/>
          </a:xfrm>
          <a:prstGeom prst="rect">
            <a:avLst/>
          </a:prstGeom>
          <a:solidFill>
            <a:schemeClr val="bg1"/>
          </a:solidFill>
          <a:ln w="12700" cap="flat" cmpd="sng" algn="ctr">
            <a:solidFill>
              <a:srgbClr val="0082F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0" cap="none" spc="0" normalizeH="0" baseline="0" noProof="0">
              <a:ln>
                <a:noFill/>
              </a:ln>
              <a:solidFill>
                <a:srgbClr val="181818"/>
              </a:solidFill>
              <a:effectLst/>
              <a:uLnTx/>
              <a:uFillTx/>
              <a:ea typeface="Ericsson Hilda" charset="0"/>
              <a:cs typeface="Ericsson Hilda" charset="0"/>
              <a:sym typeface="Arial"/>
            </a:endParaRPr>
          </a:p>
        </p:txBody>
      </p:sp>
      <p:sp>
        <p:nvSpPr>
          <p:cNvPr id="124" name="textruta 123"/>
          <p:cNvSpPr txBox="1"/>
          <p:nvPr/>
        </p:nvSpPr>
        <p:spPr>
          <a:xfrm>
            <a:off x="9318280" y="5319695"/>
            <a:ext cx="1167276" cy="338554"/>
          </a:xfrm>
          <a:prstGeom prst="rect">
            <a:avLst/>
          </a:prstGeom>
          <a:noFill/>
        </p:spPr>
        <p:txBody>
          <a:bodyPr wrap="square" rtlCol="0">
            <a:spAutoFit/>
          </a:bodyPr>
          <a:lstStyle/>
          <a:p>
            <a:pPr marL="0" marR="0" lvl="0" indent="0" algn="ctr" defTabSz="914377" rtl="0" eaLnBrk="1" fontAlgn="auto" latinLnBrk="0" hangingPunct="0">
              <a:lnSpc>
                <a:spcPct val="100000"/>
              </a:lnSpc>
              <a:spcBef>
                <a:spcPts val="1200"/>
              </a:spcBef>
              <a:spcAft>
                <a:spcPts val="0"/>
              </a:spcAft>
              <a:buClrTx/>
              <a:buSzTx/>
              <a:buFontTx/>
              <a:buNone/>
              <a:tabLst/>
              <a:defRPr/>
            </a:pPr>
            <a:r>
              <a:rPr kumimoji="0" lang="sv-SE" sz="1600" b="0" i="0" u="none" strike="noStrike" kern="0" cap="none" spc="0" normalizeH="0" baseline="0" noProof="0">
                <a:ln w="0"/>
                <a:solidFill>
                  <a:srgbClr val="181818">
                    <a:lumMod val="50000"/>
                  </a:srgbClr>
                </a:solidFill>
                <a:effectLst>
                  <a:outerShdw blurRad="38100" dist="25400" dir="5400000" algn="ctr" rotWithShape="0">
                    <a:srgbClr val="6E747A">
                      <a:alpha val="43000"/>
                    </a:srgbClr>
                  </a:outerShdw>
                </a:effectLst>
                <a:uLnTx/>
                <a:uFillTx/>
                <a:ea typeface="Ericsson Hilda" charset="0"/>
                <a:cs typeface="Ericsson Hilda" charset="0"/>
                <a:sym typeface="Arial"/>
              </a:rPr>
              <a:t>Global clouds</a:t>
            </a:r>
          </a:p>
        </p:txBody>
      </p:sp>
      <p:sp>
        <p:nvSpPr>
          <p:cNvPr id="137" name="Ellips 136"/>
          <p:cNvSpPr/>
          <p:nvPr/>
        </p:nvSpPr>
        <p:spPr bwMode="auto">
          <a:xfrm>
            <a:off x="3378632" y="5065813"/>
            <a:ext cx="297308" cy="59579"/>
          </a:xfrm>
          <a:prstGeom prst="ellipse">
            <a:avLst/>
          </a:prstGeom>
          <a:solidFill>
            <a:schemeClr val="bg1">
              <a:lumMod val="75000"/>
            </a:schemeClr>
          </a:solid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nvGrpSpPr>
          <p:cNvPr id="139" name="Grupp 138"/>
          <p:cNvGrpSpPr/>
          <p:nvPr/>
        </p:nvGrpSpPr>
        <p:grpSpPr>
          <a:xfrm>
            <a:off x="3622993" y="4938730"/>
            <a:ext cx="471351" cy="93561"/>
            <a:chOff x="4845445" y="5092111"/>
            <a:chExt cx="647587" cy="130597"/>
          </a:xfrm>
          <a:solidFill>
            <a:schemeClr val="bg1">
              <a:lumMod val="75000"/>
            </a:schemeClr>
          </a:solidFill>
        </p:grpSpPr>
        <p:sp>
          <p:nvSpPr>
            <p:cNvPr id="140" name="Ellips 139"/>
            <p:cNvSpPr/>
            <p:nvPr/>
          </p:nvSpPr>
          <p:spPr bwMode="auto">
            <a:xfrm>
              <a:off x="4845445" y="50984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141" name="Ellips 140"/>
            <p:cNvSpPr/>
            <p:nvPr/>
          </p:nvSpPr>
          <p:spPr bwMode="auto">
            <a:xfrm>
              <a:off x="4959745" y="51746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142" name="Ellips 141"/>
            <p:cNvSpPr/>
            <p:nvPr/>
          </p:nvSpPr>
          <p:spPr bwMode="auto">
            <a:xfrm>
              <a:off x="5112145" y="509211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sp>
          <p:nvSpPr>
            <p:cNvPr id="143" name="Ellips 142"/>
            <p:cNvSpPr/>
            <p:nvPr/>
          </p:nvSpPr>
          <p:spPr bwMode="auto">
            <a:xfrm>
              <a:off x="5257045" y="5174661"/>
              <a:ext cx="235987" cy="48047"/>
            </a:xfrm>
            <a:prstGeom prst="ellipse">
              <a:avLst/>
            </a:prstGeom>
            <a:grpFill/>
            <a:ln w="6350" cap="flat" cmpd="sng" algn="ctr">
              <a:no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50000"/>
                </a:spcBef>
                <a:spcAft>
                  <a:spcPct val="0"/>
                </a:spcAft>
                <a:buClrTx/>
                <a:buSzTx/>
                <a:buFontTx/>
                <a:buNone/>
                <a:tabLst/>
                <a:defRPr/>
              </a:pPr>
              <a:endParaRPr kumimoji="0" lang="sv-SE" b="0" i="0" u="none" strike="noStrike" kern="1200" cap="none" spc="0" normalizeH="0" baseline="0" noProof="0">
                <a:ln>
                  <a:noFill/>
                </a:ln>
                <a:solidFill>
                  <a:srgbClr val="58585A"/>
                </a:solidFill>
                <a:effectLst/>
                <a:uLnTx/>
                <a:uFillTx/>
                <a:ea typeface="Ericsson Hilda" charset="0"/>
                <a:cs typeface="Ericsson Hilda" charset="0"/>
                <a:sym typeface="Arial"/>
              </a:endParaRPr>
            </a:p>
          </p:txBody>
        </p:sp>
      </p:grpSp>
      <p:sp>
        <p:nvSpPr>
          <p:cNvPr id="148" name="Oval 437">
            <a:extLst>
              <a:ext uri="{FF2B5EF4-FFF2-40B4-BE49-F238E27FC236}">
                <a16:creationId xmlns:a16="http://schemas.microsoft.com/office/drawing/2014/main" id="{164D43B8-ED40-47CE-8ED3-AD66539A0F38}"/>
              </a:ext>
            </a:extLst>
          </p:cNvPr>
          <p:cNvSpPr/>
          <p:nvPr/>
        </p:nvSpPr>
        <p:spPr bwMode="auto">
          <a:xfrm>
            <a:off x="3668601" y="5851184"/>
            <a:ext cx="383471" cy="79667"/>
          </a:xfrm>
          <a:prstGeom prst="ellipse">
            <a:avLst/>
          </a:prstGeom>
          <a:solidFill>
            <a:schemeClr val="bg1">
              <a:lumMod val="75000"/>
            </a:schemeClr>
          </a:solidFill>
          <a:ln w="12700" cap="flat" cmpd="sng" algn="ctr">
            <a:noFill/>
            <a:prstDash val="dash"/>
            <a:round/>
            <a:headEnd type="none" w="med" len="med"/>
            <a:tailEnd type="none" w="med" len="med"/>
          </a:ln>
          <a:effectLst/>
        </p:spPr>
        <p:txBody>
          <a:bodyPr wrap="none" lIns="72000" rIns="72000"/>
          <a:lstStyle/>
          <a:p>
            <a:pPr marL="0" marR="0" lvl="0" indent="0" algn="l" defTabSz="914354" rtl="0" eaLnBrk="1" fontAlgn="base"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a:ln>
                <a:noFill/>
              </a:ln>
              <a:solidFill>
                <a:srgbClr val="58585A"/>
              </a:solidFill>
              <a:effectLst/>
              <a:uLnTx/>
              <a:uFillTx/>
              <a:ea typeface="Ericsson Hilda" charset="0"/>
              <a:cs typeface="Ericsson Hilda" charset="0"/>
              <a:sym typeface="Arial"/>
            </a:endParaRPr>
          </a:p>
        </p:txBody>
      </p:sp>
      <p:sp>
        <p:nvSpPr>
          <p:cNvPr id="114" name="Rektangel 113"/>
          <p:cNvSpPr/>
          <p:nvPr/>
        </p:nvSpPr>
        <p:spPr bwMode="auto">
          <a:xfrm>
            <a:off x="1508138" y="2923912"/>
            <a:ext cx="1463040" cy="51065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Ericsson Hilda" charset="0"/>
                <a:cs typeface="Ericsson Hilda" charset="0"/>
                <a:sym typeface="Arial"/>
              </a:rPr>
              <a:t>Public safety</a:t>
            </a:r>
            <a:endParaRPr kumimoji="0" lang="sv-SE" b="0" i="0" u="none" strike="noStrike" kern="0" cap="none" spc="0" normalizeH="0" baseline="0" noProof="0">
              <a:ln>
                <a:noFill/>
              </a:ln>
              <a:effectLst/>
              <a:uLnTx/>
              <a:uFillTx/>
              <a:ea typeface="Ericsson Hilda" charset="0"/>
              <a:cs typeface="Ericsson Hilda" charset="0"/>
              <a:sym typeface="Arial"/>
            </a:endParaRPr>
          </a:p>
        </p:txBody>
      </p:sp>
      <p:sp>
        <p:nvSpPr>
          <p:cNvPr id="122" name="Rektangel 121"/>
          <p:cNvSpPr/>
          <p:nvPr/>
        </p:nvSpPr>
        <p:spPr bwMode="auto">
          <a:xfrm>
            <a:off x="1508138" y="3497268"/>
            <a:ext cx="1463040" cy="39641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mn-ea"/>
                <a:cs typeface="+mn-cs"/>
                <a:sym typeface="Arial"/>
              </a:rPr>
              <a:t>Automotive</a:t>
            </a:r>
          </a:p>
        </p:txBody>
      </p:sp>
      <p:sp>
        <p:nvSpPr>
          <p:cNvPr id="134" name="Rektangel 133"/>
          <p:cNvSpPr/>
          <p:nvPr/>
        </p:nvSpPr>
        <p:spPr bwMode="auto">
          <a:xfrm>
            <a:off x="1508138" y="4428989"/>
            <a:ext cx="1463040" cy="39641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mn-ea"/>
                <a:cs typeface="+mn-cs"/>
                <a:sym typeface="Arial"/>
              </a:rPr>
              <a:t>FWA</a:t>
            </a:r>
          </a:p>
        </p:txBody>
      </p:sp>
      <p:sp>
        <p:nvSpPr>
          <p:cNvPr id="150" name="Rektangel 149"/>
          <p:cNvSpPr/>
          <p:nvPr/>
        </p:nvSpPr>
        <p:spPr bwMode="auto">
          <a:xfrm>
            <a:off x="1508138" y="4898380"/>
            <a:ext cx="1463040" cy="39641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mn-ea"/>
                <a:cs typeface="+mn-cs"/>
                <a:sym typeface="Arial"/>
              </a:rPr>
              <a:t>Factory</a:t>
            </a:r>
          </a:p>
        </p:txBody>
      </p:sp>
      <p:sp>
        <p:nvSpPr>
          <p:cNvPr id="152" name="Rektangel 151"/>
          <p:cNvSpPr/>
          <p:nvPr/>
        </p:nvSpPr>
        <p:spPr bwMode="auto">
          <a:xfrm>
            <a:off x="1508138" y="5357497"/>
            <a:ext cx="1463040" cy="41147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mn-ea"/>
                <a:cs typeface="+mn-cs"/>
                <a:sym typeface="Arial"/>
              </a:rPr>
              <a:t>Enterprise</a:t>
            </a:r>
          </a:p>
        </p:txBody>
      </p:sp>
      <p:sp>
        <p:nvSpPr>
          <p:cNvPr id="154" name="Rektangel 153"/>
          <p:cNvSpPr/>
          <p:nvPr/>
        </p:nvSpPr>
        <p:spPr bwMode="auto">
          <a:xfrm>
            <a:off x="1508138" y="5903527"/>
            <a:ext cx="1463040" cy="38686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344479" marR="0" lvl="0" indent="-344479" defTabSz="914377" rtl="0" eaLnBrk="1" fontAlgn="auto" latinLnBrk="0" hangingPunct="0">
              <a:lnSpc>
                <a:spcPct val="100000"/>
              </a:lnSpc>
              <a:spcBef>
                <a:spcPts val="1200"/>
              </a:spcBef>
              <a:spcAft>
                <a:spcPts val="0"/>
              </a:spcAft>
              <a:buClr>
                <a:srgbClr val="181818"/>
              </a:buClr>
              <a:buSzTx/>
              <a:buFontTx/>
              <a:buNone/>
              <a:tabLst/>
              <a:defRPr/>
            </a:pPr>
            <a:r>
              <a:rPr kumimoji="0" lang="sv-SE" sz="1400" b="0" i="0" u="none" strike="noStrike" kern="0" cap="none" spc="0" normalizeH="0" baseline="0" noProof="0">
                <a:ln>
                  <a:noFill/>
                </a:ln>
                <a:effectLst/>
                <a:uLnTx/>
                <a:uFillTx/>
                <a:ea typeface="+mn-ea"/>
                <a:cs typeface="+mn-cs"/>
                <a:sym typeface="Arial"/>
              </a:rPr>
              <a:t>Metering</a:t>
            </a:r>
          </a:p>
        </p:txBody>
      </p:sp>
      <p:cxnSp>
        <p:nvCxnSpPr>
          <p:cNvPr id="156" name="Rak 155"/>
          <p:cNvCxnSpPr>
            <a:cxnSpLocks/>
            <a:endCxn id="154" idx="3"/>
          </p:cNvCxnSpPr>
          <p:nvPr/>
        </p:nvCxnSpPr>
        <p:spPr bwMode="auto">
          <a:xfrm flipH="1">
            <a:off x="2971178" y="5940365"/>
            <a:ext cx="189674" cy="156592"/>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cxnSp>
        <p:nvCxnSpPr>
          <p:cNvPr id="157" name="Rak 156"/>
          <p:cNvCxnSpPr>
            <a:cxnSpLocks/>
          </p:cNvCxnSpPr>
          <p:nvPr/>
        </p:nvCxnSpPr>
        <p:spPr bwMode="auto">
          <a:xfrm flipH="1">
            <a:off x="2982588" y="5222497"/>
            <a:ext cx="202323" cy="333648"/>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cxnSp>
        <p:nvCxnSpPr>
          <p:cNvPr id="160" name="Rak 159"/>
          <p:cNvCxnSpPr>
            <a:cxnSpLocks/>
            <a:endCxn id="150" idx="3"/>
          </p:cNvCxnSpPr>
          <p:nvPr/>
        </p:nvCxnSpPr>
        <p:spPr bwMode="auto">
          <a:xfrm flipH="1">
            <a:off x="2971178" y="5088251"/>
            <a:ext cx="213735" cy="8337"/>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cxnSp>
        <p:nvCxnSpPr>
          <p:cNvPr id="161" name="Rak 160"/>
          <p:cNvCxnSpPr>
            <a:cxnSpLocks/>
          </p:cNvCxnSpPr>
          <p:nvPr/>
        </p:nvCxnSpPr>
        <p:spPr bwMode="auto">
          <a:xfrm flipH="1">
            <a:off x="2982589" y="4260294"/>
            <a:ext cx="202324" cy="348698"/>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cxnSp>
        <p:nvCxnSpPr>
          <p:cNvPr id="162" name="Rak 161"/>
          <p:cNvCxnSpPr>
            <a:cxnSpLocks/>
          </p:cNvCxnSpPr>
          <p:nvPr/>
        </p:nvCxnSpPr>
        <p:spPr bwMode="auto">
          <a:xfrm flipH="1">
            <a:off x="2982589" y="3549263"/>
            <a:ext cx="202324" cy="96033"/>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cxnSp>
        <p:nvCxnSpPr>
          <p:cNvPr id="163" name="Rak 162"/>
          <p:cNvCxnSpPr>
            <a:cxnSpLocks/>
          </p:cNvCxnSpPr>
          <p:nvPr/>
        </p:nvCxnSpPr>
        <p:spPr bwMode="auto">
          <a:xfrm flipH="1" flipV="1">
            <a:off x="2982589" y="3111152"/>
            <a:ext cx="202324" cy="364391"/>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pic>
        <p:nvPicPr>
          <p:cNvPr id="165" name="Graphic 20">
            <a:extLst>
              <a:ext uri="{FF2B5EF4-FFF2-40B4-BE49-F238E27FC236}">
                <a16:creationId xmlns:a16="http://schemas.microsoft.com/office/drawing/2014/main" id="{0A541B18-09B7-4AA8-8493-82CECC210E3A}"/>
              </a:ext>
            </a:extLst>
          </p:cNvPr>
          <p:cNvPicPr>
            <a:picLocks noChangeAspect="1"/>
          </p:cNvPicPr>
          <p:nvPr/>
        </p:nvPicPr>
        <p:blipFill>
          <a:blip r:embed="rId3" cstate="print">
            <a:alphaModFix amt="81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929" y="4710050"/>
            <a:ext cx="441666" cy="323907"/>
          </a:xfrm>
          <a:prstGeom prst="rect">
            <a:avLst/>
          </a:prstGeom>
        </p:spPr>
      </p:pic>
      <p:pic>
        <p:nvPicPr>
          <p:cNvPr id="166"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88000" y="5711571"/>
            <a:ext cx="136273" cy="174849"/>
          </a:xfrm>
          <a:prstGeom prst="rect">
            <a:avLst/>
          </a:prstGeom>
        </p:spPr>
      </p:pic>
      <p:pic>
        <p:nvPicPr>
          <p:cNvPr id="167"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6441" y="4916026"/>
            <a:ext cx="136273" cy="174849"/>
          </a:xfrm>
          <a:prstGeom prst="rect">
            <a:avLst/>
          </a:prstGeom>
        </p:spPr>
      </p:pic>
      <p:pic>
        <p:nvPicPr>
          <p:cNvPr id="168"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4357" y="3930334"/>
            <a:ext cx="136273" cy="174849"/>
          </a:xfrm>
          <a:prstGeom prst="rect">
            <a:avLst/>
          </a:prstGeom>
        </p:spPr>
      </p:pic>
      <p:pic>
        <p:nvPicPr>
          <p:cNvPr id="169"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30960" y="4018661"/>
            <a:ext cx="136273" cy="174849"/>
          </a:xfrm>
          <a:prstGeom prst="rect">
            <a:avLst/>
          </a:prstGeom>
        </p:spPr>
      </p:pic>
      <p:pic>
        <p:nvPicPr>
          <p:cNvPr id="170"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06616" y="4106986"/>
            <a:ext cx="136273" cy="174849"/>
          </a:xfrm>
          <a:prstGeom prst="rect">
            <a:avLst/>
          </a:prstGeom>
        </p:spPr>
      </p:pic>
      <p:pic>
        <p:nvPicPr>
          <p:cNvPr id="171"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76702" y="3370939"/>
            <a:ext cx="136273" cy="174849"/>
          </a:xfrm>
          <a:prstGeom prst="rect">
            <a:avLst/>
          </a:prstGeom>
        </p:spPr>
      </p:pic>
      <p:pic>
        <p:nvPicPr>
          <p:cNvPr id="172" name="Content Placeholder 11">
            <a:extLst>
              <a:ext uri="{FF2B5EF4-FFF2-40B4-BE49-F238E27FC236}">
                <a16:creationId xmlns:a16="http://schemas.microsoft.com/office/drawing/2014/main" id="{F5F842C5-6877-4E63-A91D-A721D56C15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77895" y="3937695"/>
            <a:ext cx="136273" cy="174849"/>
          </a:xfrm>
          <a:prstGeom prst="rect">
            <a:avLst/>
          </a:prstGeom>
        </p:spPr>
      </p:pic>
      <p:pic>
        <p:nvPicPr>
          <p:cNvPr id="173" name="Graphic 4">
            <a:extLst>
              <a:ext uri="{FF2B5EF4-FFF2-40B4-BE49-F238E27FC236}">
                <a16:creationId xmlns:a16="http://schemas.microsoft.com/office/drawing/2014/main" id="{14BFFC81-02AE-4521-BF4B-90C4A35823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05504" y="4869446"/>
            <a:ext cx="235528" cy="231823"/>
          </a:xfrm>
          <a:prstGeom prst="rect">
            <a:avLst/>
          </a:prstGeom>
        </p:spPr>
      </p:pic>
      <p:pic>
        <p:nvPicPr>
          <p:cNvPr id="174" name="Graphic 4">
            <a:extLst>
              <a:ext uri="{FF2B5EF4-FFF2-40B4-BE49-F238E27FC236}">
                <a16:creationId xmlns:a16="http://schemas.microsoft.com/office/drawing/2014/main" id="{14BFFC81-02AE-4521-BF4B-90C4A35823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51090" y="4648632"/>
            <a:ext cx="235528" cy="231823"/>
          </a:xfrm>
          <a:prstGeom prst="rect">
            <a:avLst/>
          </a:prstGeom>
        </p:spPr>
      </p:pic>
      <p:pic>
        <p:nvPicPr>
          <p:cNvPr id="176" name="Graphic 4">
            <a:extLst>
              <a:ext uri="{FF2B5EF4-FFF2-40B4-BE49-F238E27FC236}">
                <a16:creationId xmlns:a16="http://schemas.microsoft.com/office/drawing/2014/main" id="{14BFFC81-02AE-4521-BF4B-90C4A35823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07097" y="5708542"/>
            <a:ext cx="235528" cy="231823"/>
          </a:xfrm>
          <a:prstGeom prst="rect">
            <a:avLst/>
          </a:prstGeom>
        </p:spPr>
      </p:pic>
      <p:pic>
        <p:nvPicPr>
          <p:cNvPr id="177" name="Graphic 4">
            <a:extLst>
              <a:ext uri="{FF2B5EF4-FFF2-40B4-BE49-F238E27FC236}">
                <a16:creationId xmlns:a16="http://schemas.microsoft.com/office/drawing/2014/main" id="{14BFFC81-02AE-4521-BF4B-90C4A358230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10915" y="3331105"/>
            <a:ext cx="235528" cy="231823"/>
          </a:xfrm>
          <a:prstGeom prst="rect">
            <a:avLst/>
          </a:prstGeom>
        </p:spPr>
      </p:pic>
      <p:sp>
        <p:nvSpPr>
          <p:cNvPr id="3" name="Rectangle 2">
            <a:extLst>
              <a:ext uri="{FF2B5EF4-FFF2-40B4-BE49-F238E27FC236}">
                <a16:creationId xmlns:a16="http://schemas.microsoft.com/office/drawing/2014/main" id="{DFC193A1-E0B9-4CDF-BDA6-EB472BF659FA}"/>
              </a:ext>
            </a:extLst>
          </p:cNvPr>
          <p:cNvSpPr/>
          <p:nvPr/>
        </p:nvSpPr>
        <p:spPr>
          <a:xfrm>
            <a:off x="6166452" y="4529215"/>
            <a:ext cx="167080" cy="338554"/>
          </a:xfrm>
          <a:prstGeom prst="rect">
            <a:avLst/>
          </a:prstGeom>
        </p:spPr>
        <p:txBody>
          <a:bodyPr wrap="none">
            <a:spAutoFit/>
          </a:bodyPr>
          <a:lstStyle/>
          <a:p>
            <a:r>
              <a:rPr lang="sv-SE" sz="1600"/>
              <a:t> </a:t>
            </a:r>
            <a:endParaRPr lang="en-US" sz="1600"/>
          </a:p>
        </p:txBody>
      </p:sp>
      <p:sp>
        <p:nvSpPr>
          <p:cNvPr id="4" name="Rectangle 3">
            <a:extLst>
              <a:ext uri="{FF2B5EF4-FFF2-40B4-BE49-F238E27FC236}">
                <a16:creationId xmlns:a16="http://schemas.microsoft.com/office/drawing/2014/main" id="{EDBE516C-277E-4053-960F-5013A932E58D}"/>
              </a:ext>
            </a:extLst>
          </p:cNvPr>
          <p:cNvSpPr/>
          <p:nvPr/>
        </p:nvSpPr>
        <p:spPr>
          <a:xfrm>
            <a:off x="6166452" y="4529215"/>
            <a:ext cx="167080" cy="338554"/>
          </a:xfrm>
          <a:prstGeom prst="rect">
            <a:avLst/>
          </a:prstGeom>
        </p:spPr>
        <p:txBody>
          <a:bodyPr wrap="none">
            <a:spAutoFit/>
          </a:bodyPr>
          <a:lstStyle/>
          <a:p>
            <a:r>
              <a:rPr lang="sv-SE" sz="1600"/>
              <a:t> </a:t>
            </a:r>
            <a:endParaRPr lang="en-US" sz="1600"/>
          </a:p>
        </p:txBody>
      </p:sp>
      <p:sp>
        <p:nvSpPr>
          <p:cNvPr id="5" name="Rectangle 4">
            <a:extLst>
              <a:ext uri="{FF2B5EF4-FFF2-40B4-BE49-F238E27FC236}">
                <a16:creationId xmlns:a16="http://schemas.microsoft.com/office/drawing/2014/main" id="{ABFC2F7F-9264-44CB-A7DE-543265F08807}"/>
              </a:ext>
            </a:extLst>
          </p:cNvPr>
          <p:cNvSpPr/>
          <p:nvPr/>
        </p:nvSpPr>
        <p:spPr>
          <a:xfrm>
            <a:off x="6166452" y="4529215"/>
            <a:ext cx="167080" cy="338554"/>
          </a:xfrm>
          <a:prstGeom prst="rect">
            <a:avLst/>
          </a:prstGeom>
        </p:spPr>
        <p:txBody>
          <a:bodyPr wrap="none">
            <a:spAutoFit/>
          </a:bodyPr>
          <a:lstStyle/>
          <a:p>
            <a:r>
              <a:rPr lang="sv-SE" sz="1600"/>
              <a:t> </a:t>
            </a:r>
            <a:endParaRPr lang="en-US" sz="1600"/>
          </a:p>
        </p:txBody>
      </p:sp>
      <p:sp>
        <p:nvSpPr>
          <p:cNvPr id="6" name="Rectangle 5">
            <a:extLst>
              <a:ext uri="{FF2B5EF4-FFF2-40B4-BE49-F238E27FC236}">
                <a16:creationId xmlns:a16="http://schemas.microsoft.com/office/drawing/2014/main" id="{49CA6F25-AAEF-4062-A3D5-34EDDEA9D4C4}"/>
              </a:ext>
            </a:extLst>
          </p:cNvPr>
          <p:cNvSpPr/>
          <p:nvPr/>
        </p:nvSpPr>
        <p:spPr>
          <a:xfrm>
            <a:off x="6166452" y="4529215"/>
            <a:ext cx="167080" cy="338554"/>
          </a:xfrm>
          <a:prstGeom prst="rect">
            <a:avLst/>
          </a:prstGeom>
        </p:spPr>
        <p:txBody>
          <a:bodyPr wrap="none">
            <a:spAutoFit/>
          </a:bodyPr>
          <a:lstStyle/>
          <a:p>
            <a:r>
              <a:rPr lang="sv-SE" sz="1600"/>
              <a:t> </a:t>
            </a:r>
            <a:endParaRPr lang="en-US" sz="1600"/>
          </a:p>
        </p:txBody>
      </p:sp>
      <p:grpSp>
        <p:nvGrpSpPr>
          <p:cNvPr id="13" name="Group 12"/>
          <p:cNvGrpSpPr/>
          <p:nvPr/>
        </p:nvGrpSpPr>
        <p:grpSpPr>
          <a:xfrm>
            <a:off x="10409560" y="5273384"/>
            <a:ext cx="1624905" cy="839115"/>
            <a:chOff x="9763097" y="5333344"/>
            <a:chExt cx="1624905" cy="839115"/>
          </a:xfrm>
        </p:grpSpPr>
        <p:sp>
          <p:nvSpPr>
            <p:cNvPr id="106" name="Oval 436">
              <a:extLst>
                <a:ext uri="{FF2B5EF4-FFF2-40B4-BE49-F238E27FC236}">
                  <a16:creationId xmlns:a16="http://schemas.microsoft.com/office/drawing/2014/main" id="{20648CCA-F065-4A53-9CDC-8D3D3D607C8A}"/>
                </a:ext>
              </a:extLst>
            </p:cNvPr>
            <p:cNvSpPr/>
            <p:nvPr/>
          </p:nvSpPr>
          <p:spPr bwMode="auto">
            <a:xfrm>
              <a:off x="9763343" y="5333344"/>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113" name="Oval 232">
              <a:extLst>
                <a:ext uri="{FF2B5EF4-FFF2-40B4-BE49-F238E27FC236}">
                  <a16:creationId xmlns:a16="http://schemas.microsoft.com/office/drawing/2014/main" id="{27E01E70-9E03-4A1A-9001-C61522045727}"/>
                </a:ext>
              </a:extLst>
            </p:cNvPr>
            <p:cNvSpPr/>
            <p:nvPr/>
          </p:nvSpPr>
          <p:spPr bwMode="auto">
            <a:xfrm>
              <a:off x="9763097" y="5784069"/>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7" name="TextBox 6">
              <a:extLst>
                <a:ext uri="{FF2B5EF4-FFF2-40B4-BE49-F238E27FC236}">
                  <a16:creationId xmlns:a16="http://schemas.microsoft.com/office/drawing/2014/main" id="{22860D8C-5032-4B51-8304-BBACCB1F81A4}"/>
                </a:ext>
              </a:extLst>
            </p:cNvPr>
            <p:cNvSpPr txBox="1"/>
            <p:nvPr/>
          </p:nvSpPr>
          <p:spPr bwMode="auto">
            <a:xfrm>
              <a:off x="10162638" y="5417134"/>
              <a:ext cx="1133891" cy="221018"/>
            </a:xfrm>
            <a:prstGeom prst="rect">
              <a:avLst/>
            </a:prstGeom>
            <a:noFill/>
            <a:ln w="9525">
              <a:noFill/>
              <a:miter lim="800000"/>
              <a:headEnd/>
              <a:tailEnd/>
            </a:ln>
          </p:spPr>
          <p:txBody>
            <a:bodyPr vert="horz" wrap="none" lIns="72000" tIns="36000" rIns="0" bIns="0" numCol="1" rtlCol="0" anchor="ctr" anchorCtr="0" compatLnSpc="1">
              <a:prstTxWarp prst="textNoShape">
                <a:avLst/>
              </a:prstTxWarp>
              <a:spAutoFit/>
            </a:bodyPr>
            <a:lstStyle/>
            <a:p>
              <a:pPr>
                <a:buClr>
                  <a:schemeClr val="tx1"/>
                </a:buClr>
              </a:pPr>
              <a:r>
                <a:rPr lang="en-US" sz="1200"/>
                <a:t>3PP Application</a:t>
              </a:r>
            </a:p>
          </p:txBody>
        </p:sp>
        <p:sp>
          <p:nvSpPr>
            <p:cNvPr id="115" name="TextBox 114">
              <a:extLst>
                <a:ext uri="{FF2B5EF4-FFF2-40B4-BE49-F238E27FC236}">
                  <a16:creationId xmlns:a16="http://schemas.microsoft.com/office/drawing/2014/main" id="{8EF96983-2AA7-4BEA-97F5-AC7A4323FF62}"/>
                </a:ext>
              </a:extLst>
            </p:cNvPr>
            <p:cNvSpPr txBox="1"/>
            <p:nvPr/>
          </p:nvSpPr>
          <p:spPr bwMode="auto">
            <a:xfrm>
              <a:off x="10169151" y="5867755"/>
              <a:ext cx="1218851" cy="221018"/>
            </a:xfrm>
            <a:prstGeom prst="rect">
              <a:avLst/>
            </a:prstGeom>
            <a:noFill/>
            <a:ln w="9525">
              <a:noFill/>
              <a:miter lim="800000"/>
              <a:headEnd/>
              <a:tailEnd/>
            </a:ln>
          </p:spPr>
          <p:txBody>
            <a:bodyPr vert="horz" wrap="none" lIns="72000" tIns="36000" rIns="0" bIns="0" numCol="1" rtlCol="0" anchor="ctr" anchorCtr="0" compatLnSpc="1">
              <a:prstTxWarp prst="textNoShape">
                <a:avLst/>
              </a:prstTxWarp>
              <a:spAutoFit/>
            </a:bodyPr>
            <a:lstStyle/>
            <a:p>
              <a:pPr>
                <a:buClr>
                  <a:schemeClr val="tx1"/>
                </a:buClr>
              </a:pPr>
              <a:r>
                <a:rPr lang="en-US" sz="1200"/>
                <a:t>Telco Application</a:t>
              </a:r>
            </a:p>
          </p:txBody>
        </p:sp>
      </p:grpSp>
      <p:grpSp>
        <p:nvGrpSpPr>
          <p:cNvPr id="18" name="Group 17"/>
          <p:cNvGrpSpPr/>
          <p:nvPr/>
        </p:nvGrpSpPr>
        <p:grpSpPr>
          <a:xfrm>
            <a:off x="3154699" y="1853865"/>
            <a:ext cx="6031704" cy="1115911"/>
            <a:chOff x="2125986" y="1853865"/>
            <a:chExt cx="6031704" cy="1115911"/>
          </a:xfrm>
        </p:grpSpPr>
        <p:pic>
          <p:nvPicPr>
            <p:cNvPr id="116" name="Graphic 20"/>
            <p:cNvPicPr>
              <a:picLocks noChangeAspect="1"/>
            </p:cNvPicPr>
            <p:nvPr/>
          </p:nvPicPr>
          <p:blipFill>
            <a:blip r:embed="rId3" cstate="print">
              <a:alphaModFix amt="81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3595" y="2645869"/>
              <a:ext cx="441666" cy="323907"/>
            </a:xfrm>
            <a:prstGeom prst="rect">
              <a:avLst/>
            </a:prstGeom>
            <a:noFill/>
          </p:spPr>
        </p:pic>
        <p:pic>
          <p:nvPicPr>
            <p:cNvPr id="117" name="Graphic 20"/>
            <p:cNvPicPr>
              <a:picLocks noChangeAspect="1"/>
            </p:cNvPicPr>
            <p:nvPr/>
          </p:nvPicPr>
          <p:blipFill>
            <a:blip r:embed="rId3" cstate="print">
              <a:alphaModFix amt="81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02305" y="2645869"/>
              <a:ext cx="441666" cy="323907"/>
            </a:xfrm>
            <a:prstGeom prst="rect">
              <a:avLst/>
            </a:prstGeom>
            <a:noFill/>
          </p:spPr>
        </p:pic>
        <p:sp>
          <p:nvSpPr>
            <p:cNvPr id="100" name="Rectangle 99">
              <a:extLst>
                <a:ext uri="{FF2B5EF4-FFF2-40B4-BE49-F238E27FC236}">
                  <a16:creationId xmlns:a16="http://schemas.microsoft.com/office/drawing/2014/main" id="{6B5B330D-52E0-43C9-80F6-D85D3DD51302}"/>
                </a:ext>
              </a:extLst>
            </p:cNvPr>
            <p:cNvSpPr/>
            <p:nvPr/>
          </p:nvSpPr>
          <p:spPr bwMode="auto">
            <a:xfrm>
              <a:off x="4488587" y="2607996"/>
              <a:ext cx="1560392" cy="359774"/>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sv-SE" sz="1100" b="0" i="0" u="none" strike="noStrike" cap="none" normalizeH="0" baseline="0">
                  <a:ln>
                    <a:noFill/>
                  </a:ln>
                  <a:solidFill>
                    <a:schemeClr val="bg1"/>
                  </a:solidFill>
                  <a:effectLst/>
                </a:rPr>
                <a:t>Aggregation Clouds (100s)</a:t>
              </a:r>
            </a:p>
          </p:txBody>
        </p:sp>
        <p:sp>
          <p:nvSpPr>
            <p:cNvPr id="103" name="Rectangle 102">
              <a:extLst>
                <a:ext uri="{FF2B5EF4-FFF2-40B4-BE49-F238E27FC236}">
                  <a16:creationId xmlns:a16="http://schemas.microsoft.com/office/drawing/2014/main" id="{C5FD5736-E812-4896-82E5-CA90B84D9FF2}"/>
                </a:ext>
              </a:extLst>
            </p:cNvPr>
            <p:cNvSpPr/>
            <p:nvPr/>
          </p:nvSpPr>
          <p:spPr bwMode="auto">
            <a:xfrm>
              <a:off x="6597298" y="2607996"/>
              <a:ext cx="1560392" cy="359774"/>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sv-SE" sz="1100" b="0" i="0" u="none" strike="noStrike" cap="none" normalizeH="0" baseline="0">
                  <a:ln>
                    <a:noFill/>
                  </a:ln>
                  <a:solidFill>
                    <a:schemeClr val="bg1"/>
                  </a:solidFill>
                  <a:effectLst/>
                </a:rPr>
                <a:t>Central  Clouds </a:t>
              </a:r>
              <a:br>
                <a:rPr kumimoji="0" lang="sv-SE" sz="1100" b="0" i="0" u="none" strike="noStrike" cap="none" normalizeH="0" baseline="0">
                  <a:ln>
                    <a:noFill/>
                  </a:ln>
                  <a:solidFill>
                    <a:schemeClr val="bg1"/>
                  </a:solidFill>
                  <a:effectLst/>
                </a:rPr>
              </a:br>
              <a:r>
                <a:rPr kumimoji="0" lang="sv-SE" sz="1100" b="0" i="0" u="none" strike="noStrike" cap="none" normalizeH="0" baseline="0">
                  <a:ln>
                    <a:noFill/>
                  </a:ln>
                  <a:solidFill>
                    <a:schemeClr val="bg1"/>
                  </a:solidFill>
                  <a:effectLst/>
                </a:rPr>
                <a:t>(10s)</a:t>
              </a:r>
            </a:p>
          </p:txBody>
        </p:sp>
        <p:sp>
          <p:nvSpPr>
            <p:cNvPr id="104" name="Rectangle 103">
              <a:extLst>
                <a:ext uri="{FF2B5EF4-FFF2-40B4-BE49-F238E27FC236}">
                  <a16:creationId xmlns:a16="http://schemas.microsoft.com/office/drawing/2014/main" id="{3E188B20-3047-490C-B7A6-A455E03C8454}"/>
                </a:ext>
              </a:extLst>
            </p:cNvPr>
            <p:cNvSpPr/>
            <p:nvPr/>
          </p:nvSpPr>
          <p:spPr bwMode="auto">
            <a:xfrm>
              <a:off x="2135832" y="2607996"/>
              <a:ext cx="1804436" cy="359774"/>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sv-SE" sz="1100" b="0" i="0" u="none" strike="noStrike" cap="none" normalizeH="0" baseline="0">
                  <a:ln>
                    <a:noFill/>
                  </a:ln>
                  <a:solidFill>
                    <a:schemeClr val="bg1"/>
                  </a:solidFill>
                  <a:effectLst/>
                </a:rPr>
                <a:t>Access Clouds / On Prem (1000s)</a:t>
              </a:r>
            </a:p>
          </p:txBody>
        </p:sp>
        <p:sp>
          <p:nvSpPr>
            <p:cNvPr id="105" name="Rounded Rectangle 59">
              <a:extLst>
                <a:ext uri="{FF2B5EF4-FFF2-40B4-BE49-F238E27FC236}">
                  <a16:creationId xmlns:a16="http://schemas.microsoft.com/office/drawing/2014/main" id="{881B6C07-3624-4EA5-9CEA-01B585D810CF}"/>
                </a:ext>
              </a:extLst>
            </p:cNvPr>
            <p:cNvSpPr>
              <a:spLocks noChangeArrowheads="1"/>
            </p:cNvSpPr>
            <p:nvPr/>
          </p:nvSpPr>
          <p:spPr bwMode="auto">
            <a:xfrm>
              <a:off x="2125986" y="1853865"/>
              <a:ext cx="6031704" cy="457200"/>
            </a:xfrm>
            <a:prstGeom prst="rect">
              <a:avLst/>
            </a:prstGeom>
            <a:solidFill>
              <a:schemeClr val="accent2"/>
            </a:solidFill>
            <a:ln w="12700" cmpd="sng">
              <a:noFill/>
              <a:round/>
              <a:headEnd/>
              <a:tailEnd/>
            </a:ln>
          </p:spPr>
          <p:txBody>
            <a:bodyPr wrap="none" lIns="91440" tIns="45718" rIns="91440" bIns="45718"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en-US" sz="1200" kern="0">
                  <a:solidFill>
                    <a:schemeClr val="bg1"/>
                  </a:solidFill>
                </a:rPr>
                <a:t>Orchestration</a:t>
              </a:r>
              <a:br>
                <a:rPr lang="en-US" altLang="en-US" sz="1200" kern="0">
                  <a:solidFill>
                    <a:schemeClr val="bg1"/>
                  </a:solidFill>
                </a:rPr>
              </a:br>
              <a:r>
                <a:rPr lang="en-US" altLang="en-US" sz="1200" kern="0">
                  <a:solidFill>
                    <a:schemeClr val="bg1"/>
                  </a:solidFill>
                </a:rPr>
                <a:t>(automated application placement, lifecycle management &amp; networking)</a:t>
              </a:r>
              <a:endParaRPr kumimoji="0" lang="en-US" altLang="en-US" sz="1200" b="0" i="0" u="none" strike="noStrike" kern="0" cap="none" spc="0" normalizeH="0" baseline="0" noProof="0">
                <a:ln>
                  <a:noFill/>
                </a:ln>
                <a:solidFill>
                  <a:schemeClr val="bg1"/>
                </a:solidFill>
                <a:effectLst/>
                <a:uLnTx/>
                <a:uFillTx/>
              </a:endParaRPr>
            </a:p>
          </p:txBody>
        </p:sp>
        <p:sp>
          <p:nvSpPr>
            <p:cNvPr id="15" name="Arrow: Pentagon 14"/>
            <p:cNvSpPr/>
            <p:nvPr/>
          </p:nvSpPr>
          <p:spPr bwMode="auto">
            <a:xfrm rot="5400000">
              <a:off x="2947702" y="2275404"/>
              <a:ext cx="241788" cy="306723"/>
            </a:xfrm>
            <a:prstGeom prst="homePlate">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0" name="Arrow: Pentagon 119"/>
            <p:cNvSpPr/>
            <p:nvPr/>
          </p:nvSpPr>
          <p:spPr bwMode="auto">
            <a:xfrm rot="5400000">
              <a:off x="4108631" y="2275404"/>
              <a:ext cx="241788" cy="306723"/>
            </a:xfrm>
            <a:prstGeom prst="homePlate">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3" name="Arrow: Pentagon 122"/>
            <p:cNvSpPr/>
            <p:nvPr/>
          </p:nvSpPr>
          <p:spPr bwMode="auto">
            <a:xfrm rot="5400000">
              <a:off x="5149516" y="2275404"/>
              <a:ext cx="241788" cy="306723"/>
            </a:xfrm>
            <a:prstGeom prst="homePlate">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7" name="Arrow: Pentagon 126"/>
            <p:cNvSpPr/>
            <p:nvPr/>
          </p:nvSpPr>
          <p:spPr bwMode="auto">
            <a:xfrm rot="5400000">
              <a:off x="6210974" y="2275404"/>
              <a:ext cx="241788" cy="306723"/>
            </a:xfrm>
            <a:prstGeom prst="homePlate">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8" name="Arrow: Pentagon 127"/>
            <p:cNvSpPr/>
            <p:nvPr/>
          </p:nvSpPr>
          <p:spPr bwMode="auto">
            <a:xfrm rot="5400000">
              <a:off x="7236745" y="2275404"/>
              <a:ext cx="241788" cy="306723"/>
            </a:xfrm>
            <a:prstGeom prst="homePlate">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grpSp>
      <p:sp>
        <p:nvSpPr>
          <p:cNvPr id="110" name="TextBox 109">
            <a:extLst>
              <a:ext uri="{FF2B5EF4-FFF2-40B4-BE49-F238E27FC236}">
                <a16:creationId xmlns:a16="http://schemas.microsoft.com/office/drawing/2014/main" id="{CA0AFEEB-44F7-448F-B98D-974D99B4038C}"/>
              </a:ext>
            </a:extLst>
          </p:cNvPr>
          <p:cNvSpPr txBox="1"/>
          <p:nvPr/>
        </p:nvSpPr>
        <p:spPr bwMode="auto">
          <a:xfrm>
            <a:off x="19375" y="2917709"/>
            <a:ext cx="1460455" cy="775015"/>
          </a:xfrm>
          <a:prstGeom prst="rect">
            <a:avLst/>
          </a:prstGeom>
          <a:noFill/>
          <a:ln w="9525">
            <a:noFill/>
            <a:miter lim="800000"/>
            <a:headEnd/>
            <a:tailEnd/>
          </a:ln>
        </p:spPr>
        <p:txBody>
          <a:bodyPr vert="horz" wrap="none" lIns="72000" tIns="36000" rIns="0" bIns="0" numCol="1" rtlCol="0" anchor="ctr" anchorCtr="0" compatLnSpc="1">
            <a:prstTxWarp prst="textNoShape">
              <a:avLst/>
            </a:prstTxWarp>
            <a:spAutoFit/>
          </a:bodyPr>
          <a:lstStyle/>
          <a:p>
            <a:pPr>
              <a:buClr>
                <a:schemeClr val="tx1"/>
              </a:buClr>
            </a:pPr>
            <a:r>
              <a:rPr lang="en-US" sz="1200" b="1" u="sng"/>
              <a:t>Critical Comm.</a:t>
            </a:r>
            <a:br>
              <a:rPr lang="en-US" sz="1200"/>
            </a:br>
            <a:r>
              <a:rPr lang="en-US" sz="1200"/>
              <a:t>Very high availability</a:t>
            </a:r>
            <a:br>
              <a:rPr lang="en-US" sz="1200"/>
            </a:br>
            <a:r>
              <a:rPr lang="en-US" sz="1200"/>
              <a:t>Very high reliability</a:t>
            </a:r>
            <a:br>
              <a:rPr lang="en-US" sz="1200"/>
            </a:br>
            <a:r>
              <a:rPr lang="en-US" sz="1200"/>
              <a:t>Very Low Latency</a:t>
            </a:r>
          </a:p>
        </p:txBody>
      </p:sp>
      <p:sp>
        <p:nvSpPr>
          <p:cNvPr id="132" name="Oval 365">
            <a:extLst>
              <a:ext uri="{FF2B5EF4-FFF2-40B4-BE49-F238E27FC236}">
                <a16:creationId xmlns:a16="http://schemas.microsoft.com/office/drawing/2014/main" id="{36C83EC0-38B0-4294-8168-B7F5BA4E6353}"/>
              </a:ext>
            </a:extLst>
          </p:cNvPr>
          <p:cNvSpPr/>
          <p:nvPr/>
        </p:nvSpPr>
        <p:spPr bwMode="auto">
          <a:xfrm>
            <a:off x="7743923" y="3645260"/>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133" name="Oval 233">
            <a:extLst>
              <a:ext uri="{FF2B5EF4-FFF2-40B4-BE49-F238E27FC236}">
                <a16:creationId xmlns:a16="http://schemas.microsoft.com/office/drawing/2014/main" id="{95D00E0A-82BE-449F-98A1-133FE67A110A}"/>
              </a:ext>
            </a:extLst>
          </p:cNvPr>
          <p:cNvSpPr/>
          <p:nvPr/>
        </p:nvSpPr>
        <p:spPr bwMode="auto">
          <a:xfrm>
            <a:off x="7341059" y="3653564"/>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135" name="Rektangel 133">
            <a:extLst>
              <a:ext uri="{FF2B5EF4-FFF2-40B4-BE49-F238E27FC236}">
                <a16:creationId xmlns:a16="http://schemas.microsoft.com/office/drawing/2014/main" id="{B03BF351-C492-46C2-A941-1583F08132B5}"/>
              </a:ext>
            </a:extLst>
          </p:cNvPr>
          <p:cNvSpPr/>
          <p:nvPr/>
        </p:nvSpPr>
        <p:spPr bwMode="auto">
          <a:xfrm>
            <a:off x="1507034" y="3964681"/>
            <a:ext cx="1463040" cy="39641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defTabSz="914377" rtl="0" eaLnBrk="1" fontAlgn="base" latinLnBrk="0" hangingPunct="0">
              <a:lnSpc>
                <a:spcPct val="100000"/>
              </a:lnSpc>
              <a:spcBef>
                <a:spcPct val="50000"/>
              </a:spcBef>
              <a:spcAft>
                <a:spcPct val="0"/>
              </a:spcAft>
              <a:buClrTx/>
              <a:buSzTx/>
              <a:buFontTx/>
              <a:buNone/>
              <a:tabLst/>
              <a:defRPr/>
            </a:pPr>
            <a:r>
              <a:rPr kumimoji="0" lang="sv-SE" sz="1400" b="0" i="0" u="none" strike="noStrike" kern="0" cap="none" spc="0" normalizeH="0" baseline="0" noProof="0">
                <a:ln>
                  <a:noFill/>
                </a:ln>
                <a:effectLst/>
                <a:uLnTx/>
                <a:uFillTx/>
                <a:ea typeface="+mn-ea"/>
                <a:cs typeface="+mn-cs"/>
                <a:sym typeface="Arial"/>
              </a:rPr>
              <a:t>eMBB</a:t>
            </a:r>
          </a:p>
        </p:txBody>
      </p:sp>
      <p:cxnSp>
        <p:nvCxnSpPr>
          <p:cNvPr id="136" name="Rak 160">
            <a:extLst>
              <a:ext uri="{FF2B5EF4-FFF2-40B4-BE49-F238E27FC236}">
                <a16:creationId xmlns:a16="http://schemas.microsoft.com/office/drawing/2014/main" id="{C25178E4-029C-4B88-842F-8992E0B3A79E}"/>
              </a:ext>
            </a:extLst>
          </p:cNvPr>
          <p:cNvCxnSpPr>
            <a:cxnSpLocks/>
          </p:cNvCxnSpPr>
          <p:nvPr/>
        </p:nvCxnSpPr>
        <p:spPr bwMode="auto">
          <a:xfrm flipH="1">
            <a:off x="2981485" y="4127101"/>
            <a:ext cx="193254" cy="17583"/>
          </a:xfrm>
          <a:prstGeom prst="line">
            <a:avLst/>
          </a:prstGeom>
          <a:solidFill>
            <a:schemeClr val="accent1"/>
          </a:solidFill>
          <a:ln w="12700" cap="flat" cmpd="sng" algn="ctr">
            <a:solidFill>
              <a:schemeClr val="tx1">
                <a:lumMod val="50000"/>
              </a:schemeClr>
            </a:solidFill>
            <a:prstDash val="solid"/>
            <a:round/>
            <a:headEnd type="none" w="med" len="med"/>
            <a:tailEnd type="oval" w="med" len="med"/>
          </a:ln>
          <a:effectLst/>
        </p:spPr>
      </p:cxnSp>
      <p:sp>
        <p:nvSpPr>
          <p:cNvPr id="144" name="Oval 365">
            <a:extLst>
              <a:ext uri="{FF2B5EF4-FFF2-40B4-BE49-F238E27FC236}">
                <a16:creationId xmlns:a16="http://schemas.microsoft.com/office/drawing/2014/main" id="{41A2EB26-DD47-40B6-AD1E-B0F032FEA2DD}"/>
              </a:ext>
            </a:extLst>
          </p:cNvPr>
          <p:cNvSpPr/>
          <p:nvPr/>
        </p:nvSpPr>
        <p:spPr bwMode="auto">
          <a:xfrm>
            <a:off x="7746072" y="4042277"/>
            <a:ext cx="394643" cy="388599"/>
          </a:xfrm>
          <a:prstGeom prst="ellipse">
            <a:avLst/>
          </a:prstGeom>
          <a:solidFill>
            <a:schemeClr val="accent5"/>
          </a:solidFill>
          <a:ln w="19050" cap="flat" cmpd="sng" algn="ctr">
            <a:noFill/>
            <a:prstDash val="solid"/>
            <a:round/>
            <a:headEnd type="none" w="med" len="med"/>
            <a:tailEnd type="none" w="med" len="med"/>
          </a:ln>
          <a:effectLst/>
        </p:spPr>
        <p:txBody>
          <a:bodyPr wrap="none" lIns="72000" rIns="72000" anchor="ctr"/>
          <a:lstStyle/>
          <a:p>
            <a:pPr marL="0" marR="0" lvl="0" indent="0" algn="ctr" defTabSz="914354"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APP</a:t>
            </a:r>
          </a:p>
        </p:txBody>
      </p:sp>
      <p:sp>
        <p:nvSpPr>
          <p:cNvPr id="145" name="Oval 233">
            <a:extLst>
              <a:ext uri="{FF2B5EF4-FFF2-40B4-BE49-F238E27FC236}">
                <a16:creationId xmlns:a16="http://schemas.microsoft.com/office/drawing/2014/main" id="{45826832-2951-4F54-9046-FFB4CA1AD234}"/>
              </a:ext>
            </a:extLst>
          </p:cNvPr>
          <p:cNvSpPr/>
          <p:nvPr/>
        </p:nvSpPr>
        <p:spPr bwMode="auto">
          <a:xfrm>
            <a:off x="7343208" y="4050581"/>
            <a:ext cx="395136" cy="388390"/>
          </a:xfrm>
          <a:prstGeom prst="ellipse">
            <a:avLst/>
          </a:prstGeom>
          <a:solidFill>
            <a:schemeClr val="accent1"/>
          </a:solidFill>
          <a:ln w="1905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ea typeface="Ericsson Hilda" charset="0"/>
                <a:cs typeface="Ericsson Hilda" charset="0"/>
                <a:sym typeface="Arial"/>
              </a:rPr>
              <a:t>VNF</a:t>
            </a:r>
          </a:p>
        </p:txBody>
      </p:sp>
      <p:sp>
        <p:nvSpPr>
          <p:cNvPr id="146" name="TextBox 145">
            <a:extLst>
              <a:ext uri="{FF2B5EF4-FFF2-40B4-BE49-F238E27FC236}">
                <a16:creationId xmlns:a16="http://schemas.microsoft.com/office/drawing/2014/main" id="{BBC28EA0-57CA-4CA8-90B5-0FE216E68417}"/>
              </a:ext>
            </a:extLst>
          </p:cNvPr>
          <p:cNvSpPr txBox="1"/>
          <p:nvPr/>
        </p:nvSpPr>
        <p:spPr bwMode="auto">
          <a:xfrm>
            <a:off x="22342" y="3964681"/>
            <a:ext cx="1454043" cy="775015"/>
          </a:xfrm>
          <a:prstGeom prst="rect">
            <a:avLst/>
          </a:prstGeom>
          <a:noFill/>
          <a:ln w="9525">
            <a:noFill/>
            <a:miter lim="800000"/>
            <a:headEnd/>
            <a:tailEnd/>
          </a:ln>
        </p:spPr>
        <p:txBody>
          <a:bodyPr vert="horz" wrap="none" lIns="72000" tIns="36000" rIns="0" bIns="0" numCol="1" rtlCol="0" anchor="ctr" anchorCtr="0" compatLnSpc="1">
            <a:prstTxWarp prst="textNoShape">
              <a:avLst/>
            </a:prstTxWarp>
            <a:spAutoFit/>
          </a:bodyPr>
          <a:lstStyle/>
          <a:p>
            <a:pPr>
              <a:buClr>
                <a:schemeClr val="tx1"/>
              </a:buClr>
            </a:pPr>
            <a:r>
              <a:rPr lang="en-US" sz="1200" b="1" u="sng" err="1"/>
              <a:t>eMBB</a:t>
            </a:r>
            <a:br>
              <a:rPr lang="en-US" sz="1200"/>
            </a:br>
            <a:r>
              <a:rPr lang="en-US" sz="1200"/>
              <a:t>Wide Area coverage</a:t>
            </a:r>
            <a:br>
              <a:rPr lang="en-US" sz="1200"/>
            </a:br>
            <a:r>
              <a:rPr lang="en-US" sz="1200"/>
              <a:t>Internet access</a:t>
            </a:r>
            <a:br>
              <a:rPr lang="en-US" sz="1200"/>
            </a:br>
            <a:r>
              <a:rPr lang="en-US" sz="1200"/>
              <a:t>Operator services</a:t>
            </a:r>
          </a:p>
        </p:txBody>
      </p:sp>
      <p:sp>
        <p:nvSpPr>
          <p:cNvPr id="147" name="TextBox 146">
            <a:extLst>
              <a:ext uri="{FF2B5EF4-FFF2-40B4-BE49-F238E27FC236}">
                <a16:creationId xmlns:a16="http://schemas.microsoft.com/office/drawing/2014/main" id="{88C5E293-AAF8-40F3-B521-6431F714C122}"/>
              </a:ext>
            </a:extLst>
          </p:cNvPr>
          <p:cNvSpPr txBox="1"/>
          <p:nvPr/>
        </p:nvSpPr>
        <p:spPr bwMode="auto">
          <a:xfrm>
            <a:off x="14215" y="4877333"/>
            <a:ext cx="1438425" cy="959681"/>
          </a:xfrm>
          <a:prstGeom prst="rect">
            <a:avLst/>
          </a:prstGeom>
          <a:noFill/>
          <a:ln w="9525">
            <a:noFill/>
            <a:miter lim="800000"/>
            <a:headEnd/>
            <a:tailEnd/>
          </a:ln>
        </p:spPr>
        <p:txBody>
          <a:bodyPr vert="horz" wrap="square" lIns="72000" tIns="36000" rIns="0" bIns="0" numCol="1" rtlCol="0" anchor="ctr" anchorCtr="0" compatLnSpc="1">
            <a:prstTxWarp prst="textNoShape">
              <a:avLst/>
            </a:prstTxWarp>
            <a:spAutoFit/>
          </a:bodyPr>
          <a:lstStyle/>
          <a:p>
            <a:pPr>
              <a:buClr>
                <a:schemeClr val="tx1"/>
              </a:buClr>
            </a:pPr>
            <a:r>
              <a:rPr lang="en-US" sz="1200" b="1" u="sng"/>
              <a:t>Industry &amp; </a:t>
            </a:r>
            <a:br>
              <a:rPr lang="en-US" sz="1200" b="1" u="sng"/>
            </a:br>
            <a:r>
              <a:rPr lang="en-US" sz="1200" b="1" u="sng"/>
              <a:t>Enterprise</a:t>
            </a:r>
            <a:br>
              <a:rPr lang="en-US" sz="1200"/>
            </a:br>
            <a:r>
              <a:rPr lang="en-US" sz="1200"/>
              <a:t>High availability</a:t>
            </a:r>
            <a:br>
              <a:rPr lang="en-US" sz="1200"/>
            </a:br>
            <a:r>
              <a:rPr lang="en-US" sz="1200"/>
              <a:t>High reliability</a:t>
            </a:r>
            <a:br>
              <a:rPr lang="en-US" sz="1200"/>
            </a:br>
            <a:r>
              <a:rPr lang="en-US" sz="1200"/>
              <a:t>Low Latency</a:t>
            </a:r>
          </a:p>
        </p:txBody>
      </p:sp>
      <p:sp>
        <p:nvSpPr>
          <p:cNvPr id="149" name="TextBox 148">
            <a:extLst>
              <a:ext uri="{FF2B5EF4-FFF2-40B4-BE49-F238E27FC236}">
                <a16:creationId xmlns:a16="http://schemas.microsoft.com/office/drawing/2014/main" id="{CB584FB6-61F1-494C-9CFC-3C20940123C5}"/>
              </a:ext>
            </a:extLst>
          </p:cNvPr>
          <p:cNvSpPr txBox="1"/>
          <p:nvPr/>
        </p:nvSpPr>
        <p:spPr bwMode="auto">
          <a:xfrm>
            <a:off x="22342" y="5837014"/>
            <a:ext cx="1274955" cy="775015"/>
          </a:xfrm>
          <a:prstGeom prst="rect">
            <a:avLst/>
          </a:prstGeom>
          <a:noFill/>
          <a:ln w="9525">
            <a:noFill/>
            <a:miter lim="800000"/>
            <a:headEnd/>
            <a:tailEnd/>
          </a:ln>
        </p:spPr>
        <p:txBody>
          <a:bodyPr vert="horz" wrap="none" lIns="72000" tIns="36000" rIns="0" bIns="0" numCol="1" rtlCol="0" anchor="ctr" anchorCtr="0" compatLnSpc="1">
            <a:prstTxWarp prst="textNoShape">
              <a:avLst/>
            </a:prstTxWarp>
            <a:spAutoFit/>
          </a:bodyPr>
          <a:lstStyle/>
          <a:p>
            <a:pPr>
              <a:buClr>
                <a:schemeClr val="tx1"/>
              </a:buClr>
            </a:pPr>
            <a:r>
              <a:rPr lang="en-US" sz="1200" b="1" u="sng"/>
              <a:t>Massive MTC</a:t>
            </a:r>
            <a:br>
              <a:rPr lang="en-US" sz="1200"/>
            </a:br>
            <a:r>
              <a:rPr lang="en-US" sz="1200"/>
              <a:t>Low cost</a:t>
            </a:r>
            <a:br>
              <a:rPr lang="en-US" sz="1200"/>
            </a:br>
            <a:r>
              <a:rPr lang="en-US" sz="1200"/>
              <a:t>Low energy</a:t>
            </a:r>
            <a:br>
              <a:rPr lang="en-US" sz="1200"/>
            </a:br>
            <a:r>
              <a:rPr lang="en-US" sz="1200"/>
              <a:t>Massive numbers</a:t>
            </a:r>
          </a:p>
        </p:txBody>
      </p:sp>
    </p:spTree>
    <p:extLst>
      <p:ext uri="{BB962C8B-B14F-4D97-AF65-F5344CB8AC3E}">
        <p14:creationId xmlns:p14="http://schemas.microsoft.com/office/powerpoint/2010/main" val="33426025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TextBox 283">
            <a:extLst>
              <a:ext uri="{FF2B5EF4-FFF2-40B4-BE49-F238E27FC236}">
                <a16:creationId xmlns:a16="http://schemas.microsoft.com/office/drawing/2014/main" id="{E60BDF3B-B5F2-491F-AA8A-345E1A239161}"/>
              </a:ext>
            </a:extLst>
          </p:cNvPr>
          <p:cNvSpPr txBox="1"/>
          <p:nvPr/>
        </p:nvSpPr>
        <p:spPr>
          <a:xfrm>
            <a:off x="7429684" y="1726374"/>
            <a:ext cx="1911712" cy="340519"/>
          </a:xfrm>
          <a:prstGeom prst="roundRect">
            <a:avLst/>
          </a:prstGeom>
          <a:solidFill>
            <a:schemeClr val="tx2"/>
          </a:solid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400" b="0" i="0" u="none" strike="noStrike" kern="1200" cap="none" spc="0" normalizeH="0" baseline="0" noProof="0">
                <a:ln>
                  <a:noFill/>
                </a:ln>
                <a:solidFill>
                  <a:srgbClr val="FFFFFF"/>
                </a:solidFill>
                <a:effectLst/>
                <a:uLnTx/>
                <a:uFillTx/>
                <a:ea typeface="+mn-ea"/>
                <a:cs typeface="+mn-cs"/>
              </a:rPr>
              <a:t>DECOR</a:t>
            </a:r>
          </a:p>
        </p:txBody>
      </p:sp>
      <p:sp>
        <p:nvSpPr>
          <p:cNvPr id="114" name="Content Placeholder 45"/>
          <p:cNvSpPr>
            <a:spLocks noGrp="1"/>
          </p:cNvSpPr>
          <p:nvPr>
            <p:ph sz="quarter" idx="3"/>
          </p:nvPr>
        </p:nvSpPr>
        <p:spPr>
          <a:xfrm>
            <a:off x="2468029" y="5248280"/>
            <a:ext cx="2046984" cy="830997"/>
          </a:xfrm>
        </p:spPr>
        <p:txBody>
          <a:bodyPr wrap="square">
            <a:spAutoFit/>
          </a:bodyPr>
          <a:lstStyle/>
          <a:p>
            <a:pPr>
              <a:spcBef>
                <a:spcPts val="600"/>
              </a:spcBef>
            </a:pPr>
            <a:r>
              <a:rPr lang="en-US" sz="1100"/>
              <a:t>Separate DNN/APNs for isolating UP sessions</a:t>
            </a:r>
          </a:p>
          <a:p>
            <a:pPr>
              <a:spcBef>
                <a:spcPts val="600"/>
              </a:spcBef>
            </a:pPr>
            <a:r>
              <a:rPr lang="en-US" sz="1100"/>
              <a:t>Requires CN support</a:t>
            </a:r>
          </a:p>
          <a:p>
            <a:pPr>
              <a:spcBef>
                <a:spcPts val="600"/>
              </a:spcBef>
            </a:pPr>
            <a:r>
              <a:rPr lang="en-US" sz="1100"/>
              <a:t>All device types supported</a:t>
            </a:r>
          </a:p>
        </p:txBody>
      </p:sp>
      <p:sp>
        <p:nvSpPr>
          <p:cNvPr id="131" name="Content Placeholder 45"/>
          <p:cNvSpPr>
            <a:spLocks noGrp="1"/>
          </p:cNvSpPr>
          <p:nvPr>
            <p:ph sz="quarter" idx="2"/>
          </p:nvPr>
        </p:nvSpPr>
        <p:spPr>
          <a:xfrm>
            <a:off x="45265" y="5267864"/>
            <a:ext cx="2190923" cy="1073559"/>
          </a:xfrm>
        </p:spPr>
        <p:txBody>
          <a:bodyPr wrap="square">
            <a:spAutoFit/>
          </a:bodyPr>
          <a:lstStyle/>
          <a:p>
            <a:pPr>
              <a:spcBef>
                <a:spcPts val="600"/>
              </a:spcBef>
            </a:pPr>
            <a:r>
              <a:rPr lang="en-US" sz="1100"/>
              <a:t>CN selection by RAN using  PLMN ID’s</a:t>
            </a:r>
          </a:p>
          <a:p>
            <a:pPr>
              <a:spcBef>
                <a:spcPts val="600"/>
              </a:spcBef>
            </a:pPr>
            <a:r>
              <a:rPr lang="en-US" sz="1100"/>
              <a:t>Requires RAN and Core support</a:t>
            </a:r>
          </a:p>
          <a:p>
            <a:pPr>
              <a:spcBef>
                <a:spcPts val="600"/>
              </a:spcBef>
            </a:pPr>
            <a:r>
              <a:rPr lang="en-US" sz="1100"/>
              <a:t>All device types supported</a:t>
            </a:r>
          </a:p>
        </p:txBody>
      </p:sp>
      <p:sp>
        <p:nvSpPr>
          <p:cNvPr id="46" name="Content Placeholder 45"/>
          <p:cNvSpPr>
            <a:spLocks noGrp="1"/>
          </p:cNvSpPr>
          <p:nvPr>
            <p:ph sz="quarter" idx="1"/>
          </p:nvPr>
        </p:nvSpPr>
        <p:spPr>
          <a:xfrm>
            <a:off x="7331866" y="5242525"/>
            <a:ext cx="2019762" cy="1073559"/>
          </a:xfrm>
        </p:spPr>
        <p:txBody>
          <a:bodyPr wrap="square">
            <a:spAutoFit/>
          </a:bodyPr>
          <a:lstStyle/>
          <a:p>
            <a:pPr>
              <a:spcBef>
                <a:spcPts val="600"/>
              </a:spcBef>
            </a:pPr>
            <a:r>
              <a:rPr lang="en-US" sz="1100"/>
              <a:t>CN selection using  HSS info (UE Usage Type)</a:t>
            </a:r>
          </a:p>
          <a:p>
            <a:pPr>
              <a:spcBef>
                <a:spcPts val="600"/>
              </a:spcBef>
            </a:pPr>
            <a:r>
              <a:rPr lang="en-US" sz="1100"/>
              <a:t>Requires CN and RAN support</a:t>
            </a:r>
          </a:p>
          <a:p>
            <a:pPr>
              <a:spcBef>
                <a:spcPts val="600"/>
              </a:spcBef>
            </a:pPr>
            <a:r>
              <a:rPr lang="en-US" sz="1100"/>
              <a:t>All device types supported</a:t>
            </a:r>
          </a:p>
        </p:txBody>
      </p:sp>
      <p:sp>
        <p:nvSpPr>
          <p:cNvPr id="132" name="TextBox 131"/>
          <p:cNvSpPr txBox="1"/>
          <p:nvPr/>
        </p:nvSpPr>
        <p:spPr>
          <a:xfrm>
            <a:off x="246103" y="1698134"/>
            <a:ext cx="2080920" cy="340519"/>
          </a:xfrm>
          <a:prstGeom prst="roundRect">
            <a:avLst/>
          </a:prstGeom>
          <a:solidFill>
            <a:schemeClr val="tx2"/>
          </a:solid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400" b="0" i="0" u="none" strike="noStrike" kern="1200" cap="none" spc="0" normalizeH="0" baseline="0" noProof="0">
                <a:ln>
                  <a:noFill/>
                </a:ln>
                <a:solidFill>
                  <a:srgbClr val="FFFFFF"/>
                </a:solidFill>
                <a:effectLst/>
                <a:uLnTx/>
                <a:uFillTx/>
                <a:ea typeface="+mn-ea"/>
                <a:cs typeface="+mn-cs"/>
              </a:rPr>
              <a:t>PLMN</a:t>
            </a:r>
          </a:p>
        </p:txBody>
      </p:sp>
      <p:sp>
        <p:nvSpPr>
          <p:cNvPr id="137" name="Cloud 129"/>
          <p:cNvSpPr/>
          <p:nvPr/>
        </p:nvSpPr>
        <p:spPr bwMode="auto">
          <a:xfrm>
            <a:off x="1433578" y="2212977"/>
            <a:ext cx="997490" cy="749693"/>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160" name="AutoShape 340"/>
          <p:cNvSpPr>
            <a:spLocks noChangeAspect="1" noChangeArrowheads="1"/>
          </p:cNvSpPr>
          <p:nvPr/>
        </p:nvSpPr>
        <p:spPr bwMode="auto">
          <a:xfrm>
            <a:off x="1872588" y="2800944"/>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61" name="Freeform 341"/>
          <p:cNvSpPr>
            <a:spLocks noChangeAspect="1" noEditPoints="1"/>
          </p:cNvSpPr>
          <p:nvPr/>
        </p:nvSpPr>
        <p:spPr bwMode="auto">
          <a:xfrm>
            <a:off x="1867054" y="2795712"/>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162" name="Text Box 5"/>
          <p:cNvSpPr txBox="1">
            <a:spLocks noChangeAspect="1" noChangeArrowheads="1"/>
          </p:cNvSpPr>
          <p:nvPr/>
        </p:nvSpPr>
        <p:spPr bwMode="auto">
          <a:xfrm>
            <a:off x="1888316" y="3084543"/>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C-SGN</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59" name="AutoShape 343"/>
          <p:cNvSpPr>
            <a:spLocks noChangeAspect="1" noChangeArrowheads="1"/>
          </p:cNvSpPr>
          <p:nvPr/>
        </p:nvSpPr>
        <p:spPr bwMode="auto">
          <a:xfrm>
            <a:off x="1867345" y="2795712"/>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34" name="Cloud 129"/>
          <p:cNvSpPr/>
          <p:nvPr/>
        </p:nvSpPr>
        <p:spPr bwMode="auto">
          <a:xfrm>
            <a:off x="171941" y="2250913"/>
            <a:ext cx="997490" cy="749693"/>
          </a:xfrm>
          <a:prstGeom prst="cloud">
            <a:avLst/>
          </a:prstGeom>
          <a:solidFill>
            <a:schemeClr val="bg1"/>
          </a:solidFill>
          <a:ln w="15875" cap="flat" cmpd="sng" algn="ctr">
            <a:solidFill>
              <a:schemeClr val="accent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165" name="AutoShape 340"/>
          <p:cNvSpPr>
            <a:spLocks noChangeAspect="1" noChangeArrowheads="1"/>
          </p:cNvSpPr>
          <p:nvPr/>
        </p:nvSpPr>
        <p:spPr bwMode="auto">
          <a:xfrm>
            <a:off x="412861" y="2818799"/>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66" name="Freeform 341"/>
          <p:cNvSpPr>
            <a:spLocks noChangeAspect="1" noEditPoints="1"/>
          </p:cNvSpPr>
          <p:nvPr/>
        </p:nvSpPr>
        <p:spPr bwMode="auto">
          <a:xfrm>
            <a:off x="407327" y="2813567"/>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167" name="Text Box 5"/>
          <p:cNvSpPr txBox="1">
            <a:spLocks noChangeAspect="1" noChangeArrowheads="1"/>
          </p:cNvSpPr>
          <p:nvPr/>
        </p:nvSpPr>
        <p:spPr bwMode="auto">
          <a:xfrm>
            <a:off x="428589" y="3102397"/>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ME</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64" name="AutoShape 343"/>
          <p:cNvSpPr>
            <a:spLocks noChangeAspect="1" noChangeArrowheads="1"/>
          </p:cNvSpPr>
          <p:nvPr/>
        </p:nvSpPr>
        <p:spPr bwMode="auto">
          <a:xfrm>
            <a:off x="407618" y="2813567"/>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56" name="Sexhörning 63"/>
          <p:cNvSpPr/>
          <p:nvPr/>
        </p:nvSpPr>
        <p:spPr bwMode="auto">
          <a:xfrm>
            <a:off x="578139" y="4008061"/>
            <a:ext cx="572943"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7" name="Freeform 61"/>
          <p:cNvSpPr>
            <a:spLocks noChangeAspect="1" noEditPoints="1"/>
          </p:cNvSpPr>
          <p:nvPr/>
        </p:nvSpPr>
        <p:spPr bwMode="auto">
          <a:xfrm>
            <a:off x="732475" y="4050524"/>
            <a:ext cx="241831" cy="346934"/>
          </a:xfrm>
          <a:custGeom>
            <a:avLst/>
            <a:gdLst>
              <a:gd name="T0" fmla="*/ 350 w 292"/>
              <a:gd name="T1" fmla="*/ 484 h 444"/>
              <a:gd name="T2" fmla="*/ 16 w 292"/>
              <a:gd name="T3" fmla="*/ 484 h 444"/>
              <a:gd name="T4" fmla="*/ 16 w 292"/>
              <a:gd name="T5" fmla="*/ 101 h 444"/>
              <a:gd name="T6" fmla="*/ 350 w 292"/>
              <a:gd name="T7" fmla="*/ 101 h 444"/>
              <a:gd name="T8" fmla="*/ 370 w 292"/>
              <a:gd name="T9" fmla="*/ 142 h 444"/>
              <a:gd name="T10" fmla="*/ 338 w 292"/>
              <a:gd name="T11" fmla="*/ 16 h 444"/>
              <a:gd name="T12" fmla="*/ 261 w 292"/>
              <a:gd name="T13" fmla="*/ 16 h 444"/>
              <a:gd name="T14" fmla="*/ 0 w 292"/>
              <a:gd name="T15" fmla="*/ 101 h 444"/>
              <a:gd name="T16" fmla="*/ 0 w 292"/>
              <a:gd name="T17" fmla="*/ 484 h 444"/>
              <a:gd name="T18" fmla="*/ 370 w 292"/>
              <a:gd name="T19" fmla="*/ 484 h 444"/>
              <a:gd name="T20" fmla="*/ 335 w 292"/>
              <a:gd name="T21" fmla="*/ 239 h 444"/>
              <a:gd name="T22" fmla="*/ 296 w 292"/>
              <a:gd name="T23" fmla="*/ 68 h 444"/>
              <a:gd name="T24" fmla="*/ 37 w 292"/>
              <a:gd name="T25" fmla="*/ 110 h 444"/>
              <a:gd name="T26" fmla="*/ 77 w 292"/>
              <a:gd name="T27" fmla="*/ 279 h 444"/>
              <a:gd name="T28" fmla="*/ 335 w 292"/>
              <a:gd name="T29" fmla="*/ 239 h 444"/>
              <a:gd name="T30" fmla="*/ 296 w 292"/>
              <a:gd name="T31" fmla="*/ 259 h 444"/>
              <a:gd name="T32" fmla="*/ 53 w 292"/>
              <a:gd name="T33" fmla="*/ 239 h 444"/>
              <a:gd name="T34" fmla="*/ 77 w 292"/>
              <a:gd name="T35" fmla="*/ 94 h 444"/>
              <a:gd name="T36" fmla="*/ 315 w 292"/>
              <a:gd name="T37" fmla="*/ 110 h 444"/>
              <a:gd name="T38" fmla="*/ 151 w 292"/>
              <a:gd name="T39" fmla="*/ 511 h 444"/>
              <a:gd name="T40" fmla="*/ 143 w 292"/>
              <a:gd name="T41" fmla="*/ 502 h 444"/>
              <a:gd name="T42" fmla="*/ 195 w 292"/>
              <a:gd name="T43" fmla="*/ 502 h 444"/>
              <a:gd name="T44" fmla="*/ 219 w 292"/>
              <a:gd name="T45" fmla="*/ 511 h 444"/>
              <a:gd name="T46" fmla="*/ 209 w 292"/>
              <a:gd name="T47" fmla="*/ 502 h 444"/>
              <a:gd name="T48" fmla="*/ 104 w 292"/>
              <a:gd name="T49" fmla="*/ 299 h 444"/>
              <a:gd name="T50" fmla="*/ 51 w 292"/>
              <a:gd name="T51" fmla="*/ 330 h 444"/>
              <a:gd name="T52" fmla="*/ 127 w 292"/>
              <a:gd name="T53" fmla="*/ 330 h 444"/>
              <a:gd name="T54" fmla="*/ 204 w 292"/>
              <a:gd name="T55" fmla="*/ 350 h 444"/>
              <a:gd name="T56" fmla="*/ 204 w 292"/>
              <a:gd name="T57" fmla="*/ 299 h 444"/>
              <a:gd name="T58" fmla="*/ 147 w 292"/>
              <a:gd name="T59" fmla="*/ 330 h 444"/>
              <a:gd name="T60" fmla="*/ 302 w 292"/>
              <a:gd name="T61" fmla="*/ 299 h 444"/>
              <a:gd name="T62" fmla="*/ 246 w 292"/>
              <a:gd name="T63" fmla="*/ 330 h 444"/>
              <a:gd name="T64" fmla="*/ 322 w 292"/>
              <a:gd name="T65" fmla="*/ 330 h 444"/>
              <a:gd name="T66" fmla="*/ 104 w 292"/>
              <a:gd name="T67" fmla="*/ 363 h 444"/>
              <a:gd name="T68" fmla="*/ 51 w 292"/>
              <a:gd name="T69" fmla="*/ 395 h 444"/>
              <a:gd name="T70" fmla="*/ 127 w 292"/>
              <a:gd name="T71" fmla="*/ 395 h 444"/>
              <a:gd name="T72" fmla="*/ 168 w 292"/>
              <a:gd name="T73" fmla="*/ 413 h 444"/>
              <a:gd name="T74" fmla="*/ 224 w 292"/>
              <a:gd name="T75" fmla="*/ 382 h 444"/>
              <a:gd name="T76" fmla="*/ 147 w 292"/>
              <a:gd name="T77" fmla="*/ 382 h 444"/>
              <a:gd name="T78" fmla="*/ 302 w 292"/>
              <a:gd name="T79" fmla="*/ 363 h 444"/>
              <a:gd name="T80" fmla="*/ 246 w 292"/>
              <a:gd name="T81" fmla="*/ 395 h 444"/>
              <a:gd name="T82" fmla="*/ 322 w 292"/>
              <a:gd name="T83" fmla="*/ 395 h 444"/>
              <a:gd name="T84" fmla="*/ 71 w 292"/>
              <a:gd name="T85" fmla="*/ 426 h 444"/>
              <a:gd name="T86" fmla="*/ 71 w 292"/>
              <a:gd name="T87" fmla="*/ 476 h 444"/>
              <a:gd name="T88" fmla="*/ 127 w 292"/>
              <a:gd name="T89" fmla="*/ 447 h 444"/>
              <a:gd name="T90" fmla="*/ 224 w 292"/>
              <a:gd name="T91" fmla="*/ 447 h 444"/>
              <a:gd name="T92" fmla="*/ 147 w 292"/>
              <a:gd name="T93" fmla="*/ 447 h 444"/>
              <a:gd name="T94" fmla="*/ 204 w 292"/>
              <a:gd name="T95" fmla="*/ 476 h 444"/>
              <a:gd name="T96" fmla="*/ 266 w 292"/>
              <a:gd name="T97" fmla="*/ 426 h 444"/>
              <a:gd name="T98" fmla="*/ 266 w 292"/>
              <a:gd name="T99" fmla="*/ 476 h 444"/>
              <a:gd name="T100" fmla="*/ 322 w 292"/>
              <a:gd name="T101" fmla="*/ 447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tx2"/>
          </a:solidFill>
          <a:ln w="6350">
            <a:noFill/>
            <a:round/>
            <a:headEnd/>
            <a:tailEnd/>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4" name="Freeform 3"/>
          <p:cNvSpPr>
            <a:spLocks noChangeAspect="1" noEditPoints="1"/>
          </p:cNvSpPr>
          <p:nvPr/>
        </p:nvSpPr>
        <p:spPr bwMode="auto">
          <a:xfrm>
            <a:off x="1357108" y="4139429"/>
            <a:ext cx="450822" cy="19795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55" name="Sexhörning 63"/>
          <p:cNvSpPr/>
          <p:nvPr/>
        </p:nvSpPr>
        <p:spPr bwMode="auto">
          <a:xfrm>
            <a:off x="1296351" y="4041532"/>
            <a:ext cx="572943"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2" name="Freeform 3"/>
          <p:cNvSpPr>
            <a:spLocks noChangeAspect="1" noEditPoints="1"/>
          </p:cNvSpPr>
          <p:nvPr/>
        </p:nvSpPr>
        <p:spPr bwMode="auto">
          <a:xfrm>
            <a:off x="1396055" y="4568547"/>
            <a:ext cx="365234" cy="36067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53" name="Sexhörning 63"/>
          <p:cNvSpPr/>
          <p:nvPr/>
        </p:nvSpPr>
        <p:spPr bwMode="auto">
          <a:xfrm>
            <a:off x="1292201" y="4509436"/>
            <a:ext cx="572943"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0" name="Freeform 6"/>
          <p:cNvSpPr>
            <a:spLocks noChangeAspect="1" noEditPoints="1"/>
          </p:cNvSpPr>
          <p:nvPr/>
        </p:nvSpPr>
        <p:spPr bwMode="auto">
          <a:xfrm>
            <a:off x="1859653" y="4307818"/>
            <a:ext cx="381715" cy="36155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51" name="Sexhörning 63"/>
          <p:cNvSpPr/>
          <p:nvPr/>
        </p:nvSpPr>
        <p:spPr bwMode="auto">
          <a:xfrm>
            <a:off x="1767298" y="4278540"/>
            <a:ext cx="572943"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35" name="Rectangle 255"/>
          <p:cNvSpPr>
            <a:spLocks noChangeArrowheads="1"/>
          </p:cNvSpPr>
          <p:nvPr/>
        </p:nvSpPr>
        <p:spPr bwMode="auto">
          <a:xfrm>
            <a:off x="230027" y="2351666"/>
            <a:ext cx="875033"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1: MBB</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PLMN #1</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138" name="Rectangle 255"/>
          <p:cNvSpPr>
            <a:spLocks noChangeArrowheads="1"/>
          </p:cNvSpPr>
          <p:nvPr/>
        </p:nvSpPr>
        <p:spPr bwMode="auto">
          <a:xfrm>
            <a:off x="1477515" y="2313730"/>
            <a:ext cx="849507"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2: </a:t>
            </a:r>
            <a:r>
              <a:rPr kumimoji="0" lang="sv-SE" altLang="sv-SE" sz="1000" b="0" i="0" u="none" strike="noStrike" kern="1200" cap="none" spc="0" normalizeH="0" baseline="0" noProof="0" err="1">
                <a:ln>
                  <a:noFill/>
                </a:ln>
                <a:solidFill>
                  <a:srgbClr val="575A5B"/>
                </a:solidFill>
                <a:effectLst/>
                <a:uLnTx/>
                <a:uFillTx/>
                <a:latin typeface="+mn-lt"/>
                <a:ea typeface="+mn-ea"/>
                <a:cs typeface="+mn-cs"/>
              </a:rPr>
              <a:t>IoT</a:t>
            </a:r>
            <a:endParaRPr kumimoji="0" lang="sv-SE" altLang="sv-SE" sz="1000" b="0" i="0" u="none" strike="noStrike" kern="1200" cap="none" spc="0" normalizeH="0" baseline="0" noProof="0">
              <a:ln>
                <a:noFill/>
              </a:ln>
              <a:solidFill>
                <a:srgbClr val="575A5B"/>
              </a:solidFill>
              <a:effectLst/>
              <a:uLnTx/>
              <a:uFillTx/>
              <a:latin typeface="+mn-lt"/>
              <a:ea typeface="+mn-ea"/>
              <a:cs typeface="+mn-cs"/>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PLMN #2</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141" name="Oval 140"/>
          <p:cNvSpPr/>
          <p:nvPr/>
        </p:nvSpPr>
        <p:spPr bwMode="auto">
          <a:xfrm>
            <a:off x="383910" y="3474360"/>
            <a:ext cx="1885889" cy="346421"/>
          </a:xfrm>
          <a:prstGeom prst="ellipse">
            <a:avLst/>
          </a:prstGeom>
          <a:solidFill>
            <a:schemeClr val="tx1">
              <a:lumMod val="20000"/>
              <a:lumOff val="80000"/>
            </a:schemeClr>
          </a:solid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72000" rIns="7200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900" b="0" i="0" u="none" strike="noStrike" kern="1200" cap="none" spc="0" normalizeH="0" baseline="0" noProof="0">
                <a:ln>
                  <a:noFill/>
                </a:ln>
                <a:solidFill>
                  <a:srgbClr val="575A5B"/>
                </a:solidFill>
                <a:effectLst/>
                <a:uLnTx/>
                <a:uFillTx/>
                <a:ea typeface="+mn-ea"/>
                <a:cs typeface="+mn-cs"/>
              </a:rPr>
              <a:t>3GPP Access</a:t>
            </a:r>
          </a:p>
        </p:txBody>
      </p:sp>
      <p:sp>
        <p:nvSpPr>
          <p:cNvPr id="145" name="Freeform 144"/>
          <p:cNvSpPr/>
          <p:nvPr/>
        </p:nvSpPr>
        <p:spPr bwMode="auto">
          <a:xfrm>
            <a:off x="1492008" y="3241580"/>
            <a:ext cx="314117"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46" name="Freeform 145"/>
          <p:cNvSpPr/>
          <p:nvPr/>
        </p:nvSpPr>
        <p:spPr bwMode="auto">
          <a:xfrm flipH="1">
            <a:off x="684744" y="3250501"/>
            <a:ext cx="314394"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48" name="Freeform 147"/>
          <p:cNvSpPr>
            <a:spLocks noChangeAspect="1" noEditPoints="1"/>
          </p:cNvSpPr>
          <p:nvPr/>
        </p:nvSpPr>
        <p:spPr bwMode="auto">
          <a:xfrm>
            <a:off x="1126150" y="2839192"/>
            <a:ext cx="255898" cy="34745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tx2"/>
          </a:solidFill>
          <a:ln w="9525">
            <a:noFill/>
            <a:round/>
            <a:headEnd/>
            <a:tailEnd/>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49" name="Text Box 22"/>
          <p:cNvSpPr txBox="1">
            <a:spLocks noChangeAspect="1" noChangeArrowheads="1"/>
          </p:cNvSpPr>
          <p:nvPr/>
        </p:nvSpPr>
        <p:spPr bwMode="auto">
          <a:xfrm>
            <a:off x="1143633" y="3091830"/>
            <a:ext cx="216692" cy="4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400" b="0" i="0" u="none" strike="noStrike" kern="1200" cap="none" spc="0" normalizeH="0" baseline="0" noProof="0">
                <a:ln>
                  <a:noFill/>
                </a:ln>
                <a:solidFill>
                  <a:srgbClr val="575A5B"/>
                </a:solidFill>
                <a:effectLst/>
                <a:uLnTx/>
                <a:uFillTx/>
                <a:latin typeface="+mn-lt"/>
                <a:ea typeface="+mn-ea"/>
                <a:cs typeface="+mn-cs"/>
              </a:rPr>
              <a:t>HSS</a:t>
            </a:r>
            <a:endParaRPr kumimoji="0" lang="sv-SE" altLang="sv-SE" sz="400" b="0" i="0" u="none" strike="noStrike" kern="1200" cap="none" spc="0" normalizeH="0" baseline="0" noProof="0">
              <a:ln>
                <a:noFill/>
              </a:ln>
              <a:solidFill>
                <a:srgbClr val="575A5B"/>
              </a:solidFill>
              <a:effectLst/>
              <a:uLnTx/>
              <a:uFillTx/>
              <a:latin typeface="+mn-lt"/>
              <a:ea typeface="+mn-ea"/>
              <a:cs typeface="+mn-cs"/>
            </a:endParaRPr>
          </a:p>
        </p:txBody>
      </p:sp>
      <p:sp>
        <p:nvSpPr>
          <p:cNvPr id="168" name="Left-Right Arrow 167"/>
          <p:cNvSpPr/>
          <p:nvPr/>
        </p:nvSpPr>
        <p:spPr bwMode="auto">
          <a:xfrm>
            <a:off x="792508" y="3007258"/>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69" name="Left-Right Arrow 168"/>
          <p:cNvSpPr/>
          <p:nvPr/>
        </p:nvSpPr>
        <p:spPr bwMode="auto">
          <a:xfrm>
            <a:off x="1492008" y="2984426"/>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cxnSp>
        <p:nvCxnSpPr>
          <p:cNvPr id="44" name="Straight Connector 43"/>
          <p:cNvCxnSpPr/>
          <p:nvPr/>
        </p:nvCxnSpPr>
        <p:spPr bwMode="auto">
          <a:xfrm>
            <a:off x="2467429" y="1489652"/>
            <a:ext cx="0" cy="452994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15" name="TextBox 114"/>
          <p:cNvSpPr txBox="1"/>
          <p:nvPr/>
        </p:nvSpPr>
        <p:spPr>
          <a:xfrm>
            <a:off x="2715622" y="1723173"/>
            <a:ext cx="1911712" cy="340519"/>
          </a:xfrm>
          <a:prstGeom prst="roundRect">
            <a:avLst/>
          </a:prstGeom>
          <a:solidFill>
            <a:schemeClr val="tx2"/>
          </a:solid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400" b="0" i="0" u="none" strike="noStrike" kern="1200" cap="none" spc="0" normalizeH="0" baseline="0" noProof="0">
                <a:ln>
                  <a:noFill/>
                </a:ln>
                <a:solidFill>
                  <a:srgbClr val="FFFFFF"/>
                </a:solidFill>
                <a:effectLst/>
                <a:uLnTx/>
                <a:uFillTx/>
                <a:ea typeface="+mn-ea"/>
                <a:cs typeface="+mn-cs"/>
              </a:rPr>
              <a:t>DNN/APN</a:t>
            </a:r>
          </a:p>
        </p:txBody>
      </p:sp>
      <p:sp>
        <p:nvSpPr>
          <p:cNvPr id="117" name="Cloud 129"/>
          <p:cNvSpPr/>
          <p:nvPr/>
        </p:nvSpPr>
        <p:spPr bwMode="auto">
          <a:xfrm>
            <a:off x="3796490" y="2258171"/>
            <a:ext cx="997489" cy="749693"/>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118" name="AutoShape 340"/>
          <p:cNvSpPr>
            <a:spLocks noChangeAspect="1" noChangeArrowheads="1"/>
          </p:cNvSpPr>
          <p:nvPr/>
        </p:nvSpPr>
        <p:spPr bwMode="auto">
          <a:xfrm>
            <a:off x="4235500" y="2846139"/>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19" name="Freeform 341"/>
          <p:cNvSpPr>
            <a:spLocks noChangeAspect="1" noEditPoints="1"/>
          </p:cNvSpPr>
          <p:nvPr/>
        </p:nvSpPr>
        <p:spPr bwMode="auto">
          <a:xfrm>
            <a:off x="4229965" y="2840907"/>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120" name="Text Box 5"/>
          <p:cNvSpPr txBox="1">
            <a:spLocks noChangeAspect="1" noChangeArrowheads="1"/>
          </p:cNvSpPr>
          <p:nvPr/>
        </p:nvSpPr>
        <p:spPr bwMode="auto">
          <a:xfrm>
            <a:off x="4251227" y="3129737"/>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APN 2</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21" name="AutoShape 343"/>
          <p:cNvSpPr>
            <a:spLocks noChangeAspect="1" noChangeArrowheads="1"/>
          </p:cNvSpPr>
          <p:nvPr/>
        </p:nvSpPr>
        <p:spPr bwMode="auto">
          <a:xfrm>
            <a:off x="4230257" y="2840907"/>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22" name="Cloud 129"/>
          <p:cNvSpPr/>
          <p:nvPr/>
        </p:nvSpPr>
        <p:spPr bwMode="auto">
          <a:xfrm>
            <a:off x="2534853" y="2296107"/>
            <a:ext cx="997489" cy="749693"/>
          </a:xfrm>
          <a:prstGeom prst="cloud">
            <a:avLst/>
          </a:prstGeom>
          <a:solidFill>
            <a:schemeClr val="bg1"/>
          </a:solidFill>
          <a:ln w="15875" cap="flat" cmpd="sng" algn="ctr">
            <a:solidFill>
              <a:schemeClr val="accent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123" name="AutoShape 340"/>
          <p:cNvSpPr>
            <a:spLocks noChangeAspect="1" noChangeArrowheads="1"/>
          </p:cNvSpPr>
          <p:nvPr/>
        </p:nvSpPr>
        <p:spPr bwMode="auto">
          <a:xfrm>
            <a:off x="2775773" y="2863993"/>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24" name="Freeform 341"/>
          <p:cNvSpPr>
            <a:spLocks noChangeAspect="1" noEditPoints="1"/>
          </p:cNvSpPr>
          <p:nvPr/>
        </p:nvSpPr>
        <p:spPr bwMode="auto">
          <a:xfrm>
            <a:off x="2770239" y="2858761"/>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125" name="Text Box 5"/>
          <p:cNvSpPr txBox="1">
            <a:spLocks noChangeAspect="1" noChangeArrowheads="1"/>
          </p:cNvSpPr>
          <p:nvPr/>
        </p:nvSpPr>
        <p:spPr bwMode="auto">
          <a:xfrm>
            <a:off x="2791501" y="3147592"/>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APN 1</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26" name="AutoShape 343"/>
          <p:cNvSpPr>
            <a:spLocks noChangeAspect="1" noChangeArrowheads="1"/>
          </p:cNvSpPr>
          <p:nvPr/>
        </p:nvSpPr>
        <p:spPr bwMode="auto">
          <a:xfrm>
            <a:off x="2770530" y="2858761"/>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27" name="Sexhörning 63"/>
          <p:cNvSpPr/>
          <p:nvPr/>
        </p:nvSpPr>
        <p:spPr bwMode="auto">
          <a:xfrm>
            <a:off x="2941052" y="4053255"/>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28" name="Freeform 61"/>
          <p:cNvSpPr>
            <a:spLocks noChangeAspect="1" noEditPoints="1"/>
          </p:cNvSpPr>
          <p:nvPr/>
        </p:nvSpPr>
        <p:spPr bwMode="auto">
          <a:xfrm>
            <a:off x="3095387" y="4095717"/>
            <a:ext cx="241831" cy="346934"/>
          </a:xfrm>
          <a:custGeom>
            <a:avLst/>
            <a:gdLst>
              <a:gd name="T0" fmla="*/ 350 w 292"/>
              <a:gd name="T1" fmla="*/ 484 h 444"/>
              <a:gd name="T2" fmla="*/ 16 w 292"/>
              <a:gd name="T3" fmla="*/ 484 h 444"/>
              <a:gd name="T4" fmla="*/ 16 w 292"/>
              <a:gd name="T5" fmla="*/ 101 h 444"/>
              <a:gd name="T6" fmla="*/ 350 w 292"/>
              <a:gd name="T7" fmla="*/ 101 h 444"/>
              <a:gd name="T8" fmla="*/ 370 w 292"/>
              <a:gd name="T9" fmla="*/ 142 h 444"/>
              <a:gd name="T10" fmla="*/ 338 w 292"/>
              <a:gd name="T11" fmla="*/ 16 h 444"/>
              <a:gd name="T12" fmla="*/ 261 w 292"/>
              <a:gd name="T13" fmla="*/ 16 h 444"/>
              <a:gd name="T14" fmla="*/ 0 w 292"/>
              <a:gd name="T15" fmla="*/ 101 h 444"/>
              <a:gd name="T16" fmla="*/ 0 w 292"/>
              <a:gd name="T17" fmla="*/ 484 h 444"/>
              <a:gd name="T18" fmla="*/ 370 w 292"/>
              <a:gd name="T19" fmla="*/ 484 h 444"/>
              <a:gd name="T20" fmla="*/ 335 w 292"/>
              <a:gd name="T21" fmla="*/ 239 h 444"/>
              <a:gd name="T22" fmla="*/ 296 w 292"/>
              <a:gd name="T23" fmla="*/ 68 h 444"/>
              <a:gd name="T24" fmla="*/ 37 w 292"/>
              <a:gd name="T25" fmla="*/ 110 h 444"/>
              <a:gd name="T26" fmla="*/ 77 w 292"/>
              <a:gd name="T27" fmla="*/ 279 h 444"/>
              <a:gd name="T28" fmla="*/ 335 w 292"/>
              <a:gd name="T29" fmla="*/ 239 h 444"/>
              <a:gd name="T30" fmla="*/ 296 w 292"/>
              <a:gd name="T31" fmla="*/ 259 h 444"/>
              <a:gd name="T32" fmla="*/ 53 w 292"/>
              <a:gd name="T33" fmla="*/ 239 h 444"/>
              <a:gd name="T34" fmla="*/ 77 w 292"/>
              <a:gd name="T35" fmla="*/ 94 h 444"/>
              <a:gd name="T36" fmla="*/ 315 w 292"/>
              <a:gd name="T37" fmla="*/ 110 h 444"/>
              <a:gd name="T38" fmla="*/ 151 w 292"/>
              <a:gd name="T39" fmla="*/ 511 h 444"/>
              <a:gd name="T40" fmla="*/ 143 w 292"/>
              <a:gd name="T41" fmla="*/ 502 h 444"/>
              <a:gd name="T42" fmla="*/ 195 w 292"/>
              <a:gd name="T43" fmla="*/ 502 h 444"/>
              <a:gd name="T44" fmla="*/ 219 w 292"/>
              <a:gd name="T45" fmla="*/ 511 h 444"/>
              <a:gd name="T46" fmla="*/ 209 w 292"/>
              <a:gd name="T47" fmla="*/ 502 h 444"/>
              <a:gd name="T48" fmla="*/ 104 w 292"/>
              <a:gd name="T49" fmla="*/ 299 h 444"/>
              <a:gd name="T50" fmla="*/ 51 w 292"/>
              <a:gd name="T51" fmla="*/ 330 h 444"/>
              <a:gd name="T52" fmla="*/ 127 w 292"/>
              <a:gd name="T53" fmla="*/ 330 h 444"/>
              <a:gd name="T54" fmla="*/ 204 w 292"/>
              <a:gd name="T55" fmla="*/ 350 h 444"/>
              <a:gd name="T56" fmla="*/ 204 w 292"/>
              <a:gd name="T57" fmla="*/ 299 h 444"/>
              <a:gd name="T58" fmla="*/ 147 w 292"/>
              <a:gd name="T59" fmla="*/ 330 h 444"/>
              <a:gd name="T60" fmla="*/ 302 w 292"/>
              <a:gd name="T61" fmla="*/ 299 h 444"/>
              <a:gd name="T62" fmla="*/ 246 w 292"/>
              <a:gd name="T63" fmla="*/ 330 h 444"/>
              <a:gd name="T64" fmla="*/ 322 w 292"/>
              <a:gd name="T65" fmla="*/ 330 h 444"/>
              <a:gd name="T66" fmla="*/ 104 w 292"/>
              <a:gd name="T67" fmla="*/ 363 h 444"/>
              <a:gd name="T68" fmla="*/ 51 w 292"/>
              <a:gd name="T69" fmla="*/ 395 h 444"/>
              <a:gd name="T70" fmla="*/ 127 w 292"/>
              <a:gd name="T71" fmla="*/ 395 h 444"/>
              <a:gd name="T72" fmla="*/ 168 w 292"/>
              <a:gd name="T73" fmla="*/ 413 h 444"/>
              <a:gd name="T74" fmla="*/ 224 w 292"/>
              <a:gd name="T75" fmla="*/ 382 h 444"/>
              <a:gd name="T76" fmla="*/ 147 w 292"/>
              <a:gd name="T77" fmla="*/ 382 h 444"/>
              <a:gd name="T78" fmla="*/ 302 w 292"/>
              <a:gd name="T79" fmla="*/ 363 h 444"/>
              <a:gd name="T80" fmla="*/ 246 w 292"/>
              <a:gd name="T81" fmla="*/ 395 h 444"/>
              <a:gd name="T82" fmla="*/ 322 w 292"/>
              <a:gd name="T83" fmla="*/ 395 h 444"/>
              <a:gd name="T84" fmla="*/ 71 w 292"/>
              <a:gd name="T85" fmla="*/ 426 h 444"/>
              <a:gd name="T86" fmla="*/ 71 w 292"/>
              <a:gd name="T87" fmla="*/ 476 h 444"/>
              <a:gd name="T88" fmla="*/ 127 w 292"/>
              <a:gd name="T89" fmla="*/ 447 h 444"/>
              <a:gd name="T90" fmla="*/ 224 w 292"/>
              <a:gd name="T91" fmla="*/ 447 h 444"/>
              <a:gd name="T92" fmla="*/ 147 w 292"/>
              <a:gd name="T93" fmla="*/ 447 h 444"/>
              <a:gd name="T94" fmla="*/ 204 w 292"/>
              <a:gd name="T95" fmla="*/ 476 h 444"/>
              <a:gd name="T96" fmla="*/ 266 w 292"/>
              <a:gd name="T97" fmla="*/ 426 h 444"/>
              <a:gd name="T98" fmla="*/ 266 w 292"/>
              <a:gd name="T99" fmla="*/ 476 h 444"/>
              <a:gd name="T100" fmla="*/ 322 w 292"/>
              <a:gd name="T101" fmla="*/ 447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tx2"/>
          </a:solidFill>
          <a:ln w="6350">
            <a:noFill/>
            <a:round/>
            <a:headEnd/>
            <a:tailEnd/>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29" name="Freeform 3"/>
          <p:cNvSpPr>
            <a:spLocks noChangeAspect="1" noEditPoints="1"/>
          </p:cNvSpPr>
          <p:nvPr/>
        </p:nvSpPr>
        <p:spPr bwMode="auto">
          <a:xfrm>
            <a:off x="3720020" y="4184623"/>
            <a:ext cx="450821" cy="19795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30" name="Sexhörning 63"/>
          <p:cNvSpPr/>
          <p:nvPr/>
        </p:nvSpPr>
        <p:spPr bwMode="auto">
          <a:xfrm>
            <a:off x="3659263" y="4086726"/>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33" name="Freeform 3"/>
          <p:cNvSpPr>
            <a:spLocks noChangeAspect="1" noEditPoints="1"/>
          </p:cNvSpPr>
          <p:nvPr/>
        </p:nvSpPr>
        <p:spPr bwMode="auto">
          <a:xfrm>
            <a:off x="3758967" y="4620889"/>
            <a:ext cx="365234" cy="36067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36" name="Sexhörning 63"/>
          <p:cNvSpPr/>
          <p:nvPr/>
        </p:nvSpPr>
        <p:spPr bwMode="auto">
          <a:xfrm>
            <a:off x="3655112" y="4561778"/>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39" name="Freeform 6"/>
          <p:cNvSpPr>
            <a:spLocks noChangeAspect="1" noEditPoints="1"/>
          </p:cNvSpPr>
          <p:nvPr/>
        </p:nvSpPr>
        <p:spPr bwMode="auto">
          <a:xfrm>
            <a:off x="4222565" y="4353012"/>
            <a:ext cx="381714" cy="36155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40" name="Sexhörning 63"/>
          <p:cNvSpPr/>
          <p:nvPr/>
        </p:nvSpPr>
        <p:spPr bwMode="auto">
          <a:xfrm>
            <a:off x="4130210" y="4323735"/>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42" name="Rectangle 255"/>
          <p:cNvSpPr>
            <a:spLocks noChangeArrowheads="1"/>
          </p:cNvSpPr>
          <p:nvPr/>
        </p:nvSpPr>
        <p:spPr bwMode="auto">
          <a:xfrm>
            <a:off x="2592939" y="2396861"/>
            <a:ext cx="861662"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1: MBB</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APN 1</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143" name="Rectangle 255"/>
          <p:cNvSpPr>
            <a:spLocks noChangeArrowheads="1"/>
          </p:cNvSpPr>
          <p:nvPr/>
        </p:nvSpPr>
        <p:spPr bwMode="auto">
          <a:xfrm>
            <a:off x="3909180" y="2358925"/>
            <a:ext cx="763767"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2: </a:t>
            </a:r>
            <a:r>
              <a:rPr kumimoji="0" lang="sv-SE" altLang="sv-SE" sz="1000" b="0" i="0" u="none" strike="noStrike" kern="1200" cap="none" spc="0" normalizeH="0" baseline="0" noProof="0" err="1">
                <a:ln>
                  <a:noFill/>
                </a:ln>
                <a:solidFill>
                  <a:srgbClr val="575A5B"/>
                </a:solidFill>
                <a:effectLst/>
                <a:uLnTx/>
                <a:uFillTx/>
                <a:latin typeface="+mn-lt"/>
                <a:ea typeface="+mn-ea"/>
                <a:cs typeface="+mn-cs"/>
              </a:rPr>
              <a:t>IoT</a:t>
            </a:r>
            <a:endParaRPr kumimoji="0" lang="sv-SE" altLang="sv-SE" sz="1000" b="0" i="0" u="none" strike="noStrike" kern="1200" cap="none" spc="0" normalizeH="0" baseline="0" noProof="0">
              <a:ln>
                <a:noFill/>
              </a:ln>
              <a:solidFill>
                <a:srgbClr val="575A5B"/>
              </a:solidFill>
              <a:effectLst/>
              <a:uLnTx/>
              <a:uFillTx/>
              <a:latin typeface="+mn-lt"/>
              <a:ea typeface="+mn-ea"/>
              <a:cs typeface="+mn-cs"/>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APN 2</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144" name="Oval 143"/>
          <p:cNvSpPr/>
          <p:nvPr/>
        </p:nvSpPr>
        <p:spPr bwMode="auto">
          <a:xfrm>
            <a:off x="2746822" y="3519555"/>
            <a:ext cx="1885889" cy="346421"/>
          </a:xfrm>
          <a:prstGeom prst="ellipse">
            <a:avLst/>
          </a:prstGeom>
          <a:solidFill>
            <a:schemeClr val="tx1">
              <a:lumMod val="20000"/>
              <a:lumOff val="80000"/>
            </a:schemeClr>
          </a:solid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72000" rIns="7200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900" b="0" i="0" u="none" strike="noStrike" kern="1200" cap="none" spc="0" normalizeH="0" baseline="0" noProof="0">
                <a:ln>
                  <a:noFill/>
                </a:ln>
                <a:solidFill>
                  <a:srgbClr val="575A5B"/>
                </a:solidFill>
                <a:effectLst/>
                <a:uLnTx/>
                <a:uFillTx/>
                <a:ea typeface="+mn-ea"/>
                <a:cs typeface="+mn-cs"/>
              </a:rPr>
              <a:t>3GPP Access</a:t>
            </a:r>
          </a:p>
        </p:txBody>
      </p:sp>
      <p:sp>
        <p:nvSpPr>
          <p:cNvPr id="147" name="Freeform 146"/>
          <p:cNvSpPr/>
          <p:nvPr/>
        </p:nvSpPr>
        <p:spPr bwMode="auto">
          <a:xfrm>
            <a:off x="3854920" y="3286774"/>
            <a:ext cx="314117"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8" name="Freeform 157"/>
          <p:cNvSpPr/>
          <p:nvPr/>
        </p:nvSpPr>
        <p:spPr bwMode="auto">
          <a:xfrm flipH="1">
            <a:off x="3047657" y="3295695"/>
            <a:ext cx="314394"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63" name="Freeform 162"/>
          <p:cNvSpPr>
            <a:spLocks noChangeAspect="1" noEditPoints="1"/>
          </p:cNvSpPr>
          <p:nvPr/>
        </p:nvSpPr>
        <p:spPr bwMode="auto">
          <a:xfrm>
            <a:off x="3489062" y="2884386"/>
            <a:ext cx="255898" cy="34745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tx2"/>
          </a:solidFill>
          <a:ln w="9525">
            <a:noFill/>
            <a:round/>
            <a:headEnd/>
            <a:tailEnd/>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70" name="Text Box 22"/>
          <p:cNvSpPr txBox="1">
            <a:spLocks noChangeAspect="1" noChangeArrowheads="1"/>
          </p:cNvSpPr>
          <p:nvPr/>
        </p:nvSpPr>
        <p:spPr bwMode="auto">
          <a:xfrm>
            <a:off x="3506544" y="3137023"/>
            <a:ext cx="216692" cy="4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400" b="0" i="0" u="none" strike="noStrike" kern="1200" cap="none" spc="0" normalizeH="0" baseline="0" noProof="0">
                <a:ln>
                  <a:noFill/>
                </a:ln>
                <a:solidFill>
                  <a:srgbClr val="575A5B"/>
                </a:solidFill>
                <a:effectLst/>
                <a:uLnTx/>
                <a:uFillTx/>
                <a:latin typeface="+mn-lt"/>
                <a:ea typeface="+mn-ea"/>
                <a:cs typeface="+mn-cs"/>
              </a:rPr>
              <a:t>HSS</a:t>
            </a:r>
            <a:endParaRPr kumimoji="0" lang="sv-SE" altLang="sv-SE" sz="400" b="0" i="0" u="none" strike="noStrike" kern="1200" cap="none" spc="0" normalizeH="0" baseline="0" noProof="0">
              <a:ln>
                <a:noFill/>
              </a:ln>
              <a:solidFill>
                <a:srgbClr val="575A5B"/>
              </a:solidFill>
              <a:effectLst/>
              <a:uLnTx/>
              <a:uFillTx/>
              <a:latin typeface="+mn-lt"/>
              <a:ea typeface="+mn-ea"/>
              <a:cs typeface="+mn-cs"/>
            </a:endParaRPr>
          </a:p>
        </p:txBody>
      </p:sp>
      <p:sp>
        <p:nvSpPr>
          <p:cNvPr id="171" name="Left-Right Arrow 170"/>
          <p:cNvSpPr/>
          <p:nvPr/>
        </p:nvSpPr>
        <p:spPr bwMode="auto">
          <a:xfrm>
            <a:off x="3155419" y="3052452"/>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72" name="Left-Right Arrow 171"/>
          <p:cNvSpPr/>
          <p:nvPr/>
        </p:nvSpPr>
        <p:spPr bwMode="auto">
          <a:xfrm>
            <a:off x="3854920" y="3029621"/>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45" name="Oval 44"/>
          <p:cNvSpPr/>
          <p:nvPr/>
        </p:nvSpPr>
        <p:spPr bwMode="auto">
          <a:xfrm>
            <a:off x="4027273" y="4053255"/>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73" name="Oval 172"/>
          <p:cNvSpPr/>
          <p:nvPr/>
        </p:nvSpPr>
        <p:spPr bwMode="auto">
          <a:xfrm>
            <a:off x="4526487" y="4258155"/>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74" name="Oval 173"/>
          <p:cNvSpPr/>
          <p:nvPr/>
        </p:nvSpPr>
        <p:spPr bwMode="auto">
          <a:xfrm>
            <a:off x="4013469" y="4533774"/>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75" name="Oval 174"/>
          <p:cNvSpPr/>
          <p:nvPr/>
        </p:nvSpPr>
        <p:spPr bwMode="auto">
          <a:xfrm>
            <a:off x="4181782" y="3192911"/>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cxnSp>
        <p:nvCxnSpPr>
          <p:cNvPr id="215" name="Straight Connector 214"/>
          <p:cNvCxnSpPr/>
          <p:nvPr/>
        </p:nvCxnSpPr>
        <p:spPr bwMode="auto">
          <a:xfrm>
            <a:off x="9640013" y="1379227"/>
            <a:ext cx="0" cy="452994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 name="Cloud 129"/>
          <p:cNvSpPr/>
          <p:nvPr/>
        </p:nvSpPr>
        <p:spPr bwMode="auto">
          <a:xfrm>
            <a:off x="7280872" y="2279806"/>
            <a:ext cx="997489" cy="749693"/>
          </a:xfrm>
          <a:prstGeom prst="cloud">
            <a:avLst/>
          </a:prstGeom>
          <a:solidFill>
            <a:schemeClr val="bg1"/>
          </a:solidFill>
          <a:ln w="15875" cap="flat" cmpd="sng" algn="ctr">
            <a:solidFill>
              <a:schemeClr val="accent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39" name="AutoShape 340"/>
          <p:cNvSpPr>
            <a:spLocks noChangeAspect="1" noChangeArrowheads="1"/>
          </p:cNvSpPr>
          <p:nvPr/>
        </p:nvSpPr>
        <p:spPr bwMode="auto">
          <a:xfrm>
            <a:off x="7521791" y="2847691"/>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40" name="Freeform 341"/>
          <p:cNvSpPr>
            <a:spLocks noChangeAspect="1" noEditPoints="1"/>
          </p:cNvSpPr>
          <p:nvPr/>
        </p:nvSpPr>
        <p:spPr bwMode="auto">
          <a:xfrm>
            <a:off x="7516257" y="2842460"/>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41" name="Text Box 5"/>
          <p:cNvSpPr txBox="1">
            <a:spLocks noChangeAspect="1" noChangeArrowheads="1"/>
          </p:cNvSpPr>
          <p:nvPr/>
        </p:nvSpPr>
        <p:spPr bwMode="auto">
          <a:xfrm>
            <a:off x="7537519" y="3131290"/>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ME</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38" name="AutoShape 343"/>
          <p:cNvSpPr>
            <a:spLocks noChangeAspect="1" noChangeArrowheads="1"/>
          </p:cNvSpPr>
          <p:nvPr/>
        </p:nvSpPr>
        <p:spPr bwMode="auto">
          <a:xfrm>
            <a:off x="7516549" y="2842460"/>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11" name="Cloud 129"/>
          <p:cNvSpPr/>
          <p:nvPr/>
        </p:nvSpPr>
        <p:spPr bwMode="auto">
          <a:xfrm>
            <a:off x="8542509" y="2241869"/>
            <a:ext cx="997489" cy="749693"/>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34" name="AutoShape 340"/>
          <p:cNvSpPr>
            <a:spLocks noChangeAspect="1" noChangeArrowheads="1"/>
          </p:cNvSpPr>
          <p:nvPr/>
        </p:nvSpPr>
        <p:spPr bwMode="auto">
          <a:xfrm>
            <a:off x="8981517" y="2829837"/>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35" name="Freeform 341"/>
          <p:cNvSpPr>
            <a:spLocks noChangeAspect="1" noEditPoints="1"/>
          </p:cNvSpPr>
          <p:nvPr/>
        </p:nvSpPr>
        <p:spPr bwMode="auto">
          <a:xfrm>
            <a:off x="8975984" y="2824606"/>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36" name="Text Box 5"/>
          <p:cNvSpPr txBox="1">
            <a:spLocks noChangeAspect="1" noChangeArrowheads="1"/>
          </p:cNvSpPr>
          <p:nvPr/>
        </p:nvSpPr>
        <p:spPr bwMode="auto">
          <a:xfrm>
            <a:off x="8997246" y="3113436"/>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C-SGN</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33" name="AutoShape 343"/>
          <p:cNvSpPr>
            <a:spLocks noChangeAspect="1" noChangeArrowheads="1"/>
          </p:cNvSpPr>
          <p:nvPr/>
        </p:nvSpPr>
        <p:spPr bwMode="auto">
          <a:xfrm>
            <a:off x="8976275" y="2824606"/>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30" name="Sexhörning 63"/>
          <p:cNvSpPr/>
          <p:nvPr/>
        </p:nvSpPr>
        <p:spPr bwMode="auto">
          <a:xfrm>
            <a:off x="7687070" y="4036954"/>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31" name="Freeform 61"/>
          <p:cNvSpPr>
            <a:spLocks noChangeAspect="1" noEditPoints="1"/>
          </p:cNvSpPr>
          <p:nvPr/>
        </p:nvSpPr>
        <p:spPr bwMode="auto">
          <a:xfrm>
            <a:off x="7841406" y="4079415"/>
            <a:ext cx="241831" cy="346934"/>
          </a:xfrm>
          <a:custGeom>
            <a:avLst/>
            <a:gdLst>
              <a:gd name="T0" fmla="*/ 350 w 292"/>
              <a:gd name="T1" fmla="*/ 484 h 444"/>
              <a:gd name="T2" fmla="*/ 16 w 292"/>
              <a:gd name="T3" fmla="*/ 484 h 444"/>
              <a:gd name="T4" fmla="*/ 16 w 292"/>
              <a:gd name="T5" fmla="*/ 101 h 444"/>
              <a:gd name="T6" fmla="*/ 350 w 292"/>
              <a:gd name="T7" fmla="*/ 101 h 444"/>
              <a:gd name="T8" fmla="*/ 370 w 292"/>
              <a:gd name="T9" fmla="*/ 142 h 444"/>
              <a:gd name="T10" fmla="*/ 338 w 292"/>
              <a:gd name="T11" fmla="*/ 16 h 444"/>
              <a:gd name="T12" fmla="*/ 261 w 292"/>
              <a:gd name="T13" fmla="*/ 16 h 444"/>
              <a:gd name="T14" fmla="*/ 0 w 292"/>
              <a:gd name="T15" fmla="*/ 101 h 444"/>
              <a:gd name="T16" fmla="*/ 0 w 292"/>
              <a:gd name="T17" fmla="*/ 484 h 444"/>
              <a:gd name="T18" fmla="*/ 370 w 292"/>
              <a:gd name="T19" fmla="*/ 484 h 444"/>
              <a:gd name="T20" fmla="*/ 335 w 292"/>
              <a:gd name="T21" fmla="*/ 239 h 444"/>
              <a:gd name="T22" fmla="*/ 296 w 292"/>
              <a:gd name="T23" fmla="*/ 68 h 444"/>
              <a:gd name="T24" fmla="*/ 37 w 292"/>
              <a:gd name="T25" fmla="*/ 110 h 444"/>
              <a:gd name="T26" fmla="*/ 77 w 292"/>
              <a:gd name="T27" fmla="*/ 279 h 444"/>
              <a:gd name="T28" fmla="*/ 335 w 292"/>
              <a:gd name="T29" fmla="*/ 239 h 444"/>
              <a:gd name="T30" fmla="*/ 296 w 292"/>
              <a:gd name="T31" fmla="*/ 259 h 444"/>
              <a:gd name="T32" fmla="*/ 53 w 292"/>
              <a:gd name="T33" fmla="*/ 239 h 444"/>
              <a:gd name="T34" fmla="*/ 77 w 292"/>
              <a:gd name="T35" fmla="*/ 94 h 444"/>
              <a:gd name="T36" fmla="*/ 315 w 292"/>
              <a:gd name="T37" fmla="*/ 110 h 444"/>
              <a:gd name="T38" fmla="*/ 151 w 292"/>
              <a:gd name="T39" fmla="*/ 511 h 444"/>
              <a:gd name="T40" fmla="*/ 143 w 292"/>
              <a:gd name="T41" fmla="*/ 502 h 444"/>
              <a:gd name="T42" fmla="*/ 195 w 292"/>
              <a:gd name="T43" fmla="*/ 502 h 444"/>
              <a:gd name="T44" fmla="*/ 219 w 292"/>
              <a:gd name="T45" fmla="*/ 511 h 444"/>
              <a:gd name="T46" fmla="*/ 209 w 292"/>
              <a:gd name="T47" fmla="*/ 502 h 444"/>
              <a:gd name="T48" fmla="*/ 104 w 292"/>
              <a:gd name="T49" fmla="*/ 299 h 444"/>
              <a:gd name="T50" fmla="*/ 51 w 292"/>
              <a:gd name="T51" fmla="*/ 330 h 444"/>
              <a:gd name="T52" fmla="*/ 127 w 292"/>
              <a:gd name="T53" fmla="*/ 330 h 444"/>
              <a:gd name="T54" fmla="*/ 204 w 292"/>
              <a:gd name="T55" fmla="*/ 350 h 444"/>
              <a:gd name="T56" fmla="*/ 204 w 292"/>
              <a:gd name="T57" fmla="*/ 299 h 444"/>
              <a:gd name="T58" fmla="*/ 147 w 292"/>
              <a:gd name="T59" fmla="*/ 330 h 444"/>
              <a:gd name="T60" fmla="*/ 302 w 292"/>
              <a:gd name="T61" fmla="*/ 299 h 444"/>
              <a:gd name="T62" fmla="*/ 246 w 292"/>
              <a:gd name="T63" fmla="*/ 330 h 444"/>
              <a:gd name="T64" fmla="*/ 322 w 292"/>
              <a:gd name="T65" fmla="*/ 330 h 444"/>
              <a:gd name="T66" fmla="*/ 104 w 292"/>
              <a:gd name="T67" fmla="*/ 363 h 444"/>
              <a:gd name="T68" fmla="*/ 51 w 292"/>
              <a:gd name="T69" fmla="*/ 395 h 444"/>
              <a:gd name="T70" fmla="*/ 127 w 292"/>
              <a:gd name="T71" fmla="*/ 395 h 444"/>
              <a:gd name="T72" fmla="*/ 168 w 292"/>
              <a:gd name="T73" fmla="*/ 413 h 444"/>
              <a:gd name="T74" fmla="*/ 224 w 292"/>
              <a:gd name="T75" fmla="*/ 382 h 444"/>
              <a:gd name="T76" fmla="*/ 147 w 292"/>
              <a:gd name="T77" fmla="*/ 382 h 444"/>
              <a:gd name="T78" fmla="*/ 302 w 292"/>
              <a:gd name="T79" fmla="*/ 363 h 444"/>
              <a:gd name="T80" fmla="*/ 246 w 292"/>
              <a:gd name="T81" fmla="*/ 395 h 444"/>
              <a:gd name="T82" fmla="*/ 322 w 292"/>
              <a:gd name="T83" fmla="*/ 395 h 444"/>
              <a:gd name="T84" fmla="*/ 71 w 292"/>
              <a:gd name="T85" fmla="*/ 426 h 444"/>
              <a:gd name="T86" fmla="*/ 71 w 292"/>
              <a:gd name="T87" fmla="*/ 476 h 444"/>
              <a:gd name="T88" fmla="*/ 127 w 292"/>
              <a:gd name="T89" fmla="*/ 447 h 444"/>
              <a:gd name="T90" fmla="*/ 224 w 292"/>
              <a:gd name="T91" fmla="*/ 447 h 444"/>
              <a:gd name="T92" fmla="*/ 147 w 292"/>
              <a:gd name="T93" fmla="*/ 447 h 444"/>
              <a:gd name="T94" fmla="*/ 204 w 292"/>
              <a:gd name="T95" fmla="*/ 476 h 444"/>
              <a:gd name="T96" fmla="*/ 266 w 292"/>
              <a:gd name="T97" fmla="*/ 426 h 444"/>
              <a:gd name="T98" fmla="*/ 266 w 292"/>
              <a:gd name="T99" fmla="*/ 476 h 444"/>
              <a:gd name="T100" fmla="*/ 322 w 292"/>
              <a:gd name="T101" fmla="*/ 447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tx2"/>
          </a:solidFill>
          <a:ln w="6350">
            <a:noFill/>
            <a:round/>
            <a:headEnd/>
            <a:tailEnd/>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5" name="Oval 14"/>
          <p:cNvSpPr/>
          <p:nvPr/>
        </p:nvSpPr>
        <p:spPr bwMode="auto">
          <a:xfrm>
            <a:off x="7492840" y="3503253"/>
            <a:ext cx="1885889" cy="346421"/>
          </a:xfrm>
          <a:prstGeom prst="ellipse">
            <a:avLst/>
          </a:prstGeom>
          <a:solidFill>
            <a:schemeClr val="tx1">
              <a:lumMod val="20000"/>
              <a:lumOff val="80000"/>
            </a:schemeClr>
          </a:solid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72000" rIns="7200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900" b="0" i="0" u="none" strike="noStrike" kern="1200" cap="none" spc="0" normalizeH="0" baseline="0" noProof="0">
                <a:ln>
                  <a:noFill/>
                </a:ln>
                <a:solidFill>
                  <a:srgbClr val="575A5B"/>
                </a:solidFill>
                <a:effectLst/>
                <a:uLnTx/>
                <a:uFillTx/>
                <a:ea typeface="+mn-ea"/>
                <a:cs typeface="+mn-cs"/>
              </a:rPr>
              <a:t>Common LTE Access</a:t>
            </a:r>
          </a:p>
        </p:txBody>
      </p:sp>
      <p:sp>
        <p:nvSpPr>
          <p:cNvPr id="28" name="Freeform 3"/>
          <p:cNvSpPr>
            <a:spLocks noChangeAspect="1" noEditPoints="1"/>
          </p:cNvSpPr>
          <p:nvPr/>
        </p:nvSpPr>
        <p:spPr bwMode="auto">
          <a:xfrm>
            <a:off x="8466038" y="4168321"/>
            <a:ext cx="450821" cy="19795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9" name="Sexhörning 63"/>
          <p:cNvSpPr/>
          <p:nvPr/>
        </p:nvSpPr>
        <p:spPr bwMode="auto">
          <a:xfrm>
            <a:off x="8405281" y="4070424"/>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6" name="Freeform 3"/>
          <p:cNvSpPr>
            <a:spLocks noChangeAspect="1" noEditPoints="1"/>
          </p:cNvSpPr>
          <p:nvPr/>
        </p:nvSpPr>
        <p:spPr bwMode="auto">
          <a:xfrm>
            <a:off x="8504985" y="4597439"/>
            <a:ext cx="365234" cy="36067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7" name="Sexhörning 63"/>
          <p:cNvSpPr/>
          <p:nvPr/>
        </p:nvSpPr>
        <p:spPr bwMode="auto">
          <a:xfrm>
            <a:off x="8401130" y="4538328"/>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 name="Freeform 6"/>
          <p:cNvSpPr>
            <a:spLocks noChangeAspect="1" noEditPoints="1"/>
          </p:cNvSpPr>
          <p:nvPr/>
        </p:nvSpPr>
        <p:spPr bwMode="auto">
          <a:xfrm>
            <a:off x="8968583" y="4336710"/>
            <a:ext cx="381714" cy="36155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5" name="Sexhörning 63"/>
          <p:cNvSpPr/>
          <p:nvPr/>
        </p:nvSpPr>
        <p:spPr bwMode="auto">
          <a:xfrm>
            <a:off x="8876229" y="4307433"/>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19" name="Freeform 18"/>
          <p:cNvSpPr/>
          <p:nvPr/>
        </p:nvSpPr>
        <p:spPr bwMode="auto">
          <a:xfrm>
            <a:off x="8600938" y="3270472"/>
            <a:ext cx="314117"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0" name="Freeform 19"/>
          <p:cNvSpPr/>
          <p:nvPr/>
        </p:nvSpPr>
        <p:spPr bwMode="auto">
          <a:xfrm flipH="1">
            <a:off x="7793675" y="3279393"/>
            <a:ext cx="314394"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2" name="Freeform 21"/>
          <p:cNvSpPr>
            <a:spLocks noChangeAspect="1" noEditPoints="1"/>
          </p:cNvSpPr>
          <p:nvPr/>
        </p:nvSpPr>
        <p:spPr bwMode="auto">
          <a:xfrm>
            <a:off x="8235080" y="2868084"/>
            <a:ext cx="255898" cy="34745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tx2"/>
          </a:solidFill>
          <a:ln w="9525">
            <a:noFill/>
            <a:round/>
            <a:headEnd/>
            <a:tailEnd/>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3" name="Text Box 22"/>
          <p:cNvSpPr txBox="1">
            <a:spLocks noChangeAspect="1" noChangeArrowheads="1"/>
          </p:cNvSpPr>
          <p:nvPr/>
        </p:nvSpPr>
        <p:spPr bwMode="auto">
          <a:xfrm>
            <a:off x="8252563" y="3120723"/>
            <a:ext cx="216692" cy="4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400" b="0" i="0" u="none" strike="noStrike" kern="1200" cap="none" spc="0" normalizeH="0" baseline="0" noProof="0">
                <a:ln>
                  <a:noFill/>
                </a:ln>
                <a:solidFill>
                  <a:srgbClr val="575A5B"/>
                </a:solidFill>
                <a:effectLst/>
                <a:uLnTx/>
                <a:uFillTx/>
                <a:latin typeface="+mn-lt"/>
                <a:ea typeface="+mn-ea"/>
                <a:cs typeface="+mn-cs"/>
              </a:rPr>
              <a:t>HSS</a:t>
            </a:r>
            <a:endParaRPr kumimoji="0" lang="sv-SE" altLang="sv-SE" sz="400" b="0" i="0" u="none" strike="noStrike" kern="1200" cap="none" spc="0" normalizeH="0" baseline="0" noProof="0">
              <a:ln>
                <a:noFill/>
              </a:ln>
              <a:solidFill>
                <a:srgbClr val="575A5B"/>
              </a:solidFill>
              <a:effectLst/>
              <a:uLnTx/>
              <a:uFillTx/>
              <a:latin typeface="+mn-lt"/>
              <a:ea typeface="+mn-ea"/>
              <a:cs typeface="+mn-cs"/>
            </a:endParaRPr>
          </a:p>
        </p:txBody>
      </p:sp>
      <p:sp>
        <p:nvSpPr>
          <p:cNvPr id="42" name="Left-Right Arrow 41"/>
          <p:cNvSpPr/>
          <p:nvPr/>
        </p:nvSpPr>
        <p:spPr bwMode="auto">
          <a:xfrm>
            <a:off x="7901437" y="3036150"/>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43" name="Left-Right Arrow 42"/>
          <p:cNvSpPr/>
          <p:nvPr/>
        </p:nvSpPr>
        <p:spPr bwMode="auto">
          <a:xfrm>
            <a:off x="8600938" y="3013319"/>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22" name="Oval 221"/>
          <p:cNvSpPr/>
          <p:nvPr/>
        </p:nvSpPr>
        <p:spPr bwMode="auto">
          <a:xfrm>
            <a:off x="7484195" y="3176609"/>
            <a:ext cx="114902" cy="108719"/>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24" name="Oval 223"/>
          <p:cNvSpPr/>
          <p:nvPr/>
        </p:nvSpPr>
        <p:spPr bwMode="auto">
          <a:xfrm>
            <a:off x="8939620" y="3140370"/>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28" name="Oval 227"/>
          <p:cNvSpPr/>
          <p:nvPr/>
        </p:nvSpPr>
        <p:spPr bwMode="auto">
          <a:xfrm>
            <a:off x="8250208" y="3176609"/>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29" name="Oval 228"/>
          <p:cNvSpPr/>
          <p:nvPr/>
        </p:nvSpPr>
        <p:spPr bwMode="auto">
          <a:xfrm>
            <a:off x="8365110" y="3176609"/>
            <a:ext cx="114902" cy="108719"/>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23" name="Rectangle 255">
            <a:extLst>
              <a:ext uri="{FF2B5EF4-FFF2-40B4-BE49-F238E27FC236}">
                <a16:creationId xmlns:a16="http://schemas.microsoft.com/office/drawing/2014/main" id="{7F637803-0FC4-4422-9CB9-BE323923EE5C}"/>
              </a:ext>
            </a:extLst>
          </p:cNvPr>
          <p:cNvSpPr>
            <a:spLocks noChangeArrowheads="1"/>
          </p:cNvSpPr>
          <p:nvPr/>
        </p:nvSpPr>
        <p:spPr bwMode="auto">
          <a:xfrm>
            <a:off x="7323881" y="2385379"/>
            <a:ext cx="8616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1: MBB</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225" name="Rectangle 255">
            <a:extLst>
              <a:ext uri="{FF2B5EF4-FFF2-40B4-BE49-F238E27FC236}">
                <a16:creationId xmlns:a16="http://schemas.microsoft.com/office/drawing/2014/main" id="{785EACFF-C501-41CC-9C5A-517DB8AE7597}"/>
              </a:ext>
            </a:extLst>
          </p:cNvPr>
          <p:cNvSpPr>
            <a:spLocks noChangeArrowheads="1"/>
          </p:cNvSpPr>
          <p:nvPr/>
        </p:nvSpPr>
        <p:spPr bwMode="auto">
          <a:xfrm>
            <a:off x="8715331" y="2342906"/>
            <a:ext cx="7637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2: IoT</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180" name="Content Placeholder 45">
            <a:extLst>
              <a:ext uri="{FF2B5EF4-FFF2-40B4-BE49-F238E27FC236}">
                <a16:creationId xmlns:a16="http://schemas.microsoft.com/office/drawing/2014/main" id="{1F0E4272-3096-4140-A1F8-4B6967119779}"/>
              </a:ext>
            </a:extLst>
          </p:cNvPr>
          <p:cNvSpPr txBox="1">
            <a:spLocks/>
          </p:cNvSpPr>
          <p:nvPr/>
        </p:nvSpPr>
        <p:spPr bwMode="auto">
          <a:xfrm>
            <a:off x="9790586" y="5236982"/>
            <a:ext cx="2210274" cy="1661993"/>
          </a:xfrm>
          <a:prstGeom prst="rect">
            <a:avLst/>
          </a:prstGeom>
          <a:noFill/>
          <a:ln w="9525">
            <a:noFill/>
            <a:miter lim="800000"/>
            <a:headEnd/>
            <a:tailEnd/>
          </a:ln>
        </p:spPr>
        <p:txBody>
          <a:bodyPr vert="horz" wrap="square" lIns="72000" tIns="0" rIns="72000" bIns="0" numCol="1" anchor="t" anchorCtr="0" compatLnSpc="1">
            <a:prstTxWarp prst="textNoShape">
              <a:avLst/>
            </a:prstTxWarp>
            <a:spAutoFit/>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ts val="600"/>
              </a:spcBef>
              <a:spcAft>
                <a:spcPct val="0"/>
              </a:spcAft>
              <a:buClr>
                <a:srgbClr val="00A9D4"/>
              </a:buClr>
              <a:buSzTx/>
              <a:buFont typeface="Arial" charset="0"/>
              <a:buChar char="›"/>
              <a:tabLst/>
              <a:defRPr/>
            </a:pPr>
            <a:r>
              <a:rPr kumimoji="0" lang="en-US" sz="1100" b="0" i="0" u="none" strike="noStrike" kern="0" cap="none" spc="0" normalizeH="0" baseline="0" noProof="0">
                <a:ln>
                  <a:noFill/>
                </a:ln>
                <a:effectLst/>
                <a:uLnTx/>
                <a:uFillTx/>
                <a:ea typeface="+mn-ea"/>
                <a:cs typeface="+mn-cs"/>
              </a:rPr>
              <a:t>Slice selection based on S-NSSAI</a:t>
            </a:r>
          </a:p>
          <a:p>
            <a:pPr marL="176213" marR="0" lvl="0" indent="-176213" algn="l" defTabSz="914400" rtl="0" eaLnBrk="1" fontAlgn="base" latinLnBrk="0" hangingPunct="1">
              <a:lnSpc>
                <a:spcPct val="100000"/>
              </a:lnSpc>
              <a:spcBef>
                <a:spcPts val="600"/>
              </a:spcBef>
              <a:spcAft>
                <a:spcPct val="0"/>
              </a:spcAft>
              <a:buClr>
                <a:srgbClr val="00A9D4"/>
              </a:buClr>
              <a:buSzTx/>
              <a:buFont typeface="Arial" charset="0"/>
              <a:buChar char="›"/>
              <a:tabLst/>
              <a:defRPr/>
            </a:pPr>
            <a:r>
              <a:rPr lang="en-US" sz="1100" kern="0"/>
              <a:t>Requires UE, CN and RAN support</a:t>
            </a:r>
          </a:p>
          <a:p>
            <a:pPr marL="176213" marR="0" lvl="0" indent="-176213" algn="l" defTabSz="914400" rtl="0" eaLnBrk="1" fontAlgn="base" latinLnBrk="0" hangingPunct="1">
              <a:lnSpc>
                <a:spcPct val="100000"/>
              </a:lnSpc>
              <a:spcBef>
                <a:spcPts val="600"/>
              </a:spcBef>
              <a:spcAft>
                <a:spcPct val="0"/>
              </a:spcAft>
              <a:buClr>
                <a:srgbClr val="00A9D4"/>
              </a:buClr>
              <a:buSzTx/>
              <a:buFont typeface="Arial" charset="0"/>
              <a:buChar char="›"/>
              <a:tabLst/>
              <a:defRPr/>
            </a:pPr>
            <a:r>
              <a:rPr lang="en-US" sz="1100" kern="0"/>
              <a:t>E2E slicing (RAN slice aware)</a:t>
            </a:r>
          </a:p>
          <a:p>
            <a:pPr marL="176213" marR="0" lvl="0" indent="-176213" algn="l" defTabSz="914400" rtl="0" eaLnBrk="1" fontAlgn="base" latinLnBrk="0" hangingPunct="1">
              <a:lnSpc>
                <a:spcPct val="100000"/>
              </a:lnSpc>
              <a:spcBef>
                <a:spcPts val="600"/>
              </a:spcBef>
              <a:spcAft>
                <a:spcPct val="0"/>
              </a:spcAft>
              <a:buClr>
                <a:srgbClr val="00A9D4"/>
              </a:buClr>
              <a:buSzTx/>
              <a:buFont typeface="Arial" charset="0"/>
              <a:buChar char="›"/>
              <a:tabLst/>
              <a:defRPr/>
            </a:pPr>
            <a:r>
              <a:rPr lang="en-US" sz="1100" kern="0"/>
              <a:t>Connectivity to multiple slices simultaneously</a:t>
            </a:r>
          </a:p>
          <a:p>
            <a:pPr marL="176213" marR="0" lvl="0" indent="-176213" algn="l" defTabSz="914400" rtl="0" eaLnBrk="1" fontAlgn="base" latinLnBrk="0" hangingPunct="1">
              <a:lnSpc>
                <a:spcPct val="100000"/>
              </a:lnSpc>
              <a:spcBef>
                <a:spcPts val="600"/>
              </a:spcBef>
              <a:spcAft>
                <a:spcPct val="0"/>
              </a:spcAft>
              <a:buClr>
                <a:srgbClr val="00A9D4"/>
              </a:buClr>
              <a:buSzTx/>
              <a:buFont typeface="Arial" charset="0"/>
              <a:buChar char="›"/>
              <a:tabLst/>
              <a:defRPr/>
            </a:pPr>
            <a:endParaRPr kumimoji="0" lang="en-US" sz="1100" b="0" i="0" u="none" strike="noStrike" kern="0" cap="none" spc="0" normalizeH="0" baseline="0" noProof="0">
              <a:ln>
                <a:noFill/>
              </a:ln>
              <a:solidFill>
                <a:srgbClr val="58585A"/>
              </a:solidFill>
              <a:effectLst/>
              <a:uLnTx/>
              <a:uFillTx/>
              <a:ea typeface="+mn-ea"/>
              <a:cs typeface="+mn-cs"/>
            </a:endParaRPr>
          </a:p>
        </p:txBody>
      </p:sp>
      <p:sp>
        <p:nvSpPr>
          <p:cNvPr id="286" name="TextBox 285">
            <a:extLst>
              <a:ext uri="{FF2B5EF4-FFF2-40B4-BE49-F238E27FC236}">
                <a16:creationId xmlns:a16="http://schemas.microsoft.com/office/drawing/2014/main" id="{23DF8562-2EFA-49D1-9CED-61EFD401B85E}"/>
              </a:ext>
            </a:extLst>
          </p:cNvPr>
          <p:cNvSpPr txBox="1"/>
          <p:nvPr/>
        </p:nvSpPr>
        <p:spPr>
          <a:xfrm>
            <a:off x="9908541" y="1719769"/>
            <a:ext cx="1911712" cy="340519"/>
          </a:xfrm>
          <a:prstGeom prst="roundRect">
            <a:avLst/>
          </a:prstGeom>
          <a:solidFill>
            <a:schemeClr val="tx2"/>
          </a:solid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400" b="0" i="0" u="none" strike="noStrike" kern="1200" cap="none" spc="0" normalizeH="0" baseline="0" noProof="0">
                <a:ln>
                  <a:noFill/>
                </a:ln>
                <a:solidFill>
                  <a:srgbClr val="FFFFFF"/>
                </a:solidFill>
                <a:effectLst/>
                <a:uLnTx/>
                <a:uFillTx/>
                <a:ea typeface="+mn-ea"/>
                <a:cs typeface="+mn-cs"/>
              </a:rPr>
              <a:t>5GS Slicing</a:t>
            </a:r>
          </a:p>
        </p:txBody>
      </p:sp>
      <p:sp>
        <p:nvSpPr>
          <p:cNvPr id="270" name="Cloud 129">
            <a:extLst>
              <a:ext uri="{FF2B5EF4-FFF2-40B4-BE49-F238E27FC236}">
                <a16:creationId xmlns:a16="http://schemas.microsoft.com/office/drawing/2014/main" id="{8DE75CA5-98C6-4926-B20B-8FED42025354}"/>
              </a:ext>
            </a:extLst>
          </p:cNvPr>
          <p:cNvSpPr/>
          <p:nvPr/>
        </p:nvSpPr>
        <p:spPr bwMode="auto">
          <a:xfrm>
            <a:off x="11068375" y="2166100"/>
            <a:ext cx="997489" cy="757190"/>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grpSp>
        <p:nvGrpSpPr>
          <p:cNvPr id="271" name="Group 270">
            <a:extLst>
              <a:ext uri="{FF2B5EF4-FFF2-40B4-BE49-F238E27FC236}">
                <a16:creationId xmlns:a16="http://schemas.microsoft.com/office/drawing/2014/main" id="{23E0A33F-21D9-4F1D-AB41-35CC5120612D}"/>
              </a:ext>
            </a:extLst>
          </p:cNvPr>
          <p:cNvGrpSpPr/>
          <p:nvPr/>
        </p:nvGrpSpPr>
        <p:grpSpPr>
          <a:xfrm>
            <a:off x="11501850" y="2750670"/>
            <a:ext cx="281361" cy="386850"/>
            <a:chOff x="11366722" y="2736710"/>
            <a:chExt cx="281361" cy="383020"/>
          </a:xfrm>
        </p:grpSpPr>
        <p:sp>
          <p:nvSpPr>
            <p:cNvPr id="272" name="AutoShape 340">
              <a:extLst>
                <a:ext uri="{FF2B5EF4-FFF2-40B4-BE49-F238E27FC236}">
                  <a16:creationId xmlns:a16="http://schemas.microsoft.com/office/drawing/2014/main" id="{F35F4997-48E3-41A0-816A-5079F560B046}"/>
                </a:ext>
              </a:extLst>
            </p:cNvPr>
            <p:cNvSpPr>
              <a:spLocks noChangeAspect="1" noChangeArrowheads="1"/>
            </p:cNvSpPr>
            <p:nvPr/>
          </p:nvSpPr>
          <p:spPr bwMode="auto">
            <a:xfrm>
              <a:off x="11372255" y="2741942"/>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73" name="Freeform 341">
              <a:extLst>
                <a:ext uri="{FF2B5EF4-FFF2-40B4-BE49-F238E27FC236}">
                  <a16:creationId xmlns:a16="http://schemas.microsoft.com/office/drawing/2014/main" id="{BF792D01-EC72-4FA8-BC20-47035E7535D5}"/>
                </a:ext>
              </a:extLst>
            </p:cNvPr>
            <p:cNvSpPr>
              <a:spLocks noChangeAspect="1" noEditPoints="1"/>
            </p:cNvSpPr>
            <p:nvPr/>
          </p:nvSpPr>
          <p:spPr bwMode="auto">
            <a:xfrm>
              <a:off x="11366722" y="2736710"/>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274" name="Text Box 5">
              <a:extLst>
                <a:ext uri="{FF2B5EF4-FFF2-40B4-BE49-F238E27FC236}">
                  <a16:creationId xmlns:a16="http://schemas.microsoft.com/office/drawing/2014/main" id="{B5159FB7-D884-42FB-B841-FE48F8234F97}"/>
                </a:ext>
              </a:extLst>
            </p:cNvPr>
            <p:cNvSpPr txBox="1">
              <a:spLocks noChangeAspect="1" noChangeArrowheads="1"/>
            </p:cNvSpPr>
            <p:nvPr/>
          </p:nvSpPr>
          <p:spPr bwMode="auto">
            <a:xfrm>
              <a:off x="11387984" y="3025541"/>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rPr>
                <a:t>S</a:t>
              </a: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F/UPF3</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75" name="AutoShape 343">
              <a:extLst>
                <a:ext uri="{FF2B5EF4-FFF2-40B4-BE49-F238E27FC236}">
                  <a16:creationId xmlns:a16="http://schemas.microsoft.com/office/drawing/2014/main" id="{7687ADE4-4142-4B24-AD91-B5F40DA9D118}"/>
                </a:ext>
              </a:extLst>
            </p:cNvPr>
            <p:cNvSpPr>
              <a:spLocks noChangeAspect="1" noChangeArrowheads="1"/>
            </p:cNvSpPr>
            <p:nvPr/>
          </p:nvSpPr>
          <p:spPr bwMode="auto">
            <a:xfrm>
              <a:off x="11367013" y="2736710"/>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grpSp>
      <p:grpSp>
        <p:nvGrpSpPr>
          <p:cNvPr id="265" name="Group 264">
            <a:extLst>
              <a:ext uri="{FF2B5EF4-FFF2-40B4-BE49-F238E27FC236}">
                <a16:creationId xmlns:a16="http://schemas.microsoft.com/office/drawing/2014/main" id="{9C662B9D-2898-464D-BB3A-96D8F3F96676}"/>
              </a:ext>
            </a:extLst>
          </p:cNvPr>
          <p:cNvGrpSpPr/>
          <p:nvPr/>
        </p:nvGrpSpPr>
        <p:grpSpPr>
          <a:xfrm>
            <a:off x="10654822" y="3159965"/>
            <a:ext cx="205808" cy="280169"/>
            <a:chOff x="11366722" y="2736710"/>
            <a:chExt cx="281361" cy="383020"/>
          </a:xfrm>
        </p:grpSpPr>
        <p:sp>
          <p:nvSpPr>
            <p:cNvPr id="266" name="AutoShape 340">
              <a:extLst>
                <a:ext uri="{FF2B5EF4-FFF2-40B4-BE49-F238E27FC236}">
                  <a16:creationId xmlns:a16="http://schemas.microsoft.com/office/drawing/2014/main" id="{E0D1AD36-3B3F-4842-9321-3D34D8ED32CB}"/>
                </a:ext>
              </a:extLst>
            </p:cNvPr>
            <p:cNvSpPr>
              <a:spLocks noChangeAspect="1" noChangeArrowheads="1"/>
            </p:cNvSpPr>
            <p:nvPr/>
          </p:nvSpPr>
          <p:spPr bwMode="auto">
            <a:xfrm>
              <a:off x="11372255" y="2741942"/>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67" name="Freeform 341">
              <a:extLst>
                <a:ext uri="{FF2B5EF4-FFF2-40B4-BE49-F238E27FC236}">
                  <a16:creationId xmlns:a16="http://schemas.microsoft.com/office/drawing/2014/main" id="{5F991F59-202D-4199-AD78-10DC9F1B405A}"/>
                </a:ext>
              </a:extLst>
            </p:cNvPr>
            <p:cNvSpPr>
              <a:spLocks noChangeAspect="1" noEditPoints="1"/>
            </p:cNvSpPr>
            <p:nvPr/>
          </p:nvSpPr>
          <p:spPr bwMode="auto">
            <a:xfrm>
              <a:off x="11366722" y="2736710"/>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268" name="Text Box 5">
              <a:extLst>
                <a:ext uri="{FF2B5EF4-FFF2-40B4-BE49-F238E27FC236}">
                  <a16:creationId xmlns:a16="http://schemas.microsoft.com/office/drawing/2014/main" id="{683FA435-A66F-4DA9-809A-B4009C1C02FE}"/>
                </a:ext>
              </a:extLst>
            </p:cNvPr>
            <p:cNvSpPr txBox="1">
              <a:spLocks noChangeAspect="1" noChangeArrowheads="1"/>
            </p:cNvSpPr>
            <p:nvPr/>
          </p:nvSpPr>
          <p:spPr bwMode="auto">
            <a:xfrm>
              <a:off x="11387985" y="3018763"/>
              <a:ext cx="238836" cy="50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rPr>
                <a:t>A</a:t>
              </a: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F</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69" name="AutoShape 343">
              <a:extLst>
                <a:ext uri="{FF2B5EF4-FFF2-40B4-BE49-F238E27FC236}">
                  <a16:creationId xmlns:a16="http://schemas.microsoft.com/office/drawing/2014/main" id="{1BDFB8EF-8C79-4D3E-BA80-87CF5E2E2ADA}"/>
                </a:ext>
              </a:extLst>
            </p:cNvPr>
            <p:cNvSpPr>
              <a:spLocks noChangeAspect="1" noChangeArrowheads="1"/>
            </p:cNvSpPr>
            <p:nvPr/>
          </p:nvSpPr>
          <p:spPr bwMode="auto">
            <a:xfrm>
              <a:off x="11367013" y="2736710"/>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grpSp>
      <p:sp>
        <p:nvSpPr>
          <p:cNvPr id="230" name="Cloud 129">
            <a:extLst>
              <a:ext uri="{FF2B5EF4-FFF2-40B4-BE49-F238E27FC236}">
                <a16:creationId xmlns:a16="http://schemas.microsoft.com/office/drawing/2014/main" id="{8BD56B9D-0B90-4B8E-878C-A8A699BEEE6D}"/>
              </a:ext>
            </a:extLst>
          </p:cNvPr>
          <p:cNvSpPr/>
          <p:nvPr/>
        </p:nvSpPr>
        <p:spPr bwMode="auto">
          <a:xfrm>
            <a:off x="9671610" y="2255411"/>
            <a:ext cx="997489" cy="749693"/>
          </a:xfrm>
          <a:prstGeom prst="cloud">
            <a:avLst/>
          </a:prstGeom>
          <a:solidFill>
            <a:schemeClr val="bg1"/>
          </a:solidFill>
          <a:ln w="15875" cap="flat" cmpd="sng" algn="ctr">
            <a:solidFill>
              <a:schemeClr val="accent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sp>
        <p:nvSpPr>
          <p:cNvPr id="231" name="AutoShape 340">
            <a:extLst>
              <a:ext uri="{FF2B5EF4-FFF2-40B4-BE49-F238E27FC236}">
                <a16:creationId xmlns:a16="http://schemas.microsoft.com/office/drawing/2014/main" id="{C874AD82-EE83-458D-A9E2-D46EA8E5CE76}"/>
              </a:ext>
            </a:extLst>
          </p:cNvPr>
          <p:cNvSpPr>
            <a:spLocks noChangeAspect="1" noChangeArrowheads="1"/>
          </p:cNvSpPr>
          <p:nvPr/>
        </p:nvSpPr>
        <p:spPr bwMode="auto">
          <a:xfrm>
            <a:off x="9912529" y="2823296"/>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32" name="Freeform 341">
            <a:extLst>
              <a:ext uri="{FF2B5EF4-FFF2-40B4-BE49-F238E27FC236}">
                <a16:creationId xmlns:a16="http://schemas.microsoft.com/office/drawing/2014/main" id="{AA74D6C4-F19F-4DD6-A268-63C79DF57EBC}"/>
              </a:ext>
            </a:extLst>
          </p:cNvPr>
          <p:cNvSpPr>
            <a:spLocks noChangeAspect="1" noEditPoints="1"/>
          </p:cNvSpPr>
          <p:nvPr/>
        </p:nvSpPr>
        <p:spPr bwMode="auto">
          <a:xfrm>
            <a:off x="9906995" y="2818064"/>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233" name="Text Box 5">
            <a:extLst>
              <a:ext uri="{FF2B5EF4-FFF2-40B4-BE49-F238E27FC236}">
                <a16:creationId xmlns:a16="http://schemas.microsoft.com/office/drawing/2014/main" id="{04F570AC-01E2-42E0-AA2C-03B6043AAED5}"/>
              </a:ext>
            </a:extLst>
          </p:cNvPr>
          <p:cNvSpPr txBox="1">
            <a:spLocks noChangeAspect="1" noChangeArrowheads="1"/>
          </p:cNvSpPr>
          <p:nvPr/>
        </p:nvSpPr>
        <p:spPr bwMode="auto">
          <a:xfrm>
            <a:off x="9928257" y="3106895"/>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rPr>
              <a:t>S</a:t>
            </a: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F1/UPF1</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34" name="AutoShape 343">
            <a:extLst>
              <a:ext uri="{FF2B5EF4-FFF2-40B4-BE49-F238E27FC236}">
                <a16:creationId xmlns:a16="http://schemas.microsoft.com/office/drawing/2014/main" id="{B4E48E65-61CB-403E-AE9A-837B1A29D9A8}"/>
              </a:ext>
            </a:extLst>
          </p:cNvPr>
          <p:cNvSpPr>
            <a:spLocks noChangeAspect="1" noChangeArrowheads="1"/>
          </p:cNvSpPr>
          <p:nvPr/>
        </p:nvSpPr>
        <p:spPr bwMode="auto">
          <a:xfrm>
            <a:off x="9907287" y="2818064"/>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35" name="Cloud 129">
            <a:extLst>
              <a:ext uri="{FF2B5EF4-FFF2-40B4-BE49-F238E27FC236}">
                <a16:creationId xmlns:a16="http://schemas.microsoft.com/office/drawing/2014/main" id="{049FD8EE-D806-4A15-BB65-5BF9C6B24A2B}"/>
              </a:ext>
            </a:extLst>
          </p:cNvPr>
          <p:cNvSpPr/>
          <p:nvPr/>
        </p:nvSpPr>
        <p:spPr bwMode="auto">
          <a:xfrm>
            <a:off x="10933247" y="2217474"/>
            <a:ext cx="997489" cy="749693"/>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600" b="0" i="0" u="none" strike="noStrike" kern="1200" cap="none" spc="0" normalizeH="0" baseline="0" noProof="0">
              <a:ln>
                <a:noFill/>
              </a:ln>
              <a:solidFill>
                <a:srgbClr val="575A5B"/>
              </a:solidFill>
              <a:effectLst/>
              <a:uLnTx/>
              <a:uFillTx/>
              <a:ea typeface="+mn-ea"/>
              <a:cs typeface="+mn-cs"/>
            </a:endParaRPr>
          </a:p>
        </p:txBody>
      </p:sp>
      <p:grpSp>
        <p:nvGrpSpPr>
          <p:cNvPr id="5" name="Group 4">
            <a:extLst>
              <a:ext uri="{FF2B5EF4-FFF2-40B4-BE49-F238E27FC236}">
                <a16:creationId xmlns:a16="http://schemas.microsoft.com/office/drawing/2014/main" id="{2F96F19B-222E-4015-B009-ABADA6329CC2}"/>
              </a:ext>
            </a:extLst>
          </p:cNvPr>
          <p:cNvGrpSpPr/>
          <p:nvPr/>
        </p:nvGrpSpPr>
        <p:grpSpPr>
          <a:xfrm>
            <a:off x="11366722" y="2800210"/>
            <a:ext cx="281361" cy="383020"/>
            <a:chOff x="11366722" y="2736710"/>
            <a:chExt cx="281361" cy="383020"/>
          </a:xfrm>
        </p:grpSpPr>
        <p:sp>
          <p:nvSpPr>
            <p:cNvPr id="236" name="AutoShape 340">
              <a:extLst>
                <a:ext uri="{FF2B5EF4-FFF2-40B4-BE49-F238E27FC236}">
                  <a16:creationId xmlns:a16="http://schemas.microsoft.com/office/drawing/2014/main" id="{1A89AF75-7EFA-437C-9FE2-D3610A2F44EE}"/>
                </a:ext>
              </a:extLst>
            </p:cNvPr>
            <p:cNvSpPr>
              <a:spLocks noChangeAspect="1" noChangeArrowheads="1"/>
            </p:cNvSpPr>
            <p:nvPr/>
          </p:nvSpPr>
          <p:spPr bwMode="auto">
            <a:xfrm>
              <a:off x="11372255" y="2741942"/>
              <a:ext cx="270584" cy="372557"/>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37" name="Freeform 341">
              <a:extLst>
                <a:ext uri="{FF2B5EF4-FFF2-40B4-BE49-F238E27FC236}">
                  <a16:creationId xmlns:a16="http://schemas.microsoft.com/office/drawing/2014/main" id="{AF888488-FCB2-44DA-9359-D5E5FB417876}"/>
                </a:ext>
              </a:extLst>
            </p:cNvPr>
            <p:cNvSpPr>
              <a:spLocks noChangeAspect="1" noEditPoints="1"/>
            </p:cNvSpPr>
            <p:nvPr/>
          </p:nvSpPr>
          <p:spPr bwMode="auto">
            <a:xfrm>
              <a:off x="11366722" y="2736710"/>
              <a:ext cx="281361" cy="383020"/>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700" b="0" i="0" u="none" strike="noStrike" kern="1200" cap="none" spc="0" normalizeH="0" baseline="0" noProof="0">
                <a:ln>
                  <a:noFill/>
                </a:ln>
                <a:solidFill>
                  <a:srgbClr val="575A5B"/>
                </a:solidFill>
                <a:effectLst/>
                <a:uLnTx/>
                <a:uFillTx/>
                <a:ea typeface="+mn-ea"/>
                <a:cs typeface="+mn-cs"/>
              </a:endParaRPr>
            </a:p>
          </p:txBody>
        </p:sp>
        <p:sp>
          <p:nvSpPr>
            <p:cNvPr id="238" name="Text Box 5">
              <a:extLst>
                <a:ext uri="{FF2B5EF4-FFF2-40B4-BE49-F238E27FC236}">
                  <a16:creationId xmlns:a16="http://schemas.microsoft.com/office/drawing/2014/main" id="{A107C009-7EC1-40E3-83A7-8D8FF20FB85E}"/>
                </a:ext>
              </a:extLst>
            </p:cNvPr>
            <p:cNvSpPr txBox="1">
              <a:spLocks noChangeAspect="1" noChangeArrowheads="1"/>
            </p:cNvSpPr>
            <p:nvPr/>
          </p:nvSpPr>
          <p:spPr bwMode="auto">
            <a:xfrm>
              <a:off x="11387984" y="3025541"/>
              <a:ext cx="238836" cy="3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rPr>
                <a:t>S</a:t>
              </a:r>
              <a:r>
                <a:rPr kumimoji="0" lang="en-US" altLang="sv-SE" sz="300" b="0" i="0" u="none" strike="noStrike" kern="1200" cap="none" spc="0" normalizeH="0" baseline="0" noProof="0">
                  <a:ln>
                    <a:noFill/>
                  </a:ln>
                  <a:solidFill>
                    <a:srgbClr val="575A5B"/>
                  </a:solidFill>
                  <a:effectLst/>
                  <a:uLnTx/>
                  <a:uFillTx/>
                  <a:latin typeface="+mn-lt"/>
                  <a:ea typeface="MS PGothic" pitchFamily="34" charset="-128"/>
                  <a:cs typeface="+mn-cs"/>
                </a:rPr>
                <a:t>MF2/UPF2</a:t>
              </a:r>
              <a:endParaRPr kumimoji="0" lang="sv-SE" altLang="sv-SE" sz="3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sp>
          <p:nvSpPr>
            <p:cNvPr id="239" name="AutoShape 343">
              <a:extLst>
                <a:ext uri="{FF2B5EF4-FFF2-40B4-BE49-F238E27FC236}">
                  <a16:creationId xmlns:a16="http://schemas.microsoft.com/office/drawing/2014/main" id="{F61199B7-278D-4F44-89F5-C28FA5F95DBD}"/>
                </a:ext>
              </a:extLst>
            </p:cNvPr>
            <p:cNvSpPr>
              <a:spLocks noChangeAspect="1" noChangeArrowheads="1"/>
            </p:cNvSpPr>
            <p:nvPr/>
          </p:nvSpPr>
          <p:spPr bwMode="auto">
            <a:xfrm>
              <a:off x="11367013" y="2736710"/>
              <a:ext cx="280778" cy="382194"/>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r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altLang="sv-SE" sz="100" b="0" i="0" u="none" strike="noStrike" kern="1200" cap="none" spc="0" normalizeH="0" baseline="0" noProof="0">
                <a:ln>
                  <a:noFill/>
                </a:ln>
                <a:solidFill>
                  <a:srgbClr val="575A5B"/>
                </a:solidFill>
                <a:effectLst/>
                <a:uLnTx/>
                <a:uFillTx/>
                <a:latin typeface="+mn-lt"/>
                <a:ea typeface="MS PGothic" pitchFamily="34" charset="-128"/>
                <a:cs typeface="+mn-cs"/>
              </a:endParaRPr>
            </a:p>
          </p:txBody>
        </p:sp>
      </p:grpSp>
      <p:sp>
        <p:nvSpPr>
          <p:cNvPr id="240" name="Sexhörning 63">
            <a:extLst>
              <a:ext uri="{FF2B5EF4-FFF2-40B4-BE49-F238E27FC236}">
                <a16:creationId xmlns:a16="http://schemas.microsoft.com/office/drawing/2014/main" id="{4D8418E8-C213-47E3-9B97-97F806B99269}"/>
              </a:ext>
            </a:extLst>
          </p:cNvPr>
          <p:cNvSpPr/>
          <p:nvPr/>
        </p:nvSpPr>
        <p:spPr bwMode="auto">
          <a:xfrm>
            <a:off x="10077808" y="4012558"/>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1" name="Freeform 61">
            <a:extLst>
              <a:ext uri="{FF2B5EF4-FFF2-40B4-BE49-F238E27FC236}">
                <a16:creationId xmlns:a16="http://schemas.microsoft.com/office/drawing/2014/main" id="{CC331FDE-8047-448B-A5F8-CD82B279D712}"/>
              </a:ext>
            </a:extLst>
          </p:cNvPr>
          <p:cNvSpPr>
            <a:spLocks noChangeAspect="1" noEditPoints="1"/>
          </p:cNvSpPr>
          <p:nvPr/>
        </p:nvSpPr>
        <p:spPr bwMode="auto">
          <a:xfrm>
            <a:off x="10232144" y="4055020"/>
            <a:ext cx="241831" cy="346934"/>
          </a:xfrm>
          <a:custGeom>
            <a:avLst/>
            <a:gdLst>
              <a:gd name="T0" fmla="*/ 350 w 292"/>
              <a:gd name="T1" fmla="*/ 484 h 444"/>
              <a:gd name="T2" fmla="*/ 16 w 292"/>
              <a:gd name="T3" fmla="*/ 484 h 444"/>
              <a:gd name="T4" fmla="*/ 16 w 292"/>
              <a:gd name="T5" fmla="*/ 101 h 444"/>
              <a:gd name="T6" fmla="*/ 350 w 292"/>
              <a:gd name="T7" fmla="*/ 101 h 444"/>
              <a:gd name="T8" fmla="*/ 370 w 292"/>
              <a:gd name="T9" fmla="*/ 142 h 444"/>
              <a:gd name="T10" fmla="*/ 338 w 292"/>
              <a:gd name="T11" fmla="*/ 16 h 444"/>
              <a:gd name="T12" fmla="*/ 261 w 292"/>
              <a:gd name="T13" fmla="*/ 16 h 444"/>
              <a:gd name="T14" fmla="*/ 0 w 292"/>
              <a:gd name="T15" fmla="*/ 101 h 444"/>
              <a:gd name="T16" fmla="*/ 0 w 292"/>
              <a:gd name="T17" fmla="*/ 484 h 444"/>
              <a:gd name="T18" fmla="*/ 370 w 292"/>
              <a:gd name="T19" fmla="*/ 484 h 444"/>
              <a:gd name="T20" fmla="*/ 335 w 292"/>
              <a:gd name="T21" fmla="*/ 239 h 444"/>
              <a:gd name="T22" fmla="*/ 296 w 292"/>
              <a:gd name="T23" fmla="*/ 68 h 444"/>
              <a:gd name="T24" fmla="*/ 37 w 292"/>
              <a:gd name="T25" fmla="*/ 110 h 444"/>
              <a:gd name="T26" fmla="*/ 77 w 292"/>
              <a:gd name="T27" fmla="*/ 279 h 444"/>
              <a:gd name="T28" fmla="*/ 335 w 292"/>
              <a:gd name="T29" fmla="*/ 239 h 444"/>
              <a:gd name="T30" fmla="*/ 296 w 292"/>
              <a:gd name="T31" fmla="*/ 259 h 444"/>
              <a:gd name="T32" fmla="*/ 53 w 292"/>
              <a:gd name="T33" fmla="*/ 239 h 444"/>
              <a:gd name="T34" fmla="*/ 77 w 292"/>
              <a:gd name="T35" fmla="*/ 94 h 444"/>
              <a:gd name="T36" fmla="*/ 315 w 292"/>
              <a:gd name="T37" fmla="*/ 110 h 444"/>
              <a:gd name="T38" fmla="*/ 151 w 292"/>
              <a:gd name="T39" fmla="*/ 511 h 444"/>
              <a:gd name="T40" fmla="*/ 143 w 292"/>
              <a:gd name="T41" fmla="*/ 502 h 444"/>
              <a:gd name="T42" fmla="*/ 195 w 292"/>
              <a:gd name="T43" fmla="*/ 502 h 444"/>
              <a:gd name="T44" fmla="*/ 219 w 292"/>
              <a:gd name="T45" fmla="*/ 511 h 444"/>
              <a:gd name="T46" fmla="*/ 209 w 292"/>
              <a:gd name="T47" fmla="*/ 502 h 444"/>
              <a:gd name="T48" fmla="*/ 104 w 292"/>
              <a:gd name="T49" fmla="*/ 299 h 444"/>
              <a:gd name="T50" fmla="*/ 51 w 292"/>
              <a:gd name="T51" fmla="*/ 330 h 444"/>
              <a:gd name="T52" fmla="*/ 127 w 292"/>
              <a:gd name="T53" fmla="*/ 330 h 444"/>
              <a:gd name="T54" fmla="*/ 204 w 292"/>
              <a:gd name="T55" fmla="*/ 350 h 444"/>
              <a:gd name="T56" fmla="*/ 204 w 292"/>
              <a:gd name="T57" fmla="*/ 299 h 444"/>
              <a:gd name="T58" fmla="*/ 147 w 292"/>
              <a:gd name="T59" fmla="*/ 330 h 444"/>
              <a:gd name="T60" fmla="*/ 302 w 292"/>
              <a:gd name="T61" fmla="*/ 299 h 444"/>
              <a:gd name="T62" fmla="*/ 246 w 292"/>
              <a:gd name="T63" fmla="*/ 330 h 444"/>
              <a:gd name="T64" fmla="*/ 322 w 292"/>
              <a:gd name="T65" fmla="*/ 330 h 444"/>
              <a:gd name="T66" fmla="*/ 104 w 292"/>
              <a:gd name="T67" fmla="*/ 363 h 444"/>
              <a:gd name="T68" fmla="*/ 51 w 292"/>
              <a:gd name="T69" fmla="*/ 395 h 444"/>
              <a:gd name="T70" fmla="*/ 127 w 292"/>
              <a:gd name="T71" fmla="*/ 395 h 444"/>
              <a:gd name="T72" fmla="*/ 168 w 292"/>
              <a:gd name="T73" fmla="*/ 413 h 444"/>
              <a:gd name="T74" fmla="*/ 224 w 292"/>
              <a:gd name="T75" fmla="*/ 382 h 444"/>
              <a:gd name="T76" fmla="*/ 147 w 292"/>
              <a:gd name="T77" fmla="*/ 382 h 444"/>
              <a:gd name="T78" fmla="*/ 302 w 292"/>
              <a:gd name="T79" fmla="*/ 363 h 444"/>
              <a:gd name="T80" fmla="*/ 246 w 292"/>
              <a:gd name="T81" fmla="*/ 395 h 444"/>
              <a:gd name="T82" fmla="*/ 322 w 292"/>
              <a:gd name="T83" fmla="*/ 395 h 444"/>
              <a:gd name="T84" fmla="*/ 71 w 292"/>
              <a:gd name="T85" fmla="*/ 426 h 444"/>
              <a:gd name="T86" fmla="*/ 71 w 292"/>
              <a:gd name="T87" fmla="*/ 476 h 444"/>
              <a:gd name="T88" fmla="*/ 127 w 292"/>
              <a:gd name="T89" fmla="*/ 447 h 444"/>
              <a:gd name="T90" fmla="*/ 224 w 292"/>
              <a:gd name="T91" fmla="*/ 447 h 444"/>
              <a:gd name="T92" fmla="*/ 147 w 292"/>
              <a:gd name="T93" fmla="*/ 447 h 444"/>
              <a:gd name="T94" fmla="*/ 204 w 292"/>
              <a:gd name="T95" fmla="*/ 476 h 444"/>
              <a:gd name="T96" fmla="*/ 266 w 292"/>
              <a:gd name="T97" fmla="*/ 426 h 444"/>
              <a:gd name="T98" fmla="*/ 266 w 292"/>
              <a:gd name="T99" fmla="*/ 476 h 444"/>
              <a:gd name="T100" fmla="*/ 322 w 292"/>
              <a:gd name="T101" fmla="*/ 447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tx2"/>
          </a:solidFill>
          <a:ln w="6350">
            <a:noFill/>
            <a:round/>
            <a:headEnd/>
            <a:tailEnd/>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2" name="Oval 241">
            <a:extLst>
              <a:ext uri="{FF2B5EF4-FFF2-40B4-BE49-F238E27FC236}">
                <a16:creationId xmlns:a16="http://schemas.microsoft.com/office/drawing/2014/main" id="{D6513C4B-EF51-41E1-8207-C4E560315C50}"/>
              </a:ext>
            </a:extLst>
          </p:cNvPr>
          <p:cNvSpPr/>
          <p:nvPr/>
        </p:nvSpPr>
        <p:spPr bwMode="auto">
          <a:xfrm>
            <a:off x="9883578" y="3478858"/>
            <a:ext cx="1885889" cy="346421"/>
          </a:xfrm>
          <a:prstGeom prst="ellipse">
            <a:avLst/>
          </a:prstGeom>
          <a:solidFill>
            <a:schemeClr val="tx1">
              <a:lumMod val="20000"/>
              <a:lumOff val="80000"/>
            </a:schemeClr>
          </a:solid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72000" rIns="7200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900" b="0" i="0" u="none" strike="noStrike" kern="1200" cap="none" spc="0" normalizeH="0" baseline="0" noProof="0">
                <a:ln>
                  <a:noFill/>
                </a:ln>
                <a:solidFill>
                  <a:srgbClr val="575A5B"/>
                </a:solidFill>
                <a:effectLst/>
                <a:uLnTx/>
                <a:uFillTx/>
                <a:ea typeface="+mn-ea"/>
                <a:cs typeface="+mn-cs"/>
              </a:rPr>
              <a:t>5G Access</a:t>
            </a:r>
          </a:p>
        </p:txBody>
      </p:sp>
      <p:sp>
        <p:nvSpPr>
          <p:cNvPr id="243" name="Freeform 3">
            <a:extLst>
              <a:ext uri="{FF2B5EF4-FFF2-40B4-BE49-F238E27FC236}">
                <a16:creationId xmlns:a16="http://schemas.microsoft.com/office/drawing/2014/main" id="{F6D1E621-BE92-4F75-AFC3-55AF45706BD5}"/>
              </a:ext>
            </a:extLst>
          </p:cNvPr>
          <p:cNvSpPr>
            <a:spLocks noChangeAspect="1" noEditPoints="1"/>
          </p:cNvSpPr>
          <p:nvPr/>
        </p:nvSpPr>
        <p:spPr bwMode="auto">
          <a:xfrm>
            <a:off x="10856776" y="4143926"/>
            <a:ext cx="450821" cy="19795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44" name="Sexhörning 63">
            <a:extLst>
              <a:ext uri="{FF2B5EF4-FFF2-40B4-BE49-F238E27FC236}">
                <a16:creationId xmlns:a16="http://schemas.microsoft.com/office/drawing/2014/main" id="{96D3AA11-5B5E-4AEA-BDC1-2AEDF7CBD30D}"/>
              </a:ext>
            </a:extLst>
          </p:cNvPr>
          <p:cNvSpPr/>
          <p:nvPr/>
        </p:nvSpPr>
        <p:spPr bwMode="auto">
          <a:xfrm>
            <a:off x="10796019" y="4046029"/>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5" name="Freeform 3">
            <a:extLst>
              <a:ext uri="{FF2B5EF4-FFF2-40B4-BE49-F238E27FC236}">
                <a16:creationId xmlns:a16="http://schemas.microsoft.com/office/drawing/2014/main" id="{49E97315-BCE3-46E1-850D-94197C6E9487}"/>
              </a:ext>
            </a:extLst>
          </p:cNvPr>
          <p:cNvSpPr>
            <a:spLocks noChangeAspect="1" noEditPoints="1"/>
          </p:cNvSpPr>
          <p:nvPr/>
        </p:nvSpPr>
        <p:spPr bwMode="auto">
          <a:xfrm>
            <a:off x="10895723" y="4573044"/>
            <a:ext cx="365234" cy="36067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46" name="Sexhörning 63">
            <a:extLst>
              <a:ext uri="{FF2B5EF4-FFF2-40B4-BE49-F238E27FC236}">
                <a16:creationId xmlns:a16="http://schemas.microsoft.com/office/drawing/2014/main" id="{4C4618DA-9DFF-4698-8D8C-D0DF645B54B0}"/>
              </a:ext>
            </a:extLst>
          </p:cNvPr>
          <p:cNvSpPr/>
          <p:nvPr/>
        </p:nvSpPr>
        <p:spPr bwMode="auto">
          <a:xfrm>
            <a:off x="10791868" y="4513933"/>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7" name="Freeform 6">
            <a:extLst>
              <a:ext uri="{FF2B5EF4-FFF2-40B4-BE49-F238E27FC236}">
                <a16:creationId xmlns:a16="http://schemas.microsoft.com/office/drawing/2014/main" id="{E33F46F9-5D65-484A-B92E-6A60ED23B5AF}"/>
              </a:ext>
            </a:extLst>
          </p:cNvPr>
          <p:cNvSpPr>
            <a:spLocks noChangeAspect="1" noEditPoints="1"/>
          </p:cNvSpPr>
          <p:nvPr/>
        </p:nvSpPr>
        <p:spPr bwMode="auto">
          <a:xfrm>
            <a:off x="11359321" y="4312315"/>
            <a:ext cx="381714" cy="36155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tx2"/>
          </a:solidFill>
          <a:ln w="12700">
            <a:noFill/>
          </a:ln>
        </p:spPr>
        <p:txBody>
          <a:bodyPr lIns="91422" tIns="45718" rIns="91422" bIns="45718"/>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48" name="Sexhörning 63">
            <a:extLst>
              <a:ext uri="{FF2B5EF4-FFF2-40B4-BE49-F238E27FC236}">
                <a16:creationId xmlns:a16="http://schemas.microsoft.com/office/drawing/2014/main" id="{A422F504-5A15-4491-8BE3-4008FEBEDEE8}"/>
              </a:ext>
            </a:extLst>
          </p:cNvPr>
          <p:cNvSpPr/>
          <p:nvPr/>
        </p:nvSpPr>
        <p:spPr bwMode="auto">
          <a:xfrm>
            <a:off x="11266967" y="4283038"/>
            <a:ext cx="572942" cy="443110"/>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8" tIns="45718" rIns="71988" bIns="45718" numCol="1" rtlCol="0" anchor="t" anchorCtr="0" compatLnSpc="1">
            <a:prstTxWarp prst="textNoShape">
              <a:avLst/>
            </a:prstTxWarp>
          </a:bodyPr>
          <a:lstStyle/>
          <a:p>
            <a:pPr marL="0" marR="0" lvl="0" indent="0" algn="l" defTabSz="914196"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49" name="Freeform 207">
            <a:extLst>
              <a:ext uri="{FF2B5EF4-FFF2-40B4-BE49-F238E27FC236}">
                <a16:creationId xmlns:a16="http://schemas.microsoft.com/office/drawing/2014/main" id="{A8631049-1809-4EB4-BCBF-C1E10F43BA52}"/>
              </a:ext>
            </a:extLst>
          </p:cNvPr>
          <p:cNvSpPr/>
          <p:nvPr/>
        </p:nvSpPr>
        <p:spPr bwMode="auto">
          <a:xfrm>
            <a:off x="10991676" y="3246077"/>
            <a:ext cx="314117"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50" name="Freeform 208">
            <a:extLst>
              <a:ext uri="{FF2B5EF4-FFF2-40B4-BE49-F238E27FC236}">
                <a16:creationId xmlns:a16="http://schemas.microsoft.com/office/drawing/2014/main" id="{F1933D94-384C-42E2-9FF6-C1843496C6FF}"/>
              </a:ext>
            </a:extLst>
          </p:cNvPr>
          <p:cNvSpPr/>
          <p:nvPr/>
        </p:nvSpPr>
        <p:spPr bwMode="auto">
          <a:xfrm flipH="1">
            <a:off x="10184413" y="3254998"/>
            <a:ext cx="314394" cy="729613"/>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grpSp>
        <p:nvGrpSpPr>
          <p:cNvPr id="7" name="Group 6">
            <a:extLst>
              <a:ext uri="{FF2B5EF4-FFF2-40B4-BE49-F238E27FC236}">
                <a16:creationId xmlns:a16="http://schemas.microsoft.com/office/drawing/2014/main" id="{A794FB42-8F2C-4E30-A415-976C7817B56E}"/>
              </a:ext>
            </a:extLst>
          </p:cNvPr>
          <p:cNvGrpSpPr/>
          <p:nvPr/>
        </p:nvGrpSpPr>
        <p:grpSpPr>
          <a:xfrm>
            <a:off x="10648297" y="2827900"/>
            <a:ext cx="208251" cy="283837"/>
            <a:chOff x="10625818" y="2780189"/>
            <a:chExt cx="255898" cy="347451"/>
          </a:xfrm>
        </p:grpSpPr>
        <p:sp>
          <p:nvSpPr>
            <p:cNvPr id="251" name="Freeform 210">
              <a:extLst>
                <a:ext uri="{FF2B5EF4-FFF2-40B4-BE49-F238E27FC236}">
                  <a16:creationId xmlns:a16="http://schemas.microsoft.com/office/drawing/2014/main" id="{7E216A46-D8CE-4855-9810-6CCDFC4BC730}"/>
                </a:ext>
              </a:extLst>
            </p:cNvPr>
            <p:cNvSpPr>
              <a:spLocks noChangeAspect="1" noEditPoints="1"/>
            </p:cNvSpPr>
            <p:nvPr/>
          </p:nvSpPr>
          <p:spPr bwMode="auto">
            <a:xfrm>
              <a:off x="10625818" y="2780189"/>
              <a:ext cx="255898" cy="34745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tx2"/>
            </a:solidFill>
            <a:ln w="9525">
              <a:noFill/>
              <a:round/>
              <a:headEnd/>
              <a:tailEnd/>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52" name="Text Box 22">
              <a:extLst>
                <a:ext uri="{FF2B5EF4-FFF2-40B4-BE49-F238E27FC236}">
                  <a16:creationId xmlns:a16="http://schemas.microsoft.com/office/drawing/2014/main" id="{44192061-9807-4788-A816-60BC6630872F}"/>
                </a:ext>
              </a:extLst>
            </p:cNvPr>
            <p:cNvSpPr txBox="1">
              <a:spLocks noChangeAspect="1" noChangeArrowheads="1"/>
            </p:cNvSpPr>
            <p:nvPr/>
          </p:nvSpPr>
          <p:spPr bwMode="auto">
            <a:xfrm>
              <a:off x="10643301" y="3027310"/>
              <a:ext cx="216692" cy="60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sv-SE" sz="400" b="0" i="0" u="none" strike="noStrike" kern="1200" cap="none" spc="0" normalizeH="0" baseline="0" noProof="0">
                  <a:ln>
                    <a:noFill/>
                  </a:ln>
                  <a:solidFill>
                    <a:srgbClr val="575A5B"/>
                  </a:solidFill>
                  <a:effectLst/>
                  <a:uLnTx/>
                  <a:uFillTx/>
                  <a:latin typeface="+mn-lt"/>
                  <a:ea typeface="+mn-ea"/>
                  <a:cs typeface="+mn-cs"/>
                </a:rPr>
                <a:t>UDM</a:t>
              </a:r>
              <a:endParaRPr kumimoji="0" lang="sv-SE" altLang="sv-SE" sz="400" b="0" i="0" u="none" strike="noStrike" kern="1200" cap="none" spc="0" normalizeH="0" baseline="0" noProof="0">
                <a:ln>
                  <a:noFill/>
                </a:ln>
                <a:solidFill>
                  <a:srgbClr val="575A5B"/>
                </a:solidFill>
                <a:effectLst/>
                <a:uLnTx/>
                <a:uFillTx/>
                <a:latin typeface="+mn-lt"/>
                <a:ea typeface="+mn-ea"/>
                <a:cs typeface="+mn-cs"/>
              </a:endParaRPr>
            </a:p>
          </p:txBody>
        </p:sp>
      </p:grpSp>
      <p:sp>
        <p:nvSpPr>
          <p:cNvPr id="253" name="Left-Right Arrow 212">
            <a:extLst>
              <a:ext uri="{FF2B5EF4-FFF2-40B4-BE49-F238E27FC236}">
                <a16:creationId xmlns:a16="http://schemas.microsoft.com/office/drawing/2014/main" id="{F7AFA203-C085-4FEC-8B14-ACA936B99B8C}"/>
              </a:ext>
            </a:extLst>
          </p:cNvPr>
          <p:cNvSpPr/>
          <p:nvPr/>
        </p:nvSpPr>
        <p:spPr bwMode="auto">
          <a:xfrm>
            <a:off x="10292175" y="3011755"/>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54" name="Left-Right Arrow 213">
            <a:extLst>
              <a:ext uri="{FF2B5EF4-FFF2-40B4-BE49-F238E27FC236}">
                <a16:creationId xmlns:a16="http://schemas.microsoft.com/office/drawing/2014/main" id="{9DB6CE96-8EDB-4039-A815-C972FD05C9E5}"/>
              </a:ext>
            </a:extLst>
          </p:cNvPr>
          <p:cNvSpPr/>
          <p:nvPr/>
        </p:nvSpPr>
        <p:spPr bwMode="auto">
          <a:xfrm>
            <a:off x="10991676" y="2988924"/>
            <a:ext cx="229804" cy="132026"/>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1400" b="0" i="0" u="none" strike="noStrike" kern="1200" cap="none" spc="0" normalizeH="0" baseline="0" noProof="0">
              <a:ln>
                <a:noFill/>
              </a:ln>
              <a:solidFill>
                <a:srgbClr val="575A5B"/>
              </a:solidFill>
              <a:effectLst/>
              <a:uLnTx/>
              <a:uFillTx/>
              <a:ea typeface="+mn-ea"/>
              <a:cs typeface="+mn-cs"/>
            </a:endParaRPr>
          </a:p>
        </p:txBody>
      </p:sp>
      <p:sp>
        <p:nvSpPr>
          <p:cNvPr id="256" name="Oval 255">
            <a:extLst>
              <a:ext uri="{FF2B5EF4-FFF2-40B4-BE49-F238E27FC236}">
                <a16:creationId xmlns:a16="http://schemas.microsoft.com/office/drawing/2014/main" id="{2D04FEE4-6969-4174-B555-8DCD6CDA0FB1}"/>
              </a:ext>
            </a:extLst>
          </p:cNvPr>
          <p:cNvSpPr/>
          <p:nvPr/>
        </p:nvSpPr>
        <p:spPr bwMode="auto">
          <a:xfrm>
            <a:off x="11198395" y="4012558"/>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57" name="Oval 256">
            <a:extLst>
              <a:ext uri="{FF2B5EF4-FFF2-40B4-BE49-F238E27FC236}">
                <a16:creationId xmlns:a16="http://schemas.microsoft.com/office/drawing/2014/main" id="{5E01A809-70F0-478E-8FB2-92F9627E0ACB}"/>
              </a:ext>
            </a:extLst>
          </p:cNvPr>
          <p:cNvSpPr/>
          <p:nvPr/>
        </p:nvSpPr>
        <p:spPr bwMode="auto">
          <a:xfrm>
            <a:off x="11697609" y="4217459"/>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58" name="Oval 257">
            <a:extLst>
              <a:ext uri="{FF2B5EF4-FFF2-40B4-BE49-F238E27FC236}">
                <a16:creationId xmlns:a16="http://schemas.microsoft.com/office/drawing/2014/main" id="{CFD494ED-1F43-44B6-84CE-C1F7CAA9E2A3}"/>
              </a:ext>
            </a:extLst>
          </p:cNvPr>
          <p:cNvSpPr/>
          <p:nvPr/>
        </p:nvSpPr>
        <p:spPr bwMode="auto">
          <a:xfrm>
            <a:off x="11184590" y="4493078"/>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59" name="Oval 258">
            <a:extLst>
              <a:ext uri="{FF2B5EF4-FFF2-40B4-BE49-F238E27FC236}">
                <a16:creationId xmlns:a16="http://schemas.microsoft.com/office/drawing/2014/main" id="{3421162D-4DAB-4A56-97D1-5BD01FF0F14B}"/>
              </a:ext>
            </a:extLst>
          </p:cNvPr>
          <p:cNvSpPr/>
          <p:nvPr/>
        </p:nvSpPr>
        <p:spPr bwMode="auto">
          <a:xfrm>
            <a:off x="11352904" y="3152214"/>
            <a:ext cx="114902" cy="108719"/>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60" name="Oval 259">
            <a:extLst>
              <a:ext uri="{FF2B5EF4-FFF2-40B4-BE49-F238E27FC236}">
                <a16:creationId xmlns:a16="http://schemas.microsoft.com/office/drawing/2014/main" id="{0616D89C-0840-4F98-8A4D-F89735EFB678}"/>
              </a:ext>
            </a:extLst>
          </p:cNvPr>
          <p:cNvSpPr/>
          <p:nvPr/>
        </p:nvSpPr>
        <p:spPr bwMode="auto">
          <a:xfrm>
            <a:off x="10177935" y="3985723"/>
            <a:ext cx="114902" cy="108719"/>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61" name="Oval 260">
            <a:extLst>
              <a:ext uri="{FF2B5EF4-FFF2-40B4-BE49-F238E27FC236}">
                <a16:creationId xmlns:a16="http://schemas.microsoft.com/office/drawing/2014/main" id="{32A31FF7-E0B6-4C70-8621-58F39AFD195F}"/>
              </a:ext>
            </a:extLst>
          </p:cNvPr>
          <p:cNvSpPr/>
          <p:nvPr/>
        </p:nvSpPr>
        <p:spPr bwMode="auto">
          <a:xfrm>
            <a:off x="9871530" y="3115974"/>
            <a:ext cx="114902" cy="108719"/>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62" name="Rectangle 255">
            <a:extLst>
              <a:ext uri="{FF2B5EF4-FFF2-40B4-BE49-F238E27FC236}">
                <a16:creationId xmlns:a16="http://schemas.microsoft.com/office/drawing/2014/main" id="{D3EAE714-C513-448D-A9A2-44AC72654058}"/>
              </a:ext>
            </a:extLst>
          </p:cNvPr>
          <p:cNvSpPr>
            <a:spLocks noChangeArrowheads="1"/>
          </p:cNvSpPr>
          <p:nvPr/>
        </p:nvSpPr>
        <p:spPr bwMode="auto">
          <a:xfrm>
            <a:off x="9691373" y="2369472"/>
            <a:ext cx="8616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1: MBB</a:t>
            </a:r>
            <a:br>
              <a:rPr kumimoji="0" lang="sv-SE" altLang="sv-SE" sz="1000" b="0" i="0" u="none" strike="noStrike" kern="1200" cap="none" spc="0" normalizeH="0" baseline="0" noProof="0">
                <a:ln>
                  <a:noFill/>
                </a:ln>
                <a:solidFill>
                  <a:srgbClr val="575A5B"/>
                </a:solidFill>
                <a:effectLst/>
                <a:uLnTx/>
                <a:uFillTx/>
                <a:latin typeface="+mn-lt"/>
                <a:ea typeface="+mn-ea"/>
                <a:cs typeface="+mn-cs"/>
              </a:rPr>
            </a:br>
            <a:r>
              <a:rPr kumimoji="0" lang="sv-SE" altLang="sv-SE" sz="1000" b="0" i="0" u="none" strike="noStrike" kern="1200" cap="none" spc="0" normalizeH="0" baseline="0" noProof="0">
                <a:ln>
                  <a:noFill/>
                </a:ln>
                <a:solidFill>
                  <a:srgbClr val="575A5B"/>
                </a:solidFill>
                <a:effectLst/>
                <a:uLnTx/>
                <a:uFillTx/>
                <a:latin typeface="+mn-lt"/>
                <a:ea typeface="+mn-ea"/>
                <a:cs typeface="+mn-cs"/>
              </a:rPr>
              <a:t>S-NSSAI #1</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263" name="Rectangle 255">
            <a:extLst>
              <a:ext uri="{FF2B5EF4-FFF2-40B4-BE49-F238E27FC236}">
                <a16:creationId xmlns:a16="http://schemas.microsoft.com/office/drawing/2014/main" id="{35E8EC13-2DCD-4144-8E2A-6CA53EF7A1B7}"/>
              </a:ext>
            </a:extLst>
          </p:cNvPr>
          <p:cNvSpPr>
            <a:spLocks noChangeArrowheads="1"/>
          </p:cNvSpPr>
          <p:nvPr/>
        </p:nvSpPr>
        <p:spPr bwMode="auto">
          <a:xfrm>
            <a:off x="10968041" y="2343306"/>
            <a:ext cx="83304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000" b="0" i="0" u="none" strike="noStrike" kern="1200" cap="none" spc="0" normalizeH="0" baseline="0" noProof="0">
                <a:ln>
                  <a:noFill/>
                </a:ln>
                <a:solidFill>
                  <a:srgbClr val="575A5B"/>
                </a:solidFill>
                <a:effectLst/>
                <a:uLnTx/>
                <a:uFillTx/>
                <a:latin typeface="+mn-lt"/>
                <a:ea typeface="+mn-ea"/>
                <a:cs typeface="+mn-cs"/>
              </a:rPr>
              <a:t>CN #2: </a:t>
            </a:r>
            <a:r>
              <a:rPr kumimoji="0" lang="sv-SE" altLang="sv-SE" sz="1000" b="0" i="0" u="none" strike="noStrike" kern="1200" cap="none" spc="0" normalizeH="0" baseline="0" noProof="0" err="1">
                <a:ln>
                  <a:noFill/>
                </a:ln>
                <a:solidFill>
                  <a:srgbClr val="575A5B"/>
                </a:solidFill>
                <a:effectLst/>
                <a:uLnTx/>
                <a:uFillTx/>
                <a:latin typeface="+mn-lt"/>
                <a:ea typeface="+mn-ea"/>
                <a:cs typeface="+mn-cs"/>
              </a:rPr>
              <a:t>IoT</a:t>
            </a:r>
            <a:br>
              <a:rPr kumimoji="0" lang="sv-SE" altLang="sv-SE" sz="1000" b="0" i="0" u="none" strike="noStrike" kern="1200" cap="none" spc="0" normalizeH="0" baseline="0" noProof="0">
                <a:ln>
                  <a:noFill/>
                </a:ln>
                <a:solidFill>
                  <a:srgbClr val="575A5B"/>
                </a:solidFill>
                <a:effectLst/>
                <a:uLnTx/>
                <a:uFillTx/>
                <a:latin typeface="+mn-lt"/>
                <a:ea typeface="+mn-ea"/>
                <a:cs typeface="+mn-cs"/>
              </a:rPr>
            </a:br>
            <a:r>
              <a:rPr kumimoji="0" lang="sv-SE" altLang="sv-SE" sz="1000" b="0" i="0" u="none" strike="noStrike" kern="1200" cap="none" spc="0" normalizeH="0" baseline="0" noProof="0">
                <a:ln>
                  <a:noFill/>
                </a:ln>
                <a:solidFill>
                  <a:srgbClr val="575A5B"/>
                </a:solidFill>
                <a:effectLst/>
                <a:uLnTx/>
                <a:uFillTx/>
                <a:latin typeface="+mn-lt"/>
                <a:ea typeface="+mn-ea"/>
                <a:cs typeface="+mn-cs"/>
              </a:rPr>
              <a:t>S-NSSAI #2</a:t>
            </a:r>
            <a:endParaRPr kumimoji="0" lang="en-US" altLang="sv-SE" sz="1000" b="0" i="0" u="none" strike="noStrike" kern="1200" cap="none" spc="0" normalizeH="0" baseline="0" noProof="0">
              <a:ln>
                <a:noFill/>
              </a:ln>
              <a:solidFill>
                <a:srgbClr val="575A5B"/>
              </a:solidFill>
              <a:effectLst/>
              <a:uLnTx/>
              <a:uFillTx/>
              <a:latin typeface="+mn-lt"/>
              <a:ea typeface="+mn-ea"/>
              <a:cs typeface="+mn-cs"/>
            </a:endParaRPr>
          </a:p>
        </p:txBody>
      </p:sp>
      <p:sp>
        <p:nvSpPr>
          <p:cNvPr id="282" name="Oval 281">
            <a:extLst>
              <a:ext uri="{FF2B5EF4-FFF2-40B4-BE49-F238E27FC236}">
                <a16:creationId xmlns:a16="http://schemas.microsoft.com/office/drawing/2014/main" id="{F8C21DD9-1745-4640-9675-6D09450A1E16}"/>
              </a:ext>
            </a:extLst>
          </p:cNvPr>
          <p:cNvSpPr/>
          <p:nvPr/>
        </p:nvSpPr>
        <p:spPr bwMode="auto">
          <a:xfrm>
            <a:off x="11078339" y="4016512"/>
            <a:ext cx="114902" cy="108719"/>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283" name="Oval 282">
            <a:extLst>
              <a:ext uri="{FF2B5EF4-FFF2-40B4-BE49-F238E27FC236}">
                <a16:creationId xmlns:a16="http://schemas.microsoft.com/office/drawing/2014/main" id="{92CA331D-0DCE-46EE-8DC6-B1404197C548}"/>
              </a:ext>
            </a:extLst>
          </p:cNvPr>
          <p:cNvSpPr/>
          <p:nvPr/>
        </p:nvSpPr>
        <p:spPr bwMode="auto">
          <a:xfrm>
            <a:off x="11662484" y="3095696"/>
            <a:ext cx="114902" cy="108719"/>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575A5B"/>
              </a:solidFill>
              <a:effectLst/>
              <a:uLnTx/>
              <a:uFillTx/>
              <a:ea typeface="+mn-ea"/>
              <a:cs typeface="+mn-cs"/>
            </a:endParaRPr>
          </a:p>
        </p:txBody>
      </p:sp>
      <p:sp>
        <p:nvSpPr>
          <p:cNvPr id="188" name="Rectangle 255">
            <a:extLst>
              <a:ext uri="{FF2B5EF4-FFF2-40B4-BE49-F238E27FC236}">
                <a16:creationId xmlns:a16="http://schemas.microsoft.com/office/drawing/2014/main" id="{DBA33034-8458-4CDD-9FB3-139AA9AF83C9}"/>
              </a:ext>
            </a:extLst>
          </p:cNvPr>
          <p:cNvSpPr>
            <a:spLocks noChangeArrowheads="1"/>
          </p:cNvSpPr>
          <p:nvPr/>
        </p:nvSpPr>
        <p:spPr bwMode="auto">
          <a:xfrm>
            <a:off x="7973031" y="3225480"/>
            <a:ext cx="76376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2000" rIns="72000">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sv-SE" sz="700" b="0" i="0" u="none" strike="noStrike" kern="1200" cap="none" spc="0" normalizeH="0" baseline="0" noProof="0">
                <a:ln>
                  <a:noFill/>
                </a:ln>
                <a:solidFill>
                  <a:srgbClr val="575A5B"/>
                </a:solidFill>
                <a:effectLst/>
                <a:uLnTx/>
                <a:uFillTx/>
                <a:latin typeface="+mn-lt"/>
                <a:ea typeface="+mn-ea"/>
                <a:cs typeface="+mn-cs"/>
              </a:rPr>
              <a:t>UE Usage Type 1 &amp; 2</a:t>
            </a:r>
          </a:p>
        </p:txBody>
      </p:sp>
      <p:sp>
        <p:nvSpPr>
          <p:cNvPr id="13" name="Title 12">
            <a:extLst>
              <a:ext uri="{FF2B5EF4-FFF2-40B4-BE49-F238E27FC236}">
                <a16:creationId xmlns:a16="http://schemas.microsoft.com/office/drawing/2014/main" id="{F91FC416-FA07-4E3D-A45A-9A2F1A9B0679}"/>
              </a:ext>
            </a:extLst>
          </p:cNvPr>
          <p:cNvSpPr>
            <a:spLocks noGrp="1"/>
          </p:cNvSpPr>
          <p:nvPr>
            <p:ph type="title"/>
          </p:nvPr>
        </p:nvSpPr>
        <p:spPr>
          <a:xfrm>
            <a:off x="479425" y="476250"/>
            <a:ext cx="10189674" cy="1081088"/>
          </a:xfrm>
        </p:spPr>
        <p:txBody>
          <a:bodyPr/>
          <a:lstStyle/>
          <a:p>
            <a:r>
              <a:rPr lang="en-US"/>
              <a:t>Basic mechanism for steering traffic in the network </a:t>
            </a:r>
          </a:p>
        </p:txBody>
      </p:sp>
      <p:grpSp>
        <p:nvGrpSpPr>
          <p:cNvPr id="4" name="Group 3">
            <a:extLst>
              <a:ext uri="{FF2B5EF4-FFF2-40B4-BE49-F238E27FC236}">
                <a16:creationId xmlns:a16="http://schemas.microsoft.com/office/drawing/2014/main" id="{C7E5D48E-E5D6-45BE-8491-67CFEF7EF710}"/>
              </a:ext>
            </a:extLst>
          </p:cNvPr>
          <p:cNvGrpSpPr/>
          <p:nvPr/>
        </p:nvGrpSpPr>
        <p:grpSpPr>
          <a:xfrm>
            <a:off x="601471" y="1326949"/>
            <a:ext cx="10068904" cy="371611"/>
            <a:chOff x="610497" y="1308967"/>
            <a:chExt cx="10068904" cy="371611"/>
          </a:xfrm>
        </p:grpSpPr>
        <p:sp>
          <p:nvSpPr>
            <p:cNvPr id="2" name="Oval 1">
              <a:extLst>
                <a:ext uri="{FF2B5EF4-FFF2-40B4-BE49-F238E27FC236}">
                  <a16:creationId xmlns:a16="http://schemas.microsoft.com/office/drawing/2014/main" id="{E3BA73F1-4D19-4A4D-94E7-3E6C3255C2A6}"/>
                </a:ext>
              </a:extLst>
            </p:cNvPr>
            <p:cNvSpPr/>
            <p:nvPr/>
          </p:nvSpPr>
          <p:spPr bwMode="auto">
            <a:xfrm>
              <a:off x="610497" y="1310186"/>
              <a:ext cx="428609" cy="334314"/>
            </a:xfrm>
            <a:prstGeom prst="ellipse">
              <a:avLst/>
            </a:prstGeom>
            <a:solidFill>
              <a:schemeClr val="accent1"/>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000" b="0" i="0" u="none" strike="noStrike" cap="none" normalizeH="0" baseline="0">
                  <a:ln>
                    <a:noFill/>
                  </a:ln>
                  <a:solidFill>
                    <a:schemeClr val="bg1"/>
                  </a:solidFill>
                  <a:effectLst/>
                  <a:latin typeface="+mn-lt"/>
                </a:rPr>
                <a:t>5GS</a:t>
              </a:r>
              <a:endParaRPr kumimoji="0" lang="en-150" sz="1000" b="0" i="0" u="none" strike="noStrike" cap="none" normalizeH="0" baseline="0" err="1">
                <a:ln>
                  <a:noFill/>
                </a:ln>
                <a:solidFill>
                  <a:schemeClr val="bg1"/>
                </a:solidFill>
                <a:effectLst/>
                <a:latin typeface="+mn-lt"/>
              </a:endParaRPr>
            </a:p>
          </p:txBody>
        </p:sp>
        <p:sp>
          <p:nvSpPr>
            <p:cNvPr id="190" name="Oval 189">
              <a:extLst>
                <a:ext uri="{FF2B5EF4-FFF2-40B4-BE49-F238E27FC236}">
                  <a16:creationId xmlns:a16="http://schemas.microsoft.com/office/drawing/2014/main" id="{412825EB-A893-485F-81F8-0A114DDFD8BE}"/>
                </a:ext>
              </a:extLst>
            </p:cNvPr>
            <p:cNvSpPr/>
            <p:nvPr/>
          </p:nvSpPr>
          <p:spPr bwMode="auto">
            <a:xfrm>
              <a:off x="1318498" y="1308967"/>
              <a:ext cx="428609" cy="334314"/>
            </a:xfrm>
            <a:prstGeom prst="ellipse">
              <a:avLst/>
            </a:prstGeom>
            <a:solidFill>
              <a:schemeClr val="accent2"/>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1000" b="0" i="0" u="none" strike="noStrike" cap="none" normalizeH="0" baseline="0">
                  <a:ln>
                    <a:noFill/>
                  </a:ln>
                  <a:solidFill>
                    <a:schemeClr val="bg1"/>
                  </a:solidFill>
                  <a:effectLst/>
                  <a:latin typeface="+mn-lt"/>
                </a:rPr>
                <a:t>EPS</a:t>
              </a:r>
              <a:endParaRPr kumimoji="0" lang="en-150" sz="1400" b="0" i="0" u="none" strike="noStrike" cap="none" normalizeH="0" baseline="0" err="1">
                <a:ln>
                  <a:noFill/>
                </a:ln>
                <a:solidFill>
                  <a:schemeClr val="bg1"/>
                </a:solidFill>
                <a:effectLst/>
                <a:latin typeface="+mn-lt"/>
              </a:endParaRPr>
            </a:p>
          </p:txBody>
        </p:sp>
        <p:sp>
          <p:nvSpPr>
            <p:cNvPr id="195" name="Oval 194">
              <a:extLst>
                <a:ext uri="{FF2B5EF4-FFF2-40B4-BE49-F238E27FC236}">
                  <a16:creationId xmlns:a16="http://schemas.microsoft.com/office/drawing/2014/main" id="{D9887BD9-790B-49A7-A8CB-FCB1F32FDE40}"/>
                </a:ext>
              </a:extLst>
            </p:cNvPr>
            <p:cNvSpPr/>
            <p:nvPr/>
          </p:nvSpPr>
          <p:spPr bwMode="auto">
            <a:xfrm>
              <a:off x="3063454" y="1328809"/>
              <a:ext cx="428609" cy="334314"/>
            </a:xfrm>
            <a:prstGeom prst="ellipse">
              <a:avLst/>
            </a:prstGeom>
            <a:solidFill>
              <a:schemeClr val="accent1"/>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ts val="300"/>
                </a:spcBef>
                <a:spcAft>
                  <a:spcPct val="0"/>
                </a:spcAft>
              </a:pPr>
              <a:r>
                <a:rPr lang="en-US" sz="1000">
                  <a:solidFill>
                    <a:schemeClr val="bg1"/>
                  </a:solidFill>
                </a:rPr>
                <a:t>5GS</a:t>
              </a:r>
              <a:endParaRPr lang="en-150" sz="1000" err="1">
                <a:solidFill>
                  <a:schemeClr val="bg1"/>
                </a:solidFill>
              </a:endParaRPr>
            </a:p>
          </p:txBody>
        </p:sp>
        <p:sp>
          <p:nvSpPr>
            <p:cNvPr id="199" name="Oval 198">
              <a:extLst>
                <a:ext uri="{FF2B5EF4-FFF2-40B4-BE49-F238E27FC236}">
                  <a16:creationId xmlns:a16="http://schemas.microsoft.com/office/drawing/2014/main" id="{808189D6-E4B2-4FDA-8BB1-1651D1F59D22}"/>
                </a:ext>
              </a:extLst>
            </p:cNvPr>
            <p:cNvSpPr/>
            <p:nvPr/>
          </p:nvSpPr>
          <p:spPr bwMode="auto">
            <a:xfrm>
              <a:off x="3771455" y="1327590"/>
              <a:ext cx="428609" cy="334314"/>
            </a:xfrm>
            <a:prstGeom prst="ellipse">
              <a:avLst/>
            </a:prstGeom>
            <a:solidFill>
              <a:schemeClr val="accent2"/>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ts val="300"/>
                </a:spcBef>
                <a:spcAft>
                  <a:spcPct val="0"/>
                </a:spcAft>
              </a:pPr>
              <a:r>
                <a:rPr lang="en-US" sz="1000">
                  <a:solidFill>
                    <a:schemeClr val="bg1"/>
                  </a:solidFill>
                </a:rPr>
                <a:t>EPS</a:t>
              </a:r>
              <a:endParaRPr lang="en-150" sz="1400" err="1">
                <a:solidFill>
                  <a:schemeClr val="bg1"/>
                </a:solidFill>
              </a:endParaRPr>
            </a:p>
          </p:txBody>
        </p:sp>
        <p:sp>
          <p:nvSpPr>
            <p:cNvPr id="202" name="Oval 201">
              <a:extLst>
                <a:ext uri="{FF2B5EF4-FFF2-40B4-BE49-F238E27FC236}">
                  <a16:creationId xmlns:a16="http://schemas.microsoft.com/office/drawing/2014/main" id="{FC49BBC9-6390-4B8B-8E49-599CF5E2D966}"/>
                </a:ext>
              </a:extLst>
            </p:cNvPr>
            <p:cNvSpPr/>
            <p:nvPr/>
          </p:nvSpPr>
          <p:spPr bwMode="auto">
            <a:xfrm>
              <a:off x="10250792" y="1346264"/>
              <a:ext cx="428609" cy="334314"/>
            </a:xfrm>
            <a:prstGeom prst="ellipse">
              <a:avLst/>
            </a:prstGeom>
            <a:solidFill>
              <a:schemeClr val="accent1"/>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ts val="300"/>
                </a:spcBef>
                <a:spcAft>
                  <a:spcPct val="0"/>
                </a:spcAft>
              </a:pPr>
              <a:r>
                <a:rPr lang="en-US" sz="1000">
                  <a:solidFill>
                    <a:schemeClr val="bg1"/>
                  </a:solidFill>
                </a:rPr>
                <a:t>5GS</a:t>
              </a:r>
              <a:endParaRPr lang="en-150" sz="1000" err="1">
                <a:solidFill>
                  <a:schemeClr val="bg1"/>
                </a:solidFill>
              </a:endParaRPr>
            </a:p>
          </p:txBody>
        </p:sp>
        <p:sp>
          <p:nvSpPr>
            <p:cNvPr id="210" name="Oval 209">
              <a:extLst>
                <a:ext uri="{FF2B5EF4-FFF2-40B4-BE49-F238E27FC236}">
                  <a16:creationId xmlns:a16="http://schemas.microsoft.com/office/drawing/2014/main" id="{9C824BA5-C7B5-4198-92B2-15DB244768D6}"/>
                </a:ext>
              </a:extLst>
            </p:cNvPr>
            <p:cNvSpPr/>
            <p:nvPr/>
          </p:nvSpPr>
          <p:spPr bwMode="auto">
            <a:xfrm>
              <a:off x="8369266" y="1320430"/>
              <a:ext cx="428609" cy="334314"/>
            </a:xfrm>
            <a:prstGeom prst="ellipse">
              <a:avLst/>
            </a:prstGeom>
            <a:solidFill>
              <a:schemeClr val="accent2"/>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ts val="300"/>
                </a:spcBef>
                <a:spcAft>
                  <a:spcPct val="0"/>
                </a:spcAft>
              </a:pPr>
              <a:r>
                <a:rPr lang="en-US" sz="1000">
                  <a:solidFill>
                    <a:schemeClr val="bg1"/>
                  </a:solidFill>
                </a:rPr>
                <a:t>EPS</a:t>
              </a:r>
              <a:endParaRPr lang="en-150" sz="1400" err="1">
                <a:solidFill>
                  <a:schemeClr val="bg1"/>
                </a:solidFill>
              </a:endParaRPr>
            </a:p>
          </p:txBody>
        </p:sp>
      </p:grpSp>
      <p:sp>
        <p:nvSpPr>
          <p:cNvPr id="178" name="Arrow: Left-Right 177">
            <a:extLst>
              <a:ext uri="{FF2B5EF4-FFF2-40B4-BE49-F238E27FC236}">
                <a16:creationId xmlns:a16="http://schemas.microsoft.com/office/drawing/2014/main" id="{E4F7CE90-48D2-47EF-8A76-715C87F9FC1F}"/>
              </a:ext>
            </a:extLst>
          </p:cNvPr>
          <p:cNvSpPr/>
          <p:nvPr/>
        </p:nvSpPr>
        <p:spPr bwMode="auto">
          <a:xfrm>
            <a:off x="4956529" y="2988924"/>
            <a:ext cx="2094750" cy="879826"/>
          </a:xfrm>
          <a:prstGeom prst="leftRightArrow">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en-US" sz="2000" b="0" i="0" u="none" strike="noStrike" cap="none" normalizeH="0" baseline="0">
                <a:ln>
                  <a:noFill/>
                </a:ln>
                <a:solidFill>
                  <a:schemeClr val="bg1"/>
                </a:solidFill>
                <a:effectLst/>
                <a:latin typeface="+mn-lt"/>
              </a:rPr>
              <a:t>Combinations</a:t>
            </a:r>
            <a:endParaRPr kumimoji="0" lang="en-150" sz="2000" b="0" i="0" u="none" strike="noStrike" cap="none" normalizeH="0" baseline="0" err="1">
              <a:ln>
                <a:noFill/>
              </a:ln>
              <a:solidFill>
                <a:schemeClr val="bg1"/>
              </a:solidFill>
              <a:effectLst/>
              <a:latin typeface="+mn-lt"/>
            </a:endParaRPr>
          </a:p>
        </p:txBody>
      </p:sp>
      <p:sp>
        <p:nvSpPr>
          <p:cNvPr id="179" name="TextBox 178">
            <a:extLst>
              <a:ext uri="{FF2B5EF4-FFF2-40B4-BE49-F238E27FC236}">
                <a16:creationId xmlns:a16="http://schemas.microsoft.com/office/drawing/2014/main" id="{4A84ED48-24BB-41C8-A426-429DCEE173CC}"/>
              </a:ext>
            </a:extLst>
          </p:cNvPr>
          <p:cNvSpPr txBox="1"/>
          <p:nvPr/>
        </p:nvSpPr>
        <p:spPr bwMode="auto">
          <a:xfrm>
            <a:off x="4938980" y="3974182"/>
            <a:ext cx="2392886" cy="231149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lvl="0"/>
            <a:r>
              <a:rPr lang="en-US" sz="1200"/>
              <a:t>UE on EPS: PLMN + UE Usage Type (if available) + all PDN connections to APNs are established on the same core network.</a:t>
            </a:r>
          </a:p>
          <a:p>
            <a:pPr lvl="0"/>
            <a:r>
              <a:rPr lang="en-US" sz="1200"/>
              <a:t>UE on 5GS: PLMN + S-NSSAI + DNN to select the network resources for each PDU session.</a:t>
            </a:r>
            <a:endParaRPr lang="en-150" sz="1200"/>
          </a:p>
        </p:txBody>
      </p:sp>
    </p:spTree>
    <p:extLst>
      <p:ext uri="{BB962C8B-B14F-4D97-AF65-F5344CB8AC3E}">
        <p14:creationId xmlns:p14="http://schemas.microsoft.com/office/powerpoint/2010/main" val="2206062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Title 3"/>
          <p:cNvSpPr>
            <a:spLocks noGrp="1"/>
          </p:cNvSpPr>
          <p:nvPr>
            <p:ph type="title"/>
          </p:nvPr>
        </p:nvSpPr>
        <p:spPr>
          <a:xfrm>
            <a:off x="479424" y="476250"/>
            <a:ext cx="9213057" cy="1081088"/>
          </a:xfrm>
        </p:spPr>
        <p:txBody>
          <a:bodyPr>
            <a:noAutofit/>
          </a:bodyPr>
          <a:lstStyle/>
          <a:p>
            <a:r>
              <a:rPr lang="sv-SE"/>
              <a:t>Traffic steering mechanisms in EPS and 5GS</a:t>
            </a:r>
            <a:endParaRPr lang="en-US" altLang="en-US" sz="3200">
              <a:latin typeface="+mn-lt"/>
            </a:endParaRPr>
          </a:p>
        </p:txBody>
      </p:sp>
      <p:sp>
        <p:nvSpPr>
          <p:cNvPr id="3" name="Content Placeholder 2"/>
          <p:cNvSpPr>
            <a:spLocks noGrp="1"/>
          </p:cNvSpPr>
          <p:nvPr>
            <p:ph sz="quarter" idx="4294967295"/>
          </p:nvPr>
        </p:nvSpPr>
        <p:spPr>
          <a:xfrm>
            <a:off x="6290843" y="1776240"/>
            <a:ext cx="5467350" cy="1768475"/>
          </a:xfrm>
        </p:spPr>
        <p:txBody>
          <a:bodyPr/>
          <a:lstStyle/>
          <a:p>
            <a:r>
              <a:rPr lang="en-US" sz="1800"/>
              <a:t>Network slicing for 5GS can be seen as an evolution of </a:t>
            </a:r>
            <a:r>
              <a:rPr lang="en-US" sz="1800" err="1"/>
              <a:t>eDECOR</a:t>
            </a:r>
            <a:r>
              <a:rPr lang="en-US" sz="1800"/>
              <a:t> including:</a:t>
            </a:r>
          </a:p>
          <a:p>
            <a:pPr lvl="1"/>
            <a:r>
              <a:rPr lang="en-US" sz="1600"/>
              <a:t>Simultaneous connectivity to network slices per UE </a:t>
            </a:r>
          </a:p>
          <a:p>
            <a:pPr lvl="1"/>
            <a:r>
              <a:rPr lang="en-US" sz="1600"/>
              <a:t>Different level of isolation between network slices</a:t>
            </a:r>
          </a:p>
          <a:p>
            <a:pPr lvl="1"/>
            <a:r>
              <a:rPr lang="en-US" sz="1600"/>
              <a:t>RAN slice awareness</a:t>
            </a:r>
          </a:p>
          <a:p>
            <a:pPr lvl="1"/>
            <a:endParaRPr lang="en-US" sz="1400"/>
          </a:p>
        </p:txBody>
      </p:sp>
      <p:sp>
        <p:nvSpPr>
          <p:cNvPr id="2" name="Content Placeholder 1"/>
          <p:cNvSpPr>
            <a:spLocks noGrp="1"/>
          </p:cNvSpPr>
          <p:nvPr>
            <p:ph sz="half" idx="4294967295"/>
          </p:nvPr>
        </p:nvSpPr>
        <p:spPr>
          <a:xfrm>
            <a:off x="325187" y="1781068"/>
            <a:ext cx="5464175" cy="4615011"/>
          </a:xfrm>
        </p:spPr>
        <p:txBody>
          <a:bodyPr/>
          <a:lstStyle/>
          <a:p>
            <a:r>
              <a:rPr lang="en-US" altLang="en-US" sz="1800">
                <a:ea typeface="Segoe UI" panose="020B0502040204020203" pitchFamily="34" charset="0"/>
                <a:cs typeface="Segoe UI" panose="020B0502040204020203" pitchFamily="34" charset="0"/>
              </a:rPr>
              <a:t>New network slicing and slice selection mechanisms for 5GS standardized in 3GPP Rel-15</a:t>
            </a:r>
          </a:p>
          <a:p>
            <a:pPr lvl="1"/>
            <a:endParaRPr lang="en-US" altLang="en-US" sz="1000">
              <a:ea typeface="Segoe UI" panose="020B0502040204020203" pitchFamily="34" charset="0"/>
              <a:cs typeface="Segoe UI" panose="020B0502040204020203" pitchFamily="34" charset="0"/>
            </a:endParaRPr>
          </a:p>
          <a:p>
            <a:pPr marL="0" indent="0">
              <a:buNone/>
            </a:pPr>
            <a:r>
              <a:rPr lang="en-US" sz="1800"/>
              <a:t>Examples of legacy mechanisms for partitioning the network : </a:t>
            </a:r>
          </a:p>
          <a:p>
            <a:pPr marL="698500" lvl="1" indent="-342900">
              <a:buFont typeface="+mj-lt"/>
              <a:buAutoNum type="alphaLcParenR"/>
            </a:pPr>
            <a:r>
              <a:rPr lang="en-US" sz="1600"/>
              <a:t>Partitioning based on PLMN-ID</a:t>
            </a:r>
          </a:p>
          <a:p>
            <a:pPr lvl="2"/>
            <a:r>
              <a:rPr lang="en-US" sz="1400"/>
              <a:t>Network sharing, e.g. MOCN</a:t>
            </a:r>
          </a:p>
          <a:p>
            <a:pPr lvl="2"/>
            <a:r>
              <a:rPr lang="en-US" sz="1400"/>
              <a:t>Radio resource partitioning in Ericsson RAN also through RFSP/SPID</a:t>
            </a:r>
          </a:p>
          <a:p>
            <a:pPr marL="698500" lvl="1" indent="-342900">
              <a:buFont typeface="+mj-lt"/>
              <a:buAutoNum type="alphaLcParenR"/>
            </a:pPr>
            <a:r>
              <a:rPr lang="en-US" sz="1600"/>
              <a:t>Partitioning based on APN/DNN</a:t>
            </a:r>
          </a:p>
          <a:p>
            <a:pPr lvl="2"/>
            <a:r>
              <a:rPr lang="en-US" sz="1400"/>
              <a:t>MBB uses one APN/DNN</a:t>
            </a:r>
          </a:p>
          <a:p>
            <a:pPr lvl="2"/>
            <a:r>
              <a:rPr lang="en-US" sz="1400"/>
              <a:t>VoLTE uses a separate dedicated APN/DNN</a:t>
            </a:r>
          </a:p>
          <a:p>
            <a:pPr marL="355600" lvl="1" indent="0">
              <a:buNone/>
            </a:pPr>
            <a:r>
              <a:rPr lang="en-US" sz="1600"/>
              <a:t>c) </a:t>
            </a:r>
            <a:r>
              <a:rPr lang="en-US" sz="1600">
                <a:hlinkClick r:id="rId3" action="ppaction://hlinksldjump"/>
              </a:rPr>
              <a:t>Dedicated Core Networks</a:t>
            </a:r>
            <a:r>
              <a:rPr lang="en-US" sz="1600"/>
              <a:t> (DECOR in 3GPP Rel-13 EPS)</a:t>
            </a:r>
          </a:p>
          <a:p>
            <a:pPr lvl="2"/>
            <a:r>
              <a:rPr lang="en-US" sz="1600"/>
              <a:t>Targeting e.g. MTC </a:t>
            </a:r>
          </a:p>
          <a:p>
            <a:pPr lvl="2"/>
            <a:r>
              <a:rPr lang="en-US" sz="1600"/>
              <a:t>New HSS parameter  “UE Usage Type” used to select dedicated CN</a:t>
            </a:r>
          </a:p>
          <a:p>
            <a:pPr marL="355600" lvl="1" indent="0">
              <a:buNone/>
            </a:pPr>
            <a:r>
              <a:rPr lang="en-US" altLang="en-US" sz="1600">
                <a:ea typeface="Segoe UI" panose="020B0502040204020203" pitchFamily="34" charset="0"/>
                <a:cs typeface="Segoe UI" panose="020B0502040204020203" pitchFamily="34" charset="0"/>
              </a:rPr>
              <a:t>d) </a:t>
            </a:r>
            <a:r>
              <a:rPr lang="en-US" altLang="en-US" sz="1600">
                <a:ea typeface="Segoe UI" panose="020B0502040204020203" pitchFamily="34" charset="0"/>
                <a:cs typeface="Segoe UI" panose="020B0502040204020203" pitchFamily="34" charset="0"/>
                <a:hlinkClick r:id="rId4" action="ppaction://hlinksldjump"/>
              </a:rPr>
              <a:t>Evolved DECOR </a:t>
            </a:r>
            <a:r>
              <a:rPr lang="en-US" altLang="en-US" sz="1600">
                <a:ea typeface="Segoe UI" panose="020B0502040204020203" pitchFamily="34" charset="0"/>
                <a:cs typeface="Segoe UI" panose="020B0502040204020203" pitchFamily="34" charset="0"/>
              </a:rPr>
              <a:t>(</a:t>
            </a:r>
            <a:r>
              <a:rPr lang="en-US" altLang="en-US" sz="1600" err="1">
                <a:ea typeface="Segoe UI" panose="020B0502040204020203" pitchFamily="34" charset="0"/>
                <a:cs typeface="Segoe UI" panose="020B0502040204020203" pitchFamily="34" charset="0"/>
              </a:rPr>
              <a:t>eDECOR</a:t>
            </a:r>
            <a:r>
              <a:rPr lang="en-US" altLang="en-US" sz="1600">
                <a:ea typeface="Segoe UI" panose="020B0502040204020203" pitchFamily="34" charset="0"/>
                <a:cs typeface="Segoe UI" panose="020B0502040204020203" pitchFamily="34" charset="0"/>
              </a:rPr>
              <a:t> in 3GPP Rel-14 EPS)</a:t>
            </a:r>
          </a:p>
          <a:p>
            <a:pPr lvl="2"/>
            <a:endParaRPr lang="en-US" sz="1600"/>
          </a:p>
          <a:p>
            <a:endParaRPr lang="en-US" sz="2000"/>
          </a:p>
          <a:p>
            <a:endParaRPr lang="en-US" altLang="en-US" sz="1800" b="1">
              <a:latin typeface="Segoe UI" panose="020B0502040204020203" pitchFamily="34" charset="0"/>
              <a:ea typeface="Segoe UI" panose="020B0502040204020203" pitchFamily="34" charset="0"/>
              <a:cs typeface="Segoe UI" panose="020B0502040204020203" pitchFamily="34" charset="0"/>
            </a:endParaRPr>
          </a:p>
          <a:p>
            <a:endParaRPr lang="en-US" altLang="en-US" sz="1800">
              <a:ea typeface="Segoe UI" panose="020B0502040204020203" pitchFamily="34" charset="0"/>
              <a:cs typeface="Segoe UI" panose="020B0502040204020203" pitchFamily="34" charset="0"/>
            </a:endParaRPr>
          </a:p>
          <a:p>
            <a:endParaRPr lang="en-US" altLang="en-US" sz="1800">
              <a:ea typeface="Segoe UI" panose="020B0502040204020203" pitchFamily="34" charset="0"/>
              <a:cs typeface="Segoe UI" panose="020B0502040204020203" pitchFamily="34" charset="0"/>
            </a:endParaRPr>
          </a:p>
          <a:p>
            <a:endParaRPr lang="en-US"/>
          </a:p>
        </p:txBody>
      </p:sp>
      <p:pic>
        <p:nvPicPr>
          <p:cNvPr id="4" name="Picture 3">
            <a:extLst>
              <a:ext uri="{FF2B5EF4-FFF2-40B4-BE49-F238E27FC236}">
                <a16:creationId xmlns:a16="http://schemas.microsoft.com/office/drawing/2014/main" id="{B6CB9210-013E-4F4B-A2F7-331A262E8275}"/>
              </a:ext>
            </a:extLst>
          </p:cNvPr>
          <p:cNvPicPr>
            <a:picLocks noChangeAspect="1"/>
          </p:cNvPicPr>
          <p:nvPr/>
        </p:nvPicPr>
        <p:blipFill>
          <a:blip r:embed="rId5"/>
          <a:stretch>
            <a:fillRect/>
          </a:stretch>
        </p:blipFill>
        <p:spPr>
          <a:xfrm>
            <a:off x="5789362" y="3196080"/>
            <a:ext cx="6402638" cy="3365689"/>
          </a:xfrm>
          <a:prstGeom prst="rect">
            <a:avLst/>
          </a:prstGeom>
        </p:spPr>
      </p:pic>
    </p:spTree>
    <p:extLst>
      <p:ext uri="{BB962C8B-B14F-4D97-AF65-F5344CB8AC3E}">
        <p14:creationId xmlns:p14="http://schemas.microsoft.com/office/powerpoint/2010/main" val="3591054076"/>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D79C2A7-3ED9-4E78-84CC-35996912E4F0}"/>
              </a:ext>
            </a:extLst>
          </p:cNvPr>
          <p:cNvSpPr/>
          <p:nvPr/>
        </p:nvSpPr>
        <p:spPr bwMode="auto">
          <a:xfrm>
            <a:off x="5213082" y="1797737"/>
            <a:ext cx="2120506" cy="800749"/>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sv-SE" sz="1100" b="0" i="0" u="none" strike="noStrike" kern="0" cap="none" spc="0" normalizeH="0" baseline="0" noProof="0">
                <a:ln>
                  <a:noFill/>
                </a:ln>
                <a:effectLst/>
                <a:uLnTx/>
                <a:uFillTx/>
                <a:latin typeface="+mn-lt"/>
              </a:rPr>
              <a:t>NFs shared across nw slices </a:t>
            </a:r>
            <a:endParaRPr kumimoji="0" lang="en-US" sz="1100" b="0" i="0" u="none" strike="noStrike" kern="0" cap="none" spc="0" normalizeH="0" baseline="0" noProof="0">
              <a:ln>
                <a:noFill/>
              </a:ln>
              <a:effectLst/>
              <a:uLnTx/>
              <a:uFillTx/>
              <a:latin typeface="+mn-lt"/>
            </a:endParaRPr>
          </a:p>
        </p:txBody>
      </p:sp>
      <p:sp>
        <p:nvSpPr>
          <p:cNvPr id="2" name="Title 1"/>
          <p:cNvSpPr>
            <a:spLocks noGrp="1"/>
          </p:cNvSpPr>
          <p:nvPr>
            <p:ph type="title"/>
          </p:nvPr>
        </p:nvSpPr>
        <p:spPr>
          <a:xfrm>
            <a:off x="479424" y="476250"/>
            <a:ext cx="8353425" cy="1081088"/>
          </a:xfrm>
        </p:spPr>
        <p:txBody>
          <a:bodyPr>
            <a:normAutofit/>
          </a:bodyPr>
          <a:lstStyle/>
          <a:p>
            <a:r>
              <a:rPr lang="en-US"/>
              <a:t>5GS Network slicing introduction</a:t>
            </a:r>
            <a:endParaRPr lang="es-ES_tradnl"/>
          </a:p>
        </p:txBody>
      </p:sp>
      <p:sp>
        <p:nvSpPr>
          <p:cNvPr id="3" name="Rectangle 2"/>
          <p:cNvSpPr/>
          <p:nvPr/>
        </p:nvSpPr>
        <p:spPr bwMode="auto">
          <a:xfrm>
            <a:off x="4261449" y="4123009"/>
            <a:ext cx="5003619" cy="89753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1</a:t>
            </a:r>
          </a:p>
        </p:txBody>
      </p:sp>
      <p:sp>
        <p:nvSpPr>
          <p:cNvPr id="4" name="Rectangle 3"/>
          <p:cNvSpPr/>
          <p:nvPr/>
        </p:nvSpPr>
        <p:spPr bwMode="auto">
          <a:xfrm>
            <a:off x="4261450" y="5053522"/>
            <a:ext cx="5003618" cy="86849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2</a:t>
            </a:r>
          </a:p>
        </p:txBody>
      </p:sp>
      <p:sp>
        <p:nvSpPr>
          <p:cNvPr id="6" name="Rectangle 5"/>
          <p:cNvSpPr/>
          <p:nvPr/>
        </p:nvSpPr>
        <p:spPr bwMode="auto">
          <a:xfrm>
            <a:off x="4261450" y="2660264"/>
            <a:ext cx="5003618" cy="143134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effectLst/>
                <a:uLnTx/>
                <a:uFillTx/>
                <a:latin typeface="+mn-lt"/>
              </a:rPr>
              <a:t>NSI # 0</a:t>
            </a:r>
          </a:p>
        </p:txBody>
      </p:sp>
      <p:sp>
        <p:nvSpPr>
          <p:cNvPr id="8" name="Freeform 3"/>
          <p:cNvSpPr>
            <a:spLocks noChangeAspect="1"/>
          </p:cNvSpPr>
          <p:nvPr/>
        </p:nvSpPr>
        <p:spPr bwMode="auto">
          <a:xfrm>
            <a:off x="9891227" y="3677919"/>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85F"/>
              </a:solidFill>
              <a:effectLst/>
              <a:uLnTx/>
              <a:uFillTx/>
              <a:latin typeface="+mn-lt"/>
            </a:endParaRPr>
          </a:p>
        </p:txBody>
      </p:sp>
      <p:sp>
        <p:nvSpPr>
          <p:cNvPr id="9" name="Rectangle 44"/>
          <p:cNvSpPr>
            <a:spLocks noChangeArrowheads="1"/>
          </p:cNvSpPr>
          <p:nvPr/>
        </p:nvSpPr>
        <p:spPr bwMode="auto">
          <a:xfrm flipV="1">
            <a:off x="2699572" y="4493984"/>
            <a:ext cx="862203" cy="968263"/>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1</a:t>
            </a:r>
            <a:endParaRPr kumimoji="0" lang="sv-SE" sz="800" b="1" i="0" u="none" strike="sngStrike" kern="0" cap="none" spc="0" normalizeH="0" baseline="0" noProof="0">
              <a:ln>
                <a:noFill/>
              </a:ln>
              <a:solidFill>
                <a:srgbClr val="58585A"/>
              </a:solidFill>
              <a:effectLst/>
              <a:uLnTx/>
              <a:uFillTx/>
              <a:latin typeface="+mn-lt"/>
            </a:endParaRPr>
          </a:p>
        </p:txBody>
      </p:sp>
      <p:sp>
        <p:nvSpPr>
          <p:cNvPr id="13" name="Text Box 804"/>
          <p:cNvSpPr txBox="1">
            <a:spLocks noChangeArrowheads="1"/>
          </p:cNvSpPr>
          <p:nvPr/>
        </p:nvSpPr>
        <p:spPr bwMode="auto">
          <a:xfrm>
            <a:off x="2968234" y="48598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14" name="Rectangle 805"/>
          <p:cNvSpPr>
            <a:spLocks noChangeArrowheads="1"/>
          </p:cNvSpPr>
          <p:nvPr/>
        </p:nvSpPr>
        <p:spPr bwMode="auto">
          <a:xfrm>
            <a:off x="2947649" y="4588853"/>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16" name="Straight Connector 248"/>
          <p:cNvCxnSpPr>
            <a:cxnSpLocks noChangeShapeType="1"/>
            <a:stCxn id="21" idx="3"/>
            <a:endCxn id="264" idx="1"/>
          </p:cNvCxnSpPr>
          <p:nvPr/>
        </p:nvCxnSpPr>
        <p:spPr bwMode="auto">
          <a:xfrm>
            <a:off x="2439055" y="4605834"/>
            <a:ext cx="477052" cy="3473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248"/>
          <p:cNvCxnSpPr>
            <a:cxnSpLocks noChangeShapeType="1"/>
            <a:stCxn id="286" idx="3"/>
            <a:endCxn id="264" idx="1"/>
          </p:cNvCxnSpPr>
          <p:nvPr/>
        </p:nvCxnSpPr>
        <p:spPr bwMode="auto">
          <a:xfrm flipV="1">
            <a:off x="2486038" y="4953215"/>
            <a:ext cx="430069" cy="32303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19" name="AutoShape 802"/>
          <p:cNvSpPr>
            <a:spLocks noChangeArrowheads="1"/>
          </p:cNvSpPr>
          <p:nvPr/>
        </p:nvSpPr>
        <p:spPr bwMode="auto">
          <a:xfrm>
            <a:off x="2165501" y="3654971"/>
            <a:ext cx="352940" cy="368853"/>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0" name="Oval 803"/>
          <p:cNvSpPr>
            <a:spLocks noChangeArrowheads="1"/>
          </p:cNvSpPr>
          <p:nvPr/>
        </p:nvSpPr>
        <p:spPr bwMode="auto">
          <a:xfrm>
            <a:off x="2163484" y="3512871"/>
            <a:ext cx="354957" cy="357767"/>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2" name="Rectangle 805"/>
          <p:cNvSpPr>
            <a:spLocks noChangeArrowheads="1"/>
          </p:cNvSpPr>
          <p:nvPr/>
        </p:nvSpPr>
        <p:spPr bwMode="auto">
          <a:xfrm>
            <a:off x="2158442" y="3505817"/>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30" name="Freeform 3"/>
          <p:cNvSpPr>
            <a:spLocks noChangeAspect="1"/>
          </p:cNvSpPr>
          <p:nvPr/>
        </p:nvSpPr>
        <p:spPr bwMode="auto">
          <a:xfrm>
            <a:off x="9895580" y="5457452"/>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31" name="Straight Connector 248"/>
          <p:cNvCxnSpPr>
            <a:cxnSpLocks noChangeShapeType="1"/>
          </p:cNvCxnSpPr>
          <p:nvPr/>
        </p:nvCxnSpPr>
        <p:spPr bwMode="auto">
          <a:xfrm flipV="1">
            <a:off x="3326723" y="4853688"/>
            <a:ext cx="1162368" cy="9286"/>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32" name="Elbow Connector 21"/>
          <p:cNvCxnSpPr>
            <a:cxnSpLocks/>
          </p:cNvCxnSpPr>
          <p:nvPr/>
        </p:nvCxnSpPr>
        <p:spPr bwMode="auto">
          <a:xfrm flipV="1">
            <a:off x="4878628" y="3952252"/>
            <a:ext cx="5003618" cy="665489"/>
          </a:xfrm>
          <a:prstGeom prst="bentConnector3">
            <a:avLst>
              <a:gd name="adj1" fmla="val -103"/>
            </a:avLst>
          </a:prstGeom>
          <a:solidFill>
            <a:schemeClr val="accent1"/>
          </a:solidFill>
          <a:ln w="12700" cap="flat" cmpd="sng" algn="ctr">
            <a:solidFill>
              <a:schemeClr val="tx1"/>
            </a:solidFill>
            <a:prstDash val="solid"/>
            <a:round/>
            <a:headEnd type="none" w="med" len="med"/>
            <a:tailEnd type="none" w="med" len="med"/>
          </a:ln>
          <a:effectLst/>
        </p:spPr>
      </p:cxnSp>
      <p:cxnSp>
        <p:nvCxnSpPr>
          <p:cNvPr id="34" name="Straight Connector 248"/>
          <p:cNvCxnSpPr>
            <a:cxnSpLocks noChangeShapeType="1"/>
          </p:cNvCxnSpPr>
          <p:nvPr/>
        </p:nvCxnSpPr>
        <p:spPr bwMode="auto">
          <a:xfrm>
            <a:off x="3335751" y="5020543"/>
            <a:ext cx="1138933" cy="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35" name="Straight Connector 248"/>
          <p:cNvCxnSpPr>
            <a:cxnSpLocks noChangeShapeType="1"/>
          </p:cNvCxnSpPr>
          <p:nvPr/>
        </p:nvCxnSpPr>
        <p:spPr bwMode="auto">
          <a:xfrm>
            <a:off x="3335751" y="4902618"/>
            <a:ext cx="113893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45" name="Straight Connector 169"/>
          <p:cNvCxnSpPr>
            <a:cxnSpLocks/>
          </p:cNvCxnSpPr>
          <p:nvPr/>
        </p:nvCxnSpPr>
        <p:spPr bwMode="auto">
          <a:xfrm flipV="1">
            <a:off x="4922524" y="4840148"/>
            <a:ext cx="4987153" cy="1"/>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203"/>
          <p:cNvCxnSpPr>
            <a:cxnSpLocks noChangeShapeType="1"/>
            <a:stCxn id="249" idx="1"/>
            <a:endCxn id="232" idx="0"/>
          </p:cNvCxnSpPr>
          <p:nvPr/>
        </p:nvCxnSpPr>
        <p:spPr bwMode="auto">
          <a:xfrm rot="10800000" flipV="1">
            <a:off x="5683641" y="4503905"/>
            <a:ext cx="185469" cy="38285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1" name="Straight Connector 203"/>
          <p:cNvCxnSpPr>
            <a:cxnSpLocks noChangeShapeType="1"/>
          </p:cNvCxnSpPr>
          <p:nvPr/>
        </p:nvCxnSpPr>
        <p:spPr bwMode="auto">
          <a:xfrm>
            <a:off x="6921462" y="3693892"/>
            <a:ext cx="1399473" cy="17343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p:cNvCxnSpPr>
          <p:nvPr/>
        </p:nvCxnSpPr>
        <p:spPr bwMode="auto">
          <a:xfrm rot="10800000" flipV="1">
            <a:off x="5625250" y="2889119"/>
            <a:ext cx="372770" cy="450545"/>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169"/>
          <p:cNvCxnSpPr>
            <a:cxnSpLocks/>
          </p:cNvCxnSpPr>
          <p:nvPr/>
        </p:nvCxnSpPr>
        <p:spPr bwMode="auto">
          <a:xfrm rot="5400000" flipH="1" flipV="1">
            <a:off x="4662765" y="3887178"/>
            <a:ext cx="858240" cy="606745"/>
          </a:xfrm>
          <a:prstGeom prst="bentConnector2">
            <a:avLst/>
          </a:prstGeom>
          <a:solidFill>
            <a:schemeClr val="accent1"/>
          </a:solidFill>
          <a:ln w="12700" cap="flat" cmpd="sng" algn="ctr">
            <a:solidFill>
              <a:schemeClr val="tx1"/>
            </a:solidFill>
            <a:prstDash val="dash"/>
            <a:round/>
            <a:headEnd type="none" w="med" len="med"/>
            <a:tailEnd type="none" w="med" len="med"/>
          </a:ln>
          <a:effectLst/>
        </p:spPr>
      </p:cxnSp>
      <p:sp>
        <p:nvSpPr>
          <p:cNvPr id="76" name="Freeform 3"/>
          <p:cNvSpPr>
            <a:spLocks noChangeAspect="1"/>
          </p:cNvSpPr>
          <p:nvPr/>
        </p:nvSpPr>
        <p:spPr bwMode="auto">
          <a:xfrm>
            <a:off x="9888507" y="4517593"/>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77" name="Straight Connector 169"/>
          <p:cNvCxnSpPr>
            <a:cxnSpLocks/>
          </p:cNvCxnSpPr>
          <p:nvPr/>
        </p:nvCxnSpPr>
        <p:spPr bwMode="auto">
          <a:xfrm>
            <a:off x="4685374" y="5086612"/>
            <a:ext cx="5196872" cy="696562"/>
          </a:xfrm>
          <a:prstGeom prst="bentConnector3">
            <a:avLst>
              <a:gd name="adj1" fmla="val 147"/>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169"/>
          <p:cNvCxnSpPr>
            <a:cxnSpLocks/>
            <a:endCxn id="247" idx="1"/>
          </p:cNvCxnSpPr>
          <p:nvPr/>
        </p:nvCxnSpPr>
        <p:spPr bwMode="auto">
          <a:xfrm>
            <a:off x="7869015" y="5530607"/>
            <a:ext cx="329875" cy="39389"/>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cxnSp>
        <p:nvCxnSpPr>
          <p:cNvPr id="85" name="Straight Connector 203"/>
          <p:cNvCxnSpPr>
            <a:cxnSpLocks noChangeShapeType="1"/>
            <a:stCxn id="232" idx="1"/>
          </p:cNvCxnSpPr>
          <p:nvPr/>
        </p:nvCxnSpPr>
        <p:spPr bwMode="auto">
          <a:xfrm rot="10800000">
            <a:off x="4922526" y="5024670"/>
            <a:ext cx="581114" cy="149832"/>
          </a:xfrm>
          <a:prstGeom prst="bentConnector3">
            <a:avLst>
              <a:gd name="adj1" fmla="val 3688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Rectangle 44"/>
          <p:cNvSpPr>
            <a:spLocks noChangeArrowheads="1"/>
          </p:cNvSpPr>
          <p:nvPr/>
        </p:nvSpPr>
        <p:spPr bwMode="auto">
          <a:xfrm flipV="1">
            <a:off x="2699572" y="3472744"/>
            <a:ext cx="862203" cy="839076"/>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0</a:t>
            </a:r>
          </a:p>
        </p:txBody>
      </p:sp>
      <p:sp>
        <p:nvSpPr>
          <p:cNvPr id="90" name="Text Box 804"/>
          <p:cNvSpPr txBox="1">
            <a:spLocks noChangeArrowheads="1"/>
          </p:cNvSpPr>
          <p:nvPr/>
        </p:nvSpPr>
        <p:spPr bwMode="auto">
          <a:xfrm>
            <a:off x="2950989" y="3770186"/>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91" name="Rectangle 805"/>
          <p:cNvSpPr>
            <a:spLocks noChangeArrowheads="1"/>
          </p:cNvSpPr>
          <p:nvPr/>
        </p:nvSpPr>
        <p:spPr bwMode="auto">
          <a:xfrm>
            <a:off x="2944210" y="3594451"/>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93" name="Straight Connector 248"/>
          <p:cNvCxnSpPr>
            <a:cxnSpLocks noChangeShapeType="1"/>
            <a:stCxn id="272" idx="3"/>
          </p:cNvCxnSpPr>
          <p:nvPr/>
        </p:nvCxnSpPr>
        <p:spPr bwMode="auto">
          <a:xfrm>
            <a:off x="3326723" y="3854273"/>
            <a:ext cx="1259625" cy="821924"/>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119" name="Straight Connector 248"/>
          <p:cNvCxnSpPr>
            <a:cxnSpLocks noChangeShapeType="1"/>
          </p:cNvCxnSpPr>
          <p:nvPr/>
        </p:nvCxnSpPr>
        <p:spPr bwMode="auto">
          <a:xfrm>
            <a:off x="3305024" y="4043056"/>
            <a:ext cx="1172061" cy="75809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154" name="Straight Connector 204"/>
          <p:cNvCxnSpPr>
            <a:cxnSpLocks/>
            <a:stCxn id="254" idx="1"/>
            <a:endCxn id="249" idx="3"/>
          </p:cNvCxnSpPr>
          <p:nvPr/>
        </p:nvCxnSpPr>
        <p:spPr bwMode="auto">
          <a:xfrm rot="10800000">
            <a:off x="6300969" y="4503905"/>
            <a:ext cx="1199670" cy="878"/>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Rectangle 166"/>
          <p:cNvSpPr/>
          <p:nvPr/>
        </p:nvSpPr>
        <p:spPr bwMode="auto">
          <a:xfrm>
            <a:off x="4343171" y="1994962"/>
            <a:ext cx="712602" cy="4035302"/>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t" anchorCtr="0" compatLnSpc="1">
            <a:prstTxWarp prst="textNoShape">
              <a:avLst/>
            </a:prstTxWarp>
          </a:bodyPr>
          <a:lstStyle/>
          <a:p>
            <a:pPr lvl="0" algn="ctr">
              <a:defRPr/>
            </a:pPr>
            <a:r>
              <a:rPr kumimoji="0" lang="en-US" sz="1100" b="0" i="0" u="none" strike="noStrike" kern="0" cap="none" spc="0" normalizeH="0" baseline="0" noProof="0">
                <a:ln>
                  <a:noFill/>
                </a:ln>
                <a:solidFill>
                  <a:schemeClr val="tx1"/>
                </a:solidFill>
                <a:effectLst/>
                <a:uLnTx/>
                <a:uFillTx/>
                <a:latin typeface="+mn-lt"/>
              </a:rPr>
              <a:t>RAN</a:t>
            </a:r>
            <a:br>
              <a:rPr kumimoji="0" lang="en-US" sz="1100" b="0" i="0" u="none" strike="noStrike" kern="0" cap="none" spc="0" normalizeH="0" baseline="0" noProof="0">
                <a:ln>
                  <a:noFill/>
                </a:ln>
                <a:solidFill>
                  <a:schemeClr val="tx1"/>
                </a:solidFill>
                <a:effectLst/>
                <a:uLnTx/>
                <a:uFillTx/>
                <a:latin typeface="+mn-lt"/>
              </a:rPr>
            </a:br>
            <a:r>
              <a:rPr lang="en-US" sz="900" kern="0">
                <a:latin typeface="+mn-lt"/>
              </a:rPr>
              <a:t>(Shared resource in </a:t>
            </a:r>
            <a:r>
              <a:rPr lang="en-US" sz="900" kern="0" err="1">
                <a:latin typeface="+mn-lt"/>
              </a:rPr>
              <a:t>gNB</a:t>
            </a:r>
            <a:r>
              <a:rPr kumimoji="0" lang="en-US" sz="900" b="0" i="0" u="none" strike="noStrike" kern="0" cap="none" spc="0" normalizeH="0" baseline="0" noProof="0">
                <a:ln>
                  <a:noFill/>
                </a:ln>
                <a:solidFill>
                  <a:schemeClr val="tx1"/>
                </a:solidFill>
                <a:effectLst/>
                <a:uLnTx/>
                <a:uFillTx/>
                <a:latin typeface="+mn-lt"/>
              </a:rPr>
              <a:t>)</a:t>
            </a:r>
            <a:endParaRPr kumimoji="0" lang="en-US" sz="1100" b="0" i="0" u="none" strike="noStrike" kern="0" cap="none" spc="0" normalizeH="0" baseline="0" noProof="0">
              <a:ln>
                <a:noFill/>
              </a:ln>
              <a:solidFill>
                <a:schemeClr val="tx1"/>
              </a:solidFill>
              <a:effectLst/>
              <a:uLnTx/>
              <a:uFillTx/>
              <a:latin typeface="+mn-lt"/>
            </a:endParaRPr>
          </a:p>
        </p:txBody>
      </p:sp>
      <p:sp>
        <p:nvSpPr>
          <p:cNvPr id="168" name="Rectangle 167"/>
          <p:cNvSpPr/>
          <p:nvPr/>
        </p:nvSpPr>
        <p:spPr bwMode="auto">
          <a:xfrm>
            <a:off x="5199809" y="4177963"/>
            <a:ext cx="2030398" cy="1679779"/>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b" anchorCtr="0" compatLnSpc="1">
            <a:prstTxWarp prst="textNoShape">
              <a:avLst/>
            </a:prstTxWarp>
          </a:bodyPr>
          <a:lstStyle/>
          <a:p>
            <a:pPr marL="0" marR="0" lvl="0" indent="0" defTabSz="914400" rtl="0" eaLnBrk="1" fontAlgn="base" latinLnBrk="0" hangingPunct="1">
              <a:spcBef>
                <a:spcPts val="0"/>
              </a:spcBef>
              <a:spcAft>
                <a:spcPts val="0"/>
              </a:spcAft>
              <a:buClrTx/>
              <a:buSzTx/>
              <a:buFontTx/>
              <a:buNone/>
              <a:tabLst/>
              <a:defRPr/>
            </a:pPr>
            <a:r>
              <a:rPr lang="en-US" sz="1100" kern="0">
                <a:latin typeface="+mn-lt"/>
              </a:rPr>
              <a:t> Shared NFs</a:t>
            </a:r>
          </a:p>
          <a:p>
            <a:pPr marL="0" marR="0" lvl="0" indent="0" defTabSz="914400" rtl="0" eaLnBrk="1" fontAlgn="base" latinLnBrk="0" hangingPunct="1">
              <a:spcBef>
                <a:spcPts val="0"/>
              </a:spcBef>
              <a:spcAft>
                <a:spcPts val="0"/>
              </a:spcAft>
              <a:buClrTx/>
              <a:buSzTx/>
              <a:buFontTx/>
              <a:buNone/>
              <a:tabLst/>
              <a:defRPr/>
            </a:pPr>
            <a:r>
              <a:rPr lang="sv-SE" sz="700" kern="0">
                <a:latin typeface="+mn-lt"/>
              </a:rPr>
              <a:t> </a:t>
            </a:r>
            <a:endParaRPr lang="en-US" sz="700" kern="0">
              <a:latin typeface="+mn-lt"/>
            </a:endParaRPr>
          </a:p>
        </p:txBody>
      </p:sp>
      <p:cxnSp>
        <p:nvCxnSpPr>
          <p:cNvPr id="193" name="Straight Connector 192"/>
          <p:cNvCxnSpPr>
            <a:cxnSpLocks/>
          </p:cNvCxnSpPr>
          <p:nvPr/>
        </p:nvCxnSpPr>
        <p:spPr bwMode="auto">
          <a:xfrm flipH="1" flipV="1">
            <a:off x="5800826" y="3761430"/>
            <a:ext cx="754406" cy="24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4" name="Connector: Elbow 193"/>
          <p:cNvCxnSpPr/>
          <p:nvPr/>
        </p:nvCxnSpPr>
        <p:spPr bwMode="auto">
          <a:xfrm rot="16200000" flipH="1">
            <a:off x="6341570" y="2949249"/>
            <a:ext cx="386917" cy="342852"/>
          </a:xfrm>
          <a:prstGeom prst="bentConnector3">
            <a:avLst>
              <a:gd name="adj1" fmla="val -2518"/>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2" name="Connector: Elbow 201"/>
          <p:cNvCxnSpPr>
            <a:cxnSpLocks/>
          </p:cNvCxnSpPr>
          <p:nvPr/>
        </p:nvCxnSpPr>
        <p:spPr bwMode="auto">
          <a:xfrm>
            <a:off x="5853619" y="5369180"/>
            <a:ext cx="1626758" cy="181575"/>
          </a:xfrm>
          <a:prstGeom prst="bentConnector3">
            <a:avLst>
              <a:gd name="adj1" fmla="val 2956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TextBox 229">
            <a:extLst>
              <a:ext uri="{FF2B5EF4-FFF2-40B4-BE49-F238E27FC236}">
                <a16:creationId xmlns:a16="http://schemas.microsoft.com/office/drawing/2014/main" id="{B383EC68-C4B5-4F43-A12B-8929A9FB209C}"/>
              </a:ext>
            </a:extLst>
          </p:cNvPr>
          <p:cNvSpPr txBox="1"/>
          <p:nvPr/>
        </p:nvSpPr>
        <p:spPr bwMode="auto">
          <a:xfrm>
            <a:off x="4466896" y="4471016"/>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fontAlgn="auto">
              <a:spcBef>
                <a:spcPts val="0"/>
              </a:spcBef>
              <a:spcAft>
                <a:spcPts val="0"/>
              </a:spcAft>
              <a:buClr>
                <a:srgbClr val="181818"/>
              </a:buClr>
              <a:defRPr/>
            </a:pPr>
            <a:r>
              <a:rPr lang="en-US" sz="1800">
                <a:solidFill>
                  <a:srgbClr val="181818"/>
                </a:solidFill>
                <a:latin typeface="Ericsson Technical Icons" panose="00000500000000000000" pitchFamily="2" charset="0"/>
              </a:rPr>
              <a:t>B</a:t>
            </a:r>
            <a:endParaRPr lang="en-US" sz="18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err="1">
                <a:ln>
                  <a:noFill/>
                </a:ln>
                <a:solidFill>
                  <a:srgbClr val="181818"/>
                </a:solidFill>
                <a:effectLst/>
                <a:uLnTx/>
                <a:uFillTx/>
                <a:latin typeface="Ericsson Hilda"/>
                <a:ea typeface="+mn-ea"/>
                <a:cs typeface="+mn-cs"/>
              </a:rPr>
              <a:t>gN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32" name="TextBox 231">
            <a:extLst>
              <a:ext uri="{FF2B5EF4-FFF2-40B4-BE49-F238E27FC236}">
                <a16:creationId xmlns:a16="http://schemas.microsoft.com/office/drawing/2014/main" id="{2C55F219-2D3C-46F0-82F5-1ECFF7846736}"/>
              </a:ext>
            </a:extLst>
          </p:cNvPr>
          <p:cNvSpPr txBox="1"/>
          <p:nvPr/>
        </p:nvSpPr>
        <p:spPr bwMode="auto">
          <a:xfrm>
            <a:off x="5503640" y="488675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33" name="TextBox 232">
            <a:extLst>
              <a:ext uri="{FF2B5EF4-FFF2-40B4-BE49-F238E27FC236}">
                <a16:creationId xmlns:a16="http://schemas.microsoft.com/office/drawing/2014/main" id="{558BD8B2-0CE2-4FB6-BEC4-485A66717196}"/>
              </a:ext>
            </a:extLst>
          </p:cNvPr>
          <p:cNvSpPr txBox="1"/>
          <p:nvPr/>
        </p:nvSpPr>
        <p:spPr bwMode="auto">
          <a:xfrm>
            <a:off x="6562801" y="33182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35" name="TextBox 234">
            <a:extLst>
              <a:ext uri="{FF2B5EF4-FFF2-40B4-BE49-F238E27FC236}">
                <a16:creationId xmlns:a16="http://schemas.microsoft.com/office/drawing/2014/main" id="{352E32D6-C414-4A1C-9DF3-4E1FB9805C22}"/>
              </a:ext>
            </a:extLst>
          </p:cNvPr>
          <p:cNvSpPr txBox="1"/>
          <p:nvPr/>
        </p:nvSpPr>
        <p:spPr bwMode="auto">
          <a:xfrm>
            <a:off x="5405057" y="33156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44" name="TextBox 243">
            <a:extLst>
              <a:ext uri="{FF2B5EF4-FFF2-40B4-BE49-F238E27FC236}">
                <a16:creationId xmlns:a16="http://schemas.microsoft.com/office/drawing/2014/main" id="{C094AEDB-75B1-4AB2-A907-074E52D565E0}"/>
              </a:ext>
            </a:extLst>
          </p:cNvPr>
          <p:cNvSpPr txBox="1"/>
          <p:nvPr/>
        </p:nvSpPr>
        <p:spPr bwMode="auto">
          <a:xfrm>
            <a:off x="5928275" y="273028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E48F76F2-C55D-4301-8074-6C9170D1F410}"/>
              </a:ext>
            </a:extLst>
          </p:cNvPr>
          <p:cNvSpPr txBox="1"/>
          <p:nvPr/>
        </p:nvSpPr>
        <p:spPr bwMode="auto">
          <a:xfrm>
            <a:off x="7678899" y="27377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6" name="TextBox 245">
            <a:extLst>
              <a:ext uri="{FF2B5EF4-FFF2-40B4-BE49-F238E27FC236}">
                <a16:creationId xmlns:a16="http://schemas.microsoft.com/office/drawing/2014/main" id="{65574DEE-5D40-4A48-8F7B-5199C514AAEF}"/>
              </a:ext>
            </a:extLst>
          </p:cNvPr>
          <p:cNvSpPr txBox="1"/>
          <p:nvPr/>
        </p:nvSpPr>
        <p:spPr bwMode="auto">
          <a:xfrm>
            <a:off x="8198890" y="347274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7" name="TextBox 246">
            <a:extLst>
              <a:ext uri="{FF2B5EF4-FFF2-40B4-BE49-F238E27FC236}">
                <a16:creationId xmlns:a16="http://schemas.microsoft.com/office/drawing/2014/main" id="{1FAA00D7-8F38-4492-99E6-C02D098F9C80}"/>
              </a:ext>
            </a:extLst>
          </p:cNvPr>
          <p:cNvSpPr txBox="1"/>
          <p:nvPr/>
        </p:nvSpPr>
        <p:spPr bwMode="auto">
          <a:xfrm>
            <a:off x="8198890" y="52822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8" name="TextBox 247">
            <a:extLst>
              <a:ext uri="{FF2B5EF4-FFF2-40B4-BE49-F238E27FC236}">
                <a16:creationId xmlns:a16="http://schemas.microsoft.com/office/drawing/2014/main" id="{D32846B1-377A-408A-B30F-73C03A89303E}"/>
              </a:ext>
            </a:extLst>
          </p:cNvPr>
          <p:cNvSpPr txBox="1"/>
          <p:nvPr/>
        </p:nvSpPr>
        <p:spPr bwMode="auto">
          <a:xfrm>
            <a:off x="8207749" y="437818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9" name="TextBox 248">
            <a:extLst>
              <a:ext uri="{FF2B5EF4-FFF2-40B4-BE49-F238E27FC236}">
                <a16:creationId xmlns:a16="http://schemas.microsoft.com/office/drawing/2014/main" id="{51E83D8A-EB46-43F1-93EB-F9DA9850DAA3}"/>
              </a:ext>
            </a:extLst>
          </p:cNvPr>
          <p:cNvSpPr txBox="1"/>
          <p:nvPr/>
        </p:nvSpPr>
        <p:spPr bwMode="auto">
          <a:xfrm>
            <a:off x="5869109" y="421615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54" name="TextBox 253">
            <a:extLst>
              <a:ext uri="{FF2B5EF4-FFF2-40B4-BE49-F238E27FC236}">
                <a16:creationId xmlns:a16="http://schemas.microsoft.com/office/drawing/2014/main" id="{A417C9F2-0FE0-4E0C-B6A7-2B340EAC5DBD}"/>
              </a:ext>
            </a:extLst>
          </p:cNvPr>
          <p:cNvSpPr txBox="1"/>
          <p:nvPr/>
        </p:nvSpPr>
        <p:spPr bwMode="auto">
          <a:xfrm>
            <a:off x="7500639" y="42170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cxnSp>
        <p:nvCxnSpPr>
          <p:cNvPr id="256" name="Straight Connector 169">
            <a:extLst>
              <a:ext uri="{FF2B5EF4-FFF2-40B4-BE49-F238E27FC236}">
                <a16:creationId xmlns:a16="http://schemas.microsoft.com/office/drawing/2014/main" id="{49BD021D-3B0A-433F-BC66-162420934862}"/>
              </a:ext>
            </a:extLst>
          </p:cNvPr>
          <p:cNvCxnSpPr>
            <a:cxnSpLocks/>
            <a:stCxn id="254" idx="3"/>
            <a:endCxn id="248" idx="1"/>
          </p:cNvCxnSpPr>
          <p:nvPr/>
        </p:nvCxnSpPr>
        <p:spPr bwMode="auto">
          <a:xfrm>
            <a:off x="7860639" y="4504783"/>
            <a:ext cx="347110" cy="161145"/>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sp>
        <p:nvSpPr>
          <p:cNvPr id="257" name="TextBox 256">
            <a:extLst>
              <a:ext uri="{FF2B5EF4-FFF2-40B4-BE49-F238E27FC236}">
                <a16:creationId xmlns:a16="http://schemas.microsoft.com/office/drawing/2014/main" id="{D3249AB1-BCE6-4023-95A3-70D3D7D0E10C}"/>
              </a:ext>
            </a:extLst>
          </p:cNvPr>
          <p:cNvSpPr txBox="1"/>
          <p:nvPr/>
        </p:nvSpPr>
        <p:spPr bwMode="auto">
          <a:xfrm>
            <a:off x="6581441" y="490261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58" name="TextBox 257">
            <a:extLst>
              <a:ext uri="{FF2B5EF4-FFF2-40B4-BE49-F238E27FC236}">
                <a16:creationId xmlns:a16="http://schemas.microsoft.com/office/drawing/2014/main" id="{2E376BE7-D1C7-4108-8FE7-742D8BCF152B}"/>
              </a:ext>
            </a:extLst>
          </p:cNvPr>
          <p:cNvSpPr txBox="1"/>
          <p:nvPr/>
        </p:nvSpPr>
        <p:spPr bwMode="auto">
          <a:xfrm>
            <a:off x="7493461" y="514708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pic>
        <p:nvPicPr>
          <p:cNvPr id="264" name="Graphic 263">
            <a:extLst>
              <a:ext uri="{FF2B5EF4-FFF2-40B4-BE49-F238E27FC236}">
                <a16:creationId xmlns:a16="http://schemas.microsoft.com/office/drawing/2014/main" id="{A6EFB43D-9285-46A5-A617-EADE52C2D6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6107" y="4659464"/>
            <a:ext cx="419644" cy="587501"/>
          </a:xfrm>
          <a:prstGeom prst="rect">
            <a:avLst/>
          </a:prstGeom>
        </p:spPr>
      </p:pic>
      <p:grpSp>
        <p:nvGrpSpPr>
          <p:cNvPr id="279" name="Group 278">
            <a:extLst>
              <a:ext uri="{FF2B5EF4-FFF2-40B4-BE49-F238E27FC236}">
                <a16:creationId xmlns:a16="http://schemas.microsoft.com/office/drawing/2014/main" id="{A7276C6E-F06F-4688-8847-D9FA9B9B3C61}"/>
              </a:ext>
            </a:extLst>
          </p:cNvPr>
          <p:cNvGrpSpPr/>
          <p:nvPr/>
        </p:nvGrpSpPr>
        <p:grpSpPr>
          <a:xfrm>
            <a:off x="2066992" y="4299254"/>
            <a:ext cx="419644" cy="587501"/>
            <a:chOff x="255550" y="4445955"/>
            <a:chExt cx="419644" cy="587501"/>
          </a:xfrm>
        </p:grpSpPr>
        <p:grpSp>
          <p:nvGrpSpPr>
            <p:cNvPr id="259" name="Group 258">
              <a:extLst>
                <a:ext uri="{FF2B5EF4-FFF2-40B4-BE49-F238E27FC236}">
                  <a16:creationId xmlns:a16="http://schemas.microsoft.com/office/drawing/2014/main" id="{DC04107E-6380-48A0-B658-AE6476A01136}"/>
                </a:ext>
              </a:extLst>
            </p:cNvPr>
            <p:cNvGrpSpPr>
              <a:grpSpLocks noChangeAspect="1"/>
            </p:cNvGrpSpPr>
            <p:nvPr/>
          </p:nvGrpSpPr>
          <p:grpSpPr>
            <a:xfrm>
              <a:off x="255550" y="4445955"/>
              <a:ext cx="419644" cy="587501"/>
              <a:chOff x="10129764" y="745508"/>
              <a:chExt cx="221963" cy="310748"/>
            </a:xfrm>
          </p:grpSpPr>
          <p:grpSp>
            <p:nvGrpSpPr>
              <p:cNvPr id="260" name="Group 259">
                <a:extLst>
                  <a:ext uri="{FF2B5EF4-FFF2-40B4-BE49-F238E27FC236}">
                    <a16:creationId xmlns:a16="http://schemas.microsoft.com/office/drawing/2014/main" id="{9D5D76D0-BA06-4982-84F1-9B5758771AAC}"/>
                  </a:ext>
                </a:extLst>
              </p:cNvPr>
              <p:cNvGrpSpPr>
                <a:grpSpLocks noChangeAspect="1"/>
              </p:cNvGrpSpPr>
              <p:nvPr/>
            </p:nvGrpSpPr>
            <p:grpSpPr>
              <a:xfrm>
                <a:off x="10129764" y="745508"/>
                <a:ext cx="221963" cy="310748"/>
                <a:chOff x="1373325" y="5272742"/>
                <a:chExt cx="428625" cy="600075"/>
              </a:xfrm>
            </p:grpSpPr>
            <p:sp>
              <p:nvSpPr>
                <p:cNvPr id="262" name="Rectangle 261">
                  <a:extLst>
                    <a:ext uri="{FF2B5EF4-FFF2-40B4-BE49-F238E27FC236}">
                      <a16:creationId xmlns:a16="http://schemas.microsoft.com/office/drawing/2014/main" id="{48A71C2F-92C1-4ABF-B547-85746F1BBDB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3" name="Graphic 262">
                  <a:extLst>
                    <a:ext uri="{FF2B5EF4-FFF2-40B4-BE49-F238E27FC236}">
                      <a16:creationId xmlns:a16="http://schemas.microsoft.com/office/drawing/2014/main" id="{1E00C24B-DE2A-4459-92B9-D1B6A1695F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61" name="TextBox 260">
                <a:extLst>
                  <a:ext uri="{FF2B5EF4-FFF2-40B4-BE49-F238E27FC236}">
                    <a16:creationId xmlns:a16="http://schemas.microsoft.com/office/drawing/2014/main" id="{826BECD0-0143-4A31-A74D-0480F238000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 name="Text Box 804"/>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FFC000"/>
                  </a:solidFill>
                  <a:effectLst/>
                  <a:uLnTx/>
                  <a:uFillTx/>
                  <a:latin typeface="+mn-lt"/>
                  <a:ea typeface="ＭＳ Ｐゴシック" pitchFamily="34" charset="-128"/>
                  <a:cs typeface="Arial" charset="0"/>
                </a:rPr>
                <a:t>Virtual Device #1</a:t>
              </a:r>
            </a:p>
          </p:txBody>
        </p:sp>
      </p:grpSp>
      <p:pic>
        <p:nvPicPr>
          <p:cNvPr id="272" name="Graphic 271">
            <a:extLst>
              <a:ext uri="{FF2B5EF4-FFF2-40B4-BE49-F238E27FC236}">
                <a16:creationId xmlns:a16="http://schemas.microsoft.com/office/drawing/2014/main" id="{08E6D611-EB97-4A7A-9F24-544C2F58E3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079" y="3560522"/>
            <a:ext cx="419644" cy="587501"/>
          </a:xfrm>
          <a:prstGeom prst="rect">
            <a:avLst/>
          </a:prstGeom>
        </p:spPr>
      </p:pic>
      <p:grpSp>
        <p:nvGrpSpPr>
          <p:cNvPr id="280" name="Group 279">
            <a:extLst>
              <a:ext uri="{FF2B5EF4-FFF2-40B4-BE49-F238E27FC236}">
                <a16:creationId xmlns:a16="http://schemas.microsoft.com/office/drawing/2014/main" id="{1BFF4060-CCFC-4F49-826C-1537C6401E1A}"/>
              </a:ext>
            </a:extLst>
          </p:cNvPr>
          <p:cNvGrpSpPr/>
          <p:nvPr/>
        </p:nvGrpSpPr>
        <p:grpSpPr>
          <a:xfrm>
            <a:off x="2066394" y="4982494"/>
            <a:ext cx="419644" cy="587501"/>
            <a:chOff x="255550" y="4445955"/>
            <a:chExt cx="419644" cy="587501"/>
          </a:xfrm>
        </p:grpSpPr>
        <p:grpSp>
          <p:nvGrpSpPr>
            <p:cNvPr id="281" name="Group 280">
              <a:extLst>
                <a:ext uri="{FF2B5EF4-FFF2-40B4-BE49-F238E27FC236}">
                  <a16:creationId xmlns:a16="http://schemas.microsoft.com/office/drawing/2014/main" id="{2E2553E6-BDE9-4E25-B5E7-88278B633E29}"/>
                </a:ext>
              </a:extLst>
            </p:cNvPr>
            <p:cNvGrpSpPr>
              <a:grpSpLocks noChangeAspect="1"/>
            </p:cNvGrpSpPr>
            <p:nvPr/>
          </p:nvGrpSpPr>
          <p:grpSpPr>
            <a:xfrm>
              <a:off x="255550" y="4445955"/>
              <a:ext cx="419644" cy="587501"/>
              <a:chOff x="10129764" y="745508"/>
              <a:chExt cx="221963" cy="310748"/>
            </a:xfrm>
          </p:grpSpPr>
          <p:grpSp>
            <p:nvGrpSpPr>
              <p:cNvPr id="283" name="Group 282">
                <a:extLst>
                  <a:ext uri="{FF2B5EF4-FFF2-40B4-BE49-F238E27FC236}">
                    <a16:creationId xmlns:a16="http://schemas.microsoft.com/office/drawing/2014/main" id="{EC3BED04-DD09-411C-8D44-4737CA50CBFC}"/>
                  </a:ext>
                </a:extLst>
              </p:cNvPr>
              <p:cNvGrpSpPr>
                <a:grpSpLocks noChangeAspect="1"/>
              </p:cNvGrpSpPr>
              <p:nvPr/>
            </p:nvGrpSpPr>
            <p:grpSpPr>
              <a:xfrm>
                <a:off x="10129764" y="745508"/>
                <a:ext cx="221963" cy="310748"/>
                <a:chOff x="1373325" y="5272742"/>
                <a:chExt cx="428625" cy="600075"/>
              </a:xfrm>
            </p:grpSpPr>
            <p:sp>
              <p:nvSpPr>
                <p:cNvPr id="285" name="Rectangle 284">
                  <a:extLst>
                    <a:ext uri="{FF2B5EF4-FFF2-40B4-BE49-F238E27FC236}">
                      <a16:creationId xmlns:a16="http://schemas.microsoft.com/office/drawing/2014/main" id="{815DB2EC-E4E6-4C80-BB63-EF6B9130D3B3}"/>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86" name="Graphic 285">
                  <a:extLst>
                    <a:ext uri="{FF2B5EF4-FFF2-40B4-BE49-F238E27FC236}">
                      <a16:creationId xmlns:a16="http://schemas.microsoft.com/office/drawing/2014/main" id="{B30151D5-6620-4C7A-8F44-E1A3FB88D3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4" name="TextBox 283">
                <a:extLst>
                  <a:ext uri="{FF2B5EF4-FFF2-40B4-BE49-F238E27FC236}">
                    <a16:creationId xmlns:a16="http://schemas.microsoft.com/office/drawing/2014/main" id="{21F442E3-8D5A-4E70-B171-33667B3992D0}"/>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82" name="Text Box 804">
              <a:extLst>
                <a:ext uri="{FF2B5EF4-FFF2-40B4-BE49-F238E27FC236}">
                  <a16:creationId xmlns:a16="http://schemas.microsoft.com/office/drawing/2014/main" id="{9549D0C7-F0B7-474E-80A6-E00AE1966D1B}"/>
                </a:ext>
              </a:extLst>
            </p:cNvPr>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00A9D4"/>
                  </a:solidFill>
                  <a:effectLst/>
                  <a:uLnTx/>
                  <a:uFillTx/>
                  <a:latin typeface="+mn-lt"/>
                  <a:ea typeface="ＭＳ Ｐゴシック" pitchFamily="34" charset="-128"/>
                  <a:cs typeface="Arial" charset="0"/>
                </a:rPr>
                <a:t>Virtual Device #2</a:t>
              </a:r>
            </a:p>
          </p:txBody>
        </p:sp>
      </p:grpSp>
      <p:sp>
        <p:nvSpPr>
          <p:cNvPr id="70" name="TextBox 69">
            <a:extLst>
              <a:ext uri="{FF2B5EF4-FFF2-40B4-BE49-F238E27FC236}">
                <a16:creationId xmlns:a16="http://schemas.microsoft.com/office/drawing/2014/main" id="{3D25D698-3E27-413B-9889-FD0322131679}"/>
              </a:ext>
            </a:extLst>
          </p:cNvPr>
          <p:cNvSpPr txBox="1"/>
          <p:nvPr/>
        </p:nvSpPr>
        <p:spPr bwMode="auto">
          <a:xfrm>
            <a:off x="6581441" y="1972346"/>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TextBox 70">
            <a:extLst>
              <a:ext uri="{FF2B5EF4-FFF2-40B4-BE49-F238E27FC236}">
                <a16:creationId xmlns:a16="http://schemas.microsoft.com/office/drawing/2014/main" id="{B5995E1F-60E1-431F-9153-C9E9944A3E87}"/>
              </a:ext>
            </a:extLst>
          </p:cNvPr>
          <p:cNvSpPr txBox="1"/>
          <p:nvPr/>
        </p:nvSpPr>
        <p:spPr bwMode="auto">
          <a:xfrm>
            <a:off x="6144205" y="197610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72" name="TextBox 71">
            <a:extLst>
              <a:ext uri="{FF2B5EF4-FFF2-40B4-BE49-F238E27FC236}">
                <a16:creationId xmlns:a16="http://schemas.microsoft.com/office/drawing/2014/main" id="{46B717E8-D239-4F2E-8E30-98BCABB2E6BC}"/>
              </a:ext>
            </a:extLst>
          </p:cNvPr>
          <p:cNvSpPr txBox="1"/>
          <p:nvPr/>
        </p:nvSpPr>
        <p:spPr bwMode="auto">
          <a:xfrm>
            <a:off x="5657169" y="19827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Tree>
    <p:extLst>
      <p:ext uri="{BB962C8B-B14F-4D97-AF65-F5344CB8AC3E}">
        <p14:creationId xmlns:p14="http://schemas.microsoft.com/office/powerpoint/2010/main" val="3060290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D79C2A7-3ED9-4E78-84CC-35996912E4F0}"/>
              </a:ext>
            </a:extLst>
          </p:cNvPr>
          <p:cNvSpPr/>
          <p:nvPr/>
        </p:nvSpPr>
        <p:spPr bwMode="auto">
          <a:xfrm>
            <a:off x="5213082" y="1797737"/>
            <a:ext cx="2120506" cy="800749"/>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sv-SE" sz="1100" b="0" i="0" u="none" strike="noStrike" kern="0" cap="none" spc="0" normalizeH="0" baseline="0" noProof="0">
                <a:ln>
                  <a:noFill/>
                </a:ln>
                <a:effectLst/>
                <a:uLnTx/>
                <a:uFillTx/>
                <a:latin typeface="+mn-lt"/>
              </a:rPr>
              <a:t>NFs shared across nw slices </a:t>
            </a:r>
            <a:endParaRPr kumimoji="0" lang="en-US" sz="1100" b="0" i="0" u="none" strike="noStrike" kern="0" cap="none" spc="0" normalizeH="0" baseline="0" noProof="0">
              <a:ln>
                <a:noFill/>
              </a:ln>
              <a:effectLst/>
              <a:uLnTx/>
              <a:uFillTx/>
              <a:latin typeface="+mn-lt"/>
            </a:endParaRPr>
          </a:p>
        </p:txBody>
      </p:sp>
      <p:sp>
        <p:nvSpPr>
          <p:cNvPr id="2" name="Title 1"/>
          <p:cNvSpPr>
            <a:spLocks noGrp="1"/>
          </p:cNvSpPr>
          <p:nvPr>
            <p:ph type="title"/>
          </p:nvPr>
        </p:nvSpPr>
        <p:spPr>
          <a:xfrm>
            <a:off x="479424" y="476250"/>
            <a:ext cx="8353425" cy="1081088"/>
          </a:xfrm>
        </p:spPr>
        <p:txBody>
          <a:bodyPr>
            <a:normAutofit/>
          </a:bodyPr>
          <a:lstStyle/>
          <a:p>
            <a:r>
              <a:rPr lang="en-US"/>
              <a:t>5GS Network slicing introduction</a:t>
            </a:r>
            <a:endParaRPr lang="es-ES_tradnl"/>
          </a:p>
        </p:txBody>
      </p:sp>
      <p:sp>
        <p:nvSpPr>
          <p:cNvPr id="3" name="Rectangle 2"/>
          <p:cNvSpPr/>
          <p:nvPr/>
        </p:nvSpPr>
        <p:spPr bwMode="auto">
          <a:xfrm>
            <a:off x="4261449" y="4123009"/>
            <a:ext cx="5003619" cy="89753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1</a:t>
            </a:r>
          </a:p>
        </p:txBody>
      </p:sp>
      <p:sp>
        <p:nvSpPr>
          <p:cNvPr id="4" name="Rectangle 3"/>
          <p:cNvSpPr/>
          <p:nvPr/>
        </p:nvSpPr>
        <p:spPr bwMode="auto">
          <a:xfrm>
            <a:off x="4261450" y="5053522"/>
            <a:ext cx="5003618" cy="86849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2</a:t>
            </a:r>
          </a:p>
        </p:txBody>
      </p:sp>
      <p:sp>
        <p:nvSpPr>
          <p:cNvPr id="6" name="Rectangle 5"/>
          <p:cNvSpPr/>
          <p:nvPr/>
        </p:nvSpPr>
        <p:spPr bwMode="auto">
          <a:xfrm>
            <a:off x="4261450" y="2660264"/>
            <a:ext cx="5003618" cy="143134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effectLst/>
                <a:uLnTx/>
                <a:uFillTx/>
                <a:latin typeface="+mn-lt"/>
              </a:rPr>
              <a:t>NSI # 0</a:t>
            </a:r>
          </a:p>
        </p:txBody>
      </p:sp>
      <p:sp>
        <p:nvSpPr>
          <p:cNvPr id="8" name="Freeform 3"/>
          <p:cNvSpPr>
            <a:spLocks noChangeAspect="1"/>
          </p:cNvSpPr>
          <p:nvPr/>
        </p:nvSpPr>
        <p:spPr bwMode="auto">
          <a:xfrm>
            <a:off x="9891227" y="3677919"/>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85F"/>
              </a:solidFill>
              <a:effectLst/>
              <a:uLnTx/>
              <a:uFillTx/>
              <a:latin typeface="+mn-lt"/>
            </a:endParaRPr>
          </a:p>
        </p:txBody>
      </p:sp>
      <p:sp>
        <p:nvSpPr>
          <p:cNvPr id="9" name="Rectangle 44"/>
          <p:cNvSpPr>
            <a:spLocks noChangeArrowheads="1"/>
          </p:cNvSpPr>
          <p:nvPr/>
        </p:nvSpPr>
        <p:spPr bwMode="auto">
          <a:xfrm flipV="1">
            <a:off x="2699572" y="4493984"/>
            <a:ext cx="862203" cy="968263"/>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1</a:t>
            </a:r>
            <a:endParaRPr kumimoji="0" lang="sv-SE" sz="800" b="1" i="0" u="none" strike="sngStrike" kern="0" cap="none" spc="0" normalizeH="0" baseline="0" noProof="0">
              <a:ln>
                <a:noFill/>
              </a:ln>
              <a:solidFill>
                <a:srgbClr val="58585A"/>
              </a:solidFill>
              <a:effectLst/>
              <a:uLnTx/>
              <a:uFillTx/>
              <a:latin typeface="+mn-lt"/>
            </a:endParaRPr>
          </a:p>
        </p:txBody>
      </p:sp>
      <p:sp>
        <p:nvSpPr>
          <p:cNvPr id="13" name="Text Box 804"/>
          <p:cNvSpPr txBox="1">
            <a:spLocks noChangeArrowheads="1"/>
          </p:cNvSpPr>
          <p:nvPr/>
        </p:nvSpPr>
        <p:spPr bwMode="auto">
          <a:xfrm>
            <a:off x="2968234" y="48598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14" name="Rectangle 805"/>
          <p:cNvSpPr>
            <a:spLocks noChangeArrowheads="1"/>
          </p:cNvSpPr>
          <p:nvPr/>
        </p:nvSpPr>
        <p:spPr bwMode="auto">
          <a:xfrm>
            <a:off x="2947649" y="4588853"/>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16" name="Straight Connector 248"/>
          <p:cNvCxnSpPr>
            <a:cxnSpLocks noChangeShapeType="1"/>
            <a:stCxn id="21" idx="3"/>
            <a:endCxn id="264" idx="1"/>
          </p:cNvCxnSpPr>
          <p:nvPr/>
        </p:nvCxnSpPr>
        <p:spPr bwMode="auto">
          <a:xfrm>
            <a:off x="2439055" y="4605834"/>
            <a:ext cx="477052" cy="3473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248"/>
          <p:cNvCxnSpPr>
            <a:cxnSpLocks noChangeShapeType="1"/>
            <a:stCxn id="286" idx="3"/>
            <a:endCxn id="264" idx="1"/>
          </p:cNvCxnSpPr>
          <p:nvPr/>
        </p:nvCxnSpPr>
        <p:spPr bwMode="auto">
          <a:xfrm flipV="1">
            <a:off x="2486038" y="4953215"/>
            <a:ext cx="430069" cy="32303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19" name="AutoShape 802"/>
          <p:cNvSpPr>
            <a:spLocks noChangeArrowheads="1"/>
          </p:cNvSpPr>
          <p:nvPr/>
        </p:nvSpPr>
        <p:spPr bwMode="auto">
          <a:xfrm>
            <a:off x="2165501" y="3654971"/>
            <a:ext cx="352940" cy="368853"/>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0" name="Oval 803"/>
          <p:cNvSpPr>
            <a:spLocks noChangeArrowheads="1"/>
          </p:cNvSpPr>
          <p:nvPr/>
        </p:nvSpPr>
        <p:spPr bwMode="auto">
          <a:xfrm>
            <a:off x="2163484" y="3512871"/>
            <a:ext cx="354957" cy="357767"/>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2" name="Rectangle 805"/>
          <p:cNvSpPr>
            <a:spLocks noChangeArrowheads="1"/>
          </p:cNvSpPr>
          <p:nvPr/>
        </p:nvSpPr>
        <p:spPr bwMode="auto">
          <a:xfrm>
            <a:off x="2158442" y="3505817"/>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30" name="Freeform 3"/>
          <p:cNvSpPr>
            <a:spLocks noChangeAspect="1"/>
          </p:cNvSpPr>
          <p:nvPr/>
        </p:nvSpPr>
        <p:spPr bwMode="auto">
          <a:xfrm>
            <a:off x="9895580" y="5457452"/>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31" name="Straight Connector 248"/>
          <p:cNvCxnSpPr>
            <a:cxnSpLocks noChangeShapeType="1"/>
          </p:cNvCxnSpPr>
          <p:nvPr/>
        </p:nvCxnSpPr>
        <p:spPr bwMode="auto">
          <a:xfrm flipV="1">
            <a:off x="3326723" y="4853688"/>
            <a:ext cx="1162368" cy="9286"/>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32" name="Elbow Connector 21"/>
          <p:cNvCxnSpPr>
            <a:cxnSpLocks/>
          </p:cNvCxnSpPr>
          <p:nvPr/>
        </p:nvCxnSpPr>
        <p:spPr bwMode="auto">
          <a:xfrm flipV="1">
            <a:off x="4878628" y="3952252"/>
            <a:ext cx="5003618" cy="665489"/>
          </a:xfrm>
          <a:prstGeom prst="bentConnector3">
            <a:avLst>
              <a:gd name="adj1" fmla="val -103"/>
            </a:avLst>
          </a:prstGeom>
          <a:solidFill>
            <a:schemeClr val="accent1"/>
          </a:solidFill>
          <a:ln w="12700" cap="flat" cmpd="sng" algn="ctr">
            <a:solidFill>
              <a:schemeClr val="tx1"/>
            </a:solidFill>
            <a:prstDash val="solid"/>
            <a:round/>
            <a:headEnd type="none" w="med" len="med"/>
            <a:tailEnd type="none" w="med" len="med"/>
          </a:ln>
          <a:effectLst/>
        </p:spPr>
      </p:cxnSp>
      <p:cxnSp>
        <p:nvCxnSpPr>
          <p:cNvPr id="34" name="Straight Connector 248"/>
          <p:cNvCxnSpPr>
            <a:cxnSpLocks noChangeShapeType="1"/>
          </p:cNvCxnSpPr>
          <p:nvPr/>
        </p:nvCxnSpPr>
        <p:spPr bwMode="auto">
          <a:xfrm>
            <a:off x="3335751" y="5020543"/>
            <a:ext cx="1138933" cy="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35" name="Straight Connector 248"/>
          <p:cNvCxnSpPr>
            <a:cxnSpLocks noChangeShapeType="1"/>
          </p:cNvCxnSpPr>
          <p:nvPr/>
        </p:nvCxnSpPr>
        <p:spPr bwMode="auto">
          <a:xfrm>
            <a:off x="3335751" y="4902618"/>
            <a:ext cx="113893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45" name="Straight Connector 169"/>
          <p:cNvCxnSpPr>
            <a:cxnSpLocks/>
          </p:cNvCxnSpPr>
          <p:nvPr/>
        </p:nvCxnSpPr>
        <p:spPr bwMode="auto">
          <a:xfrm flipV="1">
            <a:off x="4922524" y="4840148"/>
            <a:ext cx="4987153" cy="1"/>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203"/>
          <p:cNvCxnSpPr>
            <a:cxnSpLocks noChangeShapeType="1"/>
            <a:stCxn id="249" idx="1"/>
            <a:endCxn id="232" idx="0"/>
          </p:cNvCxnSpPr>
          <p:nvPr/>
        </p:nvCxnSpPr>
        <p:spPr bwMode="auto">
          <a:xfrm rot="10800000" flipV="1">
            <a:off x="5683641" y="4503905"/>
            <a:ext cx="185469" cy="38285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1" name="Straight Connector 203"/>
          <p:cNvCxnSpPr>
            <a:cxnSpLocks noChangeShapeType="1"/>
          </p:cNvCxnSpPr>
          <p:nvPr/>
        </p:nvCxnSpPr>
        <p:spPr bwMode="auto">
          <a:xfrm>
            <a:off x="6921462" y="3693892"/>
            <a:ext cx="1399473" cy="17343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p:cNvCxnSpPr>
          <p:nvPr/>
        </p:nvCxnSpPr>
        <p:spPr bwMode="auto">
          <a:xfrm rot="10800000" flipV="1">
            <a:off x="5625250" y="2889119"/>
            <a:ext cx="372770" cy="450545"/>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169"/>
          <p:cNvCxnSpPr>
            <a:cxnSpLocks/>
          </p:cNvCxnSpPr>
          <p:nvPr/>
        </p:nvCxnSpPr>
        <p:spPr bwMode="auto">
          <a:xfrm rot="5400000" flipH="1" flipV="1">
            <a:off x="4662765" y="3887178"/>
            <a:ext cx="858240" cy="606745"/>
          </a:xfrm>
          <a:prstGeom prst="bentConnector2">
            <a:avLst/>
          </a:prstGeom>
          <a:solidFill>
            <a:schemeClr val="accent1"/>
          </a:solidFill>
          <a:ln w="12700" cap="flat" cmpd="sng" algn="ctr">
            <a:solidFill>
              <a:schemeClr val="tx1"/>
            </a:solidFill>
            <a:prstDash val="dash"/>
            <a:round/>
            <a:headEnd type="none" w="med" len="med"/>
            <a:tailEnd type="none" w="med" len="med"/>
          </a:ln>
          <a:effectLst/>
        </p:spPr>
      </p:cxnSp>
      <p:sp>
        <p:nvSpPr>
          <p:cNvPr id="76" name="Freeform 3"/>
          <p:cNvSpPr>
            <a:spLocks noChangeAspect="1"/>
          </p:cNvSpPr>
          <p:nvPr/>
        </p:nvSpPr>
        <p:spPr bwMode="auto">
          <a:xfrm>
            <a:off x="9888507" y="4517593"/>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77" name="Straight Connector 169"/>
          <p:cNvCxnSpPr>
            <a:cxnSpLocks/>
          </p:cNvCxnSpPr>
          <p:nvPr/>
        </p:nvCxnSpPr>
        <p:spPr bwMode="auto">
          <a:xfrm>
            <a:off x="4685374" y="5086612"/>
            <a:ext cx="5196872" cy="696562"/>
          </a:xfrm>
          <a:prstGeom prst="bentConnector3">
            <a:avLst>
              <a:gd name="adj1" fmla="val 147"/>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169"/>
          <p:cNvCxnSpPr>
            <a:cxnSpLocks/>
            <a:endCxn id="247" idx="1"/>
          </p:cNvCxnSpPr>
          <p:nvPr/>
        </p:nvCxnSpPr>
        <p:spPr bwMode="auto">
          <a:xfrm>
            <a:off x="7869015" y="5530607"/>
            <a:ext cx="329875" cy="39389"/>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cxnSp>
        <p:nvCxnSpPr>
          <p:cNvPr id="85" name="Straight Connector 203"/>
          <p:cNvCxnSpPr>
            <a:cxnSpLocks noChangeShapeType="1"/>
            <a:stCxn id="232" idx="1"/>
          </p:cNvCxnSpPr>
          <p:nvPr/>
        </p:nvCxnSpPr>
        <p:spPr bwMode="auto">
          <a:xfrm rot="10800000">
            <a:off x="4922526" y="5024670"/>
            <a:ext cx="581114" cy="149832"/>
          </a:xfrm>
          <a:prstGeom prst="bentConnector3">
            <a:avLst>
              <a:gd name="adj1" fmla="val 3688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Rectangle 44"/>
          <p:cNvSpPr>
            <a:spLocks noChangeArrowheads="1"/>
          </p:cNvSpPr>
          <p:nvPr/>
        </p:nvSpPr>
        <p:spPr bwMode="auto">
          <a:xfrm flipV="1">
            <a:off x="2699572" y="3472744"/>
            <a:ext cx="862203" cy="839076"/>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0</a:t>
            </a:r>
          </a:p>
        </p:txBody>
      </p:sp>
      <p:sp>
        <p:nvSpPr>
          <p:cNvPr id="90" name="Text Box 804"/>
          <p:cNvSpPr txBox="1">
            <a:spLocks noChangeArrowheads="1"/>
          </p:cNvSpPr>
          <p:nvPr/>
        </p:nvSpPr>
        <p:spPr bwMode="auto">
          <a:xfrm>
            <a:off x="2950989" y="3770186"/>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91" name="Rectangle 805"/>
          <p:cNvSpPr>
            <a:spLocks noChangeArrowheads="1"/>
          </p:cNvSpPr>
          <p:nvPr/>
        </p:nvSpPr>
        <p:spPr bwMode="auto">
          <a:xfrm>
            <a:off x="2944210" y="3594451"/>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93" name="Straight Connector 248"/>
          <p:cNvCxnSpPr>
            <a:cxnSpLocks noChangeShapeType="1"/>
            <a:stCxn id="272" idx="3"/>
          </p:cNvCxnSpPr>
          <p:nvPr/>
        </p:nvCxnSpPr>
        <p:spPr bwMode="auto">
          <a:xfrm>
            <a:off x="3326723" y="3854273"/>
            <a:ext cx="1259625" cy="821924"/>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119" name="Straight Connector 248"/>
          <p:cNvCxnSpPr>
            <a:cxnSpLocks noChangeShapeType="1"/>
          </p:cNvCxnSpPr>
          <p:nvPr/>
        </p:nvCxnSpPr>
        <p:spPr bwMode="auto">
          <a:xfrm>
            <a:off x="3305024" y="4043056"/>
            <a:ext cx="1172061" cy="75809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154" name="Straight Connector 204"/>
          <p:cNvCxnSpPr>
            <a:cxnSpLocks/>
            <a:stCxn id="254" idx="1"/>
            <a:endCxn id="249" idx="3"/>
          </p:cNvCxnSpPr>
          <p:nvPr/>
        </p:nvCxnSpPr>
        <p:spPr bwMode="auto">
          <a:xfrm rot="10800000">
            <a:off x="6300969" y="4503905"/>
            <a:ext cx="1199670" cy="878"/>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Rectangle 166"/>
          <p:cNvSpPr/>
          <p:nvPr/>
        </p:nvSpPr>
        <p:spPr bwMode="auto">
          <a:xfrm>
            <a:off x="4343171" y="1994962"/>
            <a:ext cx="712602" cy="4035302"/>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t" anchorCtr="0" compatLnSpc="1">
            <a:prstTxWarp prst="textNoShape">
              <a:avLst/>
            </a:prstTxWarp>
          </a:bodyPr>
          <a:lstStyle/>
          <a:p>
            <a:pPr lvl="0" algn="ctr">
              <a:defRPr/>
            </a:pPr>
            <a:r>
              <a:rPr kumimoji="0" lang="en-US" sz="1100" b="0" i="0" u="none" strike="noStrike" kern="0" cap="none" spc="0" normalizeH="0" baseline="0" noProof="0">
                <a:ln>
                  <a:noFill/>
                </a:ln>
                <a:solidFill>
                  <a:schemeClr val="tx1"/>
                </a:solidFill>
                <a:effectLst/>
                <a:uLnTx/>
                <a:uFillTx/>
                <a:latin typeface="+mn-lt"/>
              </a:rPr>
              <a:t>RAN</a:t>
            </a:r>
            <a:br>
              <a:rPr kumimoji="0" lang="en-US" sz="1100" b="0" i="0" u="none" strike="noStrike" kern="0" cap="none" spc="0" normalizeH="0" baseline="0" noProof="0">
                <a:ln>
                  <a:noFill/>
                </a:ln>
                <a:solidFill>
                  <a:schemeClr val="tx1"/>
                </a:solidFill>
                <a:effectLst/>
                <a:uLnTx/>
                <a:uFillTx/>
                <a:latin typeface="+mn-lt"/>
              </a:rPr>
            </a:br>
            <a:r>
              <a:rPr lang="en-US" sz="900" kern="0">
                <a:latin typeface="+mn-lt"/>
              </a:rPr>
              <a:t>(Shared resource in </a:t>
            </a:r>
            <a:r>
              <a:rPr lang="en-US" sz="900" kern="0" err="1">
                <a:latin typeface="+mn-lt"/>
              </a:rPr>
              <a:t>gNB</a:t>
            </a:r>
            <a:r>
              <a:rPr kumimoji="0" lang="en-US" sz="900" b="0" i="0" u="none" strike="noStrike" kern="0" cap="none" spc="0" normalizeH="0" baseline="0" noProof="0">
                <a:ln>
                  <a:noFill/>
                </a:ln>
                <a:solidFill>
                  <a:schemeClr val="tx1"/>
                </a:solidFill>
                <a:effectLst/>
                <a:uLnTx/>
                <a:uFillTx/>
                <a:latin typeface="+mn-lt"/>
              </a:rPr>
              <a:t>)</a:t>
            </a:r>
            <a:endParaRPr kumimoji="0" lang="en-US" sz="1100" b="0" i="0" u="none" strike="noStrike" kern="0" cap="none" spc="0" normalizeH="0" baseline="0" noProof="0">
              <a:ln>
                <a:noFill/>
              </a:ln>
              <a:solidFill>
                <a:schemeClr val="tx1"/>
              </a:solidFill>
              <a:effectLst/>
              <a:uLnTx/>
              <a:uFillTx/>
              <a:latin typeface="+mn-lt"/>
            </a:endParaRPr>
          </a:p>
        </p:txBody>
      </p:sp>
      <p:sp>
        <p:nvSpPr>
          <p:cNvPr id="168" name="Rectangle 167"/>
          <p:cNvSpPr/>
          <p:nvPr/>
        </p:nvSpPr>
        <p:spPr bwMode="auto">
          <a:xfrm>
            <a:off x="5199809" y="4177963"/>
            <a:ext cx="2030398" cy="1679779"/>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b" anchorCtr="0" compatLnSpc="1">
            <a:prstTxWarp prst="textNoShape">
              <a:avLst/>
            </a:prstTxWarp>
          </a:bodyPr>
          <a:lstStyle/>
          <a:p>
            <a:pPr marL="0" marR="0" lvl="0" indent="0" defTabSz="914400" rtl="0" eaLnBrk="1" fontAlgn="base" latinLnBrk="0" hangingPunct="1">
              <a:spcBef>
                <a:spcPts val="0"/>
              </a:spcBef>
              <a:spcAft>
                <a:spcPts val="0"/>
              </a:spcAft>
              <a:buClrTx/>
              <a:buSzTx/>
              <a:buFontTx/>
              <a:buNone/>
              <a:tabLst/>
              <a:defRPr/>
            </a:pPr>
            <a:r>
              <a:rPr lang="en-US" sz="1100" kern="0">
                <a:latin typeface="+mn-lt"/>
              </a:rPr>
              <a:t> Shared NFs</a:t>
            </a:r>
          </a:p>
          <a:p>
            <a:pPr marL="0" marR="0" lvl="0" indent="0" defTabSz="914400" rtl="0" eaLnBrk="1" fontAlgn="base" latinLnBrk="0" hangingPunct="1">
              <a:spcBef>
                <a:spcPts val="0"/>
              </a:spcBef>
              <a:spcAft>
                <a:spcPts val="0"/>
              </a:spcAft>
              <a:buClrTx/>
              <a:buSzTx/>
              <a:buFontTx/>
              <a:buNone/>
              <a:tabLst/>
              <a:defRPr/>
            </a:pPr>
            <a:r>
              <a:rPr lang="sv-SE" sz="700" kern="0">
                <a:latin typeface="+mn-lt"/>
              </a:rPr>
              <a:t> </a:t>
            </a:r>
            <a:endParaRPr lang="en-US" sz="700" kern="0">
              <a:latin typeface="+mn-lt"/>
            </a:endParaRPr>
          </a:p>
        </p:txBody>
      </p:sp>
      <p:cxnSp>
        <p:nvCxnSpPr>
          <p:cNvPr id="193" name="Straight Connector 192"/>
          <p:cNvCxnSpPr>
            <a:cxnSpLocks/>
          </p:cNvCxnSpPr>
          <p:nvPr/>
        </p:nvCxnSpPr>
        <p:spPr bwMode="auto">
          <a:xfrm flipH="1" flipV="1">
            <a:off x="5800826" y="3761430"/>
            <a:ext cx="754406" cy="24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4" name="Connector: Elbow 193"/>
          <p:cNvCxnSpPr/>
          <p:nvPr/>
        </p:nvCxnSpPr>
        <p:spPr bwMode="auto">
          <a:xfrm rot="16200000" flipH="1">
            <a:off x="6341570" y="2949249"/>
            <a:ext cx="386917" cy="342852"/>
          </a:xfrm>
          <a:prstGeom prst="bentConnector3">
            <a:avLst>
              <a:gd name="adj1" fmla="val -2518"/>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2" name="Connector: Elbow 201"/>
          <p:cNvCxnSpPr>
            <a:cxnSpLocks/>
          </p:cNvCxnSpPr>
          <p:nvPr/>
        </p:nvCxnSpPr>
        <p:spPr bwMode="auto">
          <a:xfrm>
            <a:off x="5853619" y="5369180"/>
            <a:ext cx="1626758" cy="181575"/>
          </a:xfrm>
          <a:prstGeom prst="bentConnector3">
            <a:avLst>
              <a:gd name="adj1" fmla="val 2956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TextBox 229">
            <a:extLst>
              <a:ext uri="{FF2B5EF4-FFF2-40B4-BE49-F238E27FC236}">
                <a16:creationId xmlns:a16="http://schemas.microsoft.com/office/drawing/2014/main" id="{B383EC68-C4B5-4F43-A12B-8929A9FB209C}"/>
              </a:ext>
            </a:extLst>
          </p:cNvPr>
          <p:cNvSpPr txBox="1"/>
          <p:nvPr/>
        </p:nvSpPr>
        <p:spPr bwMode="auto">
          <a:xfrm>
            <a:off x="4466896" y="4471016"/>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fontAlgn="auto">
              <a:spcBef>
                <a:spcPts val="0"/>
              </a:spcBef>
              <a:spcAft>
                <a:spcPts val="0"/>
              </a:spcAft>
              <a:buClr>
                <a:srgbClr val="181818"/>
              </a:buClr>
              <a:defRPr/>
            </a:pPr>
            <a:r>
              <a:rPr lang="en-US" sz="1800">
                <a:solidFill>
                  <a:srgbClr val="181818"/>
                </a:solidFill>
                <a:latin typeface="Ericsson Technical Icons" panose="00000500000000000000" pitchFamily="2" charset="0"/>
              </a:rPr>
              <a:t>B</a:t>
            </a:r>
            <a:endParaRPr lang="en-US" sz="18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err="1">
                <a:ln>
                  <a:noFill/>
                </a:ln>
                <a:solidFill>
                  <a:srgbClr val="181818"/>
                </a:solidFill>
                <a:effectLst/>
                <a:uLnTx/>
                <a:uFillTx/>
                <a:latin typeface="Ericsson Hilda"/>
                <a:ea typeface="+mn-ea"/>
                <a:cs typeface="+mn-cs"/>
              </a:rPr>
              <a:t>gN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32" name="TextBox 231">
            <a:extLst>
              <a:ext uri="{FF2B5EF4-FFF2-40B4-BE49-F238E27FC236}">
                <a16:creationId xmlns:a16="http://schemas.microsoft.com/office/drawing/2014/main" id="{2C55F219-2D3C-46F0-82F5-1ECFF7846736}"/>
              </a:ext>
            </a:extLst>
          </p:cNvPr>
          <p:cNvSpPr txBox="1"/>
          <p:nvPr/>
        </p:nvSpPr>
        <p:spPr bwMode="auto">
          <a:xfrm>
            <a:off x="5503640" y="488675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33" name="TextBox 232">
            <a:extLst>
              <a:ext uri="{FF2B5EF4-FFF2-40B4-BE49-F238E27FC236}">
                <a16:creationId xmlns:a16="http://schemas.microsoft.com/office/drawing/2014/main" id="{558BD8B2-0CE2-4FB6-BEC4-485A66717196}"/>
              </a:ext>
            </a:extLst>
          </p:cNvPr>
          <p:cNvSpPr txBox="1"/>
          <p:nvPr/>
        </p:nvSpPr>
        <p:spPr bwMode="auto">
          <a:xfrm>
            <a:off x="6562801" y="33182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35" name="TextBox 234">
            <a:extLst>
              <a:ext uri="{FF2B5EF4-FFF2-40B4-BE49-F238E27FC236}">
                <a16:creationId xmlns:a16="http://schemas.microsoft.com/office/drawing/2014/main" id="{352E32D6-C414-4A1C-9DF3-4E1FB9805C22}"/>
              </a:ext>
            </a:extLst>
          </p:cNvPr>
          <p:cNvSpPr txBox="1"/>
          <p:nvPr/>
        </p:nvSpPr>
        <p:spPr bwMode="auto">
          <a:xfrm>
            <a:off x="5405057" y="33156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44" name="TextBox 243">
            <a:extLst>
              <a:ext uri="{FF2B5EF4-FFF2-40B4-BE49-F238E27FC236}">
                <a16:creationId xmlns:a16="http://schemas.microsoft.com/office/drawing/2014/main" id="{C094AEDB-75B1-4AB2-A907-074E52D565E0}"/>
              </a:ext>
            </a:extLst>
          </p:cNvPr>
          <p:cNvSpPr txBox="1"/>
          <p:nvPr/>
        </p:nvSpPr>
        <p:spPr bwMode="auto">
          <a:xfrm>
            <a:off x="5928275" y="273028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E48F76F2-C55D-4301-8074-6C9170D1F410}"/>
              </a:ext>
            </a:extLst>
          </p:cNvPr>
          <p:cNvSpPr txBox="1"/>
          <p:nvPr/>
        </p:nvSpPr>
        <p:spPr bwMode="auto">
          <a:xfrm>
            <a:off x="7678899" y="27377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6" name="TextBox 245">
            <a:extLst>
              <a:ext uri="{FF2B5EF4-FFF2-40B4-BE49-F238E27FC236}">
                <a16:creationId xmlns:a16="http://schemas.microsoft.com/office/drawing/2014/main" id="{65574DEE-5D40-4A48-8F7B-5199C514AAEF}"/>
              </a:ext>
            </a:extLst>
          </p:cNvPr>
          <p:cNvSpPr txBox="1"/>
          <p:nvPr/>
        </p:nvSpPr>
        <p:spPr bwMode="auto">
          <a:xfrm>
            <a:off x="8198890" y="347274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7" name="TextBox 246">
            <a:extLst>
              <a:ext uri="{FF2B5EF4-FFF2-40B4-BE49-F238E27FC236}">
                <a16:creationId xmlns:a16="http://schemas.microsoft.com/office/drawing/2014/main" id="{1FAA00D7-8F38-4492-99E6-C02D098F9C80}"/>
              </a:ext>
            </a:extLst>
          </p:cNvPr>
          <p:cNvSpPr txBox="1"/>
          <p:nvPr/>
        </p:nvSpPr>
        <p:spPr bwMode="auto">
          <a:xfrm>
            <a:off x="8198890" y="52822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8" name="TextBox 247">
            <a:extLst>
              <a:ext uri="{FF2B5EF4-FFF2-40B4-BE49-F238E27FC236}">
                <a16:creationId xmlns:a16="http://schemas.microsoft.com/office/drawing/2014/main" id="{D32846B1-377A-408A-B30F-73C03A89303E}"/>
              </a:ext>
            </a:extLst>
          </p:cNvPr>
          <p:cNvSpPr txBox="1"/>
          <p:nvPr/>
        </p:nvSpPr>
        <p:spPr bwMode="auto">
          <a:xfrm>
            <a:off x="8207749" y="437818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9" name="TextBox 248">
            <a:extLst>
              <a:ext uri="{FF2B5EF4-FFF2-40B4-BE49-F238E27FC236}">
                <a16:creationId xmlns:a16="http://schemas.microsoft.com/office/drawing/2014/main" id="{51E83D8A-EB46-43F1-93EB-F9DA9850DAA3}"/>
              </a:ext>
            </a:extLst>
          </p:cNvPr>
          <p:cNvSpPr txBox="1"/>
          <p:nvPr/>
        </p:nvSpPr>
        <p:spPr bwMode="auto">
          <a:xfrm>
            <a:off x="5869109" y="421615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54" name="TextBox 253">
            <a:extLst>
              <a:ext uri="{FF2B5EF4-FFF2-40B4-BE49-F238E27FC236}">
                <a16:creationId xmlns:a16="http://schemas.microsoft.com/office/drawing/2014/main" id="{A417C9F2-0FE0-4E0C-B6A7-2B340EAC5DBD}"/>
              </a:ext>
            </a:extLst>
          </p:cNvPr>
          <p:cNvSpPr txBox="1"/>
          <p:nvPr/>
        </p:nvSpPr>
        <p:spPr bwMode="auto">
          <a:xfrm>
            <a:off x="7500639" y="42170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cxnSp>
        <p:nvCxnSpPr>
          <p:cNvPr id="256" name="Straight Connector 169">
            <a:extLst>
              <a:ext uri="{FF2B5EF4-FFF2-40B4-BE49-F238E27FC236}">
                <a16:creationId xmlns:a16="http://schemas.microsoft.com/office/drawing/2014/main" id="{49BD021D-3B0A-433F-BC66-162420934862}"/>
              </a:ext>
            </a:extLst>
          </p:cNvPr>
          <p:cNvCxnSpPr>
            <a:cxnSpLocks/>
            <a:stCxn id="254" idx="3"/>
            <a:endCxn id="248" idx="1"/>
          </p:cNvCxnSpPr>
          <p:nvPr/>
        </p:nvCxnSpPr>
        <p:spPr bwMode="auto">
          <a:xfrm>
            <a:off x="7860639" y="4504783"/>
            <a:ext cx="347110" cy="161145"/>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sp>
        <p:nvSpPr>
          <p:cNvPr id="257" name="TextBox 256">
            <a:extLst>
              <a:ext uri="{FF2B5EF4-FFF2-40B4-BE49-F238E27FC236}">
                <a16:creationId xmlns:a16="http://schemas.microsoft.com/office/drawing/2014/main" id="{D3249AB1-BCE6-4023-95A3-70D3D7D0E10C}"/>
              </a:ext>
            </a:extLst>
          </p:cNvPr>
          <p:cNvSpPr txBox="1"/>
          <p:nvPr/>
        </p:nvSpPr>
        <p:spPr bwMode="auto">
          <a:xfrm>
            <a:off x="6581441" y="490261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58" name="TextBox 257">
            <a:extLst>
              <a:ext uri="{FF2B5EF4-FFF2-40B4-BE49-F238E27FC236}">
                <a16:creationId xmlns:a16="http://schemas.microsoft.com/office/drawing/2014/main" id="{2E376BE7-D1C7-4108-8FE7-742D8BCF152B}"/>
              </a:ext>
            </a:extLst>
          </p:cNvPr>
          <p:cNvSpPr txBox="1"/>
          <p:nvPr/>
        </p:nvSpPr>
        <p:spPr bwMode="auto">
          <a:xfrm>
            <a:off x="7493461" y="514708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pic>
        <p:nvPicPr>
          <p:cNvPr id="264" name="Graphic 263">
            <a:extLst>
              <a:ext uri="{FF2B5EF4-FFF2-40B4-BE49-F238E27FC236}">
                <a16:creationId xmlns:a16="http://schemas.microsoft.com/office/drawing/2014/main" id="{A6EFB43D-9285-46A5-A617-EADE52C2D6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6107" y="4659464"/>
            <a:ext cx="419644" cy="587501"/>
          </a:xfrm>
          <a:prstGeom prst="rect">
            <a:avLst/>
          </a:prstGeom>
        </p:spPr>
      </p:pic>
      <p:grpSp>
        <p:nvGrpSpPr>
          <p:cNvPr id="279" name="Group 278">
            <a:extLst>
              <a:ext uri="{FF2B5EF4-FFF2-40B4-BE49-F238E27FC236}">
                <a16:creationId xmlns:a16="http://schemas.microsoft.com/office/drawing/2014/main" id="{A7276C6E-F06F-4688-8847-D9FA9B9B3C61}"/>
              </a:ext>
            </a:extLst>
          </p:cNvPr>
          <p:cNvGrpSpPr/>
          <p:nvPr/>
        </p:nvGrpSpPr>
        <p:grpSpPr>
          <a:xfrm>
            <a:off x="2066992" y="4299254"/>
            <a:ext cx="419644" cy="587501"/>
            <a:chOff x="255550" y="4445955"/>
            <a:chExt cx="419644" cy="587501"/>
          </a:xfrm>
        </p:grpSpPr>
        <p:grpSp>
          <p:nvGrpSpPr>
            <p:cNvPr id="259" name="Group 258">
              <a:extLst>
                <a:ext uri="{FF2B5EF4-FFF2-40B4-BE49-F238E27FC236}">
                  <a16:creationId xmlns:a16="http://schemas.microsoft.com/office/drawing/2014/main" id="{DC04107E-6380-48A0-B658-AE6476A01136}"/>
                </a:ext>
              </a:extLst>
            </p:cNvPr>
            <p:cNvGrpSpPr>
              <a:grpSpLocks noChangeAspect="1"/>
            </p:cNvGrpSpPr>
            <p:nvPr/>
          </p:nvGrpSpPr>
          <p:grpSpPr>
            <a:xfrm>
              <a:off x="255550" y="4445955"/>
              <a:ext cx="419644" cy="587501"/>
              <a:chOff x="10129764" y="745508"/>
              <a:chExt cx="221963" cy="310748"/>
            </a:xfrm>
          </p:grpSpPr>
          <p:grpSp>
            <p:nvGrpSpPr>
              <p:cNvPr id="260" name="Group 259">
                <a:extLst>
                  <a:ext uri="{FF2B5EF4-FFF2-40B4-BE49-F238E27FC236}">
                    <a16:creationId xmlns:a16="http://schemas.microsoft.com/office/drawing/2014/main" id="{9D5D76D0-BA06-4982-84F1-9B5758771AAC}"/>
                  </a:ext>
                </a:extLst>
              </p:cNvPr>
              <p:cNvGrpSpPr>
                <a:grpSpLocks noChangeAspect="1"/>
              </p:cNvGrpSpPr>
              <p:nvPr/>
            </p:nvGrpSpPr>
            <p:grpSpPr>
              <a:xfrm>
                <a:off x="10129764" y="745508"/>
                <a:ext cx="221963" cy="310748"/>
                <a:chOff x="1373325" y="5272742"/>
                <a:chExt cx="428625" cy="600075"/>
              </a:xfrm>
            </p:grpSpPr>
            <p:sp>
              <p:nvSpPr>
                <p:cNvPr id="262" name="Rectangle 261">
                  <a:extLst>
                    <a:ext uri="{FF2B5EF4-FFF2-40B4-BE49-F238E27FC236}">
                      <a16:creationId xmlns:a16="http://schemas.microsoft.com/office/drawing/2014/main" id="{48A71C2F-92C1-4ABF-B547-85746F1BBDB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3" name="Graphic 262">
                  <a:extLst>
                    <a:ext uri="{FF2B5EF4-FFF2-40B4-BE49-F238E27FC236}">
                      <a16:creationId xmlns:a16="http://schemas.microsoft.com/office/drawing/2014/main" id="{1E00C24B-DE2A-4459-92B9-D1B6A1695F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61" name="TextBox 260">
                <a:extLst>
                  <a:ext uri="{FF2B5EF4-FFF2-40B4-BE49-F238E27FC236}">
                    <a16:creationId xmlns:a16="http://schemas.microsoft.com/office/drawing/2014/main" id="{826BECD0-0143-4A31-A74D-0480F238000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 name="Text Box 804"/>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FFC000"/>
                  </a:solidFill>
                  <a:effectLst/>
                  <a:uLnTx/>
                  <a:uFillTx/>
                  <a:latin typeface="+mn-lt"/>
                  <a:ea typeface="ＭＳ Ｐゴシック" pitchFamily="34" charset="-128"/>
                  <a:cs typeface="Arial" charset="0"/>
                </a:rPr>
                <a:t>Virtual Device #1</a:t>
              </a:r>
            </a:p>
          </p:txBody>
        </p:sp>
      </p:grpSp>
      <p:pic>
        <p:nvPicPr>
          <p:cNvPr id="272" name="Graphic 271">
            <a:extLst>
              <a:ext uri="{FF2B5EF4-FFF2-40B4-BE49-F238E27FC236}">
                <a16:creationId xmlns:a16="http://schemas.microsoft.com/office/drawing/2014/main" id="{08E6D611-EB97-4A7A-9F24-544C2F58E3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079" y="3560522"/>
            <a:ext cx="419644" cy="587501"/>
          </a:xfrm>
          <a:prstGeom prst="rect">
            <a:avLst/>
          </a:prstGeom>
        </p:spPr>
      </p:pic>
      <p:grpSp>
        <p:nvGrpSpPr>
          <p:cNvPr id="280" name="Group 279">
            <a:extLst>
              <a:ext uri="{FF2B5EF4-FFF2-40B4-BE49-F238E27FC236}">
                <a16:creationId xmlns:a16="http://schemas.microsoft.com/office/drawing/2014/main" id="{1BFF4060-CCFC-4F49-826C-1537C6401E1A}"/>
              </a:ext>
            </a:extLst>
          </p:cNvPr>
          <p:cNvGrpSpPr/>
          <p:nvPr/>
        </p:nvGrpSpPr>
        <p:grpSpPr>
          <a:xfrm>
            <a:off x="2066394" y="4982494"/>
            <a:ext cx="419644" cy="587501"/>
            <a:chOff x="255550" y="4445955"/>
            <a:chExt cx="419644" cy="587501"/>
          </a:xfrm>
        </p:grpSpPr>
        <p:grpSp>
          <p:nvGrpSpPr>
            <p:cNvPr id="281" name="Group 280">
              <a:extLst>
                <a:ext uri="{FF2B5EF4-FFF2-40B4-BE49-F238E27FC236}">
                  <a16:creationId xmlns:a16="http://schemas.microsoft.com/office/drawing/2014/main" id="{2E2553E6-BDE9-4E25-B5E7-88278B633E29}"/>
                </a:ext>
              </a:extLst>
            </p:cNvPr>
            <p:cNvGrpSpPr>
              <a:grpSpLocks noChangeAspect="1"/>
            </p:cNvGrpSpPr>
            <p:nvPr/>
          </p:nvGrpSpPr>
          <p:grpSpPr>
            <a:xfrm>
              <a:off x="255550" y="4445955"/>
              <a:ext cx="419644" cy="587501"/>
              <a:chOff x="10129764" y="745508"/>
              <a:chExt cx="221963" cy="310748"/>
            </a:xfrm>
          </p:grpSpPr>
          <p:grpSp>
            <p:nvGrpSpPr>
              <p:cNvPr id="283" name="Group 282">
                <a:extLst>
                  <a:ext uri="{FF2B5EF4-FFF2-40B4-BE49-F238E27FC236}">
                    <a16:creationId xmlns:a16="http://schemas.microsoft.com/office/drawing/2014/main" id="{EC3BED04-DD09-411C-8D44-4737CA50CBFC}"/>
                  </a:ext>
                </a:extLst>
              </p:cNvPr>
              <p:cNvGrpSpPr>
                <a:grpSpLocks noChangeAspect="1"/>
              </p:cNvGrpSpPr>
              <p:nvPr/>
            </p:nvGrpSpPr>
            <p:grpSpPr>
              <a:xfrm>
                <a:off x="10129764" y="745508"/>
                <a:ext cx="221963" cy="310748"/>
                <a:chOff x="1373325" y="5272742"/>
                <a:chExt cx="428625" cy="600075"/>
              </a:xfrm>
            </p:grpSpPr>
            <p:sp>
              <p:nvSpPr>
                <p:cNvPr id="285" name="Rectangle 284">
                  <a:extLst>
                    <a:ext uri="{FF2B5EF4-FFF2-40B4-BE49-F238E27FC236}">
                      <a16:creationId xmlns:a16="http://schemas.microsoft.com/office/drawing/2014/main" id="{815DB2EC-E4E6-4C80-BB63-EF6B9130D3B3}"/>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86" name="Graphic 285">
                  <a:extLst>
                    <a:ext uri="{FF2B5EF4-FFF2-40B4-BE49-F238E27FC236}">
                      <a16:creationId xmlns:a16="http://schemas.microsoft.com/office/drawing/2014/main" id="{B30151D5-6620-4C7A-8F44-E1A3FB88D3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4" name="TextBox 283">
                <a:extLst>
                  <a:ext uri="{FF2B5EF4-FFF2-40B4-BE49-F238E27FC236}">
                    <a16:creationId xmlns:a16="http://schemas.microsoft.com/office/drawing/2014/main" id="{21F442E3-8D5A-4E70-B171-33667B3992D0}"/>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82" name="Text Box 804">
              <a:extLst>
                <a:ext uri="{FF2B5EF4-FFF2-40B4-BE49-F238E27FC236}">
                  <a16:creationId xmlns:a16="http://schemas.microsoft.com/office/drawing/2014/main" id="{9549D0C7-F0B7-474E-80A6-E00AE1966D1B}"/>
                </a:ext>
              </a:extLst>
            </p:cNvPr>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00A9D4"/>
                  </a:solidFill>
                  <a:effectLst/>
                  <a:uLnTx/>
                  <a:uFillTx/>
                  <a:latin typeface="+mn-lt"/>
                  <a:ea typeface="ＭＳ Ｐゴシック" pitchFamily="34" charset="-128"/>
                  <a:cs typeface="Arial" charset="0"/>
                </a:rPr>
                <a:t>Virtual Device #2</a:t>
              </a:r>
            </a:p>
          </p:txBody>
        </p:sp>
      </p:grpSp>
      <p:sp>
        <p:nvSpPr>
          <p:cNvPr id="70" name="TextBox 69">
            <a:extLst>
              <a:ext uri="{FF2B5EF4-FFF2-40B4-BE49-F238E27FC236}">
                <a16:creationId xmlns:a16="http://schemas.microsoft.com/office/drawing/2014/main" id="{3D25D698-3E27-413B-9889-FD0322131679}"/>
              </a:ext>
            </a:extLst>
          </p:cNvPr>
          <p:cNvSpPr txBox="1"/>
          <p:nvPr/>
        </p:nvSpPr>
        <p:spPr bwMode="auto">
          <a:xfrm>
            <a:off x="6581441" y="1972346"/>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TextBox 70">
            <a:extLst>
              <a:ext uri="{FF2B5EF4-FFF2-40B4-BE49-F238E27FC236}">
                <a16:creationId xmlns:a16="http://schemas.microsoft.com/office/drawing/2014/main" id="{B5995E1F-60E1-431F-9153-C9E9944A3E87}"/>
              </a:ext>
            </a:extLst>
          </p:cNvPr>
          <p:cNvSpPr txBox="1"/>
          <p:nvPr/>
        </p:nvSpPr>
        <p:spPr bwMode="auto">
          <a:xfrm>
            <a:off x="6144205" y="197610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72" name="TextBox 71">
            <a:extLst>
              <a:ext uri="{FF2B5EF4-FFF2-40B4-BE49-F238E27FC236}">
                <a16:creationId xmlns:a16="http://schemas.microsoft.com/office/drawing/2014/main" id="{46B717E8-D239-4F2E-8E30-98BCABB2E6BC}"/>
              </a:ext>
            </a:extLst>
          </p:cNvPr>
          <p:cNvSpPr txBox="1"/>
          <p:nvPr/>
        </p:nvSpPr>
        <p:spPr bwMode="auto">
          <a:xfrm>
            <a:off x="5657169" y="19827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74" name="AutoShape 10" descr="bpct-blend3">
            <a:extLst>
              <a:ext uri="{FF2B5EF4-FFF2-40B4-BE49-F238E27FC236}">
                <a16:creationId xmlns:a16="http://schemas.microsoft.com/office/drawing/2014/main" id="{DAECBFDC-5E1A-4BC9-AA9E-1706F37205A5}"/>
              </a:ext>
            </a:extLst>
          </p:cNvPr>
          <p:cNvSpPr>
            <a:spLocks noChangeAspect="1" noChangeArrowheads="1"/>
          </p:cNvSpPr>
          <p:nvPr/>
        </p:nvSpPr>
        <p:spPr bwMode="auto">
          <a:xfrm>
            <a:off x="8175692" y="2524284"/>
            <a:ext cx="3821245" cy="1472804"/>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The Core Network part of the Network Slice  contains different sets of functionality. </a:t>
            </a:r>
            <a:b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The Core Network part may be also</a:t>
            </a:r>
            <a:b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b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divided into Common (shared NFs across NSs) and Slice specific parts.</a:t>
            </a:r>
          </a:p>
        </p:txBody>
      </p:sp>
      <p:sp>
        <p:nvSpPr>
          <p:cNvPr id="75" name="AutoShape 10" descr="bpct-blend3">
            <a:extLst>
              <a:ext uri="{FF2B5EF4-FFF2-40B4-BE49-F238E27FC236}">
                <a16:creationId xmlns:a16="http://schemas.microsoft.com/office/drawing/2014/main" id="{C5600F8C-2875-4196-B1AE-1E17A36F3244}"/>
              </a:ext>
            </a:extLst>
          </p:cNvPr>
          <p:cNvSpPr>
            <a:spLocks noChangeAspect="1" noChangeArrowheads="1"/>
          </p:cNvSpPr>
          <p:nvPr/>
        </p:nvSpPr>
        <p:spPr bwMode="auto">
          <a:xfrm>
            <a:off x="1376561" y="2240087"/>
            <a:ext cx="2489897" cy="790877"/>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RAN is typically shared between different Network Slices</a:t>
            </a:r>
          </a:p>
        </p:txBody>
      </p:sp>
      <p:sp>
        <p:nvSpPr>
          <p:cNvPr id="78" name="AutoShape 10" descr="bpct-blend3">
            <a:extLst>
              <a:ext uri="{FF2B5EF4-FFF2-40B4-BE49-F238E27FC236}">
                <a16:creationId xmlns:a16="http://schemas.microsoft.com/office/drawing/2014/main" id="{EBE9F9EF-0D97-48E9-9608-29FF1A524F36}"/>
              </a:ext>
            </a:extLst>
          </p:cNvPr>
          <p:cNvSpPr>
            <a:spLocks noChangeAspect="1" noChangeArrowheads="1"/>
          </p:cNvSpPr>
          <p:nvPr/>
        </p:nvSpPr>
        <p:spPr bwMode="auto">
          <a:xfrm>
            <a:off x="1373317" y="5583868"/>
            <a:ext cx="2473463" cy="975309"/>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Network Slice selection is typically performed seldom, for example at initial Registration </a:t>
            </a:r>
          </a:p>
        </p:txBody>
      </p:sp>
      <p:sp>
        <p:nvSpPr>
          <p:cNvPr id="79" name="AutoShape 10" descr="bpct-blend3">
            <a:extLst>
              <a:ext uri="{FF2B5EF4-FFF2-40B4-BE49-F238E27FC236}">
                <a16:creationId xmlns:a16="http://schemas.microsoft.com/office/drawing/2014/main" id="{3D181F46-3CBF-4D13-8691-3CA259BE65D3}"/>
              </a:ext>
            </a:extLst>
          </p:cNvPr>
          <p:cNvSpPr>
            <a:spLocks noChangeAspect="1" noChangeArrowheads="1"/>
          </p:cNvSpPr>
          <p:nvPr/>
        </p:nvSpPr>
        <p:spPr bwMode="auto">
          <a:xfrm>
            <a:off x="1373317" y="3216732"/>
            <a:ext cx="2473463" cy="1534445"/>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A device is typically connected to a single Network Slice. But also possible for a device simultaneously connected to multiple Network Slices.</a:t>
            </a:r>
          </a:p>
        </p:txBody>
      </p:sp>
      <p:grpSp>
        <p:nvGrpSpPr>
          <p:cNvPr id="80" name="Group 79">
            <a:extLst>
              <a:ext uri="{FF2B5EF4-FFF2-40B4-BE49-F238E27FC236}">
                <a16:creationId xmlns:a16="http://schemas.microsoft.com/office/drawing/2014/main" id="{254EDD85-7AA2-49B2-B420-32A6CA210CF2}"/>
              </a:ext>
            </a:extLst>
          </p:cNvPr>
          <p:cNvGrpSpPr/>
          <p:nvPr/>
        </p:nvGrpSpPr>
        <p:grpSpPr>
          <a:xfrm>
            <a:off x="6300969" y="1307228"/>
            <a:ext cx="5835501" cy="3196677"/>
            <a:chOff x="6128695" y="1176552"/>
            <a:chExt cx="5835501" cy="3196677"/>
          </a:xfrm>
        </p:grpSpPr>
        <p:sp>
          <p:nvSpPr>
            <p:cNvPr id="81" name="AutoShape 10" descr="bpct-blend3">
              <a:extLst>
                <a:ext uri="{FF2B5EF4-FFF2-40B4-BE49-F238E27FC236}">
                  <a16:creationId xmlns:a16="http://schemas.microsoft.com/office/drawing/2014/main" id="{8F78A78D-5F78-459E-9C37-09E189748ECA}"/>
                </a:ext>
              </a:extLst>
            </p:cNvPr>
            <p:cNvSpPr>
              <a:spLocks noChangeAspect="1" noChangeArrowheads="1"/>
            </p:cNvSpPr>
            <p:nvPr/>
          </p:nvSpPr>
          <p:spPr bwMode="auto">
            <a:xfrm>
              <a:off x="8175692" y="1176552"/>
              <a:ext cx="3788504" cy="723123"/>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4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It shall be possible to verify the Network Slice selection based on e.g. subscription data.</a:t>
              </a:r>
            </a:p>
          </p:txBody>
        </p:sp>
        <p:cxnSp>
          <p:nvCxnSpPr>
            <p:cNvPr id="82" name="Straight Arrow Connector 81">
              <a:extLst>
                <a:ext uri="{FF2B5EF4-FFF2-40B4-BE49-F238E27FC236}">
                  <a16:creationId xmlns:a16="http://schemas.microsoft.com/office/drawing/2014/main" id="{E548D43E-E05D-4477-A88F-631E139B9D2B}"/>
                </a:ext>
              </a:extLst>
            </p:cNvPr>
            <p:cNvCxnSpPr>
              <a:cxnSpLocks/>
              <a:endCxn id="70" idx="3"/>
            </p:cNvCxnSpPr>
            <p:nvPr/>
          </p:nvCxnSpPr>
          <p:spPr bwMode="auto">
            <a:xfrm flipH="1">
              <a:off x="6841027" y="1571783"/>
              <a:ext cx="1462386" cy="557634"/>
            </a:xfrm>
            <a:prstGeom prst="straightConnector1">
              <a:avLst/>
            </a:prstGeom>
            <a:solidFill>
              <a:schemeClr val="accent1"/>
            </a:solidFill>
            <a:ln w="31750" cap="flat" cmpd="sng" algn="ctr">
              <a:solidFill>
                <a:srgbClr val="00285F"/>
              </a:solidFill>
              <a:prstDash val="solid"/>
              <a:round/>
              <a:headEnd type="none" w="med" len="med"/>
              <a:tailEnd type="arrow" w="med" len="med"/>
            </a:ln>
            <a:effectLst/>
          </p:spPr>
        </p:cxnSp>
        <p:cxnSp>
          <p:nvCxnSpPr>
            <p:cNvPr id="83" name="Straight Arrow Connector 82">
              <a:extLst>
                <a:ext uri="{FF2B5EF4-FFF2-40B4-BE49-F238E27FC236}">
                  <a16:creationId xmlns:a16="http://schemas.microsoft.com/office/drawing/2014/main" id="{A132DB82-3374-4D17-A256-10106B487811}"/>
                </a:ext>
              </a:extLst>
            </p:cNvPr>
            <p:cNvCxnSpPr>
              <a:cxnSpLocks/>
              <a:endCxn id="244" idx="3"/>
            </p:cNvCxnSpPr>
            <p:nvPr/>
          </p:nvCxnSpPr>
          <p:spPr bwMode="auto">
            <a:xfrm flipH="1">
              <a:off x="6187861" y="1695134"/>
              <a:ext cx="2115554" cy="1192225"/>
            </a:xfrm>
            <a:prstGeom prst="straightConnector1">
              <a:avLst/>
            </a:prstGeom>
            <a:solidFill>
              <a:schemeClr val="accent1"/>
            </a:solidFill>
            <a:ln w="31750" cap="flat" cmpd="sng" algn="ctr">
              <a:solidFill>
                <a:srgbClr val="00285F"/>
              </a:solidFill>
              <a:prstDash val="solid"/>
              <a:round/>
              <a:headEnd type="none" w="med" len="med"/>
              <a:tailEnd type="arrow" w="med" len="med"/>
            </a:ln>
            <a:effectLst/>
          </p:spPr>
        </p:cxnSp>
        <p:cxnSp>
          <p:nvCxnSpPr>
            <p:cNvPr id="87" name="Straight Arrow Connector 86">
              <a:extLst>
                <a:ext uri="{FF2B5EF4-FFF2-40B4-BE49-F238E27FC236}">
                  <a16:creationId xmlns:a16="http://schemas.microsoft.com/office/drawing/2014/main" id="{32D9A87A-E1C6-405C-B242-7CE0DF417C57}"/>
                </a:ext>
              </a:extLst>
            </p:cNvPr>
            <p:cNvCxnSpPr>
              <a:cxnSpLocks/>
              <a:endCxn id="249" idx="3"/>
            </p:cNvCxnSpPr>
            <p:nvPr/>
          </p:nvCxnSpPr>
          <p:spPr bwMode="auto">
            <a:xfrm flipH="1">
              <a:off x="6128695" y="1845954"/>
              <a:ext cx="2174720" cy="2527275"/>
            </a:xfrm>
            <a:prstGeom prst="straightConnector1">
              <a:avLst/>
            </a:prstGeom>
            <a:solidFill>
              <a:schemeClr val="accent1"/>
            </a:solidFill>
            <a:ln w="31750" cap="flat" cmpd="sng" algn="ctr">
              <a:solidFill>
                <a:srgbClr val="00285F"/>
              </a:solidFill>
              <a:prstDash val="solid"/>
              <a:round/>
              <a:headEnd type="none" w="med" len="med"/>
              <a:tailEnd type="arrow" w="med" len="med"/>
            </a:ln>
            <a:effectLst/>
          </p:spPr>
        </p:cxnSp>
      </p:grpSp>
    </p:spTree>
    <p:extLst>
      <p:ext uri="{BB962C8B-B14F-4D97-AF65-F5344CB8AC3E}">
        <p14:creationId xmlns:p14="http://schemas.microsoft.com/office/powerpoint/2010/main" val="652567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78" grpId="0" animBg="1"/>
      <p:bldP spid="7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D79C2A7-3ED9-4E78-84CC-35996912E4F0}"/>
              </a:ext>
            </a:extLst>
          </p:cNvPr>
          <p:cNvSpPr/>
          <p:nvPr/>
        </p:nvSpPr>
        <p:spPr bwMode="auto">
          <a:xfrm>
            <a:off x="5213082" y="1797737"/>
            <a:ext cx="2120506" cy="800749"/>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sv-SE" sz="1100" b="0" i="0" u="none" strike="noStrike" kern="0" cap="none" spc="0" normalizeH="0" baseline="0" noProof="0">
                <a:ln>
                  <a:noFill/>
                </a:ln>
                <a:effectLst/>
                <a:uLnTx/>
                <a:uFillTx/>
                <a:latin typeface="+mn-lt"/>
              </a:rPr>
              <a:t>NFs shared across nw slices </a:t>
            </a:r>
            <a:endParaRPr kumimoji="0" lang="en-US" sz="1100" b="0" i="0" u="none" strike="noStrike" kern="0" cap="none" spc="0" normalizeH="0" baseline="0" noProof="0">
              <a:ln>
                <a:noFill/>
              </a:ln>
              <a:effectLst/>
              <a:uLnTx/>
              <a:uFillTx/>
              <a:latin typeface="+mn-lt"/>
            </a:endParaRPr>
          </a:p>
        </p:txBody>
      </p:sp>
      <p:sp>
        <p:nvSpPr>
          <p:cNvPr id="2" name="Title 1"/>
          <p:cNvSpPr>
            <a:spLocks noGrp="1"/>
          </p:cNvSpPr>
          <p:nvPr>
            <p:ph type="title"/>
          </p:nvPr>
        </p:nvSpPr>
        <p:spPr>
          <a:xfrm>
            <a:off x="479424" y="476250"/>
            <a:ext cx="8353425" cy="1081088"/>
          </a:xfrm>
        </p:spPr>
        <p:txBody>
          <a:bodyPr>
            <a:normAutofit/>
          </a:bodyPr>
          <a:lstStyle/>
          <a:p>
            <a:r>
              <a:rPr lang="en-US"/>
              <a:t>Network Slice selection in 5GS</a:t>
            </a:r>
            <a:endParaRPr lang="es-ES_tradnl"/>
          </a:p>
        </p:txBody>
      </p:sp>
      <p:sp>
        <p:nvSpPr>
          <p:cNvPr id="3" name="Rectangle 2"/>
          <p:cNvSpPr/>
          <p:nvPr/>
        </p:nvSpPr>
        <p:spPr bwMode="auto">
          <a:xfrm>
            <a:off x="4261449" y="4123009"/>
            <a:ext cx="5003619" cy="89753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1</a:t>
            </a:r>
          </a:p>
        </p:txBody>
      </p:sp>
      <p:sp>
        <p:nvSpPr>
          <p:cNvPr id="4" name="Rectangle 3"/>
          <p:cNvSpPr/>
          <p:nvPr/>
        </p:nvSpPr>
        <p:spPr bwMode="auto">
          <a:xfrm>
            <a:off x="4261450" y="5053522"/>
            <a:ext cx="5003618" cy="86849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2</a:t>
            </a:r>
          </a:p>
        </p:txBody>
      </p:sp>
      <p:sp>
        <p:nvSpPr>
          <p:cNvPr id="6" name="Rectangle 5"/>
          <p:cNvSpPr/>
          <p:nvPr/>
        </p:nvSpPr>
        <p:spPr bwMode="auto">
          <a:xfrm>
            <a:off x="4261450" y="2660264"/>
            <a:ext cx="5003618" cy="143134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effectLst/>
                <a:uLnTx/>
                <a:uFillTx/>
                <a:latin typeface="+mn-lt"/>
              </a:rPr>
              <a:t>NSI # 0</a:t>
            </a:r>
          </a:p>
        </p:txBody>
      </p:sp>
      <p:sp>
        <p:nvSpPr>
          <p:cNvPr id="8" name="Freeform 3"/>
          <p:cNvSpPr>
            <a:spLocks noChangeAspect="1"/>
          </p:cNvSpPr>
          <p:nvPr/>
        </p:nvSpPr>
        <p:spPr bwMode="auto">
          <a:xfrm>
            <a:off x="9891227" y="3677919"/>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85F"/>
              </a:solidFill>
              <a:effectLst/>
              <a:uLnTx/>
              <a:uFillTx/>
              <a:latin typeface="+mn-lt"/>
            </a:endParaRPr>
          </a:p>
        </p:txBody>
      </p:sp>
      <p:sp>
        <p:nvSpPr>
          <p:cNvPr id="9" name="Rectangle 44"/>
          <p:cNvSpPr>
            <a:spLocks noChangeArrowheads="1"/>
          </p:cNvSpPr>
          <p:nvPr/>
        </p:nvSpPr>
        <p:spPr bwMode="auto">
          <a:xfrm flipV="1">
            <a:off x="2699572" y="4493984"/>
            <a:ext cx="862203" cy="968263"/>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1</a:t>
            </a:r>
            <a:endParaRPr kumimoji="0" lang="sv-SE" sz="800" b="1" i="0" u="none" strike="sngStrike" kern="0" cap="none" spc="0" normalizeH="0" baseline="0" noProof="0">
              <a:ln>
                <a:noFill/>
              </a:ln>
              <a:solidFill>
                <a:srgbClr val="58585A"/>
              </a:solidFill>
              <a:effectLst/>
              <a:uLnTx/>
              <a:uFillTx/>
              <a:latin typeface="+mn-lt"/>
            </a:endParaRPr>
          </a:p>
        </p:txBody>
      </p:sp>
      <p:sp>
        <p:nvSpPr>
          <p:cNvPr id="13" name="Text Box 804"/>
          <p:cNvSpPr txBox="1">
            <a:spLocks noChangeArrowheads="1"/>
          </p:cNvSpPr>
          <p:nvPr/>
        </p:nvSpPr>
        <p:spPr bwMode="auto">
          <a:xfrm>
            <a:off x="2968234" y="48598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14" name="Rectangle 805"/>
          <p:cNvSpPr>
            <a:spLocks noChangeArrowheads="1"/>
          </p:cNvSpPr>
          <p:nvPr/>
        </p:nvSpPr>
        <p:spPr bwMode="auto">
          <a:xfrm>
            <a:off x="2947649" y="4588853"/>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16" name="Straight Connector 248"/>
          <p:cNvCxnSpPr>
            <a:cxnSpLocks noChangeShapeType="1"/>
            <a:stCxn id="21" idx="3"/>
            <a:endCxn id="264" idx="1"/>
          </p:cNvCxnSpPr>
          <p:nvPr/>
        </p:nvCxnSpPr>
        <p:spPr bwMode="auto">
          <a:xfrm>
            <a:off x="2439055" y="4605834"/>
            <a:ext cx="477052" cy="3473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248"/>
          <p:cNvCxnSpPr>
            <a:cxnSpLocks noChangeShapeType="1"/>
            <a:stCxn id="286" idx="3"/>
            <a:endCxn id="264" idx="1"/>
          </p:cNvCxnSpPr>
          <p:nvPr/>
        </p:nvCxnSpPr>
        <p:spPr bwMode="auto">
          <a:xfrm flipV="1">
            <a:off x="2486038" y="4953215"/>
            <a:ext cx="430069" cy="32303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19" name="AutoShape 802"/>
          <p:cNvSpPr>
            <a:spLocks noChangeArrowheads="1"/>
          </p:cNvSpPr>
          <p:nvPr/>
        </p:nvSpPr>
        <p:spPr bwMode="auto">
          <a:xfrm>
            <a:off x="2165501" y="3654971"/>
            <a:ext cx="352940" cy="368853"/>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0" name="Oval 803"/>
          <p:cNvSpPr>
            <a:spLocks noChangeArrowheads="1"/>
          </p:cNvSpPr>
          <p:nvPr/>
        </p:nvSpPr>
        <p:spPr bwMode="auto">
          <a:xfrm>
            <a:off x="2163484" y="3512871"/>
            <a:ext cx="354957" cy="357767"/>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2" name="Rectangle 805"/>
          <p:cNvSpPr>
            <a:spLocks noChangeArrowheads="1"/>
          </p:cNvSpPr>
          <p:nvPr/>
        </p:nvSpPr>
        <p:spPr bwMode="auto">
          <a:xfrm>
            <a:off x="2158442" y="3505817"/>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30" name="Freeform 3"/>
          <p:cNvSpPr>
            <a:spLocks noChangeAspect="1"/>
          </p:cNvSpPr>
          <p:nvPr/>
        </p:nvSpPr>
        <p:spPr bwMode="auto">
          <a:xfrm>
            <a:off x="9895580" y="5457452"/>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31" name="Straight Connector 248"/>
          <p:cNvCxnSpPr>
            <a:cxnSpLocks noChangeShapeType="1"/>
          </p:cNvCxnSpPr>
          <p:nvPr/>
        </p:nvCxnSpPr>
        <p:spPr bwMode="auto">
          <a:xfrm flipV="1">
            <a:off x="3326723" y="4853688"/>
            <a:ext cx="1162368" cy="9286"/>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32" name="Elbow Connector 21"/>
          <p:cNvCxnSpPr>
            <a:cxnSpLocks/>
          </p:cNvCxnSpPr>
          <p:nvPr/>
        </p:nvCxnSpPr>
        <p:spPr bwMode="auto">
          <a:xfrm flipV="1">
            <a:off x="4878628" y="3952252"/>
            <a:ext cx="5003618" cy="665489"/>
          </a:xfrm>
          <a:prstGeom prst="bentConnector3">
            <a:avLst>
              <a:gd name="adj1" fmla="val -103"/>
            </a:avLst>
          </a:prstGeom>
          <a:solidFill>
            <a:schemeClr val="accent1"/>
          </a:solidFill>
          <a:ln w="12700" cap="flat" cmpd="sng" algn="ctr">
            <a:solidFill>
              <a:schemeClr val="tx1"/>
            </a:solidFill>
            <a:prstDash val="solid"/>
            <a:round/>
            <a:headEnd type="none" w="med" len="med"/>
            <a:tailEnd type="none" w="med" len="med"/>
          </a:ln>
          <a:effectLst/>
        </p:spPr>
      </p:cxnSp>
      <p:cxnSp>
        <p:nvCxnSpPr>
          <p:cNvPr id="34" name="Straight Connector 248"/>
          <p:cNvCxnSpPr>
            <a:cxnSpLocks noChangeShapeType="1"/>
          </p:cNvCxnSpPr>
          <p:nvPr/>
        </p:nvCxnSpPr>
        <p:spPr bwMode="auto">
          <a:xfrm>
            <a:off x="3335751" y="5020543"/>
            <a:ext cx="1138933" cy="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35" name="Straight Connector 248"/>
          <p:cNvCxnSpPr>
            <a:cxnSpLocks noChangeShapeType="1"/>
          </p:cNvCxnSpPr>
          <p:nvPr/>
        </p:nvCxnSpPr>
        <p:spPr bwMode="auto">
          <a:xfrm>
            <a:off x="3335751" y="4902618"/>
            <a:ext cx="113893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45" name="Straight Connector 169"/>
          <p:cNvCxnSpPr>
            <a:cxnSpLocks/>
          </p:cNvCxnSpPr>
          <p:nvPr/>
        </p:nvCxnSpPr>
        <p:spPr bwMode="auto">
          <a:xfrm flipV="1">
            <a:off x="4922524" y="4840148"/>
            <a:ext cx="4987153" cy="1"/>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203"/>
          <p:cNvCxnSpPr>
            <a:cxnSpLocks noChangeShapeType="1"/>
            <a:stCxn id="249" idx="1"/>
            <a:endCxn id="232" idx="0"/>
          </p:cNvCxnSpPr>
          <p:nvPr/>
        </p:nvCxnSpPr>
        <p:spPr bwMode="auto">
          <a:xfrm rot="10800000" flipV="1">
            <a:off x="5683641" y="4503905"/>
            <a:ext cx="185469" cy="38285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1" name="Straight Connector 203"/>
          <p:cNvCxnSpPr>
            <a:cxnSpLocks noChangeShapeType="1"/>
          </p:cNvCxnSpPr>
          <p:nvPr/>
        </p:nvCxnSpPr>
        <p:spPr bwMode="auto">
          <a:xfrm>
            <a:off x="6921462" y="3693892"/>
            <a:ext cx="1399473" cy="17343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p:cNvCxnSpPr>
          <p:nvPr/>
        </p:nvCxnSpPr>
        <p:spPr bwMode="auto">
          <a:xfrm rot="10800000" flipV="1">
            <a:off x="5625250" y="2889119"/>
            <a:ext cx="372770" cy="450545"/>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169"/>
          <p:cNvCxnSpPr>
            <a:cxnSpLocks/>
          </p:cNvCxnSpPr>
          <p:nvPr/>
        </p:nvCxnSpPr>
        <p:spPr bwMode="auto">
          <a:xfrm rot="5400000" flipH="1" flipV="1">
            <a:off x="4662765" y="3887178"/>
            <a:ext cx="858240" cy="606745"/>
          </a:xfrm>
          <a:prstGeom prst="bentConnector2">
            <a:avLst/>
          </a:prstGeom>
          <a:solidFill>
            <a:schemeClr val="accent1"/>
          </a:solidFill>
          <a:ln w="12700" cap="flat" cmpd="sng" algn="ctr">
            <a:solidFill>
              <a:schemeClr val="tx1"/>
            </a:solidFill>
            <a:prstDash val="dash"/>
            <a:round/>
            <a:headEnd type="none" w="med" len="med"/>
            <a:tailEnd type="none" w="med" len="med"/>
          </a:ln>
          <a:effectLst/>
        </p:spPr>
      </p:cxnSp>
      <p:sp>
        <p:nvSpPr>
          <p:cNvPr id="76" name="Freeform 3"/>
          <p:cNvSpPr>
            <a:spLocks noChangeAspect="1"/>
          </p:cNvSpPr>
          <p:nvPr/>
        </p:nvSpPr>
        <p:spPr bwMode="auto">
          <a:xfrm>
            <a:off x="9888507" y="4517593"/>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77" name="Straight Connector 169"/>
          <p:cNvCxnSpPr>
            <a:cxnSpLocks/>
          </p:cNvCxnSpPr>
          <p:nvPr/>
        </p:nvCxnSpPr>
        <p:spPr bwMode="auto">
          <a:xfrm>
            <a:off x="4685374" y="5086612"/>
            <a:ext cx="5196872" cy="696562"/>
          </a:xfrm>
          <a:prstGeom prst="bentConnector3">
            <a:avLst>
              <a:gd name="adj1" fmla="val 147"/>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169"/>
          <p:cNvCxnSpPr>
            <a:cxnSpLocks/>
            <a:endCxn id="247" idx="1"/>
          </p:cNvCxnSpPr>
          <p:nvPr/>
        </p:nvCxnSpPr>
        <p:spPr bwMode="auto">
          <a:xfrm>
            <a:off x="7869015" y="5530607"/>
            <a:ext cx="329875" cy="39389"/>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cxnSp>
        <p:nvCxnSpPr>
          <p:cNvPr id="85" name="Straight Connector 203"/>
          <p:cNvCxnSpPr>
            <a:cxnSpLocks noChangeShapeType="1"/>
            <a:stCxn id="232" idx="1"/>
          </p:cNvCxnSpPr>
          <p:nvPr/>
        </p:nvCxnSpPr>
        <p:spPr bwMode="auto">
          <a:xfrm rot="10800000">
            <a:off x="4922526" y="5024670"/>
            <a:ext cx="581114" cy="149832"/>
          </a:xfrm>
          <a:prstGeom prst="bentConnector3">
            <a:avLst>
              <a:gd name="adj1" fmla="val 3688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Rectangle 44"/>
          <p:cNvSpPr>
            <a:spLocks noChangeArrowheads="1"/>
          </p:cNvSpPr>
          <p:nvPr/>
        </p:nvSpPr>
        <p:spPr bwMode="auto">
          <a:xfrm flipV="1">
            <a:off x="2699572" y="3472744"/>
            <a:ext cx="862203" cy="839076"/>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0</a:t>
            </a:r>
          </a:p>
        </p:txBody>
      </p:sp>
      <p:sp>
        <p:nvSpPr>
          <p:cNvPr id="90" name="Text Box 804"/>
          <p:cNvSpPr txBox="1">
            <a:spLocks noChangeArrowheads="1"/>
          </p:cNvSpPr>
          <p:nvPr/>
        </p:nvSpPr>
        <p:spPr bwMode="auto">
          <a:xfrm>
            <a:off x="2950989" y="3770186"/>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91" name="Rectangle 805"/>
          <p:cNvSpPr>
            <a:spLocks noChangeArrowheads="1"/>
          </p:cNvSpPr>
          <p:nvPr/>
        </p:nvSpPr>
        <p:spPr bwMode="auto">
          <a:xfrm>
            <a:off x="2944210" y="3594451"/>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93" name="Straight Connector 248"/>
          <p:cNvCxnSpPr>
            <a:cxnSpLocks noChangeShapeType="1"/>
            <a:stCxn id="272" idx="3"/>
          </p:cNvCxnSpPr>
          <p:nvPr/>
        </p:nvCxnSpPr>
        <p:spPr bwMode="auto">
          <a:xfrm>
            <a:off x="3326723" y="3854273"/>
            <a:ext cx="1259625" cy="821924"/>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119" name="Straight Connector 248"/>
          <p:cNvCxnSpPr>
            <a:cxnSpLocks noChangeShapeType="1"/>
          </p:cNvCxnSpPr>
          <p:nvPr/>
        </p:nvCxnSpPr>
        <p:spPr bwMode="auto">
          <a:xfrm>
            <a:off x="3305024" y="4043056"/>
            <a:ext cx="1172061" cy="75809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154" name="Straight Connector 204"/>
          <p:cNvCxnSpPr>
            <a:cxnSpLocks/>
            <a:stCxn id="254" idx="1"/>
            <a:endCxn id="249" idx="3"/>
          </p:cNvCxnSpPr>
          <p:nvPr/>
        </p:nvCxnSpPr>
        <p:spPr bwMode="auto">
          <a:xfrm rot="10800000">
            <a:off x="6300969" y="4503905"/>
            <a:ext cx="1199670" cy="878"/>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Rectangle 166"/>
          <p:cNvSpPr/>
          <p:nvPr/>
        </p:nvSpPr>
        <p:spPr bwMode="auto">
          <a:xfrm>
            <a:off x="4343171" y="1994962"/>
            <a:ext cx="712602" cy="4035302"/>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t" anchorCtr="0" compatLnSpc="1">
            <a:prstTxWarp prst="textNoShape">
              <a:avLst/>
            </a:prstTxWarp>
          </a:bodyPr>
          <a:lstStyle/>
          <a:p>
            <a:pPr lvl="0" algn="ctr">
              <a:defRPr/>
            </a:pPr>
            <a:r>
              <a:rPr kumimoji="0" lang="en-US" sz="1100" b="0" i="0" u="none" strike="noStrike" kern="0" cap="none" spc="0" normalizeH="0" baseline="0" noProof="0">
                <a:ln>
                  <a:noFill/>
                </a:ln>
                <a:solidFill>
                  <a:schemeClr val="tx1"/>
                </a:solidFill>
                <a:effectLst/>
                <a:uLnTx/>
                <a:uFillTx/>
                <a:latin typeface="+mn-lt"/>
              </a:rPr>
              <a:t>RAN</a:t>
            </a:r>
            <a:br>
              <a:rPr kumimoji="0" lang="en-US" sz="1100" b="0" i="0" u="none" strike="noStrike" kern="0" cap="none" spc="0" normalizeH="0" baseline="0" noProof="0">
                <a:ln>
                  <a:noFill/>
                </a:ln>
                <a:solidFill>
                  <a:schemeClr val="tx1"/>
                </a:solidFill>
                <a:effectLst/>
                <a:uLnTx/>
                <a:uFillTx/>
                <a:latin typeface="+mn-lt"/>
              </a:rPr>
            </a:br>
            <a:r>
              <a:rPr lang="en-US" sz="900" kern="0">
                <a:latin typeface="+mn-lt"/>
              </a:rPr>
              <a:t>(Shared resource in </a:t>
            </a:r>
            <a:r>
              <a:rPr lang="en-US" sz="900" kern="0" err="1">
                <a:latin typeface="+mn-lt"/>
              </a:rPr>
              <a:t>gNB</a:t>
            </a:r>
            <a:r>
              <a:rPr kumimoji="0" lang="en-US" sz="900" b="0" i="0" u="none" strike="noStrike" kern="0" cap="none" spc="0" normalizeH="0" baseline="0" noProof="0">
                <a:ln>
                  <a:noFill/>
                </a:ln>
                <a:solidFill>
                  <a:schemeClr val="tx1"/>
                </a:solidFill>
                <a:effectLst/>
                <a:uLnTx/>
                <a:uFillTx/>
                <a:latin typeface="+mn-lt"/>
              </a:rPr>
              <a:t>)</a:t>
            </a:r>
            <a:endParaRPr kumimoji="0" lang="en-US" sz="1100" b="0" i="0" u="none" strike="noStrike" kern="0" cap="none" spc="0" normalizeH="0" baseline="0" noProof="0">
              <a:ln>
                <a:noFill/>
              </a:ln>
              <a:solidFill>
                <a:schemeClr val="tx1"/>
              </a:solidFill>
              <a:effectLst/>
              <a:uLnTx/>
              <a:uFillTx/>
              <a:latin typeface="+mn-lt"/>
            </a:endParaRPr>
          </a:p>
        </p:txBody>
      </p:sp>
      <p:sp>
        <p:nvSpPr>
          <p:cNvPr id="168" name="Rectangle 167"/>
          <p:cNvSpPr/>
          <p:nvPr/>
        </p:nvSpPr>
        <p:spPr bwMode="auto">
          <a:xfrm>
            <a:off x="5199809" y="4177963"/>
            <a:ext cx="2030398" cy="1679779"/>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b" anchorCtr="0" compatLnSpc="1">
            <a:prstTxWarp prst="textNoShape">
              <a:avLst/>
            </a:prstTxWarp>
          </a:bodyPr>
          <a:lstStyle/>
          <a:p>
            <a:pPr marL="0" marR="0" lvl="0" indent="0" defTabSz="914400" rtl="0" eaLnBrk="1" fontAlgn="base" latinLnBrk="0" hangingPunct="1">
              <a:spcBef>
                <a:spcPts val="0"/>
              </a:spcBef>
              <a:spcAft>
                <a:spcPts val="0"/>
              </a:spcAft>
              <a:buClrTx/>
              <a:buSzTx/>
              <a:buFontTx/>
              <a:buNone/>
              <a:tabLst/>
              <a:defRPr/>
            </a:pPr>
            <a:r>
              <a:rPr lang="en-US" sz="1100" kern="0">
                <a:latin typeface="+mn-lt"/>
              </a:rPr>
              <a:t> Shared NFs</a:t>
            </a:r>
          </a:p>
          <a:p>
            <a:pPr marL="0" marR="0" lvl="0" indent="0" defTabSz="914400" rtl="0" eaLnBrk="1" fontAlgn="base" latinLnBrk="0" hangingPunct="1">
              <a:spcBef>
                <a:spcPts val="0"/>
              </a:spcBef>
              <a:spcAft>
                <a:spcPts val="0"/>
              </a:spcAft>
              <a:buClrTx/>
              <a:buSzTx/>
              <a:buFontTx/>
              <a:buNone/>
              <a:tabLst/>
              <a:defRPr/>
            </a:pPr>
            <a:r>
              <a:rPr lang="sv-SE" sz="700" kern="0">
                <a:latin typeface="+mn-lt"/>
              </a:rPr>
              <a:t> </a:t>
            </a:r>
            <a:endParaRPr lang="en-US" sz="700" kern="0">
              <a:latin typeface="+mn-lt"/>
            </a:endParaRPr>
          </a:p>
        </p:txBody>
      </p:sp>
      <p:cxnSp>
        <p:nvCxnSpPr>
          <p:cNvPr id="193" name="Straight Connector 192"/>
          <p:cNvCxnSpPr>
            <a:cxnSpLocks/>
          </p:cNvCxnSpPr>
          <p:nvPr/>
        </p:nvCxnSpPr>
        <p:spPr bwMode="auto">
          <a:xfrm flipH="1" flipV="1">
            <a:off x="5800826" y="3761430"/>
            <a:ext cx="754406" cy="24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4" name="Connector: Elbow 193"/>
          <p:cNvCxnSpPr/>
          <p:nvPr/>
        </p:nvCxnSpPr>
        <p:spPr bwMode="auto">
          <a:xfrm rot="16200000" flipH="1">
            <a:off x="6341570" y="2949249"/>
            <a:ext cx="386917" cy="342852"/>
          </a:xfrm>
          <a:prstGeom prst="bentConnector3">
            <a:avLst>
              <a:gd name="adj1" fmla="val -2518"/>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2" name="Connector: Elbow 201"/>
          <p:cNvCxnSpPr>
            <a:cxnSpLocks/>
          </p:cNvCxnSpPr>
          <p:nvPr/>
        </p:nvCxnSpPr>
        <p:spPr bwMode="auto">
          <a:xfrm>
            <a:off x="5853619" y="5369180"/>
            <a:ext cx="1626758" cy="181575"/>
          </a:xfrm>
          <a:prstGeom prst="bentConnector3">
            <a:avLst>
              <a:gd name="adj1" fmla="val 2956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TextBox 229">
            <a:extLst>
              <a:ext uri="{FF2B5EF4-FFF2-40B4-BE49-F238E27FC236}">
                <a16:creationId xmlns:a16="http://schemas.microsoft.com/office/drawing/2014/main" id="{B383EC68-C4B5-4F43-A12B-8929A9FB209C}"/>
              </a:ext>
            </a:extLst>
          </p:cNvPr>
          <p:cNvSpPr txBox="1"/>
          <p:nvPr/>
        </p:nvSpPr>
        <p:spPr bwMode="auto">
          <a:xfrm>
            <a:off x="4466896" y="4471016"/>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fontAlgn="auto">
              <a:spcBef>
                <a:spcPts val="0"/>
              </a:spcBef>
              <a:spcAft>
                <a:spcPts val="0"/>
              </a:spcAft>
              <a:buClr>
                <a:srgbClr val="181818"/>
              </a:buClr>
              <a:defRPr/>
            </a:pPr>
            <a:r>
              <a:rPr lang="en-US" sz="1800">
                <a:solidFill>
                  <a:srgbClr val="181818"/>
                </a:solidFill>
                <a:latin typeface="Ericsson Technical Icons" panose="00000500000000000000" pitchFamily="2" charset="0"/>
              </a:rPr>
              <a:t>B</a:t>
            </a:r>
            <a:endParaRPr lang="en-US" sz="18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err="1">
                <a:ln>
                  <a:noFill/>
                </a:ln>
                <a:solidFill>
                  <a:srgbClr val="181818"/>
                </a:solidFill>
                <a:effectLst/>
                <a:uLnTx/>
                <a:uFillTx/>
                <a:latin typeface="Ericsson Hilda"/>
                <a:ea typeface="+mn-ea"/>
                <a:cs typeface="+mn-cs"/>
              </a:rPr>
              <a:t>gN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32" name="TextBox 231">
            <a:extLst>
              <a:ext uri="{FF2B5EF4-FFF2-40B4-BE49-F238E27FC236}">
                <a16:creationId xmlns:a16="http://schemas.microsoft.com/office/drawing/2014/main" id="{2C55F219-2D3C-46F0-82F5-1ECFF7846736}"/>
              </a:ext>
            </a:extLst>
          </p:cNvPr>
          <p:cNvSpPr txBox="1"/>
          <p:nvPr/>
        </p:nvSpPr>
        <p:spPr bwMode="auto">
          <a:xfrm>
            <a:off x="5503640" y="488675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33" name="TextBox 232">
            <a:extLst>
              <a:ext uri="{FF2B5EF4-FFF2-40B4-BE49-F238E27FC236}">
                <a16:creationId xmlns:a16="http://schemas.microsoft.com/office/drawing/2014/main" id="{558BD8B2-0CE2-4FB6-BEC4-485A66717196}"/>
              </a:ext>
            </a:extLst>
          </p:cNvPr>
          <p:cNvSpPr txBox="1"/>
          <p:nvPr/>
        </p:nvSpPr>
        <p:spPr bwMode="auto">
          <a:xfrm>
            <a:off x="6562801" y="33182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35" name="TextBox 234">
            <a:extLst>
              <a:ext uri="{FF2B5EF4-FFF2-40B4-BE49-F238E27FC236}">
                <a16:creationId xmlns:a16="http://schemas.microsoft.com/office/drawing/2014/main" id="{352E32D6-C414-4A1C-9DF3-4E1FB9805C22}"/>
              </a:ext>
            </a:extLst>
          </p:cNvPr>
          <p:cNvSpPr txBox="1"/>
          <p:nvPr/>
        </p:nvSpPr>
        <p:spPr bwMode="auto">
          <a:xfrm>
            <a:off x="5405057" y="33156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44" name="TextBox 243">
            <a:extLst>
              <a:ext uri="{FF2B5EF4-FFF2-40B4-BE49-F238E27FC236}">
                <a16:creationId xmlns:a16="http://schemas.microsoft.com/office/drawing/2014/main" id="{C094AEDB-75B1-4AB2-A907-074E52D565E0}"/>
              </a:ext>
            </a:extLst>
          </p:cNvPr>
          <p:cNvSpPr txBox="1"/>
          <p:nvPr/>
        </p:nvSpPr>
        <p:spPr bwMode="auto">
          <a:xfrm>
            <a:off x="5928275" y="273028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E48F76F2-C55D-4301-8074-6C9170D1F410}"/>
              </a:ext>
            </a:extLst>
          </p:cNvPr>
          <p:cNvSpPr txBox="1"/>
          <p:nvPr/>
        </p:nvSpPr>
        <p:spPr bwMode="auto">
          <a:xfrm>
            <a:off x="7678899" y="27377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6" name="TextBox 245">
            <a:extLst>
              <a:ext uri="{FF2B5EF4-FFF2-40B4-BE49-F238E27FC236}">
                <a16:creationId xmlns:a16="http://schemas.microsoft.com/office/drawing/2014/main" id="{65574DEE-5D40-4A48-8F7B-5199C514AAEF}"/>
              </a:ext>
            </a:extLst>
          </p:cNvPr>
          <p:cNvSpPr txBox="1"/>
          <p:nvPr/>
        </p:nvSpPr>
        <p:spPr bwMode="auto">
          <a:xfrm>
            <a:off x="8198890" y="347274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7" name="TextBox 246">
            <a:extLst>
              <a:ext uri="{FF2B5EF4-FFF2-40B4-BE49-F238E27FC236}">
                <a16:creationId xmlns:a16="http://schemas.microsoft.com/office/drawing/2014/main" id="{1FAA00D7-8F38-4492-99E6-C02D098F9C80}"/>
              </a:ext>
            </a:extLst>
          </p:cNvPr>
          <p:cNvSpPr txBox="1"/>
          <p:nvPr/>
        </p:nvSpPr>
        <p:spPr bwMode="auto">
          <a:xfrm>
            <a:off x="8198890" y="52822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8" name="TextBox 247">
            <a:extLst>
              <a:ext uri="{FF2B5EF4-FFF2-40B4-BE49-F238E27FC236}">
                <a16:creationId xmlns:a16="http://schemas.microsoft.com/office/drawing/2014/main" id="{D32846B1-377A-408A-B30F-73C03A89303E}"/>
              </a:ext>
            </a:extLst>
          </p:cNvPr>
          <p:cNvSpPr txBox="1"/>
          <p:nvPr/>
        </p:nvSpPr>
        <p:spPr bwMode="auto">
          <a:xfrm>
            <a:off x="8207749" y="437818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9" name="TextBox 248">
            <a:extLst>
              <a:ext uri="{FF2B5EF4-FFF2-40B4-BE49-F238E27FC236}">
                <a16:creationId xmlns:a16="http://schemas.microsoft.com/office/drawing/2014/main" id="{51E83D8A-EB46-43F1-93EB-F9DA9850DAA3}"/>
              </a:ext>
            </a:extLst>
          </p:cNvPr>
          <p:cNvSpPr txBox="1"/>
          <p:nvPr/>
        </p:nvSpPr>
        <p:spPr bwMode="auto">
          <a:xfrm>
            <a:off x="5869109" y="421615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54" name="TextBox 253">
            <a:extLst>
              <a:ext uri="{FF2B5EF4-FFF2-40B4-BE49-F238E27FC236}">
                <a16:creationId xmlns:a16="http://schemas.microsoft.com/office/drawing/2014/main" id="{A417C9F2-0FE0-4E0C-B6A7-2B340EAC5DBD}"/>
              </a:ext>
            </a:extLst>
          </p:cNvPr>
          <p:cNvSpPr txBox="1"/>
          <p:nvPr/>
        </p:nvSpPr>
        <p:spPr bwMode="auto">
          <a:xfrm>
            <a:off x="7500639" y="42170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cxnSp>
        <p:nvCxnSpPr>
          <p:cNvPr id="256" name="Straight Connector 169">
            <a:extLst>
              <a:ext uri="{FF2B5EF4-FFF2-40B4-BE49-F238E27FC236}">
                <a16:creationId xmlns:a16="http://schemas.microsoft.com/office/drawing/2014/main" id="{49BD021D-3B0A-433F-BC66-162420934862}"/>
              </a:ext>
            </a:extLst>
          </p:cNvPr>
          <p:cNvCxnSpPr>
            <a:cxnSpLocks/>
            <a:stCxn id="254" idx="3"/>
            <a:endCxn id="248" idx="1"/>
          </p:cNvCxnSpPr>
          <p:nvPr/>
        </p:nvCxnSpPr>
        <p:spPr bwMode="auto">
          <a:xfrm>
            <a:off x="7860639" y="4504783"/>
            <a:ext cx="347110" cy="161145"/>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sp>
        <p:nvSpPr>
          <p:cNvPr id="257" name="TextBox 256">
            <a:extLst>
              <a:ext uri="{FF2B5EF4-FFF2-40B4-BE49-F238E27FC236}">
                <a16:creationId xmlns:a16="http://schemas.microsoft.com/office/drawing/2014/main" id="{D3249AB1-BCE6-4023-95A3-70D3D7D0E10C}"/>
              </a:ext>
            </a:extLst>
          </p:cNvPr>
          <p:cNvSpPr txBox="1"/>
          <p:nvPr/>
        </p:nvSpPr>
        <p:spPr bwMode="auto">
          <a:xfrm>
            <a:off x="6581441" y="490261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58" name="TextBox 257">
            <a:extLst>
              <a:ext uri="{FF2B5EF4-FFF2-40B4-BE49-F238E27FC236}">
                <a16:creationId xmlns:a16="http://schemas.microsoft.com/office/drawing/2014/main" id="{2E376BE7-D1C7-4108-8FE7-742D8BCF152B}"/>
              </a:ext>
            </a:extLst>
          </p:cNvPr>
          <p:cNvSpPr txBox="1"/>
          <p:nvPr/>
        </p:nvSpPr>
        <p:spPr bwMode="auto">
          <a:xfrm>
            <a:off x="7493461" y="514708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pic>
        <p:nvPicPr>
          <p:cNvPr id="264" name="Graphic 263">
            <a:extLst>
              <a:ext uri="{FF2B5EF4-FFF2-40B4-BE49-F238E27FC236}">
                <a16:creationId xmlns:a16="http://schemas.microsoft.com/office/drawing/2014/main" id="{A6EFB43D-9285-46A5-A617-EADE52C2D6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6107" y="4659464"/>
            <a:ext cx="419644" cy="587501"/>
          </a:xfrm>
          <a:prstGeom prst="rect">
            <a:avLst/>
          </a:prstGeom>
        </p:spPr>
      </p:pic>
      <p:grpSp>
        <p:nvGrpSpPr>
          <p:cNvPr id="279" name="Group 278">
            <a:extLst>
              <a:ext uri="{FF2B5EF4-FFF2-40B4-BE49-F238E27FC236}">
                <a16:creationId xmlns:a16="http://schemas.microsoft.com/office/drawing/2014/main" id="{A7276C6E-F06F-4688-8847-D9FA9B9B3C61}"/>
              </a:ext>
            </a:extLst>
          </p:cNvPr>
          <p:cNvGrpSpPr/>
          <p:nvPr/>
        </p:nvGrpSpPr>
        <p:grpSpPr>
          <a:xfrm>
            <a:off x="2066992" y="4299254"/>
            <a:ext cx="419644" cy="587501"/>
            <a:chOff x="255550" y="4445955"/>
            <a:chExt cx="419644" cy="587501"/>
          </a:xfrm>
        </p:grpSpPr>
        <p:grpSp>
          <p:nvGrpSpPr>
            <p:cNvPr id="259" name="Group 258">
              <a:extLst>
                <a:ext uri="{FF2B5EF4-FFF2-40B4-BE49-F238E27FC236}">
                  <a16:creationId xmlns:a16="http://schemas.microsoft.com/office/drawing/2014/main" id="{DC04107E-6380-48A0-B658-AE6476A01136}"/>
                </a:ext>
              </a:extLst>
            </p:cNvPr>
            <p:cNvGrpSpPr>
              <a:grpSpLocks noChangeAspect="1"/>
            </p:cNvGrpSpPr>
            <p:nvPr/>
          </p:nvGrpSpPr>
          <p:grpSpPr>
            <a:xfrm>
              <a:off x="255550" y="4445955"/>
              <a:ext cx="419644" cy="587501"/>
              <a:chOff x="10129764" y="745508"/>
              <a:chExt cx="221963" cy="310748"/>
            </a:xfrm>
          </p:grpSpPr>
          <p:grpSp>
            <p:nvGrpSpPr>
              <p:cNvPr id="260" name="Group 259">
                <a:extLst>
                  <a:ext uri="{FF2B5EF4-FFF2-40B4-BE49-F238E27FC236}">
                    <a16:creationId xmlns:a16="http://schemas.microsoft.com/office/drawing/2014/main" id="{9D5D76D0-BA06-4982-84F1-9B5758771AAC}"/>
                  </a:ext>
                </a:extLst>
              </p:cNvPr>
              <p:cNvGrpSpPr>
                <a:grpSpLocks noChangeAspect="1"/>
              </p:cNvGrpSpPr>
              <p:nvPr/>
            </p:nvGrpSpPr>
            <p:grpSpPr>
              <a:xfrm>
                <a:off x="10129764" y="745508"/>
                <a:ext cx="221963" cy="310748"/>
                <a:chOff x="1373325" y="5272742"/>
                <a:chExt cx="428625" cy="600075"/>
              </a:xfrm>
            </p:grpSpPr>
            <p:sp>
              <p:nvSpPr>
                <p:cNvPr id="262" name="Rectangle 261">
                  <a:extLst>
                    <a:ext uri="{FF2B5EF4-FFF2-40B4-BE49-F238E27FC236}">
                      <a16:creationId xmlns:a16="http://schemas.microsoft.com/office/drawing/2014/main" id="{48A71C2F-92C1-4ABF-B547-85746F1BBDB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3" name="Graphic 262">
                  <a:extLst>
                    <a:ext uri="{FF2B5EF4-FFF2-40B4-BE49-F238E27FC236}">
                      <a16:creationId xmlns:a16="http://schemas.microsoft.com/office/drawing/2014/main" id="{1E00C24B-DE2A-4459-92B9-D1B6A1695F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61" name="TextBox 260">
                <a:extLst>
                  <a:ext uri="{FF2B5EF4-FFF2-40B4-BE49-F238E27FC236}">
                    <a16:creationId xmlns:a16="http://schemas.microsoft.com/office/drawing/2014/main" id="{826BECD0-0143-4A31-A74D-0480F238000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 name="Text Box 804"/>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FFC000"/>
                  </a:solidFill>
                  <a:effectLst/>
                  <a:uLnTx/>
                  <a:uFillTx/>
                  <a:latin typeface="+mn-lt"/>
                  <a:ea typeface="ＭＳ Ｐゴシック" pitchFamily="34" charset="-128"/>
                  <a:cs typeface="Arial" charset="0"/>
                </a:rPr>
                <a:t>Virtual Device #1</a:t>
              </a:r>
            </a:p>
          </p:txBody>
        </p:sp>
      </p:grpSp>
      <p:pic>
        <p:nvPicPr>
          <p:cNvPr id="272" name="Graphic 271">
            <a:extLst>
              <a:ext uri="{FF2B5EF4-FFF2-40B4-BE49-F238E27FC236}">
                <a16:creationId xmlns:a16="http://schemas.microsoft.com/office/drawing/2014/main" id="{08E6D611-EB97-4A7A-9F24-544C2F58E3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079" y="3560522"/>
            <a:ext cx="419644" cy="587501"/>
          </a:xfrm>
          <a:prstGeom prst="rect">
            <a:avLst/>
          </a:prstGeom>
        </p:spPr>
      </p:pic>
      <p:grpSp>
        <p:nvGrpSpPr>
          <p:cNvPr id="280" name="Group 279">
            <a:extLst>
              <a:ext uri="{FF2B5EF4-FFF2-40B4-BE49-F238E27FC236}">
                <a16:creationId xmlns:a16="http://schemas.microsoft.com/office/drawing/2014/main" id="{1BFF4060-CCFC-4F49-826C-1537C6401E1A}"/>
              </a:ext>
            </a:extLst>
          </p:cNvPr>
          <p:cNvGrpSpPr/>
          <p:nvPr/>
        </p:nvGrpSpPr>
        <p:grpSpPr>
          <a:xfrm>
            <a:off x="2066394" y="4982494"/>
            <a:ext cx="419644" cy="587501"/>
            <a:chOff x="255550" y="4445955"/>
            <a:chExt cx="419644" cy="587501"/>
          </a:xfrm>
        </p:grpSpPr>
        <p:grpSp>
          <p:nvGrpSpPr>
            <p:cNvPr id="281" name="Group 280">
              <a:extLst>
                <a:ext uri="{FF2B5EF4-FFF2-40B4-BE49-F238E27FC236}">
                  <a16:creationId xmlns:a16="http://schemas.microsoft.com/office/drawing/2014/main" id="{2E2553E6-BDE9-4E25-B5E7-88278B633E29}"/>
                </a:ext>
              </a:extLst>
            </p:cNvPr>
            <p:cNvGrpSpPr>
              <a:grpSpLocks noChangeAspect="1"/>
            </p:cNvGrpSpPr>
            <p:nvPr/>
          </p:nvGrpSpPr>
          <p:grpSpPr>
            <a:xfrm>
              <a:off x="255550" y="4445955"/>
              <a:ext cx="419644" cy="587501"/>
              <a:chOff x="10129764" y="745508"/>
              <a:chExt cx="221963" cy="310748"/>
            </a:xfrm>
          </p:grpSpPr>
          <p:grpSp>
            <p:nvGrpSpPr>
              <p:cNvPr id="283" name="Group 282">
                <a:extLst>
                  <a:ext uri="{FF2B5EF4-FFF2-40B4-BE49-F238E27FC236}">
                    <a16:creationId xmlns:a16="http://schemas.microsoft.com/office/drawing/2014/main" id="{EC3BED04-DD09-411C-8D44-4737CA50CBFC}"/>
                  </a:ext>
                </a:extLst>
              </p:cNvPr>
              <p:cNvGrpSpPr>
                <a:grpSpLocks noChangeAspect="1"/>
              </p:cNvGrpSpPr>
              <p:nvPr/>
            </p:nvGrpSpPr>
            <p:grpSpPr>
              <a:xfrm>
                <a:off x="10129764" y="745508"/>
                <a:ext cx="221963" cy="310748"/>
                <a:chOff x="1373325" y="5272742"/>
                <a:chExt cx="428625" cy="600075"/>
              </a:xfrm>
            </p:grpSpPr>
            <p:sp>
              <p:nvSpPr>
                <p:cNvPr id="285" name="Rectangle 284">
                  <a:extLst>
                    <a:ext uri="{FF2B5EF4-FFF2-40B4-BE49-F238E27FC236}">
                      <a16:creationId xmlns:a16="http://schemas.microsoft.com/office/drawing/2014/main" id="{815DB2EC-E4E6-4C80-BB63-EF6B9130D3B3}"/>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86" name="Graphic 285">
                  <a:extLst>
                    <a:ext uri="{FF2B5EF4-FFF2-40B4-BE49-F238E27FC236}">
                      <a16:creationId xmlns:a16="http://schemas.microsoft.com/office/drawing/2014/main" id="{B30151D5-6620-4C7A-8F44-E1A3FB88D3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4" name="TextBox 283">
                <a:extLst>
                  <a:ext uri="{FF2B5EF4-FFF2-40B4-BE49-F238E27FC236}">
                    <a16:creationId xmlns:a16="http://schemas.microsoft.com/office/drawing/2014/main" id="{21F442E3-8D5A-4E70-B171-33667B3992D0}"/>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82" name="Text Box 804">
              <a:extLst>
                <a:ext uri="{FF2B5EF4-FFF2-40B4-BE49-F238E27FC236}">
                  <a16:creationId xmlns:a16="http://schemas.microsoft.com/office/drawing/2014/main" id="{9549D0C7-F0B7-474E-80A6-E00AE1966D1B}"/>
                </a:ext>
              </a:extLst>
            </p:cNvPr>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00A9D4"/>
                  </a:solidFill>
                  <a:effectLst/>
                  <a:uLnTx/>
                  <a:uFillTx/>
                  <a:latin typeface="+mn-lt"/>
                  <a:ea typeface="ＭＳ Ｐゴシック" pitchFamily="34" charset="-128"/>
                  <a:cs typeface="Arial" charset="0"/>
                </a:rPr>
                <a:t>Virtual Device #2</a:t>
              </a:r>
            </a:p>
          </p:txBody>
        </p:sp>
      </p:grpSp>
      <p:sp>
        <p:nvSpPr>
          <p:cNvPr id="70" name="TextBox 69">
            <a:extLst>
              <a:ext uri="{FF2B5EF4-FFF2-40B4-BE49-F238E27FC236}">
                <a16:creationId xmlns:a16="http://schemas.microsoft.com/office/drawing/2014/main" id="{3D25D698-3E27-413B-9889-FD0322131679}"/>
              </a:ext>
            </a:extLst>
          </p:cNvPr>
          <p:cNvSpPr txBox="1"/>
          <p:nvPr/>
        </p:nvSpPr>
        <p:spPr bwMode="auto">
          <a:xfrm>
            <a:off x="6581441" y="1972346"/>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TextBox 70">
            <a:extLst>
              <a:ext uri="{FF2B5EF4-FFF2-40B4-BE49-F238E27FC236}">
                <a16:creationId xmlns:a16="http://schemas.microsoft.com/office/drawing/2014/main" id="{B5995E1F-60E1-431F-9153-C9E9944A3E87}"/>
              </a:ext>
            </a:extLst>
          </p:cNvPr>
          <p:cNvSpPr txBox="1"/>
          <p:nvPr/>
        </p:nvSpPr>
        <p:spPr bwMode="auto">
          <a:xfrm>
            <a:off x="6144205" y="197610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72" name="TextBox 71">
            <a:extLst>
              <a:ext uri="{FF2B5EF4-FFF2-40B4-BE49-F238E27FC236}">
                <a16:creationId xmlns:a16="http://schemas.microsoft.com/office/drawing/2014/main" id="{46B717E8-D239-4F2E-8E30-98BCABB2E6BC}"/>
              </a:ext>
            </a:extLst>
          </p:cNvPr>
          <p:cNvSpPr txBox="1"/>
          <p:nvPr/>
        </p:nvSpPr>
        <p:spPr bwMode="auto">
          <a:xfrm>
            <a:off x="5657169" y="19827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74" name="AutoShape 10" descr="bpct-blend3">
            <a:extLst>
              <a:ext uri="{FF2B5EF4-FFF2-40B4-BE49-F238E27FC236}">
                <a16:creationId xmlns:a16="http://schemas.microsoft.com/office/drawing/2014/main" id="{9D710FB3-298F-4311-B277-BA672D9E6AFA}"/>
              </a:ext>
            </a:extLst>
          </p:cNvPr>
          <p:cNvSpPr>
            <a:spLocks noChangeAspect="1" noChangeArrowheads="1"/>
          </p:cNvSpPr>
          <p:nvPr/>
        </p:nvSpPr>
        <p:spPr bwMode="auto">
          <a:xfrm>
            <a:off x="8027791" y="869984"/>
            <a:ext cx="4009893" cy="1402403"/>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1) Information about supported Network Slices per TA is built up exchanging info between RAN, AMF and NSSF</a:t>
            </a:r>
          </a:p>
        </p:txBody>
      </p:sp>
      <p:sp>
        <p:nvSpPr>
          <p:cNvPr id="78" name="Oval 33">
            <a:extLst>
              <a:ext uri="{FF2B5EF4-FFF2-40B4-BE49-F238E27FC236}">
                <a16:creationId xmlns:a16="http://schemas.microsoft.com/office/drawing/2014/main" id="{FECF8815-4201-4D82-95B1-F9FE5D62F405}"/>
              </a:ext>
            </a:extLst>
          </p:cNvPr>
          <p:cNvSpPr>
            <a:spLocks noChangeArrowheads="1"/>
          </p:cNvSpPr>
          <p:nvPr/>
        </p:nvSpPr>
        <p:spPr bwMode="auto">
          <a:xfrm>
            <a:off x="4967022" y="503924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79" name="Oval 33">
            <a:extLst>
              <a:ext uri="{FF2B5EF4-FFF2-40B4-BE49-F238E27FC236}">
                <a16:creationId xmlns:a16="http://schemas.microsoft.com/office/drawing/2014/main" id="{237480B5-9140-4B10-871B-DC3BAA3DCE5B}"/>
              </a:ext>
            </a:extLst>
          </p:cNvPr>
          <p:cNvSpPr>
            <a:spLocks noChangeArrowheads="1"/>
          </p:cNvSpPr>
          <p:nvPr/>
        </p:nvSpPr>
        <p:spPr bwMode="auto">
          <a:xfrm>
            <a:off x="4965577" y="3559246"/>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1</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80" name="AutoShape 10" descr="bpct-blend3">
            <a:extLst>
              <a:ext uri="{FF2B5EF4-FFF2-40B4-BE49-F238E27FC236}">
                <a16:creationId xmlns:a16="http://schemas.microsoft.com/office/drawing/2014/main" id="{90B498BA-827C-487E-A4C8-C3EE98B2868B}"/>
              </a:ext>
            </a:extLst>
          </p:cNvPr>
          <p:cNvSpPr>
            <a:spLocks noChangeAspect="1" noChangeArrowheads="1"/>
          </p:cNvSpPr>
          <p:nvPr/>
        </p:nvSpPr>
        <p:spPr bwMode="auto">
          <a:xfrm>
            <a:off x="1361131" y="1369096"/>
            <a:ext cx="2782746" cy="1928092"/>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2b) AMF selection in RAN is  based on Network Slice Selection Assistance Information (NSSAI) and other information available to RAN like 5G-GUTI  from UE </a:t>
            </a:r>
          </a:p>
        </p:txBody>
      </p:sp>
      <p:sp>
        <p:nvSpPr>
          <p:cNvPr id="81" name="Oval 33">
            <a:extLst>
              <a:ext uri="{FF2B5EF4-FFF2-40B4-BE49-F238E27FC236}">
                <a16:creationId xmlns:a16="http://schemas.microsoft.com/office/drawing/2014/main" id="{9026DC91-881F-4D94-B580-80D3B4890E74}"/>
              </a:ext>
            </a:extLst>
          </p:cNvPr>
          <p:cNvSpPr>
            <a:spLocks noChangeArrowheads="1"/>
          </p:cNvSpPr>
          <p:nvPr/>
        </p:nvSpPr>
        <p:spPr bwMode="auto">
          <a:xfrm>
            <a:off x="4530458" y="516946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2</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82" name="Straight Arrow Connector 81">
            <a:extLst>
              <a:ext uri="{FF2B5EF4-FFF2-40B4-BE49-F238E27FC236}">
                <a16:creationId xmlns:a16="http://schemas.microsoft.com/office/drawing/2014/main" id="{496CD644-089A-4D4E-AE59-77BFA40BF24D}"/>
              </a:ext>
            </a:extLst>
          </p:cNvPr>
          <p:cNvCxnSpPr>
            <a:cxnSpLocks/>
          </p:cNvCxnSpPr>
          <p:nvPr/>
        </p:nvCxnSpPr>
        <p:spPr bwMode="auto">
          <a:xfrm flipV="1">
            <a:off x="3335751" y="5169246"/>
            <a:ext cx="1193002" cy="130"/>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83" name="AutoShape 10" descr="bpct-blend3">
            <a:extLst>
              <a:ext uri="{FF2B5EF4-FFF2-40B4-BE49-F238E27FC236}">
                <a16:creationId xmlns:a16="http://schemas.microsoft.com/office/drawing/2014/main" id="{14D2F588-80F5-432A-9C09-86A9017D066E}"/>
              </a:ext>
            </a:extLst>
          </p:cNvPr>
          <p:cNvSpPr>
            <a:spLocks noChangeAspect="1" noChangeArrowheads="1"/>
          </p:cNvSpPr>
          <p:nvPr/>
        </p:nvSpPr>
        <p:spPr bwMode="auto">
          <a:xfrm>
            <a:off x="3108999" y="4255659"/>
            <a:ext cx="1432065"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2a) NS selection</a:t>
            </a:r>
            <a:b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br>
            <a: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assistance</a:t>
            </a:r>
            <a:b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br>
            <a: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Information </a:t>
            </a:r>
            <a:endParaRPr kumimoji="0" lang="en-US" sz="1400" b="0"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endParaRPr>
          </a:p>
        </p:txBody>
      </p:sp>
      <p:sp>
        <p:nvSpPr>
          <p:cNvPr id="87" name="AutoShape 10" descr="bpct-blend3">
            <a:extLst>
              <a:ext uri="{FF2B5EF4-FFF2-40B4-BE49-F238E27FC236}">
                <a16:creationId xmlns:a16="http://schemas.microsoft.com/office/drawing/2014/main" id="{727717D1-C28C-4E58-AC09-2652E763DDC8}"/>
              </a:ext>
            </a:extLst>
          </p:cNvPr>
          <p:cNvSpPr>
            <a:spLocks noChangeAspect="1" noChangeArrowheads="1"/>
          </p:cNvSpPr>
          <p:nvPr/>
        </p:nvSpPr>
        <p:spPr bwMode="auto">
          <a:xfrm>
            <a:off x="8039524" y="5936295"/>
            <a:ext cx="3986950" cy="813145"/>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5) The SMF may select a UPF based on e.g. DNN, UE location, policies</a:t>
            </a:r>
          </a:p>
        </p:txBody>
      </p:sp>
      <p:sp>
        <p:nvSpPr>
          <p:cNvPr id="88" name="AutoShape 10" descr="bpct-blend3">
            <a:extLst>
              <a:ext uri="{FF2B5EF4-FFF2-40B4-BE49-F238E27FC236}">
                <a16:creationId xmlns:a16="http://schemas.microsoft.com/office/drawing/2014/main" id="{762CAE3C-AF45-49E1-A9CF-CA247B288FFB}"/>
              </a:ext>
            </a:extLst>
          </p:cNvPr>
          <p:cNvSpPr>
            <a:spLocks noChangeAspect="1" noChangeArrowheads="1"/>
          </p:cNvSpPr>
          <p:nvPr/>
        </p:nvSpPr>
        <p:spPr bwMode="auto">
          <a:xfrm>
            <a:off x="8027791" y="3952296"/>
            <a:ext cx="4013943" cy="1288979"/>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4) The AMF selects  the SMF taking into account, NS selection information, DNN, subscription data and/or other policies</a:t>
            </a:r>
          </a:p>
        </p:txBody>
      </p:sp>
      <p:sp>
        <p:nvSpPr>
          <p:cNvPr id="89" name="AutoShape 10" descr="bpct-blend3">
            <a:extLst>
              <a:ext uri="{FF2B5EF4-FFF2-40B4-BE49-F238E27FC236}">
                <a16:creationId xmlns:a16="http://schemas.microsoft.com/office/drawing/2014/main" id="{30EF89F5-DA6D-450E-AEE8-40E1A7B82A06}"/>
              </a:ext>
            </a:extLst>
          </p:cNvPr>
          <p:cNvSpPr>
            <a:spLocks noChangeAspect="1" noChangeArrowheads="1"/>
          </p:cNvSpPr>
          <p:nvPr/>
        </p:nvSpPr>
        <p:spPr bwMode="auto">
          <a:xfrm>
            <a:off x="8023741" y="2336288"/>
            <a:ext cx="4013943" cy="1546091"/>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3b) NSSF performs slice selection on request from AMF. The AMF can reroute to a different AMF if it does not serve the selected NSs. Selection is based e.g. on NSSAI, Subscription, Location and selection logic in NSSF</a:t>
            </a:r>
          </a:p>
        </p:txBody>
      </p:sp>
      <p:cxnSp>
        <p:nvCxnSpPr>
          <p:cNvPr id="92" name="Straight Arrow Connector 91">
            <a:extLst>
              <a:ext uri="{FF2B5EF4-FFF2-40B4-BE49-F238E27FC236}">
                <a16:creationId xmlns:a16="http://schemas.microsoft.com/office/drawing/2014/main" id="{4A537A17-1700-4906-802C-5984615FE4E2}"/>
              </a:ext>
            </a:extLst>
          </p:cNvPr>
          <p:cNvCxnSpPr>
            <a:cxnSpLocks/>
            <a:stCxn id="232" idx="0"/>
            <a:endCxn id="72" idx="2"/>
          </p:cNvCxnSpPr>
          <p:nvPr/>
        </p:nvCxnSpPr>
        <p:spPr bwMode="auto">
          <a:xfrm flipV="1">
            <a:off x="5683640" y="2558287"/>
            <a:ext cx="153529" cy="2328468"/>
          </a:xfrm>
          <a:prstGeom prst="straightConnector1">
            <a:avLst/>
          </a:prstGeom>
          <a:solidFill>
            <a:schemeClr val="accent1"/>
          </a:solidFill>
          <a:ln w="38100" cap="flat" cmpd="sng" algn="ctr">
            <a:solidFill>
              <a:srgbClr val="00285F"/>
            </a:solidFill>
            <a:prstDash val="solid"/>
            <a:round/>
            <a:headEnd type="none" w="med" len="lg"/>
            <a:tailEnd type="triangle" w="med" len="lg"/>
          </a:ln>
          <a:effectLst/>
        </p:spPr>
      </p:cxnSp>
      <p:sp>
        <p:nvSpPr>
          <p:cNvPr id="94" name="Oval 33">
            <a:extLst>
              <a:ext uri="{FF2B5EF4-FFF2-40B4-BE49-F238E27FC236}">
                <a16:creationId xmlns:a16="http://schemas.microsoft.com/office/drawing/2014/main" id="{A66A7136-1236-4DB9-8BA1-32FE12B98D2E}"/>
              </a:ext>
            </a:extLst>
          </p:cNvPr>
          <p:cNvSpPr>
            <a:spLocks noChangeArrowheads="1"/>
          </p:cNvSpPr>
          <p:nvPr/>
        </p:nvSpPr>
        <p:spPr bwMode="auto">
          <a:xfrm>
            <a:off x="5657169" y="5267008"/>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4</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
        <p:nvSpPr>
          <p:cNvPr id="95" name="Oval 33">
            <a:extLst>
              <a:ext uri="{FF2B5EF4-FFF2-40B4-BE49-F238E27FC236}">
                <a16:creationId xmlns:a16="http://schemas.microsoft.com/office/drawing/2014/main" id="{CD21445F-05E3-479F-9E22-79A69CAB7692}"/>
              </a:ext>
            </a:extLst>
          </p:cNvPr>
          <p:cNvSpPr>
            <a:spLocks noChangeArrowheads="1"/>
          </p:cNvSpPr>
          <p:nvPr/>
        </p:nvSpPr>
        <p:spPr bwMode="auto">
          <a:xfrm>
            <a:off x="7576262" y="5487769"/>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5</a:t>
            </a:r>
          </a:p>
        </p:txBody>
      </p:sp>
      <p:sp>
        <p:nvSpPr>
          <p:cNvPr id="96" name="AutoShape 10" descr="bpct-blend3">
            <a:extLst>
              <a:ext uri="{FF2B5EF4-FFF2-40B4-BE49-F238E27FC236}">
                <a16:creationId xmlns:a16="http://schemas.microsoft.com/office/drawing/2014/main" id="{F2479C7E-57CA-426E-8000-EECF533CC91B}"/>
              </a:ext>
            </a:extLst>
          </p:cNvPr>
          <p:cNvSpPr>
            <a:spLocks noChangeAspect="1" noChangeArrowheads="1"/>
          </p:cNvSpPr>
          <p:nvPr/>
        </p:nvSpPr>
        <p:spPr bwMode="auto">
          <a:xfrm>
            <a:off x="5039712" y="3953358"/>
            <a:ext cx="1380692"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rPr>
              <a:t>3a) Slice Selection Request</a:t>
            </a:r>
            <a:endParaRPr kumimoji="0" lang="en-US" sz="1400" b="0" i="0" u="none" strike="noStrike" kern="1200" cap="none" spc="0" normalizeH="0" baseline="0" noProof="0">
              <a:ln>
                <a:noFill/>
              </a:ln>
              <a:solidFill>
                <a:srgbClr val="FFFFFF"/>
              </a:solidFill>
              <a:effectLst/>
              <a:uLnTx/>
              <a:uFillTx/>
              <a:latin typeface="Ericsson Hilda"/>
              <a:ea typeface="Segoe UI" panose="020B0502040204020203" pitchFamily="34" charset="0"/>
              <a:cs typeface="Segoe UI" panose="020B0502040204020203" pitchFamily="34" charset="0"/>
            </a:endParaRPr>
          </a:p>
        </p:txBody>
      </p:sp>
      <p:sp>
        <p:nvSpPr>
          <p:cNvPr id="97" name="Oval 33">
            <a:extLst>
              <a:ext uri="{FF2B5EF4-FFF2-40B4-BE49-F238E27FC236}">
                <a16:creationId xmlns:a16="http://schemas.microsoft.com/office/drawing/2014/main" id="{7DFBA8F6-B569-4BA7-91E9-73AE325B49D8}"/>
              </a:ext>
            </a:extLst>
          </p:cNvPr>
          <p:cNvSpPr>
            <a:spLocks noChangeArrowheads="1"/>
          </p:cNvSpPr>
          <p:nvPr/>
        </p:nvSpPr>
        <p:spPr bwMode="auto">
          <a:xfrm>
            <a:off x="5359228" y="233149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Ericsson Hilda"/>
                <a:ea typeface="+mn-ea"/>
                <a:cs typeface="+mn-cs"/>
              </a:rPr>
              <a:t>3b</a:t>
            </a:r>
            <a:endParaRPr kumimoji="0" lang="en-US" altLang="en-US" sz="2000" b="1" i="0" u="none" strike="noStrike" kern="1200" cap="none" spc="0" normalizeH="0" baseline="0" noProof="0">
              <a:ln>
                <a:noFill/>
              </a:ln>
              <a:solidFill>
                <a:srgbClr val="FFFFFF"/>
              </a:solidFill>
              <a:effectLst/>
              <a:uLnTx/>
              <a:uFillTx/>
              <a:latin typeface="Ericsson Hilda"/>
              <a:ea typeface="+mn-ea"/>
              <a:cs typeface="+mn-cs"/>
            </a:endParaRPr>
          </a:p>
        </p:txBody>
      </p:sp>
    </p:spTree>
    <p:extLst>
      <p:ext uri="{BB962C8B-B14F-4D97-AF65-F5344CB8AC3E}">
        <p14:creationId xmlns:p14="http://schemas.microsoft.com/office/powerpoint/2010/main" val="732417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8" grpId="0" animBg="1"/>
      <p:bldP spid="79" grpId="0" animBg="1"/>
      <p:bldP spid="80" grpId="0" animBg="1"/>
      <p:bldP spid="81" grpId="0" animBg="1"/>
      <p:bldP spid="83" grpId="0" animBg="1"/>
      <p:bldP spid="87" grpId="0" animBg="1"/>
      <p:bldP spid="88" grpId="0" animBg="1"/>
      <p:bldP spid="89" grpId="0" animBg="1"/>
      <p:bldP spid="94" grpId="0" animBg="1"/>
      <p:bldP spid="95" grpId="0" animBg="1"/>
      <p:bldP spid="96" grpId="0" animBg="1"/>
      <p:bldP spid="9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D79C2A7-3ED9-4E78-84CC-35996912E4F0}"/>
              </a:ext>
            </a:extLst>
          </p:cNvPr>
          <p:cNvSpPr/>
          <p:nvPr/>
        </p:nvSpPr>
        <p:spPr bwMode="auto">
          <a:xfrm>
            <a:off x="5213082" y="1797737"/>
            <a:ext cx="2120506" cy="800749"/>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sv-SE" sz="1100" b="0" i="0" u="none" strike="noStrike" kern="0" cap="none" spc="0" normalizeH="0" baseline="0" noProof="0">
                <a:ln>
                  <a:noFill/>
                </a:ln>
                <a:effectLst/>
                <a:uLnTx/>
                <a:uFillTx/>
                <a:latin typeface="+mn-lt"/>
              </a:rPr>
              <a:t>NFs shared across nw slices </a:t>
            </a:r>
            <a:endParaRPr kumimoji="0" lang="en-US" sz="1100" b="0" i="0" u="none" strike="noStrike" kern="0" cap="none" spc="0" normalizeH="0" baseline="0" noProof="0">
              <a:ln>
                <a:noFill/>
              </a:ln>
              <a:effectLst/>
              <a:uLnTx/>
              <a:uFillTx/>
              <a:latin typeface="+mn-lt"/>
            </a:endParaRPr>
          </a:p>
        </p:txBody>
      </p:sp>
      <p:sp>
        <p:nvSpPr>
          <p:cNvPr id="2" name="Title 1"/>
          <p:cNvSpPr>
            <a:spLocks noGrp="1"/>
          </p:cNvSpPr>
          <p:nvPr>
            <p:ph type="title"/>
          </p:nvPr>
        </p:nvSpPr>
        <p:spPr>
          <a:xfrm>
            <a:off x="479424" y="476250"/>
            <a:ext cx="8353425" cy="1081088"/>
          </a:xfrm>
        </p:spPr>
        <p:txBody>
          <a:bodyPr>
            <a:normAutofit/>
          </a:bodyPr>
          <a:lstStyle/>
          <a:p>
            <a:r>
              <a:rPr lang="sv-SE"/>
              <a:t>Network Slice selection in 5GS</a:t>
            </a:r>
            <a:endParaRPr lang="es-ES_tradnl"/>
          </a:p>
        </p:txBody>
      </p:sp>
      <p:sp>
        <p:nvSpPr>
          <p:cNvPr id="3" name="Rectangle 2"/>
          <p:cNvSpPr/>
          <p:nvPr/>
        </p:nvSpPr>
        <p:spPr bwMode="auto">
          <a:xfrm>
            <a:off x="4261449" y="4123009"/>
            <a:ext cx="5003619" cy="89753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1</a:t>
            </a:r>
          </a:p>
        </p:txBody>
      </p:sp>
      <p:sp>
        <p:nvSpPr>
          <p:cNvPr id="4" name="Rectangle 3"/>
          <p:cNvSpPr/>
          <p:nvPr/>
        </p:nvSpPr>
        <p:spPr bwMode="auto">
          <a:xfrm>
            <a:off x="4261450" y="5053522"/>
            <a:ext cx="5003618" cy="86849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2</a:t>
            </a:r>
          </a:p>
        </p:txBody>
      </p:sp>
      <p:sp>
        <p:nvSpPr>
          <p:cNvPr id="6" name="Rectangle 5"/>
          <p:cNvSpPr/>
          <p:nvPr/>
        </p:nvSpPr>
        <p:spPr bwMode="auto">
          <a:xfrm>
            <a:off x="4261450" y="2660264"/>
            <a:ext cx="5003618" cy="143134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effectLst/>
                <a:uLnTx/>
                <a:uFillTx/>
                <a:latin typeface="+mn-lt"/>
              </a:rPr>
              <a:t>NSI # 0</a:t>
            </a:r>
          </a:p>
        </p:txBody>
      </p:sp>
      <p:sp>
        <p:nvSpPr>
          <p:cNvPr id="8" name="Freeform 3"/>
          <p:cNvSpPr>
            <a:spLocks noChangeAspect="1"/>
          </p:cNvSpPr>
          <p:nvPr/>
        </p:nvSpPr>
        <p:spPr bwMode="auto">
          <a:xfrm>
            <a:off x="9891227" y="3677919"/>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85F"/>
              </a:solidFill>
              <a:effectLst/>
              <a:uLnTx/>
              <a:uFillTx/>
              <a:latin typeface="+mn-lt"/>
            </a:endParaRPr>
          </a:p>
        </p:txBody>
      </p:sp>
      <p:sp>
        <p:nvSpPr>
          <p:cNvPr id="9" name="Rectangle 44"/>
          <p:cNvSpPr>
            <a:spLocks noChangeArrowheads="1"/>
          </p:cNvSpPr>
          <p:nvPr/>
        </p:nvSpPr>
        <p:spPr bwMode="auto">
          <a:xfrm flipV="1">
            <a:off x="2699572" y="4493984"/>
            <a:ext cx="862203" cy="968263"/>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1</a:t>
            </a:r>
            <a:endParaRPr kumimoji="0" lang="sv-SE" sz="800" b="1" i="0" u="none" strike="sngStrike" kern="0" cap="none" spc="0" normalizeH="0" baseline="0" noProof="0">
              <a:ln>
                <a:noFill/>
              </a:ln>
              <a:solidFill>
                <a:srgbClr val="58585A"/>
              </a:solidFill>
              <a:effectLst/>
              <a:uLnTx/>
              <a:uFillTx/>
              <a:latin typeface="+mn-lt"/>
            </a:endParaRPr>
          </a:p>
        </p:txBody>
      </p:sp>
      <p:sp>
        <p:nvSpPr>
          <p:cNvPr id="13" name="Text Box 804"/>
          <p:cNvSpPr txBox="1">
            <a:spLocks noChangeArrowheads="1"/>
          </p:cNvSpPr>
          <p:nvPr/>
        </p:nvSpPr>
        <p:spPr bwMode="auto">
          <a:xfrm>
            <a:off x="2968234" y="48598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14" name="Rectangle 805"/>
          <p:cNvSpPr>
            <a:spLocks noChangeArrowheads="1"/>
          </p:cNvSpPr>
          <p:nvPr/>
        </p:nvSpPr>
        <p:spPr bwMode="auto">
          <a:xfrm>
            <a:off x="2947649" y="4588853"/>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16" name="Straight Connector 248"/>
          <p:cNvCxnSpPr>
            <a:cxnSpLocks noChangeShapeType="1"/>
            <a:stCxn id="21" idx="3"/>
            <a:endCxn id="264" idx="1"/>
          </p:cNvCxnSpPr>
          <p:nvPr/>
        </p:nvCxnSpPr>
        <p:spPr bwMode="auto">
          <a:xfrm>
            <a:off x="2439055" y="4605834"/>
            <a:ext cx="477052" cy="3473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248"/>
          <p:cNvCxnSpPr>
            <a:cxnSpLocks noChangeShapeType="1"/>
            <a:stCxn id="286" idx="3"/>
            <a:endCxn id="264" idx="1"/>
          </p:cNvCxnSpPr>
          <p:nvPr/>
        </p:nvCxnSpPr>
        <p:spPr bwMode="auto">
          <a:xfrm flipV="1">
            <a:off x="2486038" y="4953215"/>
            <a:ext cx="430069" cy="32303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19" name="AutoShape 802"/>
          <p:cNvSpPr>
            <a:spLocks noChangeArrowheads="1"/>
          </p:cNvSpPr>
          <p:nvPr/>
        </p:nvSpPr>
        <p:spPr bwMode="auto">
          <a:xfrm>
            <a:off x="2165501" y="3654971"/>
            <a:ext cx="352940" cy="368853"/>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0" name="Oval 803"/>
          <p:cNvSpPr>
            <a:spLocks noChangeArrowheads="1"/>
          </p:cNvSpPr>
          <p:nvPr/>
        </p:nvSpPr>
        <p:spPr bwMode="auto">
          <a:xfrm>
            <a:off x="2163484" y="3512871"/>
            <a:ext cx="354957" cy="357767"/>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2" name="Rectangle 805"/>
          <p:cNvSpPr>
            <a:spLocks noChangeArrowheads="1"/>
          </p:cNvSpPr>
          <p:nvPr/>
        </p:nvSpPr>
        <p:spPr bwMode="auto">
          <a:xfrm>
            <a:off x="2158442" y="3505817"/>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30" name="Freeform 3"/>
          <p:cNvSpPr>
            <a:spLocks noChangeAspect="1"/>
          </p:cNvSpPr>
          <p:nvPr/>
        </p:nvSpPr>
        <p:spPr bwMode="auto">
          <a:xfrm>
            <a:off x="9895580" y="5457452"/>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31" name="Straight Connector 248"/>
          <p:cNvCxnSpPr>
            <a:cxnSpLocks noChangeShapeType="1"/>
          </p:cNvCxnSpPr>
          <p:nvPr/>
        </p:nvCxnSpPr>
        <p:spPr bwMode="auto">
          <a:xfrm flipV="1">
            <a:off x="3326723" y="4853688"/>
            <a:ext cx="1162368" cy="9286"/>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32" name="Elbow Connector 21"/>
          <p:cNvCxnSpPr>
            <a:cxnSpLocks/>
          </p:cNvCxnSpPr>
          <p:nvPr/>
        </p:nvCxnSpPr>
        <p:spPr bwMode="auto">
          <a:xfrm flipV="1">
            <a:off x="4878628" y="3952252"/>
            <a:ext cx="5003618" cy="665489"/>
          </a:xfrm>
          <a:prstGeom prst="bentConnector3">
            <a:avLst>
              <a:gd name="adj1" fmla="val -103"/>
            </a:avLst>
          </a:prstGeom>
          <a:solidFill>
            <a:schemeClr val="accent1"/>
          </a:solidFill>
          <a:ln w="12700" cap="flat" cmpd="sng" algn="ctr">
            <a:solidFill>
              <a:schemeClr val="tx1"/>
            </a:solidFill>
            <a:prstDash val="solid"/>
            <a:round/>
            <a:headEnd type="none" w="med" len="med"/>
            <a:tailEnd type="none" w="med" len="med"/>
          </a:ln>
          <a:effectLst/>
        </p:spPr>
      </p:cxnSp>
      <p:cxnSp>
        <p:nvCxnSpPr>
          <p:cNvPr id="34" name="Straight Connector 248"/>
          <p:cNvCxnSpPr>
            <a:cxnSpLocks noChangeShapeType="1"/>
          </p:cNvCxnSpPr>
          <p:nvPr/>
        </p:nvCxnSpPr>
        <p:spPr bwMode="auto">
          <a:xfrm>
            <a:off x="3335751" y="5020543"/>
            <a:ext cx="1138933" cy="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35" name="Straight Connector 248"/>
          <p:cNvCxnSpPr>
            <a:cxnSpLocks noChangeShapeType="1"/>
          </p:cNvCxnSpPr>
          <p:nvPr/>
        </p:nvCxnSpPr>
        <p:spPr bwMode="auto">
          <a:xfrm>
            <a:off x="3335751" y="4902618"/>
            <a:ext cx="113893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45" name="Straight Connector 169"/>
          <p:cNvCxnSpPr>
            <a:cxnSpLocks/>
          </p:cNvCxnSpPr>
          <p:nvPr/>
        </p:nvCxnSpPr>
        <p:spPr bwMode="auto">
          <a:xfrm flipV="1">
            <a:off x="4922524" y="4840148"/>
            <a:ext cx="4987153" cy="1"/>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203"/>
          <p:cNvCxnSpPr>
            <a:cxnSpLocks noChangeShapeType="1"/>
            <a:stCxn id="249" idx="1"/>
            <a:endCxn id="232" idx="0"/>
          </p:cNvCxnSpPr>
          <p:nvPr/>
        </p:nvCxnSpPr>
        <p:spPr bwMode="auto">
          <a:xfrm rot="10800000" flipV="1">
            <a:off x="5683641" y="4503905"/>
            <a:ext cx="185469" cy="38285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1" name="Straight Connector 203"/>
          <p:cNvCxnSpPr>
            <a:cxnSpLocks noChangeShapeType="1"/>
          </p:cNvCxnSpPr>
          <p:nvPr/>
        </p:nvCxnSpPr>
        <p:spPr bwMode="auto">
          <a:xfrm>
            <a:off x="6921462" y="3693892"/>
            <a:ext cx="1399473" cy="17343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p:cNvCxnSpPr>
          <p:nvPr/>
        </p:nvCxnSpPr>
        <p:spPr bwMode="auto">
          <a:xfrm rot="10800000" flipV="1">
            <a:off x="5625250" y="2889119"/>
            <a:ext cx="372770" cy="450545"/>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169"/>
          <p:cNvCxnSpPr>
            <a:cxnSpLocks/>
          </p:cNvCxnSpPr>
          <p:nvPr/>
        </p:nvCxnSpPr>
        <p:spPr bwMode="auto">
          <a:xfrm rot="5400000" flipH="1" flipV="1">
            <a:off x="4662765" y="3887178"/>
            <a:ext cx="858240" cy="606745"/>
          </a:xfrm>
          <a:prstGeom prst="bentConnector2">
            <a:avLst/>
          </a:prstGeom>
          <a:solidFill>
            <a:schemeClr val="accent1"/>
          </a:solidFill>
          <a:ln w="12700" cap="flat" cmpd="sng" algn="ctr">
            <a:solidFill>
              <a:schemeClr val="tx1"/>
            </a:solidFill>
            <a:prstDash val="dash"/>
            <a:round/>
            <a:headEnd type="none" w="med" len="med"/>
            <a:tailEnd type="none" w="med" len="med"/>
          </a:ln>
          <a:effectLst/>
        </p:spPr>
      </p:cxnSp>
      <p:sp>
        <p:nvSpPr>
          <p:cNvPr id="76" name="Freeform 3"/>
          <p:cNvSpPr>
            <a:spLocks noChangeAspect="1"/>
          </p:cNvSpPr>
          <p:nvPr/>
        </p:nvSpPr>
        <p:spPr bwMode="auto">
          <a:xfrm>
            <a:off x="9888507" y="4517593"/>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77" name="Straight Connector 169"/>
          <p:cNvCxnSpPr>
            <a:cxnSpLocks/>
          </p:cNvCxnSpPr>
          <p:nvPr/>
        </p:nvCxnSpPr>
        <p:spPr bwMode="auto">
          <a:xfrm>
            <a:off x="4685374" y="5086612"/>
            <a:ext cx="5196872" cy="696562"/>
          </a:xfrm>
          <a:prstGeom prst="bentConnector3">
            <a:avLst>
              <a:gd name="adj1" fmla="val 147"/>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169"/>
          <p:cNvCxnSpPr>
            <a:cxnSpLocks/>
            <a:endCxn id="247" idx="1"/>
          </p:cNvCxnSpPr>
          <p:nvPr/>
        </p:nvCxnSpPr>
        <p:spPr bwMode="auto">
          <a:xfrm>
            <a:off x="7869015" y="5530607"/>
            <a:ext cx="329875" cy="39389"/>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cxnSp>
        <p:nvCxnSpPr>
          <p:cNvPr id="85" name="Straight Connector 203"/>
          <p:cNvCxnSpPr>
            <a:cxnSpLocks noChangeShapeType="1"/>
            <a:stCxn id="232" idx="1"/>
          </p:cNvCxnSpPr>
          <p:nvPr/>
        </p:nvCxnSpPr>
        <p:spPr bwMode="auto">
          <a:xfrm rot="10800000">
            <a:off x="4922526" y="5024670"/>
            <a:ext cx="581114" cy="149832"/>
          </a:xfrm>
          <a:prstGeom prst="bentConnector3">
            <a:avLst>
              <a:gd name="adj1" fmla="val 3688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Rectangle 44"/>
          <p:cNvSpPr>
            <a:spLocks noChangeArrowheads="1"/>
          </p:cNvSpPr>
          <p:nvPr/>
        </p:nvSpPr>
        <p:spPr bwMode="auto">
          <a:xfrm flipV="1">
            <a:off x="2699572" y="3472744"/>
            <a:ext cx="862203" cy="839076"/>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0</a:t>
            </a:r>
          </a:p>
        </p:txBody>
      </p:sp>
      <p:sp>
        <p:nvSpPr>
          <p:cNvPr id="90" name="Text Box 804"/>
          <p:cNvSpPr txBox="1">
            <a:spLocks noChangeArrowheads="1"/>
          </p:cNvSpPr>
          <p:nvPr/>
        </p:nvSpPr>
        <p:spPr bwMode="auto">
          <a:xfrm>
            <a:off x="2950989" y="3770186"/>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91" name="Rectangle 805"/>
          <p:cNvSpPr>
            <a:spLocks noChangeArrowheads="1"/>
          </p:cNvSpPr>
          <p:nvPr/>
        </p:nvSpPr>
        <p:spPr bwMode="auto">
          <a:xfrm>
            <a:off x="2944210" y="3594451"/>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93" name="Straight Connector 248"/>
          <p:cNvCxnSpPr>
            <a:cxnSpLocks noChangeShapeType="1"/>
            <a:stCxn id="272" idx="3"/>
          </p:cNvCxnSpPr>
          <p:nvPr/>
        </p:nvCxnSpPr>
        <p:spPr bwMode="auto">
          <a:xfrm>
            <a:off x="3326723" y="3854273"/>
            <a:ext cx="1259625" cy="821924"/>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119" name="Straight Connector 248"/>
          <p:cNvCxnSpPr>
            <a:cxnSpLocks noChangeShapeType="1"/>
          </p:cNvCxnSpPr>
          <p:nvPr/>
        </p:nvCxnSpPr>
        <p:spPr bwMode="auto">
          <a:xfrm>
            <a:off x="3305024" y="4043056"/>
            <a:ext cx="1172061" cy="75809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154" name="Straight Connector 204"/>
          <p:cNvCxnSpPr>
            <a:cxnSpLocks/>
            <a:stCxn id="254" idx="1"/>
            <a:endCxn id="249" idx="3"/>
          </p:cNvCxnSpPr>
          <p:nvPr/>
        </p:nvCxnSpPr>
        <p:spPr bwMode="auto">
          <a:xfrm rot="10800000">
            <a:off x="6300969" y="4503905"/>
            <a:ext cx="1199670" cy="878"/>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Rectangle 166"/>
          <p:cNvSpPr/>
          <p:nvPr/>
        </p:nvSpPr>
        <p:spPr bwMode="auto">
          <a:xfrm>
            <a:off x="4343171" y="1994962"/>
            <a:ext cx="712602" cy="4035302"/>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t" anchorCtr="0" compatLnSpc="1">
            <a:prstTxWarp prst="textNoShape">
              <a:avLst/>
            </a:prstTxWarp>
          </a:bodyPr>
          <a:lstStyle/>
          <a:p>
            <a:pPr lvl="0" algn="ctr">
              <a:defRPr/>
            </a:pPr>
            <a:r>
              <a:rPr kumimoji="0" lang="en-US" sz="1100" b="0" i="0" u="none" strike="noStrike" kern="0" cap="none" spc="0" normalizeH="0" baseline="0" noProof="0">
                <a:ln>
                  <a:noFill/>
                </a:ln>
                <a:solidFill>
                  <a:schemeClr val="tx1"/>
                </a:solidFill>
                <a:effectLst/>
                <a:uLnTx/>
                <a:uFillTx/>
                <a:latin typeface="+mn-lt"/>
              </a:rPr>
              <a:t>RAN</a:t>
            </a:r>
            <a:br>
              <a:rPr kumimoji="0" lang="en-US" sz="1100" b="0" i="0" u="none" strike="noStrike" kern="0" cap="none" spc="0" normalizeH="0" baseline="0" noProof="0">
                <a:ln>
                  <a:noFill/>
                </a:ln>
                <a:solidFill>
                  <a:schemeClr val="tx1"/>
                </a:solidFill>
                <a:effectLst/>
                <a:uLnTx/>
                <a:uFillTx/>
                <a:latin typeface="+mn-lt"/>
              </a:rPr>
            </a:br>
            <a:r>
              <a:rPr lang="en-US" sz="900" kern="0">
                <a:latin typeface="+mn-lt"/>
              </a:rPr>
              <a:t>(Shared resource in </a:t>
            </a:r>
            <a:r>
              <a:rPr lang="en-US" sz="900" kern="0" err="1">
                <a:latin typeface="+mn-lt"/>
              </a:rPr>
              <a:t>gNB</a:t>
            </a:r>
            <a:r>
              <a:rPr kumimoji="0" lang="en-US" sz="900" b="0" i="0" u="none" strike="noStrike" kern="0" cap="none" spc="0" normalizeH="0" baseline="0" noProof="0">
                <a:ln>
                  <a:noFill/>
                </a:ln>
                <a:solidFill>
                  <a:schemeClr val="tx1"/>
                </a:solidFill>
                <a:effectLst/>
                <a:uLnTx/>
                <a:uFillTx/>
                <a:latin typeface="+mn-lt"/>
              </a:rPr>
              <a:t>)</a:t>
            </a:r>
            <a:endParaRPr kumimoji="0" lang="en-US" sz="1100" b="0" i="0" u="none" strike="noStrike" kern="0" cap="none" spc="0" normalizeH="0" baseline="0" noProof="0">
              <a:ln>
                <a:noFill/>
              </a:ln>
              <a:solidFill>
                <a:schemeClr val="tx1"/>
              </a:solidFill>
              <a:effectLst/>
              <a:uLnTx/>
              <a:uFillTx/>
              <a:latin typeface="+mn-lt"/>
            </a:endParaRPr>
          </a:p>
        </p:txBody>
      </p:sp>
      <p:sp>
        <p:nvSpPr>
          <p:cNvPr id="168" name="Rectangle 167"/>
          <p:cNvSpPr/>
          <p:nvPr/>
        </p:nvSpPr>
        <p:spPr bwMode="auto">
          <a:xfrm>
            <a:off x="5199809" y="4177963"/>
            <a:ext cx="2030398" cy="1679779"/>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b" anchorCtr="0" compatLnSpc="1">
            <a:prstTxWarp prst="textNoShape">
              <a:avLst/>
            </a:prstTxWarp>
          </a:bodyPr>
          <a:lstStyle/>
          <a:p>
            <a:pPr marL="0" marR="0" lvl="0" indent="0" defTabSz="914400" rtl="0" eaLnBrk="1" fontAlgn="base" latinLnBrk="0" hangingPunct="1">
              <a:spcBef>
                <a:spcPts val="0"/>
              </a:spcBef>
              <a:spcAft>
                <a:spcPts val="0"/>
              </a:spcAft>
              <a:buClrTx/>
              <a:buSzTx/>
              <a:buFontTx/>
              <a:buNone/>
              <a:tabLst/>
              <a:defRPr/>
            </a:pPr>
            <a:r>
              <a:rPr lang="en-US" sz="1100" kern="0">
                <a:latin typeface="+mn-lt"/>
              </a:rPr>
              <a:t> Shared NFs</a:t>
            </a:r>
          </a:p>
          <a:p>
            <a:pPr marL="0" marR="0" lvl="0" indent="0" defTabSz="914400" rtl="0" eaLnBrk="1" fontAlgn="base" latinLnBrk="0" hangingPunct="1">
              <a:spcBef>
                <a:spcPts val="0"/>
              </a:spcBef>
              <a:spcAft>
                <a:spcPts val="0"/>
              </a:spcAft>
              <a:buClrTx/>
              <a:buSzTx/>
              <a:buFontTx/>
              <a:buNone/>
              <a:tabLst/>
              <a:defRPr/>
            </a:pPr>
            <a:r>
              <a:rPr lang="sv-SE" sz="700" kern="0">
                <a:latin typeface="+mn-lt"/>
              </a:rPr>
              <a:t> </a:t>
            </a:r>
            <a:endParaRPr lang="en-US" sz="700" kern="0">
              <a:latin typeface="+mn-lt"/>
            </a:endParaRPr>
          </a:p>
        </p:txBody>
      </p:sp>
      <p:cxnSp>
        <p:nvCxnSpPr>
          <p:cNvPr id="193" name="Straight Connector 192"/>
          <p:cNvCxnSpPr>
            <a:cxnSpLocks/>
          </p:cNvCxnSpPr>
          <p:nvPr/>
        </p:nvCxnSpPr>
        <p:spPr bwMode="auto">
          <a:xfrm flipH="1" flipV="1">
            <a:off x="5800826" y="3761430"/>
            <a:ext cx="754406" cy="24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4" name="Connector: Elbow 193"/>
          <p:cNvCxnSpPr/>
          <p:nvPr/>
        </p:nvCxnSpPr>
        <p:spPr bwMode="auto">
          <a:xfrm rot="16200000" flipH="1">
            <a:off x="6341570" y="2949249"/>
            <a:ext cx="386917" cy="342852"/>
          </a:xfrm>
          <a:prstGeom prst="bentConnector3">
            <a:avLst>
              <a:gd name="adj1" fmla="val -2518"/>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2" name="Connector: Elbow 201"/>
          <p:cNvCxnSpPr>
            <a:cxnSpLocks/>
          </p:cNvCxnSpPr>
          <p:nvPr/>
        </p:nvCxnSpPr>
        <p:spPr bwMode="auto">
          <a:xfrm>
            <a:off x="5853619" y="5369180"/>
            <a:ext cx="1626758" cy="181575"/>
          </a:xfrm>
          <a:prstGeom prst="bentConnector3">
            <a:avLst>
              <a:gd name="adj1" fmla="val 2956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TextBox 229">
            <a:extLst>
              <a:ext uri="{FF2B5EF4-FFF2-40B4-BE49-F238E27FC236}">
                <a16:creationId xmlns:a16="http://schemas.microsoft.com/office/drawing/2014/main" id="{B383EC68-C4B5-4F43-A12B-8929A9FB209C}"/>
              </a:ext>
            </a:extLst>
          </p:cNvPr>
          <p:cNvSpPr txBox="1"/>
          <p:nvPr/>
        </p:nvSpPr>
        <p:spPr bwMode="auto">
          <a:xfrm>
            <a:off x="4466896" y="4471016"/>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fontAlgn="auto">
              <a:spcBef>
                <a:spcPts val="0"/>
              </a:spcBef>
              <a:spcAft>
                <a:spcPts val="0"/>
              </a:spcAft>
              <a:buClr>
                <a:srgbClr val="181818"/>
              </a:buClr>
              <a:defRPr/>
            </a:pPr>
            <a:r>
              <a:rPr lang="en-US" sz="1800">
                <a:solidFill>
                  <a:srgbClr val="181818"/>
                </a:solidFill>
                <a:latin typeface="Ericsson Technical Icons" panose="00000500000000000000" pitchFamily="2" charset="0"/>
              </a:rPr>
              <a:t>B</a:t>
            </a:r>
            <a:endParaRPr lang="en-US" sz="18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err="1">
                <a:ln>
                  <a:noFill/>
                </a:ln>
                <a:solidFill>
                  <a:srgbClr val="181818"/>
                </a:solidFill>
                <a:effectLst/>
                <a:uLnTx/>
                <a:uFillTx/>
                <a:latin typeface="Ericsson Hilda"/>
                <a:ea typeface="+mn-ea"/>
                <a:cs typeface="+mn-cs"/>
              </a:rPr>
              <a:t>gN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32" name="TextBox 231">
            <a:extLst>
              <a:ext uri="{FF2B5EF4-FFF2-40B4-BE49-F238E27FC236}">
                <a16:creationId xmlns:a16="http://schemas.microsoft.com/office/drawing/2014/main" id="{2C55F219-2D3C-46F0-82F5-1ECFF7846736}"/>
              </a:ext>
            </a:extLst>
          </p:cNvPr>
          <p:cNvSpPr txBox="1"/>
          <p:nvPr/>
        </p:nvSpPr>
        <p:spPr bwMode="auto">
          <a:xfrm>
            <a:off x="5503640" y="488675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33" name="TextBox 232">
            <a:extLst>
              <a:ext uri="{FF2B5EF4-FFF2-40B4-BE49-F238E27FC236}">
                <a16:creationId xmlns:a16="http://schemas.microsoft.com/office/drawing/2014/main" id="{558BD8B2-0CE2-4FB6-BEC4-485A66717196}"/>
              </a:ext>
            </a:extLst>
          </p:cNvPr>
          <p:cNvSpPr txBox="1"/>
          <p:nvPr/>
        </p:nvSpPr>
        <p:spPr bwMode="auto">
          <a:xfrm>
            <a:off x="6562801" y="33182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35" name="TextBox 234">
            <a:extLst>
              <a:ext uri="{FF2B5EF4-FFF2-40B4-BE49-F238E27FC236}">
                <a16:creationId xmlns:a16="http://schemas.microsoft.com/office/drawing/2014/main" id="{352E32D6-C414-4A1C-9DF3-4E1FB9805C22}"/>
              </a:ext>
            </a:extLst>
          </p:cNvPr>
          <p:cNvSpPr txBox="1"/>
          <p:nvPr/>
        </p:nvSpPr>
        <p:spPr bwMode="auto">
          <a:xfrm>
            <a:off x="5405057" y="33156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44" name="TextBox 243">
            <a:extLst>
              <a:ext uri="{FF2B5EF4-FFF2-40B4-BE49-F238E27FC236}">
                <a16:creationId xmlns:a16="http://schemas.microsoft.com/office/drawing/2014/main" id="{C094AEDB-75B1-4AB2-A907-074E52D565E0}"/>
              </a:ext>
            </a:extLst>
          </p:cNvPr>
          <p:cNvSpPr txBox="1"/>
          <p:nvPr/>
        </p:nvSpPr>
        <p:spPr bwMode="auto">
          <a:xfrm>
            <a:off x="5928275" y="273028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E48F76F2-C55D-4301-8074-6C9170D1F410}"/>
              </a:ext>
            </a:extLst>
          </p:cNvPr>
          <p:cNvSpPr txBox="1"/>
          <p:nvPr/>
        </p:nvSpPr>
        <p:spPr bwMode="auto">
          <a:xfrm>
            <a:off x="7678899" y="27377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6" name="TextBox 245">
            <a:extLst>
              <a:ext uri="{FF2B5EF4-FFF2-40B4-BE49-F238E27FC236}">
                <a16:creationId xmlns:a16="http://schemas.microsoft.com/office/drawing/2014/main" id="{65574DEE-5D40-4A48-8F7B-5199C514AAEF}"/>
              </a:ext>
            </a:extLst>
          </p:cNvPr>
          <p:cNvSpPr txBox="1"/>
          <p:nvPr/>
        </p:nvSpPr>
        <p:spPr bwMode="auto">
          <a:xfrm>
            <a:off x="8198890" y="347274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7" name="TextBox 246">
            <a:extLst>
              <a:ext uri="{FF2B5EF4-FFF2-40B4-BE49-F238E27FC236}">
                <a16:creationId xmlns:a16="http://schemas.microsoft.com/office/drawing/2014/main" id="{1FAA00D7-8F38-4492-99E6-C02D098F9C80}"/>
              </a:ext>
            </a:extLst>
          </p:cNvPr>
          <p:cNvSpPr txBox="1"/>
          <p:nvPr/>
        </p:nvSpPr>
        <p:spPr bwMode="auto">
          <a:xfrm>
            <a:off x="8198890" y="52822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8" name="TextBox 247">
            <a:extLst>
              <a:ext uri="{FF2B5EF4-FFF2-40B4-BE49-F238E27FC236}">
                <a16:creationId xmlns:a16="http://schemas.microsoft.com/office/drawing/2014/main" id="{D32846B1-377A-408A-B30F-73C03A89303E}"/>
              </a:ext>
            </a:extLst>
          </p:cNvPr>
          <p:cNvSpPr txBox="1"/>
          <p:nvPr/>
        </p:nvSpPr>
        <p:spPr bwMode="auto">
          <a:xfrm>
            <a:off x="8207749" y="437818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9" name="TextBox 248">
            <a:extLst>
              <a:ext uri="{FF2B5EF4-FFF2-40B4-BE49-F238E27FC236}">
                <a16:creationId xmlns:a16="http://schemas.microsoft.com/office/drawing/2014/main" id="{51E83D8A-EB46-43F1-93EB-F9DA9850DAA3}"/>
              </a:ext>
            </a:extLst>
          </p:cNvPr>
          <p:cNvSpPr txBox="1"/>
          <p:nvPr/>
        </p:nvSpPr>
        <p:spPr bwMode="auto">
          <a:xfrm>
            <a:off x="5869109" y="421615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54" name="TextBox 253">
            <a:extLst>
              <a:ext uri="{FF2B5EF4-FFF2-40B4-BE49-F238E27FC236}">
                <a16:creationId xmlns:a16="http://schemas.microsoft.com/office/drawing/2014/main" id="{A417C9F2-0FE0-4E0C-B6A7-2B340EAC5DBD}"/>
              </a:ext>
            </a:extLst>
          </p:cNvPr>
          <p:cNvSpPr txBox="1"/>
          <p:nvPr/>
        </p:nvSpPr>
        <p:spPr bwMode="auto">
          <a:xfrm>
            <a:off x="7500639" y="42170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cxnSp>
        <p:nvCxnSpPr>
          <p:cNvPr id="256" name="Straight Connector 169">
            <a:extLst>
              <a:ext uri="{FF2B5EF4-FFF2-40B4-BE49-F238E27FC236}">
                <a16:creationId xmlns:a16="http://schemas.microsoft.com/office/drawing/2014/main" id="{49BD021D-3B0A-433F-BC66-162420934862}"/>
              </a:ext>
            </a:extLst>
          </p:cNvPr>
          <p:cNvCxnSpPr>
            <a:cxnSpLocks/>
            <a:stCxn id="254" idx="3"/>
            <a:endCxn id="248" idx="1"/>
          </p:cNvCxnSpPr>
          <p:nvPr/>
        </p:nvCxnSpPr>
        <p:spPr bwMode="auto">
          <a:xfrm>
            <a:off x="7860639" y="4504783"/>
            <a:ext cx="347110" cy="161145"/>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sp>
        <p:nvSpPr>
          <p:cNvPr id="257" name="TextBox 256">
            <a:extLst>
              <a:ext uri="{FF2B5EF4-FFF2-40B4-BE49-F238E27FC236}">
                <a16:creationId xmlns:a16="http://schemas.microsoft.com/office/drawing/2014/main" id="{D3249AB1-BCE6-4023-95A3-70D3D7D0E10C}"/>
              </a:ext>
            </a:extLst>
          </p:cNvPr>
          <p:cNvSpPr txBox="1"/>
          <p:nvPr/>
        </p:nvSpPr>
        <p:spPr bwMode="auto">
          <a:xfrm>
            <a:off x="6581441" y="490261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58" name="TextBox 257">
            <a:extLst>
              <a:ext uri="{FF2B5EF4-FFF2-40B4-BE49-F238E27FC236}">
                <a16:creationId xmlns:a16="http://schemas.microsoft.com/office/drawing/2014/main" id="{2E376BE7-D1C7-4108-8FE7-742D8BCF152B}"/>
              </a:ext>
            </a:extLst>
          </p:cNvPr>
          <p:cNvSpPr txBox="1"/>
          <p:nvPr/>
        </p:nvSpPr>
        <p:spPr bwMode="auto">
          <a:xfrm>
            <a:off x="7493461" y="514708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pic>
        <p:nvPicPr>
          <p:cNvPr id="264" name="Graphic 263">
            <a:extLst>
              <a:ext uri="{FF2B5EF4-FFF2-40B4-BE49-F238E27FC236}">
                <a16:creationId xmlns:a16="http://schemas.microsoft.com/office/drawing/2014/main" id="{A6EFB43D-9285-46A5-A617-EADE52C2D6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6107" y="4659464"/>
            <a:ext cx="419644" cy="587501"/>
          </a:xfrm>
          <a:prstGeom prst="rect">
            <a:avLst/>
          </a:prstGeom>
        </p:spPr>
      </p:pic>
      <p:grpSp>
        <p:nvGrpSpPr>
          <p:cNvPr id="279" name="Group 278">
            <a:extLst>
              <a:ext uri="{FF2B5EF4-FFF2-40B4-BE49-F238E27FC236}">
                <a16:creationId xmlns:a16="http://schemas.microsoft.com/office/drawing/2014/main" id="{A7276C6E-F06F-4688-8847-D9FA9B9B3C61}"/>
              </a:ext>
            </a:extLst>
          </p:cNvPr>
          <p:cNvGrpSpPr/>
          <p:nvPr/>
        </p:nvGrpSpPr>
        <p:grpSpPr>
          <a:xfrm>
            <a:off x="2066992" y="4299254"/>
            <a:ext cx="419644" cy="587501"/>
            <a:chOff x="255550" y="4445955"/>
            <a:chExt cx="419644" cy="587501"/>
          </a:xfrm>
        </p:grpSpPr>
        <p:grpSp>
          <p:nvGrpSpPr>
            <p:cNvPr id="259" name="Group 258">
              <a:extLst>
                <a:ext uri="{FF2B5EF4-FFF2-40B4-BE49-F238E27FC236}">
                  <a16:creationId xmlns:a16="http://schemas.microsoft.com/office/drawing/2014/main" id="{DC04107E-6380-48A0-B658-AE6476A01136}"/>
                </a:ext>
              </a:extLst>
            </p:cNvPr>
            <p:cNvGrpSpPr>
              <a:grpSpLocks noChangeAspect="1"/>
            </p:cNvGrpSpPr>
            <p:nvPr/>
          </p:nvGrpSpPr>
          <p:grpSpPr>
            <a:xfrm>
              <a:off x="255550" y="4445955"/>
              <a:ext cx="419644" cy="587501"/>
              <a:chOff x="10129764" y="745508"/>
              <a:chExt cx="221963" cy="310748"/>
            </a:xfrm>
          </p:grpSpPr>
          <p:grpSp>
            <p:nvGrpSpPr>
              <p:cNvPr id="260" name="Group 259">
                <a:extLst>
                  <a:ext uri="{FF2B5EF4-FFF2-40B4-BE49-F238E27FC236}">
                    <a16:creationId xmlns:a16="http://schemas.microsoft.com/office/drawing/2014/main" id="{9D5D76D0-BA06-4982-84F1-9B5758771AAC}"/>
                  </a:ext>
                </a:extLst>
              </p:cNvPr>
              <p:cNvGrpSpPr>
                <a:grpSpLocks noChangeAspect="1"/>
              </p:cNvGrpSpPr>
              <p:nvPr/>
            </p:nvGrpSpPr>
            <p:grpSpPr>
              <a:xfrm>
                <a:off x="10129764" y="745508"/>
                <a:ext cx="221963" cy="310748"/>
                <a:chOff x="1373325" y="5272742"/>
                <a:chExt cx="428625" cy="600075"/>
              </a:xfrm>
            </p:grpSpPr>
            <p:sp>
              <p:nvSpPr>
                <p:cNvPr id="262" name="Rectangle 261">
                  <a:extLst>
                    <a:ext uri="{FF2B5EF4-FFF2-40B4-BE49-F238E27FC236}">
                      <a16:creationId xmlns:a16="http://schemas.microsoft.com/office/drawing/2014/main" id="{48A71C2F-92C1-4ABF-B547-85746F1BBDB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3" name="Graphic 262">
                  <a:extLst>
                    <a:ext uri="{FF2B5EF4-FFF2-40B4-BE49-F238E27FC236}">
                      <a16:creationId xmlns:a16="http://schemas.microsoft.com/office/drawing/2014/main" id="{1E00C24B-DE2A-4459-92B9-D1B6A1695F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61" name="TextBox 260">
                <a:extLst>
                  <a:ext uri="{FF2B5EF4-FFF2-40B4-BE49-F238E27FC236}">
                    <a16:creationId xmlns:a16="http://schemas.microsoft.com/office/drawing/2014/main" id="{826BECD0-0143-4A31-A74D-0480F238000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 name="Text Box 804"/>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FFC000"/>
                  </a:solidFill>
                  <a:effectLst/>
                  <a:uLnTx/>
                  <a:uFillTx/>
                  <a:latin typeface="+mn-lt"/>
                  <a:ea typeface="ＭＳ Ｐゴシック" pitchFamily="34" charset="-128"/>
                  <a:cs typeface="Arial" charset="0"/>
                </a:rPr>
                <a:t>Virtual Device #1</a:t>
              </a:r>
            </a:p>
          </p:txBody>
        </p:sp>
      </p:grpSp>
      <p:pic>
        <p:nvPicPr>
          <p:cNvPr id="272" name="Graphic 271">
            <a:extLst>
              <a:ext uri="{FF2B5EF4-FFF2-40B4-BE49-F238E27FC236}">
                <a16:creationId xmlns:a16="http://schemas.microsoft.com/office/drawing/2014/main" id="{08E6D611-EB97-4A7A-9F24-544C2F58E3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079" y="3560522"/>
            <a:ext cx="419644" cy="587501"/>
          </a:xfrm>
          <a:prstGeom prst="rect">
            <a:avLst/>
          </a:prstGeom>
        </p:spPr>
      </p:pic>
      <p:grpSp>
        <p:nvGrpSpPr>
          <p:cNvPr id="280" name="Group 279">
            <a:extLst>
              <a:ext uri="{FF2B5EF4-FFF2-40B4-BE49-F238E27FC236}">
                <a16:creationId xmlns:a16="http://schemas.microsoft.com/office/drawing/2014/main" id="{1BFF4060-CCFC-4F49-826C-1537C6401E1A}"/>
              </a:ext>
            </a:extLst>
          </p:cNvPr>
          <p:cNvGrpSpPr/>
          <p:nvPr/>
        </p:nvGrpSpPr>
        <p:grpSpPr>
          <a:xfrm>
            <a:off x="2066394" y="4982494"/>
            <a:ext cx="419644" cy="587501"/>
            <a:chOff x="255550" y="4445955"/>
            <a:chExt cx="419644" cy="587501"/>
          </a:xfrm>
        </p:grpSpPr>
        <p:grpSp>
          <p:nvGrpSpPr>
            <p:cNvPr id="281" name="Group 280">
              <a:extLst>
                <a:ext uri="{FF2B5EF4-FFF2-40B4-BE49-F238E27FC236}">
                  <a16:creationId xmlns:a16="http://schemas.microsoft.com/office/drawing/2014/main" id="{2E2553E6-BDE9-4E25-B5E7-88278B633E29}"/>
                </a:ext>
              </a:extLst>
            </p:cNvPr>
            <p:cNvGrpSpPr>
              <a:grpSpLocks noChangeAspect="1"/>
            </p:cNvGrpSpPr>
            <p:nvPr/>
          </p:nvGrpSpPr>
          <p:grpSpPr>
            <a:xfrm>
              <a:off x="255550" y="4445955"/>
              <a:ext cx="419644" cy="587501"/>
              <a:chOff x="10129764" y="745508"/>
              <a:chExt cx="221963" cy="310748"/>
            </a:xfrm>
          </p:grpSpPr>
          <p:grpSp>
            <p:nvGrpSpPr>
              <p:cNvPr id="283" name="Group 282">
                <a:extLst>
                  <a:ext uri="{FF2B5EF4-FFF2-40B4-BE49-F238E27FC236}">
                    <a16:creationId xmlns:a16="http://schemas.microsoft.com/office/drawing/2014/main" id="{EC3BED04-DD09-411C-8D44-4737CA50CBFC}"/>
                  </a:ext>
                </a:extLst>
              </p:cNvPr>
              <p:cNvGrpSpPr>
                <a:grpSpLocks noChangeAspect="1"/>
              </p:cNvGrpSpPr>
              <p:nvPr/>
            </p:nvGrpSpPr>
            <p:grpSpPr>
              <a:xfrm>
                <a:off x="10129764" y="745508"/>
                <a:ext cx="221963" cy="310748"/>
                <a:chOff x="1373325" y="5272742"/>
                <a:chExt cx="428625" cy="600075"/>
              </a:xfrm>
            </p:grpSpPr>
            <p:sp>
              <p:nvSpPr>
                <p:cNvPr id="285" name="Rectangle 284">
                  <a:extLst>
                    <a:ext uri="{FF2B5EF4-FFF2-40B4-BE49-F238E27FC236}">
                      <a16:creationId xmlns:a16="http://schemas.microsoft.com/office/drawing/2014/main" id="{815DB2EC-E4E6-4C80-BB63-EF6B9130D3B3}"/>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86" name="Graphic 285">
                  <a:extLst>
                    <a:ext uri="{FF2B5EF4-FFF2-40B4-BE49-F238E27FC236}">
                      <a16:creationId xmlns:a16="http://schemas.microsoft.com/office/drawing/2014/main" id="{B30151D5-6620-4C7A-8F44-E1A3FB88D3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4" name="TextBox 283">
                <a:extLst>
                  <a:ext uri="{FF2B5EF4-FFF2-40B4-BE49-F238E27FC236}">
                    <a16:creationId xmlns:a16="http://schemas.microsoft.com/office/drawing/2014/main" id="{21F442E3-8D5A-4E70-B171-33667B3992D0}"/>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82" name="Text Box 804">
              <a:extLst>
                <a:ext uri="{FF2B5EF4-FFF2-40B4-BE49-F238E27FC236}">
                  <a16:creationId xmlns:a16="http://schemas.microsoft.com/office/drawing/2014/main" id="{9549D0C7-F0B7-474E-80A6-E00AE1966D1B}"/>
                </a:ext>
              </a:extLst>
            </p:cNvPr>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00A9D4"/>
                  </a:solidFill>
                  <a:effectLst/>
                  <a:uLnTx/>
                  <a:uFillTx/>
                  <a:latin typeface="+mn-lt"/>
                  <a:ea typeface="ＭＳ Ｐゴシック" pitchFamily="34" charset="-128"/>
                  <a:cs typeface="Arial" charset="0"/>
                </a:rPr>
                <a:t>Virtual Device #2</a:t>
              </a:r>
            </a:p>
          </p:txBody>
        </p:sp>
      </p:grpSp>
      <p:sp>
        <p:nvSpPr>
          <p:cNvPr id="70" name="TextBox 69">
            <a:extLst>
              <a:ext uri="{FF2B5EF4-FFF2-40B4-BE49-F238E27FC236}">
                <a16:creationId xmlns:a16="http://schemas.microsoft.com/office/drawing/2014/main" id="{3D25D698-3E27-413B-9889-FD0322131679}"/>
              </a:ext>
            </a:extLst>
          </p:cNvPr>
          <p:cNvSpPr txBox="1"/>
          <p:nvPr/>
        </p:nvSpPr>
        <p:spPr bwMode="auto">
          <a:xfrm>
            <a:off x="6581441" y="1972346"/>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TextBox 70">
            <a:extLst>
              <a:ext uri="{FF2B5EF4-FFF2-40B4-BE49-F238E27FC236}">
                <a16:creationId xmlns:a16="http://schemas.microsoft.com/office/drawing/2014/main" id="{B5995E1F-60E1-431F-9153-C9E9944A3E87}"/>
              </a:ext>
            </a:extLst>
          </p:cNvPr>
          <p:cNvSpPr txBox="1"/>
          <p:nvPr/>
        </p:nvSpPr>
        <p:spPr bwMode="auto">
          <a:xfrm>
            <a:off x="6144205" y="197610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72" name="TextBox 71">
            <a:extLst>
              <a:ext uri="{FF2B5EF4-FFF2-40B4-BE49-F238E27FC236}">
                <a16:creationId xmlns:a16="http://schemas.microsoft.com/office/drawing/2014/main" id="{46B717E8-D239-4F2E-8E30-98BCABB2E6BC}"/>
              </a:ext>
            </a:extLst>
          </p:cNvPr>
          <p:cNvSpPr txBox="1"/>
          <p:nvPr/>
        </p:nvSpPr>
        <p:spPr bwMode="auto">
          <a:xfrm>
            <a:off x="5657169" y="19827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74" name="Oval 33">
            <a:extLst>
              <a:ext uri="{FF2B5EF4-FFF2-40B4-BE49-F238E27FC236}">
                <a16:creationId xmlns:a16="http://schemas.microsoft.com/office/drawing/2014/main" id="{56F7A253-A01A-4FE7-856E-89C12246A4E9}"/>
              </a:ext>
            </a:extLst>
          </p:cNvPr>
          <p:cNvSpPr>
            <a:spLocks noChangeArrowheads="1"/>
          </p:cNvSpPr>
          <p:nvPr/>
        </p:nvSpPr>
        <p:spPr bwMode="auto">
          <a:xfrm>
            <a:off x="4883379" y="4988561"/>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1</a:t>
            </a:r>
            <a:endParaRPr lang="en-US" altLang="en-US" sz="2000" b="1">
              <a:solidFill>
                <a:srgbClr val="FFFFFF"/>
              </a:solidFill>
              <a:latin typeface="+mn-lt"/>
            </a:endParaRPr>
          </a:p>
        </p:txBody>
      </p:sp>
      <p:sp>
        <p:nvSpPr>
          <p:cNvPr id="79" name="Oval 33">
            <a:extLst>
              <a:ext uri="{FF2B5EF4-FFF2-40B4-BE49-F238E27FC236}">
                <a16:creationId xmlns:a16="http://schemas.microsoft.com/office/drawing/2014/main" id="{7D7730A6-3C4A-497B-A68C-07AF0D8A2943}"/>
              </a:ext>
            </a:extLst>
          </p:cNvPr>
          <p:cNvSpPr>
            <a:spLocks noChangeArrowheads="1"/>
          </p:cNvSpPr>
          <p:nvPr/>
        </p:nvSpPr>
        <p:spPr bwMode="auto">
          <a:xfrm>
            <a:off x="4367062" y="513540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2</a:t>
            </a:r>
            <a:endParaRPr lang="en-US" altLang="en-US" sz="2000" b="1">
              <a:solidFill>
                <a:srgbClr val="FFFFFF"/>
              </a:solidFill>
              <a:latin typeface="+mn-lt"/>
            </a:endParaRPr>
          </a:p>
        </p:txBody>
      </p:sp>
      <p:cxnSp>
        <p:nvCxnSpPr>
          <p:cNvPr id="80" name="Straight Arrow Connector 79">
            <a:extLst>
              <a:ext uri="{FF2B5EF4-FFF2-40B4-BE49-F238E27FC236}">
                <a16:creationId xmlns:a16="http://schemas.microsoft.com/office/drawing/2014/main" id="{BCD33BA3-289D-4228-AD92-F4C8B6CCD6E2}"/>
              </a:ext>
            </a:extLst>
          </p:cNvPr>
          <p:cNvCxnSpPr>
            <a:cxnSpLocks/>
          </p:cNvCxnSpPr>
          <p:nvPr/>
        </p:nvCxnSpPr>
        <p:spPr bwMode="auto">
          <a:xfrm>
            <a:off x="3324802" y="5111914"/>
            <a:ext cx="1216536" cy="0"/>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81" name="AutoShape 10" descr="bpct-blend3">
            <a:extLst>
              <a:ext uri="{FF2B5EF4-FFF2-40B4-BE49-F238E27FC236}">
                <a16:creationId xmlns:a16="http://schemas.microsoft.com/office/drawing/2014/main" id="{C1A2C164-B48E-46CD-84A4-EFA9D7458E8C}"/>
              </a:ext>
            </a:extLst>
          </p:cNvPr>
          <p:cNvSpPr>
            <a:spLocks noChangeAspect="1" noChangeArrowheads="1"/>
          </p:cNvSpPr>
          <p:nvPr/>
        </p:nvSpPr>
        <p:spPr bwMode="auto">
          <a:xfrm>
            <a:off x="3048579" y="4183507"/>
            <a:ext cx="1380692"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a:solidFill>
                  <a:schemeClr val="bg1"/>
                </a:solidFill>
                <a:latin typeface="+mn-lt"/>
                <a:ea typeface="Segoe UI" panose="020B0502040204020203" pitchFamily="34" charset="0"/>
                <a:cs typeface="Segoe UI" panose="020B0502040204020203" pitchFamily="34" charset="0"/>
              </a:rPr>
              <a:t>2) NS selection</a:t>
            </a:r>
            <a:br>
              <a:rPr lang="en-US" sz="1400" b="1">
                <a:solidFill>
                  <a:schemeClr val="bg1"/>
                </a:solidFill>
                <a:latin typeface="+mn-lt"/>
                <a:ea typeface="Segoe UI" panose="020B0502040204020203" pitchFamily="34" charset="0"/>
                <a:cs typeface="Segoe UI" panose="020B0502040204020203" pitchFamily="34" charset="0"/>
              </a:rPr>
            </a:br>
            <a:r>
              <a:rPr lang="en-US" sz="1400" b="1">
                <a:solidFill>
                  <a:schemeClr val="bg1"/>
                </a:solidFill>
                <a:latin typeface="+mn-lt"/>
                <a:ea typeface="Segoe UI" panose="020B0502040204020203" pitchFamily="34" charset="0"/>
                <a:cs typeface="Segoe UI" panose="020B0502040204020203" pitchFamily="34" charset="0"/>
              </a:rPr>
              <a:t>assistance</a:t>
            </a:r>
            <a:br>
              <a:rPr lang="en-US" sz="1400" b="1">
                <a:solidFill>
                  <a:schemeClr val="bg1"/>
                </a:solidFill>
                <a:latin typeface="+mn-lt"/>
                <a:ea typeface="Segoe UI" panose="020B0502040204020203" pitchFamily="34" charset="0"/>
                <a:cs typeface="Segoe UI" panose="020B0502040204020203" pitchFamily="34" charset="0"/>
              </a:rPr>
            </a:br>
            <a:r>
              <a:rPr lang="en-US" sz="1400" b="1">
                <a:solidFill>
                  <a:schemeClr val="bg1"/>
                </a:solidFill>
                <a:latin typeface="+mn-lt"/>
                <a:ea typeface="Segoe UI" panose="020B0502040204020203" pitchFamily="34" charset="0"/>
                <a:cs typeface="Segoe UI" panose="020B0502040204020203" pitchFamily="34" charset="0"/>
              </a:rPr>
              <a:t>Information </a:t>
            </a:r>
            <a:endParaRPr lang="en-US" sz="1400">
              <a:solidFill>
                <a:schemeClr val="bg1"/>
              </a:solidFill>
              <a:latin typeface="+mn-lt"/>
              <a:ea typeface="Segoe UI" panose="020B0502040204020203" pitchFamily="34" charset="0"/>
              <a:cs typeface="Segoe UI" panose="020B0502040204020203" pitchFamily="34" charset="0"/>
            </a:endParaRPr>
          </a:p>
        </p:txBody>
      </p:sp>
      <p:cxnSp>
        <p:nvCxnSpPr>
          <p:cNvPr id="82" name="Straight Arrow Connector 81">
            <a:extLst>
              <a:ext uri="{FF2B5EF4-FFF2-40B4-BE49-F238E27FC236}">
                <a16:creationId xmlns:a16="http://schemas.microsoft.com/office/drawing/2014/main" id="{18F046DE-B726-48EC-A5E2-D99366B2A835}"/>
              </a:ext>
            </a:extLst>
          </p:cNvPr>
          <p:cNvCxnSpPr>
            <a:cxnSpLocks/>
            <a:stCxn id="232" idx="0"/>
            <a:endCxn id="72" idx="2"/>
          </p:cNvCxnSpPr>
          <p:nvPr/>
        </p:nvCxnSpPr>
        <p:spPr bwMode="auto">
          <a:xfrm flipV="1">
            <a:off x="5683640" y="2558287"/>
            <a:ext cx="153529" cy="2328468"/>
          </a:xfrm>
          <a:prstGeom prst="straightConnector1">
            <a:avLst/>
          </a:prstGeom>
          <a:solidFill>
            <a:schemeClr val="accent1"/>
          </a:solidFill>
          <a:ln w="38100" cap="flat" cmpd="sng" algn="ctr">
            <a:solidFill>
              <a:srgbClr val="00285F"/>
            </a:solidFill>
            <a:prstDash val="solid"/>
            <a:round/>
            <a:headEnd type="none" w="med" len="lg"/>
            <a:tailEnd type="triangle" w="med" len="lg"/>
          </a:ln>
          <a:effectLst/>
        </p:spPr>
      </p:cxnSp>
      <p:sp>
        <p:nvSpPr>
          <p:cNvPr id="83" name="Oval 33">
            <a:extLst>
              <a:ext uri="{FF2B5EF4-FFF2-40B4-BE49-F238E27FC236}">
                <a16:creationId xmlns:a16="http://schemas.microsoft.com/office/drawing/2014/main" id="{CF3652F4-3A29-4EAF-B4AF-F37B50DDCB80}"/>
              </a:ext>
            </a:extLst>
          </p:cNvPr>
          <p:cNvSpPr>
            <a:spLocks noChangeArrowheads="1"/>
          </p:cNvSpPr>
          <p:nvPr/>
        </p:nvSpPr>
        <p:spPr bwMode="auto">
          <a:xfrm>
            <a:off x="5519787" y="528798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4</a:t>
            </a:r>
            <a:endParaRPr lang="en-US" altLang="en-US" sz="2000" b="1">
              <a:solidFill>
                <a:srgbClr val="FFFFFF"/>
              </a:solidFill>
              <a:latin typeface="+mn-lt"/>
            </a:endParaRPr>
          </a:p>
        </p:txBody>
      </p:sp>
      <p:sp>
        <p:nvSpPr>
          <p:cNvPr id="87" name="Oval 33">
            <a:extLst>
              <a:ext uri="{FF2B5EF4-FFF2-40B4-BE49-F238E27FC236}">
                <a16:creationId xmlns:a16="http://schemas.microsoft.com/office/drawing/2014/main" id="{DFA6D29D-638B-47B3-8C04-B861A3670963}"/>
              </a:ext>
            </a:extLst>
          </p:cNvPr>
          <p:cNvSpPr>
            <a:spLocks noChangeArrowheads="1"/>
          </p:cNvSpPr>
          <p:nvPr/>
        </p:nvSpPr>
        <p:spPr bwMode="auto">
          <a:xfrm>
            <a:off x="7480377" y="555090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5</a:t>
            </a:r>
          </a:p>
        </p:txBody>
      </p:sp>
      <p:sp>
        <p:nvSpPr>
          <p:cNvPr id="89" name="AutoShape 10" descr="bpct-blend3">
            <a:extLst>
              <a:ext uri="{FF2B5EF4-FFF2-40B4-BE49-F238E27FC236}">
                <a16:creationId xmlns:a16="http://schemas.microsoft.com/office/drawing/2014/main" id="{58F88BCA-5563-4C7E-9057-1EB2612A81B6}"/>
              </a:ext>
            </a:extLst>
          </p:cNvPr>
          <p:cNvSpPr>
            <a:spLocks noChangeAspect="1" noChangeArrowheads="1"/>
          </p:cNvSpPr>
          <p:nvPr/>
        </p:nvSpPr>
        <p:spPr bwMode="auto">
          <a:xfrm>
            <a:off x="5502770" y="5795502"/>
            <a:ext cx="1021646"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a:solidFill>
                  <a:schemeClr val="bg1"/>
                </a:solidFill>
                <a:latin typeface="+mn-lt"/>
                <a:ea typeface="Segoe UI" panose="020B0502040204020203" pitchFamily="34" charset="0"/>
                <a:cs typeface="Segoe UI" panose="020B0502040204020203" pitchFamily="34" charset="0"/>
              </a:rPr>
              <a:t>4) SMF Selection Request</a:t>
            </a:r>
            <a:endParaRPr lang="en-US" sz="1400">
              <a:solidFill>
                <a:schemeClr val="bg1"/>
              </a:solidFill>
              <a:latin typeface="+mn-lt"/>
              <a:ea typeface="Segoe UI" panose="020B0502040204020203" pitchFamily="34" charset="0"/>
              <a:cs typeface="Segoe UI" panose="020B0502040204020203" pitchFamily="34" charset="0"/>
            </a:endParaRPr>
          </a:p>
        </p:txBody>
      </p:sp>
      <p:sp>
        <p:nvSpPr>
          <p:cNvPr id="92" name="AutoShape 10" descr="bpct-blend3">
            <a:extLst>
              <a:ext uri="{FF2B5EF4-FFF2-40B4-BE49-F238E27FC236}">
                <a16:creationId xmlns:a16="http://schemas.microsoft.com/office/drawing/2014/main" id="{C7EA1A40-981B-44B8-B4DA-95E5EC4EA030}"/>
              </a:ext>
            </a:extLst>
          </p:cNvPr>
          <p:cNvSpPr>
            <a:spLocks noChangeAspect="1" noChangeArrowheads="1"/>
          </p:cNvSpPr>
          <p:nvPr/>
        </p:nvSpPr>
        <p:spPr bwMode="auto">
          <a:xfrm>
            <a:off x="3579884" y="2775797"/>
            <a:ext cx="1289875"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a:solidFill>
                  <a:schemeClr val="bg1"/>
                </a:solidFill>
                <a:latin typeface="+mn-lt"/>
                <a:ea typeface="Segoe UI" panose="020B0502040204020203" pitchFamily="34" charset="0"/>
                <a:cs typeface="Segoe UI" panose="020B0502040204020203" pitchFamily="34" charset="0"/>
              </a:rPr>
              <a:t>1) Supported Slices</a:t>
            </a:r>
            <a:endParaRPr lang="en-US" sz="1400">
              <a:solidFill>
                <a:schemeClr val="bg1"/>
              </a:solidFill>
              <a:latin typeface="+mn-lt"/>
              <a:ea typeface="Segoe UI" panose="020B0502040204020203" pitchFamily="34" charset="0"/>
              <a:cs typeface="Segoe UI" panose="020B0502040204020203" pitchFamily="34" charset="0"/>
            </a:endParaRPr>
          </a:p>
        </p:txBody>
      </p:sp>
      <p:cxnSp>
        <p:nvCxnSpPr>
          <p:cNvPr id="94" name="Straight Arrow Connector 93">
            <a:extLst>
              <a:ext uri="{FF2B5EF4-FFF2-40B4-BE49-F238E27FC236}">
                <a16:creationId xmlns:a16="http://schemas.microsoft.com/office/drawing/2014/main" id="{29BD6F72-C2D0-4878-BC17-6AF52DCBF022}"/>
              </a:ext>
            </a:extLst>
          </p:cNvPr>
          <p:cNvCxnSpPr>
            <a:cxnSpLocks/>
          </p:cNvCxnSpPr>
          <p:nvPr/>
        </p:nvCxnSpPr>
        <p:spPr bwMode="auto">
          <a:xfrm flipH="1" flipV="1">
            <a:off x="4762041" y="3854272"/>
            <a:ext cx="568994" cy="4242"/>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95" name="Oval 33">
            <a:extLst>
              <a:ext uri="{FF2B5EF4-FFF2-40B4-BE49-F238E27FC236}">
                <a16:creationId xmlns:a16="http://schemas.microsoft.com/office/drawing/2014/main" id="{C0C8C728-F40A-4DE1-AF1C-1D8C558749F0}"/>
              </a:ext>
            </a:extLst>
          </p:cNvPr>
          <p:cNvSpPr>
            <a:spLocks noChangeArrowheads="1"/>
          </p:cNvSpPr>
          <p:nvPr/>
        </p:nvSpPr>
        <p:spPr bwMode="auto">
          <a:xfrm>
            <a:off x="5434370" y="2376982"/>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3</a:t>
            </a:r>
            <a:endParaRPr lang="en-US" altLang="en-US" sz="2000" b="1">
              <a:solidFill>
                <a:srgbClr val="FFFFFF"/>
              </a:solidFill>
              <a:latin typeface="+mn-lt"/>
            </a:endParaRPr>
          </a:p>
        </p:txBody>
      </p:sp>
      <p:sp>
        <p:nvSpPr>
          <p:cNvPr id="96" name="AutoShape 10" descr="bpct-blend3">
            <a:extLst>
              <a:ext uri="{FF2B5EF4-FFF2-40B4-BE49-F238E27FC236}">
                <a16:creationId xmlns:a16="http://schemas.microsoft.com/office/drawing/2014/main" id="{23B5E05E-5229-4A90-B004-A53F18E231DE}"/>
              </a:ext>
            </a:extLst>
          </p:cNvPr>
          <p:cNvSpPr>
            <a:spLocks noChangeAspect="1" noChangeArrowheads="1"/>
          </p:cNvSpPr>
          <p:nvPr/>
        </p:nvSpPr>
        <p:spPr bwMode="auto">
          <a:xfrm>
            <a:off x="7333588" y="5995190"/>
            <a:ext cx="915349" cy="590012"/>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a:solidFill>
                  <a:schemeClr val="bg1"/>
                </a:solidFill>
                <a:latin typeface="+mn-lt"/>
                <a:ea typeface="Segoe UI" panose="020B0502040204020203" pitchFamily="34" charset="0"/>
                <a:cs typeface="Segoe UI" panose="020B0502040204020203" pitchFamily="34" charset="0"/>
              </a:rPr>
              <a:t>5) </a:t>
            </a:r>
            <a:r>
              <a:rPr lang="en-US" altLang="en-US" sz="1400" b="1">
                <a:solidFill>
                  <a:schemeClr val="bg1"/>
                </a:solidFill>
                <a:latin typeface="+mn-lt"/>
                <a:ea typeface="Segoe UI" panose="020B0502040204020203" pitchFamily="34" charset="0"/>
                <a:cs typeface="Segoe UI" panose="020B0502040204020203" pitchFamily="34" charset="0"/>
              </a:rPr>
              <a:t>SMF select UPF</a:t>
            </a:r>
            <a:endParaRPr lang="en-US" sz="1400" b="1">
              <a:solidFill>
                <a:schemeClr val="bg1"/>
              </a:solidFill>
              <a:latin typeface="+mn-lt"/>
              <a:ea typeface="Segoe UI" panose="020B0502040204020203" pitchFamily="34" charset="0"/>
              <a:cs typeface="Segoe UI" panose="020B0502040204020203" pitchFamily="34" charset="0"/>
            </a:endParaRPr>
          </a:p>
        </p:txBody>
      </p:sp>
      <p:sp>
        <p:nvSpPr>
          <p:cNvPr id="78" name="Oval 33">
            <a:extLst>
              <a:ext uri="{FF2B5EF4-FFF2-40B4-BE49-F238E27FC236}">
                <a16:creationId xmlns:a16="http://schemas.microsoft.com/office/drawing/2014/main" id="{A0E20730-0B1F-4FF3-B26D-30C5B9EA879E}"/>
              </a:ext>
            </a:extLst>
          </p:cNvPr>
          <p:cNvSpPr>
            <a:spLocks noChangeArrowheads="1"/>
          </p:cNvSpPr>
          <p:nvPr/>
        </p:nvSpPr>
        <p:spPr bwMode="auto">
          <a:xfrm>
            <a:off x="4884259" y="3607179"/>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latin typeface="+mn-lt"/>
              </a:rPr>
              <a:t>1</a:t>
            </a:r>
            <a:endParaRPr lang="en-US" altLang="en-US" sz="2000" b="1">
              <a:solidFill>
                <a:srgbClr val="FFFFFF"/>
              </a:solidFill>
              <a:latin typeface="+mn-lt"/>
            </a:endParaRPr>
          </a:p>
        </p:txBody>
      </p:sp>
      <p:sp>
        <p:nvSpPr>
          <p:cNvPr id="88" name="AutoShape 10" descr="bpct-blend3">
            <a:extLst>
              <a:ext uri="{FF2B5EF4-FFF2-40B4-BE49-F238E27FC236}">
                <a16:creationId xmlns:a16="http://schemas.microsoft.com/office/drawing/2014/main" id="{7E015CBF-7F98-4594-BCE5-DB90B5FBEF85}"/>
              </a:ext>
            </a:extLst>
          </p:cNvPr>
          <p:cNvSpPr>
            <a:spLocks noChangeAspect="1" noChangeArrowheads="1"/>
          </p:cNvSpPr>
          <p:nvPr/>
        </p:nvSpPr>
        <p:spPr bwMode="auto">
          <a:xfrm>
            <a:off x="5278567" y="3762152"/>
            <a:ext cx="1020980" cy="689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a:solidFill>
                  <a:schemeClr val="bg1"/>
                </a:solidFill>
                <a:latin typeface="+mn-lt"/>
                <a:ea typeface="Segoe UI" panose="020B0502040204020203" pitchFamily="34" charset="0"/>
                <a:cs typeface="Segoe UI" panose="020B0502040204020203" pitchFamily="34" charset="0"/>
              </a:rPr>
              <a:t>3) Slice Selection Request</a:t>
            </a:r>
            <a:endParaRPr lang="en-US" sz="140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91670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9" grpId="0" animBg="1"/>
      <p:bldP spid="81" grpId="0" animBg="1"/>
      <p:bldP spid="83" grpId="0" animBg="1"/>
      <p:bldP spid="87" grpId="0" animBg="1"/>
      <p:bldP spid="89" grpId="0" animBg="1"/>
      <p:bldP spid="92" grpId="0" animBg="1"/>
      <p:bldP spid="95" grpId="0" animBg="1"/>
      <p:bldP spid="96" grpId="0" animBg="1"/>
      <p:bldP spid="78" grpId="0" animBg="1"/>
      <p:bldP spid="8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D79C2A7-3ED9-4E78-84CC-35996912E4F0}"/>
              </a:ext>
            </a:extLst>
          </p:cNvPr>
          <p:cNvSpPr/>
          <p:nvPr/>
        </p:nvSpPr>
        <p:spPr bwMode="auto">
          <a:xfrm>
            <a:off x="5213082" y="1797737"/>
            <a:ext cx="2120506" cy="800749"/>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sv-SE" sz="1100" b="0" i="0" u="none" strike="noStrike" kern="0" cap="none" spc="0" normalizeH="0" baseline="0" noProof="0">
                <a:ln>
                  <a:noFill/>
                </a:ln>
                <a:effectLst/>
                <a:uLnTx/>
                <a:uFillTx/>
                <a:latin typeface="+mn-lt"/>
              </a:rPr>
              <a:t>NFs shared across nw slices </a:t>
            </a:r>
            <a:endParaRPr kumimoji="0" lang="en-US" sz="1100" b="0" i="0" u="none" strike="noStrike" kern="0" cap="none" spc="0" normalizeH="0" baseline="0" noProof="0">
              <a:ln>
                <a:noFill/>
              </a:ln>
              <a:effectLst/>
              <a:uLnTx/>
              <a:uFillTx/>
              <a:latin typeface="+mn-lt"/>
            </a:endParaRPr>
          </a:p>
        </p:txBody>
      </p:sp>
      <p:sp>
        <p:nvSpPr>
          <p:cNvPr id="2" name="Title 1"/>
          <p:cNvSpPr>
            <a:spLocks noGrp="1"/>
          </p:cNvSpPr>
          <p:nvPr>
            <p:ph type="title"/>
          </p:nvPr>
        </p:nvSpPr>
        <p:spPr>
          <a:xfrm>
            <a:off x="479424" y="476250"/>
            <a:ext cx="10647755" cy="1081088"/>
          </a:xfrm>
        </p:spPr>
        <p:txBody>
          <a:bodyPr>
            <a:normAutofit/>
          </a:bodyPr>
          <a:lstStyle/>
          <a:p>
            <a:r>
              <a:rPr lang="sv-SE"/>
              <a:t>Network Slicing in 5G – a UE connected to multiple Network Slices</a:t>
            </a:r>
            <a:endParaRPr lang="es-ES_tradnl"/>
          </a:p>
        </p:txBody>
      </p:sp>
      <p:sp>
        <p:nvSpPr>
          <p:cNvPr id="3" name="Rectangle 2"/>
          <p:cNvSpPr/>
          <p:nvPr/>
        </p:nvSpPr>
        <p:spPr bwMode="auto">
          <a:xfrm>
            <a:off x="4261449" y="4123009"/>
            <a:ext cx="5003619" cy="89753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1</a:t>
            </a:r>
          </a:p>
        </p:txBody>
      </p:sp>
      <p:sp>
        <p:nvSpPr>
          <p:cNvPr id="4" name="Rectangle 3"/>
          <p:cNvSpPr/>
          <p:nvPr/>
        </p:nvSpPr>
        <p:spPr bwMode="auto">
          <a:xfrm>
            <a:off x="4261450" y="5053522"/>
            <a:ext cx="5003618" cy="86849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solidFill>
                  <a:schemeClr val="tx1"/>
                </a:solidFill>
                <a:effectLst/>
                <a:uLnTx/>
                <a:uFillTx/>
                <a:latin typeface="+mn-lt"/>
              </a:rPr>
              <a:t>NSI #2</a:t>
            </a:r>
          </a:p>
        </p:txBody>
      </p:sp>
      <p:sp>
        <p:nvSpPr>
          <p:cNvPr id="6" name="Rectangle 5"/>
          <p:cNvSpPr/>
          <p:nvPr/>
        </p:nvSpPr>
        <p:spPr bwMode="auto">
          <a:xfrm>
            <a:off x="4261450" y="2660264"/>
            <a:ext cx="5003618" cy="1431346"/>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a:ln>
                  <a:noFill/>
                </a:ln>
                <a:effectLst/>
                <a:uLnTx/>
                <a:uFillTx/>
                <a:latin typeface="+mn-lt"/>
              </a:rPr>
              <a:t>NSI # 0</a:t>
            </a:r>
          </a:p>
        </p:txBody>
      </p:sp>
      <p:sp>
        <p:nvSpPr>
          <p:cNvPr id="8" name="Freeform 3"/>
          <p:cNvSpPr>
            <a:spLocks noChangeAspect="1"/>
          </p:cNvSpPr>
          <p:nvPr/>
        </p:nvSpPr>
        <p:spPr bwMode="auto">
          <a:xfrm>
            <a:off x="9891227" y="3677919"/>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85F"/>
              </a:solidFill>
              <a:effectLst/>
              <a:uLnTx/>
              <a:uFillTx/>
              <a:latin typeface="+mn-lt"/>
            </a:endParaRPr>
          </a:p>
        </p:txBody>
      </p:sp>
      <p:sp>
        <p:nvSpPr>
          <p:cNvPr id="9" name="Rectangle 44"/>
          <p:cNvSpPr>
            <a:spLocks noChangeArrowheads="1"/>
          </p:cNvSpPr>
          <p:nvPr/>
        </p:nvSpPr>
        <p:spPr bwMode="auto">
          <a:xfrm flipV="1">
            <a:off x="2699572" y="4493984"/>
            <a:ext cx="862203" cy="968263"/>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1</a:t>
            </a:r>
            <a:endParaRPr kumimoji="0" lang="sv-SE" sz="800" b="1" i="0" u="none" strike="sngStrike" kern="0" cap="none" spc="0" normalizeH="0" baseline="0" noProof="0">
              <a:ln>
                <a:noFill/>
              </a:ln>
              <a:solidFill>
                <a:srgbClr val="58585A"/>
              </a:solidFill>
              <a:effectLst/>
              <a:uLnTx/>
              <a:uFillTx/>
              <a:latin typeface="+mn-lt"/>
            </a:endParaRPr>
          </a:p>
        </p:txBody>
      </p:sp>
      <p:sp>
        <p:nvSpPr>
          <p:cNvPr id="13" name="Text Box 804"/>
          <p:cNvSpPr txBox="1">
            <a:spLocks noChangeArrowheads="1"/>
          </p:cNvSpPr>
          <p:nvPr/>
        </p:nvSpPr>
        <p:spPr bwMode="auto">
          <a:xfrm>
            <a:off x="2968234" y="48598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14" name="Rectangle 805"/>
          <p:cNvSpPr>
            <a:spLocks noChangeArrowheads="1"/>
          </p:cNvSpPr>
          <p:nvPr/>
        </p:nvSpPr>
        <p:spPr bwMode="auto">
          <a:xfrm>
            <a:off x="2947649" y="4588853"/>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16" name="Straight Connector 248"/>
          <p:cNvCxnSpPr>
            <a:cxnSpLocks noChangeShapeType="1"/>
            <a:stCxn id="21" idx="3"/>
            <a:endCxn id="264" idx="1"/>
          </p:cNvCxnSpPr>
          <p:nvPr/>
        </p:nvCxnSpPr>
        <p:spPr bwMode="auto">
          <a:xfrm>
            <a:off x="2439055" y="4605834"/>
            <a:ext cx="477052" cy="3473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248"/>
          <p:cNvCxnSpPr>
            <a:cxnSpLocks noChangeShapeType="1"/>
            <a:stCxn id="286" idx="3"/>
            <a:endCxn id="264" idx="1"/>
          </p:cNvCxnSpPr>
          <p:nvPr/>
        </p:nvCxnSpPr>
        <p:spPr bwMode="auto">
          <a:xfrm flipV="1">
            <a:off x="2486038" y="4953215"/>
            <a:ext cx="430069" cy="32303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19" name="AutoShape 802"/>
          <p:cNvSpPr>
            <a:spLocks noChangeArrowheads="1"/>
          </p:cNvSpPr>
          <p:nvPr/>
        </p:nvSpPr>
        <p:spPr bwMode="auto">
          <a:xfrm>
            <a:off x="2165501" y="3654971"/>
            <a:ext cx="352940" cy="368853"/>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0" name="Oval 803"/>
          <p:cNvSpPr>
            <a:spLocks noChangeArrowheads="1"/>
          </p:cNvSpPr>
          <p:nvPr/>
        </p:nvSpPr>
        <p:spPr bwMode="auto">
          <a:xfrm>
            <a:off x="2163484" y="3512871"/>
            <a:ext cx="354957" cy="357767"/>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22" name="Rectangle 805"/>
          <p:cNvSpPr>
            <a:spLocks noChangeArrowheads="1"/>
          </p:cNvSpPr>
          <p:nvPr/>
        </p:nvSpPr>
        <p:spPr bwMode="auto">
          <a:xfrm>
            <a:off x="2158442" y="3505817"/>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sp>
        <p:nvSpPr>
          <p:cNvPr id="30" name="Freeform 3"/>
          <p:cNvSpPr>
            <a:spLocks noChangeAspect="1"/>
          </p:cNvSpPr>
          <p:nvPr/>
        </p:nvSpPr>
        <p:spPr bwMode="auto">
          <a:xfrm>
            <a:off x="9895580" y="5457452"/>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31" name="Straight Connector 248"/>
          <p:cNvCxnSpPr>
            <a:cxnSpLocks noChangeShapeType="1"/>
          </p:cNvCxnSpPr>
          <p:nvPr/>
        </p:nvCxnSpPr>
        <p:spPr bwMode="auto">
          <a:xfrm flipV="1">
            <a:off x="3326723" y="4853688"/>
            <a:ext cx="1162368" cy="9286"/>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32" name="Elbow Connector 21"/>
          <p:cNvCxnSpPr>
            <a:cxnSpLocks/>
          </p:cNvCxnSpPr>
          <p:nvPr/>
        </p:nvCxnSpPr>
        <p:spPr bwMode="auto">
          <a:xfrm flipV="1">
            <a:off x="4878628" y="3952252"/>
            <a:ext cx="5003618" cy="665489"/>
          </a:xfrm>
          <a:prstGeom prst="bentConnector3">
            <a:avLst>
              <a:gd name="adj1" fmla="val -103"/>
            </a:avLst>
          </a:prstGeom>
          <a:solidFill>
            <a:schemeClr val="accent1"/>
          </a:solidFill>
          <a:ln w="12700" cap="flat" cmpd="sng" algn="ctr">
            <a:solidFill>
              <a:schemeClr val="tx1"/>
            </a:solidFill>
            <a:prstDash val="solid"/>
            <a:round/>
            <a:headEnd type="none" w="med" len="med"/>
            <a:tailEnd type="none" w="med" len="med"/>
          </a:ln>
          <a:effectLst/>
        </p:spPr>
      </p:cxnSp>
      <p:cxnSp>
        <p:nvCxnSpPr>
          <p:cNvPr id="34" name="Straight Connector 248"/>
          <p:cNvCxnSpPr>
            <a:cxnSpLocks noChangeShapeType="1"/>
          </p:cNvCxnSpPr>
          <p:nvPr/>
        </p:nvCxnSpPr>
        <p:spPr bwMode="auto">
          <a:xfrm>
            <a:off x="3335751" y="5020543"/>
            <a:ext cx="1138933" cy="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35" name="Straight Connector 248"/>
          <p:cNvCxnSpPr>
            <a:cxnSpLocks noChangeShapeType="1"/>
          </p:cNvCxnSpPr>
          <p:nvPr/>
        </p:nvCxnSpPr>
        <p:spPr bwMode="auto">
          <a:xfrm>
            <a:off x="3335751" y="4902618"/>
            <a:ext cx="113893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45" name="Straight Connector 169"/>
          <p:cNvCxnSpPr>
            <a:cxnSpLocks/>
          </p:cNvCxnSpPr>
          <p:nvPr/>
        </p:nvCxnSpPr>
        <p:spPr bwMode="auto">
          <a:xfrm flipV="1">
            <a:off x="4922524" y="4840148"/>
            <a:ext cx="4987153" cy="1"/>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203"/>
          <p:cNvCxnSpPr>
            <a:cxnSpLocks noChangeShapeType="1"/>
            <a:stCxn id="249" idx="1"/>
            <a:endCxn id="232" idx="0"/>
          </p:cNvCxnSpPr>
          <p:nvPr/>
        </p:nvCxnSpPr>
        <p:spPr bwMode="auto">
          <a:xfrm rot="10800000" flipV="1">
            <a:off x="5683641" y="4503905"/>
            <a:ext cx="185469" cy="38285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1" name="Straight Connector 203"/>
          <p:cNvCxnSpPr>
            <a:cxnSpLocks noChangeShapeType="1"/>
          </p:cNvCxnSpPr>
          <p:nvPr/>
        </p:nvCxnSpPr>
        <p:spPr bwMode="auto">
          <a:xfrm>
            <a:off x="6921462" y="3693892"/>
            <a:ext cx="1399473" cy="17343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p:cNvCxnSpPr>
          <p:nvPr/>
        </p:nvCxnSpPr>
        <p:spPr bwMode="auto">
          <a:xfrm rot="10800000" flipV="1">
            <a:off x="5625250" y="2889119"/>
            <a:ext cx="372770" cy="450545"/>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169"/>
          <p:cNvCxnSpPr>
            <a:cxnSpLocks/>
          </p:cNvCxnSpPr>
          <p:nvPr/>
        </p:nvCxnSpPr>
        <p:spPr bwMode="auto">
          <a:xfrm rot="5400000" flipH="1" flipV="1">
            <a:off x="4662765" y="3887178"/>
            <a:ext cx="858240" cy="606745"/>
          </a:xfrm>
          <a:prstGeom prst="bentConnector2">
            <a:avLst/>
          </a:prstGeom>
          <a:solidFill>
            <a:schemeClr val="accent1"/>
          </a:solidFill>
          <a:ln w="12700" cap="flat" cmpd="sng" algn="ctr">
            <a:solidFill>
              <a:schemeClr val="tx1"/>
            </a:solidFill>
            <a:prstDash val="dash"/>
            <a:round/>
            <a:headEnd type="none" w="med" len="med"/>
            <a:tailEnd type="none" w="med" len="med"/>
          </a:ln>
          <a:effectLst/>
        </p:spPr>
      </p:cxnSp>
      <p:sp>
        <p:nvSpPr>
          <p:cNvPr id="76" name="Freeform 3"/>
          <p:cNvSpPr>
            <a:spLocks noChangeAspect="1"/>
          </p:cNvSpPr>
          <p:nvPr/>
        </p:nvSpPr>
        <p:spPr bwMode="auto">
          <a:xfrm>
            <a:off x="9888507" y="4517593"/>
            <a:ext cx="635817" cy="403476"/>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77" name="Straight Connector 169"/>
          <p:cNvCxnSpPr>
            <a:cxnSpLocks/>
          </p:cNvCxnSpPr>
          <p:nvPr/>
        </p:nvCxnSpPr>
        <p:spPr bwMode="auto">
          <a:xfrm>
            <a:off x="4685374" y="5086612"/>
            <a:ext cx="5196872" cy="696562"/>
          </a:xfrm>
          <a:prstGeom prst="bentConnector3">
            <a:avLst>
              <a:gd name="adj1" fmla="val 147"/>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169"/>
          <p:cNvCxnSpPr>
            <a:cxnSpLocks/>
            <a:endCxn id="247" idx="1"/>
          </p:cNvCxnSpPr>
          <p:nvPr/>
        </p:nvCxnSpPr>
        <p:spPr bwMode="auto">
          <a:xfrm>
            <a:off x="7869015" y="5530607"/>
            <a:ext cx="329875" cy="39389"/>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cxnSp>
        <p:nvCxnSpPr>
          <p:cNvPr id="85" name="Straight Connector 203"/>
          <p:cNvCxnSpPr>
            <a:cxnSpLocks noChangeShapeType="1"/>
            <a:stCxn id="232" idx="1"/>
          </p:cNvCxnSpPr>
          <p:nvPr/>
        </p:nvCxnSpPr>
        <p:spPr bwMode="auto">
          <a:xfrm rot="10800000">
            <a:off x="4922526" y="5024670"/>
            <a:ext cx="581114" cy="149832"/>
          </a:xfrm>
          <a:prstGeom prst="bentConnector3">
            <a:avLst>
              <a:gd name="adj1" fmla="val 3688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Rectangle 44"/>
          <p:cNvSpPr>
            <a:spLocks noChangeArrowheads="1"/>
          </p:cNvSpPr>
          <p:nvPr/>
        </p:nvSpPr>
        <p:spPr bwMode="auto">
          <a:xfrm flipV="1">
            <a:off x="2699572" y="3472744"/>
            <a:ext cx="862203" cy="839076"/>
          </a:xfrm>
          <a:prstGeom prst="rect">
            <a:avLst/>
          </a:prstGeom>
          <a:solidFill>
            <a:schemeClr val="bg1">
              <a:lumMod val="85000"/>
            </a:schemeClr>
          </a:solidFill>
          <a:ln w="12700" algn="ctr">
            <a:noFill/>
            <a:miter lim="800000"/>
            <a:headEnd/>
            <a:tailEnd/>
          </a:ln>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58585A"/>
                </a:solidFill>
                <a:effectLst/>
                <a:uLnTx/>
                <a:uFillTx/>
                <a:latin typeface="+mn-lt"/>
              </a:rPr>
              <a:t>Device #0</a:t>
            </a:r>
          </a:p>
        </p:txBody>
      </p:sp>
      <p:sp>
        <p:nvSpPr>
          <p:cNvPr id="90" name="Text Box 804"/>
          <p:cNvSpPr txBox="1">
            <a:spLocks noChangeArrowheads="1"/>
          </p:cNvSpPr>
          <p:nvPr/>
        </p:nvSpPr>
        <p:spPr bwMode="auto">
          <a:xfrm>
            <a:off x="2950989" y="3770186"/>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800" b="0" i="0" u="none" strike="noStrike" kern="0" cap="none" spc="0" normalizeH="0" baseline="0" noProof="0">
                <a:ln>
                  <a:noFill/>
                </a:ln>
                <a:solidFill>
                  <a:srgbClr val="58585A"/>
                </a:solidFill>
                <a:effectLst/>
                <a:uLnTx/>
                <a:uFillTx/>
                <a:latin typeface="+mn-lt"/>
                <a:ea typeface="ＭＳ Ｐゴシック" pitchFamily="34" charset="-128"/>
                <a:cs typeface="Arial" charset="0"/>
              </a:rPr>
              <a:t>Device</a:t>
            </a:r>
          </a:p>
        </p:txBody>
      </p:sp>
      <p:sp>
        <p:nvSpPr>
          <p:cNvPr id="91" name="Rectangle 805"/>
          <p:cNvSpPr>
            <a:spLocks noChangeArrowheads="1"/>
          </p:cNvSpPr>
          <p:nvPr/>
        </p:nvSpPr>
        <p:spPr bwMode="auto">
          <a:xfrm>
            <a:off x="2944210" y="3594451"/>
            <a:ext cx="366049" cy="52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8585A"/>
              </a:solidFill>
              <a:effectLst/>
              <a:uLnTx/>
              <a:uFillTx/>
              <a:latin typeface="+mn-lt"/>
            </a:endParaRPr>
          </a:p>
        </p:txBody>
      </p:sp>
      <p:cxnSp>
        <p:nvCxnSpPr>
          <p:cNvPr id="93" name="Straight Connector 248"/>
          <p:cNvCxnSpPr>
            <a:cxnSpLocks noChangeShapeType="1"/>
            <a:stCxn id="272" idx="3"/>
          </p:cNvCxnSpPr>
          <p:nvPr/>
        </p:nvCxnSpPr>
        <p:spPr bwMode="auto">
          <a:xfrm>
            <a:off x="3326723" y="3854273"/>
            <a:ext cx="1259625" cy="821924"/>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Lst>
        </p:spPr>
      </p:cxnSp>
      <p:cxnSp>
        <p:nvCxnSpPr>
          <p:cNvPr id="119" name="Straight Connector 248"/>
          <p:cNvCxnSpPr>
            <a:cxnSpLocks noChangeShapeType="1"/>
          </p:cNvCxnSpPr>
          <p:nvPr/>
        </p:nvCxnSpPr>
        <p:spPr bwMode="auto">
          <a:xfrm>
            <a:off x="3305024" y="4043056"/>
            <a:ext cx="1172061" cy="758098"/>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Lst>
        </p:spPr>
      </p:cxnSp>
      <p:cxnSp>
        <p:nvCxnSpPr>
          <p:cNvPr id="154" name="Straight Connector 204"/>
          <p:cNvCxnSpPr>
            <a:cxnSpLocks/>
            <a:stCxn id="254" idx="1"/>
            <a:endCxn id="249" idx="3"/>
          </p:cNvCxnSpPr>
          <p:nvPr/>
        </p:nvCxnSpPr>
        <p:spPr bwMode="auto">
          <a:xfrm rot="10800000">
            <a:off x="6300969" y="4503905"/>
            <a:ext cx="1199670" cy="878"/>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7" name="Rectangle 166"/>
          <p:cNvSpPr/>
          <p:nvPr/>
        </p:nvSpPr>
        <p:spPr bwMode="auto">
          <a:xfrm>
            <a:off x="4343171" y="1994962"/>
            <a:ext cx="712602" cy="4035302"/>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t" anchorCtr="0" compatLnSpc="1">
            <a:prstTxWarp prst="textNoShape">
              <a:avLst/>
            </a:prstTxWarp>
          </a:bodyPr>
          <a:lstStyle/>
          <a:p>
            <a:pPr lvl="0" algn="ctr">
              <a:defRPr/>
            </a:pPr>
            <a:r>
              <a:rPr kumimoji="0" lang="en-US" sz="1100" b="0" i="0" u="none" strike="noStrike" kern="0" cap="none" spc="0" normalizeH="0" baseline="0" noProof="0">
                <a:ln>
                  <a:noFill/>
                </a:ln>
                <a:solidFill>
                  <a:schemeClr val="tx1"/>
                </a:solidFill>
                <a:effectLst/>
                <a:uLnTx/>
                <a:uFillTx/>
                <a:latin typeface="+mn-lt"/>
              </a:rPr>
              <a:t>RAN</a:t>
            </a:r>
            <a:br>
              <a:rPr kumimoji="0" lang="en-US" sz="1100" b="0" i="0" u="none" strike="noStrike" kern="0" cap="none" spc="0" normalizeH="0" baseline="0" noProof="0">
                <a:ln>
                  <a:noFill/>
                </a:ln>
                <a:solidFill>
                  <a:schemeClr val="tx1"/>
                </a:solidFill>
                <a:effectLst/>
                <a:uLnTx/>
                <a:uFillTx/>
                <a:latin typeface="+mn-lt"/>
              </a:rPr>
            </a:br>
            <a:r>
              <a:rPr lang="en-US" sz="900" kern="0">
                <a:latin typeface="+mn-lt"/>
              </a:rPr>
              <a:t>(Shared resource in </a:t>
            </a:r>
            <a:r>
              <a:rPr lang="en-US" sz="900" kern="0" err="1">
                <a:latin typeface="+mn-lt"/>
              </a:rPr>
              <a:t>gNB</a:t>
            </a:r>
            <a:r>
              <a:rPr kumimoji="0" lang="en-US" sz="900" b="0" i="0" u="none" strike="noStrike" kern="0" cap="none" spc="0" normalizeH="0" baseline="0" noProof="0">
                <a:ln>
                  <a:noFill/>
                </a:ln>
                <a:solidFill>
                  <a:schemeClr val="tx1"/>
                </a:solidFill>
                <a:effectLst/>
                <a:uLnTx/>
                <a:uFillTx/>
                <a:latin typeface="+mn-lt"/>
              </a:rPr>
              <a:t>)</a:t>
            </a:r>
            <a:endParaRPr kumimoji="0" lang="en-US" sz="1100" b="0" i="0" u="none" strike="noStrike" kern="0" cap="none" spc="0" normalizeH="0" baseline="0" noProof="0">
              <a:ln>
                <a:noFill/>
              </a:ln>
              <a:solidFill>
                <a:schemeClr val="tx1"/>
              </a:solidFill>
              <a:effectLst/>
              <a:uLnTx/>
              <a:uFillTx/>
              <a:latin typeface="+mn-lt"/>
            </a:endParaRPr>
          </a:p>
        </p:txBody>
      </p:sp>
      <p:sp>
        <p:nvSpPr>
          <p:cNvPr id="168" name="Rectangle 167"/>
          <p:cNvSpPr/>
          <p:nvPr/>
        </p:nvSpPr>
        <p:spPr bwMode="auto">
          <a:xfrm>
            <a:off x="5199809" y="4177963"/>
            <a:ext cx="2030398" cy="1679779"/>
          </a:xfrm>
          <a:prstGeom prst="rect">
            <a:avLst/>
          </a:prstGeom>
          <a:noFill/>
          <a:ln w="28575" cap="flat" cmpd="sng" algn="ctr">
            <a:solidFill>
              <a:schemeClr val="accent1"/>
            </a:solidFill>
            <a:prstDash val="sysDot"/>
            <a:round/>
            <a:headEnd type="none" w="med" len="med"/>
            <a:tailEnd type="none" w="med" len="med"/>
          </a:ln>
          <a:effectLst>
            <a:glow rad="63500">
              <a:schemeClr val="bg1">
                <a:alpha val="40000"/>
              </a:schemeClr>
            </a:glow>
          </a:effectLst>
        </p:spPr>
        <p:txBody>
          <a:bodyPr vert="horz" wrap="square" lIns="18000" tIns="18000" rIns="18000" bIns="18000" numCol="1" rtlCol="0" anchor="b" anchorCtr="0" compatLnSpc="1">
            <a:prstTxWarp prst="textNoShape">
              <a:avLst/>
            </a:prstTxWarp>
          </a:bodyPr>
          <a:lstStyle/>
          <a:p>
            <a:pPr marL="0" marR="0" lvl="0" indent="0" defTabSz="914400" rtl="0" eaLnBrk="1" fontAlgn="base" latinLnBrk="0" hangingPunct="1">
              <a:spcBef>
                <a:spcPts val="0"/>
              </a:spcBef>
              <a:spcAft>
                <a:spcPts val="0"/>
              </a:spcAft>
              <a:buClrTx/>
              <a:buSzTx/>
              <a:buFontTx/>
              <a:buNone/>
              <a:tabLst/>
              <a:defRPr/>
            </a:pPr>
            <a:r>
              <a:rPr lang="en-US" sz="1100" kern="0">
                <a:latin typeface="+mn-lt"/>
              </a:rPr>
              <a:t> Shared NFs</a:t>
            </a:r>
          </a:p>
          <a:p>
            <a:pPr marL="0" marR="0" lvl="0" indent="0" defTabSz="914400" rtl="0" eaLnBrk="1" fontAlgn="base" latinLnBrk="0" hangingPunct="1">
              <a:spcBef>
                <a:spcPts val="0"/>
              </a:spcBef>
              <a:spcAft>
                <a:spcPts val="0"/>
              </a:spcAft>
              <a:buClrTx/>
              <a:buSzTx/>
              <a:buFontTx/>
              <a:buNone/>
              <a:tabLst/>
              <a:defRPr/>
            </a:pPr>
            <a:r>
              <a:rPr lang="sv-SE" sz="700" kern="0">
                <a:latin typeface="+mn-lt"/>
              </a:rPr>
              <a:t> </a:t>
            </a:r>
            <a:endParaRPr lang="en-US" sz="700" kern="0">
              <a:latin typeface="+mn-lt"/>
            </a:endParaRPr>
          </a:p>
        </p:txBody>
      </p:sp>
      <p:cxnSp>
        <p:nvCxnSpPr>
          <p:cNvPr id="193" name="Straight Connector 192"/>
          <p:cNvCxnSpPr>
            <a:cxnSpLocks/>
          </p:cNvCxnSpPr>
          <p:nvPr/>
        </p:nvCxnSpPr>
        <p:spPr bwMode="auto">
          <a:xfrm flipH="1" flipV="1">
            <a:off x="5800826" y="3761430"/>
            <a:ext cx="754406" cy="24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94" name="Connector: Elbow 193"/>
          <p:cNvCxnSpPr/>
          <p:nvPr/>
        </p:nvCxnSpPr>
        <p:spPr bwMode="auto">
          <a:xfrm rot="16200000" flipH="1">
            <a:off x="6341570" y="2949249"/>
            <a:ext cx="386917" cy="342852"/>
          </a:xfrm>
          <a:prstGeom prst="bentConnector3">
            <a:avLst>
              <a:gd name="adj1" fmla="val -2518"/>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02" name="Connector: Elbow 201"/>
          <p:cNvCxnSpPr>
            <a:cxnSpLocks/>
          </p:cNvCxnSpPr>
          <p:nvPr/>
        </p:nvCxnSpPr>
        <p:spPr bwMode="auto">
          <a:xfrm>
            <a:off x="5853619" y="5369180"/>
            <a:ext cx="1626758" cy="181575"/>
          </a:xfrm>
          <a:prstGeom prst="bentConnector3">
            <a:avLst>
              <a:gd name="adj1" fmla="val 2956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TextBox 229">
            <a:extLst>
              <a:ext uri="{FF2B5EF4-FFF2-40B4-BE49-F238E27FC236}">
                <a16:creationId xmlns:a16="http://schemas.microsoft.com/office/drawing/2014/main" id="{B383EC68-C4B5-4F43-A12B-8929A9FB209C}"/>
              </a:ext>
            </a:extLst>
          </p:cNvPr>
          <p:cNvSpPr txBox="1"/>
          <p:nvPr/>
        </p:nvSpPr>
        <p:spPr bwMode="auto">
          <a:xfrm>
            <a:off x="4466896" y="4471016"/>
            <a:ext cx="500126" cy="726198"/>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fontAlgn="auto">
              <a:spcBef>
                <a:spcPts val="0"/>
              </a:spcBef>
              <a:spcAft>
                <a:spcPts val="0"/>
              </a:spcAft>
              <a:buClr>
                <a:srgbClr val="181818"/>
              </a:buClr>
              <a:defRPr/>
            </a:pPr>
            <a:r>
              <a:rPr lang="en-US" sz="1800">
                <a:solidFill>
                  <a:srgbClr val="181818"/>
                </a:solidFill>
                <a:latin typeface="Ericsson Technical Icons" panose="00000500000000000000" pitchFamily="2" charset="0"/>
              </a:rPr>
              <a:t>B</a:t>
            </a:r>
            <a:endParaRPr lang="en-US" sz="1800">
              <a:solidFill>
                <a:srgbClr val="181818"/>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err="1">
                <a:ln>
                  <a:noFill/>
                </a:ln>
                <a:solidFill>
                  <a:srgbClr val="181818"/>
                </a:solidFill>
                <a:effectLst/>
                <a:uLnTx/>
                <a:uFillTx/>
                <a:latin typeface="Ericsson Hilda"/>
                <a:ea typeface="+mn-ea"/>
                <a:cs typeface="+mn-cs"/>
              </a:rPr>
              <a:t>gNB</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32" name="TextBox 231">
            <a:extLst>
              <a:ext uri="{FF2B5EF4-FFF2-40B4-BE49-F238E27FC236}">
                <a16:creationId xmlns:a16="http://schemas.microsoft.com/office/drawing/2014/main" id="{2C55F219-2D3C-46F0-82F5-1ECFF7846736}"/>
              </a:ext>
            </a:extLst>
          </p:cNvPr>
          <p:cNvSpPr txBox="1"/>
          <p:nvPr/>
        </p:nvSpPr>
        <p:spPr bwMode="auto">
          <a:xfrm>
            <a:off x="5503640" y="488675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33" name="TextBox 232">
            <a:extLst>
              <a:ext uri="{FF2B5EF4-FFF2-40B4-BE49-F238E27FC236}">
                <a16:creationId xmlns:a16="http://schemas.microsoft.com/office/drawing/2014/main" id="{558BD8B2-0CE2-4FB6-BEC4-485A66717196}"/>
              </a:ext>
            </a:extLst>
          </p:cNvPr>
          <p:cNvSpPr txBox="1"/>
          <p:nvPr/>
        </p:nvSpPr>
        <p:spPr bwMode="auto">
          <a:xfrm>
            <a:off x="6562801" y="331825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sp>
        <p:nvSpPr>
          <p:cNvPr id="235" name="TextBox 234">
            <a:extLst>
              <a:ext uri="{FF2B5EF4-FFF2-40B4-BE49-F238E27FC236}">
                <a16:creationId xmlns:a16="http://schemas.microsoft.com/office/drawing/2014/main" id="{352E32D6-C414-4A1C-9DF3-4E1FB9805C22}"/>
              </a:ext>
            </a:extLst>
          </p:cNvPr>
          <p:cNvSpPr txBox="1"/>
          <p:nvPr/>
        </p:nvSpPr>
        <p:spPr bwMode="auto">
          <a:xfrm>
            <a:off x="5405057" y="33156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AMF</a:t>
            </a:r>
          </a:p>
        </p:txBody>
      </p:sp>
      <p:sp>
        <p:nvSpPr>
          <p:cNvPr id="244" name="TextBox 243">
            <a:extLst>
              <a:ext uri="{FF2B5EF4-FFF2-40B4-BE49-F238E27FC236}">
                <a16:creationId xmlns:a16="http://schemas.microsoft.com/office/drawing/2014/main" id="{C094AEDB-75B1-4AB2-A907-074E52D565E0}"/>
              </a:ext>
            </a:extLst>
          </p:cNvPr>
          <p:cNvSpPr txBox="1"/>
          <p:nvPr/>
        </p:nvSpPr>
        <p:spPr bwMode="auto">
          <a:xfrm>
            <a:off x="5928275" y="273028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45" name="TextBox 244">
            <a:extLst>
              <a:ext uri="{FF2B5EF4-FFF2-40B4-BE49-F238E27FC236}">
                <a16:creationId xmlns:a16="http://schemas.microsoft.com/office/drawing/2014/main" id="{E48F76F2-C55D-4301-8074-6C9170D1F410}"/>
              </a:ext>
            </a:extLst>
          </p:cNvPr>
          <p:cNvSpPr txBox="1"/>
          <p:nvPr/>
        </p:nvSpPr>
        <p:spPr bwMode="auto">
          <a:xfrm>
            <a:off x="7678899" y="2737705"/>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46" name="TextBox 245">
            <a:extLst>
              <a:ext uri="{FF2B5EF4-FFF2-40B4-BE49-F238E27FC236}">
                <a16:creationId xmlns:a16="http://schemas.microsoft.com/office/drawing/2014/main" id="{65574DEE-5D40-4A48-8F7B-5199C514AAEF}"/>
              </a:ext>
            </a:extLst>
          </p:cNvPr>
          <p:cNvSpPr txBox="1"/>
          <p:nvPr/>
        </p:nvSpPr>
        <p:spPr bwMode="auto">
          <a:xfrm>
            <a:off x="8198890" y="347274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7" name="TextBox 246">
            <a:extLst>
              <a:ext uri="{FF2B5EF4-FFF2-40B4-BE49-F238E27FC236}">
                <a16:creationId xmlns:a16="http://schemas.microsoft.com/office/drawing/2014/main" id="{1FAA00D7-8F38-4492-99E6-C02D098F9C80}"/>
              </a:ext>
            </a:extLst>
          </p:cNvPr>
          <p:cNvSpPr txBox="1"/>
          <p:nvPr/>
        </p:nvSpPr>
        <p:spPr bwMode="auto">
          <a:xfrm>
            <a:off x="8198890" y="5282249"/>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8" name="TextBox 247">
            <a:extLst>
              <a:ext uri="{FF2B5EF4-FFF2-40B4-BE49-F238E27FC236}">
                <a16:creationId xmlns:a16="http://schemas.microsoft.com/office/drawing/2014/main" id="{D32846B1-377A-408A-B30F-73C03A89303E}"/>
              </a:ext>
            </a:extLst>
          </p:cNvPr>
          <p:cNvSpPr txBox="1"/>
          <p:nvPr/>
        </p:nvSpPr>
        <p:spPr bwMode="auto">
          <a:xfrm>
            <a:off x="8207749" y="437818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249" name="TextBox 248">
            <a:extLst>
              <a:ext uri="{FF2B5EF4-FFF2-40B4-BE49-F238E27FC236}">
                <a16:creationId xmlns:a16="http://schemas.microsoft.com/office/drawing/2014/main" id="{51E83D8A-EB46-43F1-93EB-F9DA9850DAA3}"/>
              </a:ext>
            </a:extLst>
          </p:cNvPr>
          <p:cNvSpPr txBox="1"/>
          <p:nvPr/>
        </p:nvSpPr>
        <p:spPr bwMode="auto">
          <a:xfrm>
            <a:off x="5869109" y="4216158"/>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254" name="TextBox 253">
            <a:extLst>
              <a:ext uri="{FF2B5EF4-FFF2-40B4-BE49-F238E27FC236}">
                <a16:creationId xmlns:a16="http://schemas.microsoft.com/office/drawing/2014/main" id="{A417C9F2-0FE0-4E0C-B6A7-2B340EAC5DBD}"/>
              </a:ext>
            </a:extLst>
          </p:cNvPr>
          <p:cNvSpPr txBox="1"/>
          <p:nvPr/>
        </p:nvSpPr>
        <p:spPr bwMode="auto">
          <a:xfrm>
            <a:off x="7500639" y="4217036"/>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cxnSp>
        <p:nvCxnSpPr>
          <p:cNvPr id="256" name="Straight Connector 169">
            <a:extLst>
              <a:ext uri="{FF2B5EF4-FFF2-40B4-BE49-F238E27FC236}">
                <a16:creationId xmlns:a16="http://schemas.microsoft.com/office/drawing/2014/main" id="{49BD021D-3B0A-433F-BC66-162420934862}"/>
              </a:ext>
            </a:extLst>
          </p:cNvPr>
          <p:cNvCxnSpPr>
            <a:cxnSpLocks/>
            <a:stCxn id="254" idx="3"/>
            <a:endCxn id="248" idx="1"/>
          </p:cNvCxnSpPr>
          <p:nvPr/>
        </p:nvCxnSpPr>
        <p:spPr bwMode="auto">
          <a:xfrm>
            <a:off x="7860639" y="4504783"/>
            <a:ext cx="347110" cy="161145"/>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p:spPr>
      </p:cxnSp>
      <p:sp>
        <p:nvSpPr>
          <p:cNvPr id="257" name="TextBox 256">
            <a:extLst>
              <a:ext uri="{FF2B5EF4-FFF2-40B4-BE49-F238E27FC236}">
                <a16:creationId xmlns:a16="http://schemas.microsoft.com/office/drawing/2014/main" id="{D3249AB1-BCE6-4023-95A3-70D3D7D0E10C}"/>
              </a:ext>
            </a:extLst>
          </p:cNvPr>
          <p:cNvSpPr txBox="1"/>
          <p:nvPr/>
        </p:nvSpPr>
        <p:spPr bwMode="auto">
          <a:xfrm>
            <a:off x="6581441" y="4902618"/>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258" name="TextBox 257">
            <a:extLst>
              <a:ext uri="{FF2B5EF4-FFF2-40B4-BE49-F238E27FC236}">
                <a16:creationId xmlns:a16="http://schemas.microsoft.com/office/drawing/2014/main" id="{2E376BE7-D1C7-4108-8FE7-742D8BCF152B}"/>
              </a:ext>
            </a:extLst>
          </p:cNvPr>
          <p:cNvSpPr txBox="1"/>
          <p:nvPr/>
        </p:nvSpPr>
        <p:spPr bwMode="auto">
          <a:xfrm>
            <a:off x="7493461" y="5147082"/>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SMF</a:t>
            </a:r>
          </a:p>
        </p:txBody>
      </p:sp>
      <p:pic>
        <p:nvPicPr>
          <p:cNvPr id="264" name="Graphic 263">
            <a:extLst>
              <a:ext uri="{FF2B5EF4-FFF2-40B4-BE49-F238E27FC236}">
                <a16:creationId xmlns:a16="http://schemas.microsoft.com/office/drawing/2014/main" id="{A6EFB43D-9285-46A5-A617-EADE52C2D6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6107" y="4659464"/>
            <a:ext cx="419644" cy="587501"/>
          </a:xfrm>
          <a:prstGeom prst="rect">
            <a:avLst/>
          </a:prstGeom>
        </p:spPr>
      </p:pic>
      <p:grpSp>
        <p:nvGrpSpPr>
          <p:cNvPr id="279" name="Group 278">
            <a:extLst>
              <a:ext uri="{FF2B5EF4-FFF2-40B4-BE49-F238E27FC236}">
                <a16:creationId xmlns:a16="http://schemas.microsoft.com/office/drawing/2014/main" id="{A7276C6E-F06F-4688-8847-D9FA9B9B3C61}"/>
              </a:ext>
            </a:extLst>
          </p:cNvPr>
          <p:cNvGrpSpPr/>
          <p:nvPr/>
        </p:nvGrpSpPr>
        <p:grpSpPr>
          <a:xfrm>
            <a:off x="2066992" y="4299254"/>
            <a:ext cx="419644" cy="587501"/>
            <a:chOff x="255550" y="4445955"/>
            <a:chExt cx="419644" cy="587501"/>
          </a:xfrm>
        </p:grpSpPr>
        <p:grpSp>
          <p:nvGrpSpPr>
            <p:cNvPr id="259" name="Group 258">
              <a:extLst>
                <a:ext uri="{FF2B5EF4-FFF2-40B4-BE49-F238E27FC236}">
                  <a16:creationId xmlns:a16="http://schemas.microsoft.com/office/drawing/2014/main" id="{DC04107E-6380-48A0-B658-AE6476A01136}"/>
                </a:ext>
              </a:extLst>
            </p:cNvPr>
            <p:cNvGrpSpPr>
              <a:grpSpLocks noChangeAspect="1"/>
            </p:cNvGrpSpPr>
            <p:nvPr/>
          </p:nvGrpSpPr>
          <p:grpSpPr>
            <a:xfrm>
              <a:off x="255550" y="4445955"/>
              <a:ext cx="419644" cy="587501"/>
              <a:chOff x="10129764" y="745508"/>
              <a:chExt cx="221963" cy="310748"/>
            </a:xfrm>
          </p:grpSpPr>
          <p:grpSp>
            <p:nvGrpSpPr>
              <p:cNvPr id="260" name="Group 259">
                <a:extLst>
                  <a:ext uri="{FF2B5EF4-FFF2-40B4-BE49-F238E27FC236}">
                    <a16:creationId xmlns:a16="http://schemas.microsoft.com/office/drawing/2014/main" id="{9D5D76D0-BA06-4982-84F1-9B5758771AAC}"/>
                  </a:ext>
                </a:extLst>
              </p:cNvPr>
              <p:cNvGrpSpPr>
                <a:grpSpLocks noChangeAspect="1"/>
              </p:cNvGrpSpPr>
              <p:nvPr/>
            </p:nvGrpSpPr>
            <p:grpSpPr>
              <a:xfrm>
                <a:off x="10129764" y="745508"/>
                <a:ext cx="221963" cy="310748"/>
                <a:chOff x="1373325" y="5272742"/>
                <a:chExt cx="428625" cy="600075"/>
              </a:xfrm>
            </p:grpSpPr>
            <p:sp>
              <p:nvSpPr>
                <p:cNvPr id="262" name="Rectangle 261">
                  <a:extLst>
                    <a:ext uri="{FF2B5EF4-FFF2-40B4-BE49-F238E27FC236}">
                      <a16:creationId xmlns:a16="http://schemas.microsoft.com/office/drawing/2014/main" id="{48A71C2F-92C1-4ABF-B547-85746F1BBDBA}"/>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63" name="Graphic 262">
                  <a:extLst>
                    <a:ext uri="{FF2B5EF4-FFF2-40B4-BE49-F238E27FC236}">
                      <a16:creationId xmlns:a16="http://schemas.microsoft.com/office/drawing/2014/main" id="{1E00C24B-DE2A-4459-92B9-D1B6A1695F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3325" y="5272742"/>
                  <a:ext cx="428625" cy="600075"/>
                </a:xfrm>
                <a:prstGeom prst="rect">
                  <a:avLst/>
                </a:prstGeom>
              </p:spPr>
            </p:pic>
          </p:grpSp>
          <p:sp>
            <p:nvSpPr>
              <p:cNvPr id="261" name="TextBox 260">
                <a:extLst>
                  <a:ext uri="{FF2B5EF4-FFF2-40B4-BE49-F238E27FC236}">
                    <a16:creationId xmlns:a16="http://schemas.microsoft.com/office/drawing/2014/main" id="{826BECD0-0143-4A31-A74D-0480F2380004}"/>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 name="Text Box 804"/>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FFC000"/>
                  </a:solidFill>
                  <a:effectLst/>
                  <a:uLnTx/>
                  <a:uFillTx/>
                  <a:latin typeface="+mn-lt"/>
                  <a:ea typeface="ＭＳ Ｐゴシック" pitchFamily="34" charset="-128"/>
                  <a:cs typeface="Arial" charset="0"/>
                </a:rPr>
                <a:t>Virtual Device #1</a:t>
              </a:r>
            </a:p>
          </p:txBody>
        </p:sp>
      </p:grpSp>
      <p:pic>
        <p:nvPicPr>
          <p:cNvPr id="272" name="Graphic 271">
            <a:extLst>
              <a:ext uri="{FF2B5EF4-FFF2-40B4-BE49-F238E27FC236}">
                <a16:creationId xmlns:a16="http://schemas.microsoft.com/office/drawing/2014/main" id="{08E6D611-EB97-4A7A-9F24-544C2F58E3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079" y="3560522"/>
            <a:ext cx="419644" cy="587501"/>
          </a:xfrm>
          <a:prstGeom prst="rect">
            <a:avLst/>
          </a:prstGeom>
        </p:spPr>
      </p:pic>
      <p:grpSp>
        <p:nvGrpSpPr>
          <p:cNvPr id="280" name="Group 279">
            <a:extLst>
              <a:ext uri="{FF2B5EF4-FFF2-40B4-BE49-F238E27FC236}">
                <a16:creationId xmlns:a16="http://schemas.microsoft.com/office/drawing/2014/main" id="{1BFF4060-CCFC-4F49-826C-1537C6401E1A}"/>
              </a:ext>
            </a:extLst>
          </p:cNvPr>
          <p:cNvGrpSpPr/>
          <p:nvPr/>
        </p:nvGrpSpPr>
        <p:grpSpPr>
          <a:xfrm>
            <a:off x="2066394" y="4982494"/>
            <a:ext cx="419644" cy="587501"/>
            <a:chOff x="255550" y="4445955"/>
            <a:chExt cx="419644" cy="587501"/>
          </a:xfrm>
        </p:grpSpPr>
        <p:grpSp>
          <p:nvGrpSpPr>
            <p:cNvPr id="281" name="Group 280">
              <a:extLst>
                <a:ext uri="{FF2B5EF4-FFF2-40B4-BE49-F238E27FC236}">
                  <a16:creationId xmlns:a16="http://schemas.microsoft.com/office/drawing/2014/main" id="{2E2553E6-BDE9-4E25-B5E7-88278B633E29}"/>
                </a:ext>
              </a:extLst>
            </p:cNvPr>
            <p:cNvGrpSpPr>
              <a:grpSpLocks noChangeAspect="1"/>
            </p:cNvGrpSpPr>
            <p:nvPr/>
          </p:nvGrpSpPr>
          <p:grpSpPr>
            <a:xfrm>
              <a:off x="255550" y="4445955"/>
              <a:ext cx="419644" cy="587501"/>
              <a:chOff x="10129764" y="745508"/>
              <a:chExt cx="221963" cy="310748"/>
            </a:xfrm>
          </p:grpSpPr>
          <p:grpSp>
            <p:nvGrpSpPr>
              <p:cNvPr id="283" name="Group 282">
                <a:extLst>
                  <a:ext uri="{FF2B5EF4-FFF2-40B4-BE49-F238E27FC236}">
                    <a16:creationId xmlns:a16="http://schemas.microsoft.com/office/drawing/2014/main" id="{EC3BED04-DD09-411C-8D44-4737CA50CBFC}"/>
                  </a:ext>
                </a:extLst>
              </p:cNvPr>
              <p:cNvGrpSpPr>
                <a:grpSpLocks noChangeAspect="1"/>
              </p:cNvGrpSpPr>
              <p:nvPr/>
            </p:nvGrpSpPr>
            <p:grpSpPr>
              <a:xfrm>
                <a:off x="10129764" y="745508"/>
                <a:ext cx="221963" cy="310748"/>
                <a:chOff x="1373325" y="5272742"/>
                <a:chExt cx="428625" cy="600075"/>
              </a:xfrm>
            </p:grpSpPr>
            <p:sp>
              <p:nvSpPr>
                <p:cNvPr id="285" name="Rectangle 284">
                  <a:extLst>
                    <a:ext uri="{FF2B5EF4-FFF2-40B4-BE49-F238E27FC236}">
                      <a16:creationId xmlns:a16="http://schemas.microsoft.com/office/drawing/2014/main" id="{815DB2EC-E4E6-4C80-BB63-EF6B9130D3B3}"/>
                    </a:ext>
                  </a:extLst>
                </p:cNvPr>
                <p:cNvSpPr/>
                <p:nvPr/>
              </p:nvSpPr>
              <p:spPr bwMode="auto">
                <a:xfrm>
                  <a:off x="1373325" y="5276465"/>
                  <a:ext cx="428625" cy="59635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286" name="Graphic 285">
                  <a:extLst>
                    <a:ext uri="{FF2B5EF4-FFF2-40B4-BE49-F238E27FC236}">
                      <a16:creationId xmlns:a16="http://schemas.microsoft.com/office/drawing/2014/main" id="{B30151D5-6620-4C7A-8F44-E1A3FB88D38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4" name="TextBox 283">
                <a:extLst>
                  <a:ext uri="{FF2B5EF4-FFF2-40B4-BE49-F238E27FC236}">
                    <a16:creationId xmlns:a16="http://schemas.microsoft.com/office/drawing/2014/main" id="{21F442E3-8D5A-4E70-B171-33667B3992D0}"/>
                  </a:ext>
                </a:extLst>
              </p:cNvPr>
              <p:cNvSpPr txBox="1"/>
              <p:nvPr/>
            </p:nvSpPr>
            <p:spPr bwMode="auto">
              <a:xfrm>
                <a:off x="10129764" y="760261"/>
                <a:ext cx="72768"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200" b="1"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82" name="Text Box 804">
              <a:extLst>
                <a:ext uri="{FF2B5EF4-FFF2-40B4-BE49-F238E27FC236}">
                  <a16:creationId xmlns:a16="http://schemas.microsoft.com/office/drawing/2014/main" id="{9549D0C7-F0B7-474E-80A6-E00AE1966D1B}"/>
                </a:ext>
              </a:extLst>
            </p:cNvPr>
            <p:cNvSpPr txBox="1">
              <a:spLocks noChangeArrowheads="1"/>
            </p:cNvSpPr>
            <p:nvPr/>
          </p:nvSpPr>
          <p:spPr bwMode="auto">
            <a:xfrm>
              <a:off x="297866" y="4639158"/>
              <a:ext cx="329747" cy="226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700" b="0" i="0" u="none" strike="noStrike" kern="0" cap="none" spc="0" normalizeH="0" baseline="0" noProof="0">
                  <a:ln>
                    <a:noFill/>
                  </a:ln>
                  <a:solidFill>
                    <a:srgbClr val="00A9D4"/>
                  </a:solidFill>
                  <a:effectLst/>
                  <a:uLnTx/>
                  <a:uFillTx/>
                  <a:latin typeface="+mn-lt"/>
                  <a:ea typeface="ＭＳ Ｐゴシック" pitchFamily="34" charset="-128"/>
                  <a:cs typeface="Arial" charset="0"/>
                </a:rPr>
                <a:t>Virtual Device #2</a:t>
              </a:r>
            </a:p>
          </p:txBody>
        </p:sp>
      </p:grpSp>
      <p:sp>
        <p:nvSpPr>
          <p:cNvPr id="70" name="TextBox 69">
            <a:extLst>
              <a:ext uri="{FF2B5EF4-FFF2-40B4-BE49-F238E27FC236}">
                <a16:creationId xmlns:a16="http://schemas.microsoft.com/office/drawing/2014/main" id="{3D25D698-3E27-413B-9889-FD0322131679}"/>
              </a:ext>
            </a:extLst>
          </p:cNvPr>
          <p:cNvSpPr txBox="1"/>
          <p:nvPr/>
        </p:nvSpPr>
        <p:spPr bwMode="auto">
          <a:xfrm>
            <a:off x="6581441" y="1972346"/>
            <a:ext cx="43186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UDM</a:t>
            </a:r>
          </a:p>
        </p:txBody>
      </p:sp>
      <p:sp>
        <p:nvSpPr>
          <p:cNvPr id="71" name="TextBox 70">
            <a:extLst>
              <a:ext uri="{FF2B5EF4-FFF2-40B4-BE49-F238E27FC236}">
                <a16:creationId xmlns:a16="http://schemas.microsoft.com/office/drawing/2014/main" id="{B5995E1F-60E1-431F-9153-C9E9944A3E87}"/>
              </a:ext>
            </a:extLst>
          </p:cNvPr>
          <p:cNvSpPr txBox="1"/>
          <p:nvPr/>
        </p:nvSpPr>
        <p:spPr bwMode="auto">
          <a:xfrm>
            <a:off x="6144205" y="1976101"/>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RF</a:t>
            </a:r>
          </a:p>
        </p:txBody>
      </p:sp>
      <p:sp>
        <p:nvSpPr>
          <p:cNvPr id="72" name="TextBox 71">
            <a:extLst>
              <a:ext uri="{FF2B5EF4-FFF2-40B4-BE49-F238E27FC236}">
                <a16:creationId xmlns:a16="http://schemas.microsoft.com/office/drawing/2014/main" id="{46B717E8-D239-4F2E-8E30-98BCABB2E6BC}"/>
              </a:ext>
            </a:extLst>
          </p:cNvPr>
          <p:cNvSpPr txBox="1"/>
          <p:nvPr/>
        </p:nvSpPr>
        <p:spPr bwMode="auto">
          <a:xfrm>
            <a:off x="5657169" y="1982794"/>
            <a:ext cx="360000" cy="57549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rgbClr val="181818"/>
                </a:solidFill>
                <a:effectLst/>
                <a:uLnTx/>
                <a:uFillTx/>
                <a:latin typeface="Ericsson Hilda"/>
                <a:ea typeface="+mn-ea"/>
                <a:cs typeface="+mn-cs"/>
              </a:rPr>
              <a:t>NSSF</a:t>
            </a:r>
          </a:p>
        </p:txBody>
      </p:sp>
      <p:sp>
        <p:nvSpPr>
          <p:cNvPr id="342" name="Freeform: Shape 341">
            <a:extLst>
              <a:ext uri="{FF2B5EF4-FFF2-40B4-BE49-F238E27FC236}">
                <a16:creationId xmlns:a16="http://schemas.microsoft.com/office/drawing/2014/main" id="{B98CDCDB-003D-40AC-A771-1B0277FBEEF4}"/>
              </a:ext>
            </a:extLst>
          </p:cNvPr>
          <p:cNvSpPr/>
          <p:nvPr/>
        </p:nvSpPr>
        <p:spPr bwMode="auto">
          <a:xfrm>
            <a:off x="1881742" y="4081395"/>
            <a:ext cx="1901776" cy="1896534"/>
          </a:xfrm>
          <a:custGeom>
            <a:avLst/>
            <a:gdLst>
              <a:gd name="connsiteX0" fmla="*/ 43988 w 2436557"/>
              <a:gd name="connsiteY0" fmla="*/ 412700 h 2150622"/>
              <a:gd name="connsiteX1" fmla="*/ 1458 w 2436557"/>
              <a:gd name="connsiteY1" fmla="*/ 306374 h 2150622"/>
              <a:gd name="connsiteX2" fmla="*/ 97151 w 2436557"/>
              <a:gd name="connsiteY2" fmla="*/ 104355 h 2150622"/>
              <a:gd name="connsiteX3" fmla="*/ 362965 w 2436557"/>
              <a:gd name="connsiteY3" fmla="*/ 29928 h 2150622"/>
              <a:gd name="connsiteX4" fmla="*/ 724472 w 2436557"/>
              <a:gd name="connsiteY4" fmla="*/ 19295 h 2150622"/>
              <a:gd name="connsiteX5" fmla="*/ 947756 w 2436557"/>
              <a:gd name="connsiteY5" fmla="*/ 285109 h 2150622"/>
              <a:gd name="connsiteX6" fmla="*/ 1383690 w 2436557"/>
              <a:gd name="connsiteY6" fmla="*/ 306374 h 2150622"/>
              <a:gd name="connsiteX7" fmla="*/ 2266193 w 2436557"/>
              <a:gd name="connsiteY7" fmla="*/ 348904 h 2150622"/>
              <a:gd name="connsiteX8" fmla="*/ 2329988 w 2436557"/>
              <a:gd name="connsiteY8" fmla="*/ 710411 h 2150622"/>
              <a:gd name="connsiteX9" fmla="*/ 2436314 w 2436557"/>
              <a:gd name="connsiteY9" fmla="*/ 1475955 h 2150622"/>
              <a:gd name="connsiteX10" fmla="*/ 2298090 w 2436557"/>
              <a:gd name="connsiteY10" fmla="*/ 2092644 h 2150622"/>
              <a:gd name="connsiteX11" fmla="*/ 1808993 w 2436557"/>
              <a:gd name="connsiteY11" fmla="*/ 2124542 h 2150622"/>
              <a:gd name="connsiteX12" fmla="*/ 1107244 w 2436557"/>
              <a:gd name="connsiteY12" fmla="*/ 2092644 h 2150622"/>
              <a:gd name="connsiteX13" fmla="*/ 352332 w 2436557"/>
              <a:gd name="connsiteY13" fmla="*/ 2018216 h 2150622"/>
              <a:gd name="connsiteX14" fmla="*/ 171579 w 2436557"/>
              <a:gd name="connsiteY14" fmla="*/ 1752402 h 2150622"/>
              <a:gd name="connsiteX15" fmla="*/ 107783 w 2436557"/>
              <a:gd name="connsiteY15" fmla="*/ 1082551 h 2150622"/>
              <a:gd name="connsiteX16" fmla="*/ 43988 w 2436557"/>
              <a:gd name="connsiteY16" fmla="*/ 412700 h 215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36557" h="2150622">
                <a:moveTo>
                  <a:pt x="43988" y="412700"/>
                </a:moveTo>
                <a:cubicBezTo>
                  <a:pt x="26267" y="283337"/>
                  <a:pt x="-7402" y="357765"/>
                  <a:pt x="1458" y="306374"/>
                </a:cubicBezTo>
                <a:cubicBezTo>
                  <a:pt x="10318" y="254983"/>
                  <a:pt x="36900" y="150429"/>
                  <a:pt x="97151" y="104355"/>
                </a:cubicBezTo>
                <a:cubicBezTo>
                  <a:pt x="157402" y="58281"/>
                  <a:pt x="258412" y="44105"/>
                  <a:pt x="362965" y="29928"/>
                </a:cubicBezTo>
                <a:cubicBezTo>
                  <a:pt x="467519" y="15751"/>
                  <a:pt x="627007" y="-23235"/>
                  <a:pt x="724472" y="19295"/>
                </a:cubicBezTo>
                <a:cubicBezTo>
                  <a:pt x="821937" y="61825"/>
                  <a:pt x="837886" y="237263"/>
                  <a:pt x="947756" y="285109"/>
                </a:cubicBezTo>
                <a:cubicBezTo>
                  <a:pt x="1057626" y="332955"/>
                  <a:pt x="1383690" y="306374"/>
                  <a:pt x="1383690" y="306374"/>
                </a:cubicBezTo>
                <a:cubicBezTo>
                  <a:pt x="1603429" y="317006"/>
                  <a:pt x="2108477" y="281565"/>
                  <a:pt x="2266193" y="348904"/>
                </a:cubicBezTo>
                <a:cubicBezTo>
                  <a:pt x="2423909" y="416243"/>
                  <a:pt x="2301635" y="522569"/>
                  <a:pt x="2329988" y="710411"/>
                </a:cubicBezTo>
                <a:cubicBezTo>
                  <a:pt x="2358341" y="898253"/>
                  <a:pt x="2441630" y="1245583"/>
                  <a:pt x="2436314" y="1475955"/>
                </a:cubicBezTo>
                <a:cubicBezTo>
                  <a:pt x="2430998" y="1706327"/>
                  <a:pt x="2402644" y="1984546"/>
                  <a:pt x="2298090" y="2092644"/>
                </a:cubicBezTo>
                <a:cubicBezTo>
                  <a:pt x="2193537" y="2200742"/>
                  <a:pt x="2007467" y="2124542"/>
                  <a:pt x="1808993" y="2124542"/>
                </a:cubicBezTo>
                <a:cubicBezTo>
                  <a:pt x="1610519" y="2124542"/>
                  <a:pt x="1350021" y="2110365"/>
                  <a:pt x="1107244" y="2092644"/>
                </a:cubicBezTo>
                <a:cubicBezTo>
                  <a:pt x="864467" y="2074923"/>
                  <a:pt x="508276" y="2074923"/>
                  <a:pt x="352332" y="2018216"/>
                </a:cubicBezTo>
                <a:cubicBezTo>
                  <a:pt x="196388" y="1961509"/>
                  <a:pt x="212337" y="1908346"/>
                  <a:pt x="171579" y="1752402"/>
                </a:cubicBezTo>
                <a:cubicBezTo>
                  <a:pt x="130821" y="1596458"/>
                  <a:pt x="134364" y="1311151"/>
                  <a:pt x="107783" y="1082551"/>
                </a:cubicBezTo>
                <a:cubicBezTo>
                  <a:pt x="81202" y="853951"/>
                  <a:pt x="61709" y="542063"/>
                  <a:pt x="43988" y="412700"/>
                </a:cubicBezTo>
                <a:close/>
              </a:path>
            </a:pathLst>
          </a:custGeom>
          <a:noFill/>
          <a:ln w="38100" cap="flat" cmpd="sng" algn="ctr">
            <a:solidFill>
              <a:srgbClr val="00285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cxnSp>
        <p:nvCxnSpPr>
          <p:cNvPr id="343" name="Straight Arrow Connector 342">
            <a:extLst>
              <a:ext uri="{FF2B5EF4-FFF2-40B4-BE49-F238E27FC236}">
                <a16:creationId xmlns:a16="http://schemas.microsoft.com/office/drawing/2014/main" id="{672762A1-6E72-4C00-8523-8F6FB025817C}"/>
              </a:ext>
            </a:extLst>
          </p:cNvPr>
          <p:cNvCxnSpPr>
            <a:cxnSpLocks/>
            <a:stCxn id="345" idx="2"/>
            <a:endCxn id="342" idx="3"/>
          </p:cNvCxnSpPr>
          <p:nvPr/>
        </p:nvCxnSpPr>
        <p:spPr bwMode="auto">
          <a:xfrm>
            <a:off x="2019082" y="3390143"/>
            <a:ext cx="145961" cy="717644"/>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344" name="Rectangle: Rounded Corners 343">
            <a:extLst>
              <a:ext uri="{FF2B5EF4-FFF2-40B4-BE49-F238E27FC236}">
                <a16:creationId xmlns:a16="http://schemas.microsoft.com/office/drawing/2014/main" id="{7562F0AF-129D-4B62-92F8-FC86EEA3564A}"/>
              </a:ext>
            </a:extLst>
          </p:cNvPr>
          <p:cNvSpPr/>
          <p:nvPr/>
        </p:nvSpPr>
        <p:spPr bwMode="auto">
          <a:xfrm>
            <a:off x="7248490" y="5054371"/>
            <a:ext cx="2042604" cy="884073"/>
          </a:xfrm>
          <a:prstGeom prst="roundRect">
            <a:avLst/>
          </a:prstGeom>
          <a:noFill/>
          <a:ln w="38100" cap="flat" cmpd="sng" algn="ctr">
            <a:solidFill>
              <a:srgbClr val="00285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345" name="AutoShape 10" descr="bpct-blend3">
            <a:extLst>
              <a:ext uri="{FF2B5EF4-FFF2-40B4-BE49-F238E27FC236}">
                <a16:creationId xmlns:a16="http://schemas.microsoft.com/office/drawing/2014/main" id="{973EACF4-4442-4B38-93FE-B44918688F14}"/>
              </a:ext>
            </a:extLst>
          </p:cNvPr>
          <p:cNvSpPr>
            <a:spLocks noChangeAspect="1" noChangeArrowheads="1"/>
          </p:cNvSpPr>
          <p:nvPr/>
        </p:nvSpPr>
        <p:spPr bwMode="auto">
          <a:xfrm>
            <a:off x="395977" y="1633934"/>
            <a:ext cx="3246210" cy="1756209"/>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Most devices are typically connected to a single Network Slice instance. Some interest for devices simultaneously connected to multiple Network Slices.</a:t>
            </a:r>
          </a:p>
        </p:txBody>
      </p:sp>
      <p:sp>
        <p:nvSpPr>
          <p:cNvPr id="346" name="AutoShape 10" descr="bpct-blend3">
            <a:extLst>
              <a:ext uri="{FF2B5EF4-FFF2-40B4-BE49-F238E27FC236}">
                <a16:creationId xmlns:a16="http://schemas.microsoft.com/office/drawing/2014/main" id="{C809DB3D-13DA-4791-B28E-36E5BA64F00B}"/>
              </a:ext>
            </a:extLst>
          </p:cNvPr>
          <p:cNvSpPr>
            <a:spLocks noChangeAspect="1" noChangeArrowheads="1"/>
          </p:cNvSpPr>
          <p:nvPr/>
        </p:nvSpPr>
        <p:spPr bwMode="auto">
          <a:xfrm>
            <a:off x="8494145" y="1014769"/>
            <a:ext cx="3659073" cy="823616"/>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lvl="0" algn="ctr">
              <a:buClr>
                <a:srgbClr val="00B0F0"/>
              </a:buClr>
              <a:defRPr/>
            </a:pPr>
            <a:r>
              <a:rPr lang="en-US" altLang="en-US" sz="1600" b="1">
                <a:solidFill>
                  <a:srgbClr val="FFFFFF"/>
                </a:solidFill>
                <a:latin typeface="+mn-lt"/>
                <a:ea typeface="Segoe UI" panose="020B0502040204020203" pitchFamily="34" charset="0"/>
                <a:cs typeface="Segoe UI" panose="020B0502040204020203" pitchFamily="34" charset="0"/>
              </a:rPr>
              <a:t>A de</a:t>
            </a: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vice connected  </a:t>
            </a:r>
            <a:r>
              <a:rPr lang="en-US" altLang="en-US" sz="1600" b="1">
                <a:solidFill>
                  <a:srgbClr val="FFFFFF"/>
                </a:solidFill>
                <a:latin typeface="+mn-lt"/>
                <a:ea typeface="Segoe UI" panose="020B0502040204020203" pitchFamily="34" charset="0"/>
                <a:cs typeface="Segoe UI" panose="020B0502040204020203" pitchFamily="34" charset="0"/>
              </a:rPr>
              <a:t>simultaneously to </a:t>
            </a: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multiple Network Slices is served by a single AMF</a:t>
            </a:r>
          </a:p>
        </p:txBody>
      </p:sp>
      <p:sp>
        <p:nvSpPr>
          <p:cNvPr id="347" name="AutoShape 10" descr="bpct-blend3">
            <a:extLst>
              <a:ext uri="{FF2B5EF4-FFF2-40B4-BE49-F238E27FC236}">
                <a16:creationId xmlns:a16="http://schemas.microsoft.com/office/drawing/2014/main" id="{3A94EC03-8895-4F51-BE96-7ABA1BAA1C74}"/>
              </a:ext>
            </a:extLst>
          </p:cNvPr>
          <p:cNvSpPr>
            <a:spLocks noChangeAspect="1" noChangeArrowheads="1"/>
          </p:cNvSpPr>
          <p:nvPr/>
        </p:nvSpPr>
        <p:spPr bwMode="auto">
          <a:xfrm>
            <a:off x="8499386" y="2659223"/>
            <a:ext cx="3659073" cy="1164828"/>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The Specific part of the NS CN  provides both isolation on different levels and different functionality in different Network Slices</a:t>
            </a:r>
          </a:p>
        </p:txBody>
      </p:sp>
      <p:cxnSp>
        <p:nvCxnSpPr>
          <p:cNvPr id="348" name="Straight Arrow Connector 347">
            <a:extLst>
              <a:ext uri="{FF2B5EF4-FFF2-40B4-BE49-F238E27FC236}">
                <a16:creationId xmlns:a16="http://schemas.microsoft.com/office/drawing/2014/main" id="{9C063193-232F-4999-AEBD-A4F23EF3A343}"/>
              </a:ext>
            </a:extLst>
          </p:cNvPr>
          <p:cNvCxnSpPr>
            <a:cxnSpLocks/>
            <a:stCxn id="347" idx="2"/>
            <a:endCxn id="344" idx="3"/>
          </p:cNvCxnSpPr>
          <p:nvPr/>
        </p:nvCxnSpPr>
        <p:spPr bwMode="auto">
          <a:xfrm flipH="1">
            <a:off x="9291094" y="3824051"/>
            <a:ext cx="1037829" cy="1672357"/>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349" name="Rectangle: Rounded Corners 348">
            <a:extLst>
              <a:ext uri="{FF2B5EF4-FFF2-40B4-BE49-F238E27FC236}">
                <a16:creationId xmlns:a16="http://schemas.microsoft.com/office/drawing/2014/main" id="{87386F6A-7201-47AA-889F-FC6485BAA28D}"/>
              </a:ext>
            </a:extLst>
          </p:cNvPr>
          <p:cNvSpPr/>
          <p:nvPr/>
        </p:nvSpPr>
        <p:spPr bwMode="auto">
          <a:xfrm>
            <a:off x="5198993" y="4162221"/>
            <a:ext cx="1921228" cy="1635294"/>
          </a:xfrm>
          <a:prstGeom prst="roundRect">
            <a:avLst/>
          </a:prstGeom>
          <a:noFill/>
          <a:ln w="38100" cap="flat" cmpd="sng" algn="ctr">
            <a:solidFill>
              <a:srgbClr val="00285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350" name="AutoShape 10" descr="bpct-blend3">
            <a:extLst>
              <a:ext uri="{FF2B5EF4-FFF2-40B4-BE49-F238E27FC236}">
                <a16:creationId xmlns:a16="http://schemas.microsoft.com/office/drawing/2014/main" id="{76C6775F-A056-403C-84E6-881BD66BE302}"/>
              </a:ext>
            </a:extLst>
          </p:cNvPr>
          <p:cNvSpPr>
            <a:spLocks noChangeAspect="1" noChangeArrowheads="1"/>
          </p:cNvSpPr>
          <p:nvPr/>
        </p:nvSpPr>
        <p:spPr bwMode="auto">
          <a:xfrm>
            <a:off x="5172968" y="5536302"/>
            <a:ext cx="1960493" cy="285462"/>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NS CN Common part</a:t>
            </a:r>
          </a:p>
        </p:txBody>
      </p:sp>
      <p:sp>
        <p:nvSpPr>
          <p:cNvPr id="351" name="AutoShape 10" descr="bpct-blend3">
            <a:extLst>
              <a:ext uri="{FF2B5EF4-FFF2-40B4-BE49-F238E27FC236}">
                <a16:creationId xmlns:a16="http://schemas.microsoft.com/office/drawing/2014/main" id="{2702376E-6DF5-4F25-801B-094D868CBB8D}"/>
              </a:ext>
            </a:extLst>
          </p:cNvPr>
          <p:cNvSpPr>
            <a:spLocks noChangeAspect="1" noChangeArrowheads="1"/>
          </p:cNvSpPr>
          <p:nvPr/>
        </p:nvSpPr>
        <p:spPr bwMode="auto">
          <a:xfrm>
            <a:off x="7327094" y="5903712"/>
            <a:ext cx="2045499" cy="218068"/>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NS CN Specific part</a:t>
            </a:r>
          </a:p>
        </p:txBody>
      </p:sp>
      <p:cxnSp>
        <p:nvCxnSpPr>
          <p:cNvPr id="352" name="Straight Arrow Connector 351">
            <a:extLst>
              <a:ext uri="{FF2B5EF4-FFF2-40B4-BE49-F238E27FC236}">
                <a16:creationId xmlns:a16="http://schemas.microsoft.com/office/drawing/2014/main" id="{471155E0-C365-4451-9B80-28738C7DD2C3}"/>
              </a:ext>
            </a:extLst>
          </p:cNvPr>
          <p:cNvCxnSpPr>
            <a:cxnSpLocks/>
            <a:stCxn id="347" idx="2"/>
            <a:endCxn id="353" idx="3"/>
          </p:cNvCxnSpPr>
          <p:nvPr/>
        </p:nvCxnSpPr>
        <p:spPr bwMode="auto">
          <a:xfrm flipH="1">
            <a:off x="9291909" y="3824051"/>
            <a:ext cx="1037014" cy="727925"/>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353" name="Rectangle: Rounded Corners 352">
            <a:extLst>
              <a:ext uri="{FF2B5EF4-FFF2-40B4-BE49-F238E27FC236}">
                <a16:creationId xmlns:a16="http://schemas.microsoft.com/office/drawing/2014/main" id="{8AFE5E99-9677-4CFD-A5CF-E2C27D75B9C3}"/>
              </a:ext>
            </a:extLst>
          </p:cNvPr>
          <p:cNvSpPr/>
          <p:nvPr/>
        </p:nvSpPr>
        <p:spPr bwMode="auto">
          <a:xfrm>
            <a:off x="7272560" y="4106619"/>
            <a:ext cx="2019349" cy="890714"/>
          </a:xfrm>
          <a:prstGeom prst="roundRect">
            <a:avLst/>
          </a:prstGeom>
          <a:noFill/>
          <a:ln w="38100" cap="flat" cmpd="sng" algn="ctr">
            <a:solidFill>
              <a:srgbClr val="00285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mn-lt"/>
              <a:ea typeface="+mn-ea"/>
              <a:cs typeface="+mn-cs"/>
            </a:endParaRPr>
          </a:p>
        </p:txBody>
      </p:sp>
      <p:sp>
        <p:nvSpPr>
          <p:cNvPr id="354" name="AutoShape 10" descr="bpct-blend3">
            <a:extLst>
              <a:ext uri="{FF2B5EF4-FFF2-40B4-BE49-F238E27FC236}">
                <a16:creationId xmlns:a16="http://schemas.microsoft.com/office/drawing/2014/main" id="{DE980FA7-7D34-45D3-977A-C8FDE0ADC102}"/>
              </a:ext>
            </a:extLst>
          </p:cNvPr>
          <p:cNvSpPr>
            <a:spLocks noChangeAspect="1" noChangeArrowheads="1"/>
          </p:cNvSpPr>
          <p:nvPr/>
        </p:nvSpPr>
        <p:spPr bwMode="auto">
          <a:xfrm>
            <a:off x="8494145" y="1894464"/>
            <a:ext cx="3669553" cy="687575"/>
          </a:xfrm>
          <a:prstGeom prst="roundRect">
            <a:avLst>
              <a:gd name="adj" fmla="val 5958"/>
            </a:avLst>
          </a:prstGeom>
          <a:blipFill dpi="0" rotWithShape="0">
            <a:blip r:embed="rId9"/>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
                <a:srgbClr val="00B0F0"/>
              </a:buClr>
              <a:buSzTx/>
              <a:buFontTx/>
              <a:buNone/>
              <a:tabLst/>
              <a:defRPr/>
            </a:pP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The AMF is </a:t>
            </a:r>
            <a:r>
              <a:rPr lang="en-US" altLang="en-US" sz="1600" b="1">
                <a:solidFill>
                  <a:srgbClr val="FFFFFF"/>
                </a:solidFill>
                <a:latin typeface="+mn-lt"/>
                <a:ea typeface="Segoe UI" panose="020B0502040204020203" pitchFamily="34" charset="0"/>
                <a:cs typeface="Segoe UI" panose="020B0502040204020203" pitchFamily="34" charset="0"/>
              </a:rPr>
              <a:t>shared across the </a:t>
            </a:r>
            <a:r>
              <a:rPr kumimoji="0" lang="en-US" altLang="en-US" sz="1600" b="1" i="0" u="none" strike="noStrike" kern="1200" cap="none" spc="0" normalizeH="0" baseline="0" noProof="0">
                <a:ln>
                  <a:noFill/>
                </a:ln>
                <a:solidFill>
                  <a:srgbClr val="FFFFFF"/>
                </a:solidFill>
                <a:effectLst/>
                <a:uLnTx/>
                <a:uFillTx/>
                <a:latin typeface="+mn-lt"/>
                <a:ea typeface="Segoe UI" panose="020B0502040204020203" pitchFamily="34" charset="0"/>
                <a:cs typeface="Segoe UI" panose="020B0502040204020203" pitchFamily="34" charset="0"/>
              </a:rPr>
              <a:t>NSs</a:t>
            </a:r>
          </a:p>
        </p:txBody>
      </p:sp>
    </p:spTree>
    <p:extLst>
      <p:ext uri="{BB962C8B-B14F-4D97-AF65-F5344CB8AC3E}">
        <p14:creationId xmlns:p14="http://schemas.microsoft.com/office/powerpoint/2010/main" val="1255432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D3EEA6E-A2EC-4B3E-A056-80C3C3DD9998}"/>
              </a:ext>
            </a:extLst>
          </p:cNvPr>
          <p:cNvSpPr/>
          <p:nvPr/>
        </p:nvSpPr>
        <p:spPr bwMode="auto">
          <a:xfrm>
            <a:off x="15744" y="5067076"/>
            <a:ext cx="11912096" cy="179092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30" name="Rectangle 29">
            <a:extLst>
              <a:ext uri="{FF2B5EF4-FFF2-40B4-BE49-F238E27FC236}">
                <a16:creationId xmlns:a16="http://schemas.microsoft.com/office/drawing/2014/main" id="{2ADE38FC-3CA6-4085-88C1-C784599831A2}"/>
              </a:ext>
            </a:extLst>
          </p:cNvPr>
          <p:cNvSpPr/>
          <p:nvPr/>
        </p:nvSpPr>
        <p:spPr bwMode="auto">
          <a:xfrm>
            <a:off x="1935480" y="3459946"/>
            <a:ext cx="8321040" cy="147106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3" name="Rectangle 2">
            <a:extLst>
              <a:ext uri="{FF2B5EF4-FFF2-40B4-BE49-F238E27FC236}">
                <a16:creationId xmlns:a16="http://schemas.microsoft.com/office/drawing/2014/main" id="{08097454-4A95-40AB-BF74-E1A9DDAF584C}"/>
              </a:ext>
            </a:extLst>
          </p:cNvPr>
          <p:cNvSpPr/>
          <p:nvPr/>
        </p:nvSpPr>
        <p:spPr bwMode="auto">
          <a:xfrm>
            <a:off x="1935480" y="1880575"/>
            <a:ext cx="8321040" cy="147106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 name="Title 1"/>
          <p:cNvSpPr>
            <a:spLocks noGrp="1"/>
          </p:cNvSpPr>
          <p:nvPr>
            <p:ph type="title"/>
          </p:nvPr>
        </p:nvSpPr>
        <p:spPr>
          <a:xfrm>
            <a:off x="448734" y="204613"/>
            <a:ext cx="10704343" cy="1085371"/>
          </a:xfrm>
        </p:spPr>
        <p:txBody>
          <a:bodyPr>
            <a:normAutofit/>
          </a:bodyPr>
          <a:lstStyle/>
          <a:p>
            <a:r>
              <a:rPr lang="en-US" noProof="0"/>
              <a:t>3GPP S-NSSAI Usage in Network Slicing</a:t>
            </a:r>
            <a:endParaRPr lang="en-US" sz="3200" noProof="0">
              <a:latin typeface="+mn-lt"/>
            </a:endParaRPr>
          </a:p>
        </p:txBody>
      </p:sp>
      <p:sp>
        <p:nvSpPr>
          <p:cNvPr id="59" name="Text Box 35"/>
          <p:cNvSpPr txBox="1">
            <a:spLocks noChangeAspect="1" noChangeArrowheads="1"/>
          </p:cNvSpPr>
          <p:nvPr/>
        </p:nvSpPr>
        <p:spPr bwMode="auto">
          <a:xfrm>
            <a:off x="9344791" y="506707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srgbClr val="181818"/>
                </a:solidFill>
                <a:effectLst/>
                <a:uLnTx/>
                <a:uFillTx/>
                <a:latin typeface="Ericsson Hilda" panose="00000500000000000000" pitchFamily="2" charset="0"/>
                <a:ea typeface="MS PGothic" pitchFamily="34" charset="-128"/>
                <a:cs typeface="+mn-cs"/>
              </a:rPr>
              <a:t>Data Network </a:t>
            </a:r>
            <a:endParaRPr kumimoji="0" lang="en-US" altLang="en-US" sz="2000" b="0" i="0" u="none" strike="noStrike" kern="1200" cap="none" spc="0" normalizeH="0" baseline="0" noProof="0">
              <a:ln>
                <a:noFill/>
              </a:ln>
              <a:solidFill>
                <a:srgbClr val="181818"/>
              </a:solidFill>
              <a:effectLst/>
              <a:uLnTx/>
              <a:uFillTx/>
              <a:latin typeface="Ericsson Hilda" panose="00000500000000000000" pitchFamily="2" charset="0"/>
              <a:ea typeface="MS PGothic" pitchFamily="34" charset="-128"/>
              <a:cs typeface="+mn-cs"/>
            </a:endParaRP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panose="00000500000000000000" pitchFamily="2" charset="0"/>
                <a:ea typeface="MS PGothic" pitchFamily="34" charset="-128"/>
                <a:cs typeface="+mn-cs"/>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srgbClr val="181818"/>
                </a:solidFill>
                <a:effectLst/>
                <a:uLnTx/>
                <a:uFillTx/>
                <a:latin typeface="Ericsson Hilda" panose="00000500000000000000" pitchFamily="2" charset="0"/>
                <a:ea typeface="MS PGothic" pitchFamily="34" charset="-128"/>
                <a:cs typeface="+mn-cs"/>
              </a:rPr>
              <a:t>or Internet)</a:t>
            </a:r>
          </a:p>
        </p:txBody>
      </p:sp>
      <p:sp>
        <p:nvSpPr>
          <p:cNvPr id="114" name="Text Box 144"/>
          <p:cNvSpPr txBox="1">
            <a:spLocks noChangeAspect="1" noChangeArrowheads="1"/>
          </p:cNvSpPr>
          <p:nvPr/>
        </p:nvSpPr>
        <p:spPr bwMode="auto">
          <a:xfrm>
            <a:off x="15744" y="62937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181818"/>
                </a:solidFill>
                <a:effectLst/>
                <a:uLnTx/>
                <a:uFillTx/>
                <a:latin typeface="Ericsson Hilda" panose="00000500000000000000" pitchFamily="2" charset="0"/>
                <a:ea typeface="MS PGothic" charset="-128"/>
                <a:cs typeface="+mn-cs"/>
              </a:rPr>
              <a:t>UE</a:t>
            </a:r>
          </a:p>
        </p:txBody>
      </p:sp>
      <p:sp>
        <p:nvSpPr>
          <p:cNvPr id="185" name="Rectangular Callout 104">
            <a:extLst>
              <a:ext uri="{FF2B5EF4-FFF2-40B4-BE49-F238E27FC236}">
                <a16:creationId xmlns:a16="http://schemas.microsoft.com/office/drawing/2014/main" id="{091616FC-6ADF-4326-A5B7-FADBF79323FE}"/>
              </a:ext>
            </a:extLst>
          </p:cNvPr>
          <p:cNvSpPr/>
          <p:nvPr/>
        </p:nvSpPr>
        <p:spPr bwMode="auto">
          <a:xfrm>
            <a:off x="1237281" y="5251912"/>
            <a:ext cx="1200301" cy="1107996"/>
          </a:xfrm>
          <a:prstGeom prst="wedgeRectCallout">
            <a:avLst>
              <a:gd name="adj1" fmla="val -98819"/>
              <a:gd name="adj2" fmla="val 32045"/>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UE: </a:t>
            </a:r>
            <a:r>
              <a:rPr kumimoji="0" lang="en-US" sz="1100" b="0" i="0" u="none" strike="noStrike" kern="1200" cap="none" spc="0" normalizeH="0" baseline="0" noProof="0">
                <a:ln>
                  <a:noFill/>
                </a:ln>
                <a:solidFill>
                  <a:srgbClr val="00285F"/>
                </a:solidFill>
                <a:effectLst/>
                <a:uLnTx/>
                <a:uFillTx/>
                <a:latin typeface="Ericsson Hilda"/>
                <a:ea typeface="+mn-ea"/>
                <a:cs typeface="+mn-cs"/>
              </a:rPr>
              <a:t>It provides the Request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to the network as input to Network Slice Selection.</a:t>
            </a:r>
          </a:p>
        </p:txBody>
      </p:sp>
      <p:sp>
        <p:nvSpPr>
          <p:cNvPr id="186" name="Rectangular Callout 104">
            <a:extLst>
              <a:ext uri="{FF2B5EF4-FFF2-40B4-BE49-F238E27FC236}">
                <a16:creationId xmlns:a16="http://schemas.microsoft.com/office/drawing/2014/main" id="{25DC57D1-00C8-4FD0-B6EA-A00895C4DE2C}"/>
              </a:ext>
            </a:extLst>
          </p:cNvPr>
          <p:cNvSpPr/>
          <p:nvPr/>
        </p:nvSpPr>
        <p:spPr bwMode="auto">
          <a:xfrm>
            <a:off x="4795267" y="5251912"/>
            <a:ext cx="2292827" cy="938719"/>
          </a:xfrm>
          <a:prstGeom prst="wedgeRectCallout">
            <a:avLst>
              <a:gd name="adj1" fmla="val -108952"/>
              <a:gd name="adj2" fmla="val 55520"/>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RAN: </a:t>
            </a:r>
            <a:r>
              <a:rPr kumimoji="0" lang="en-US" sz="1100" b="0" i="0" u="none" strike="noStrike" kern="1200" cap="none" spc="0" normalizeH="0" baseline="0" noProof="0">
                <a:ln>
                  <a:noFill/>
                </a:ln>
                <a:solidFill>
                  <a:srgbClr val="00285F"/>
                </a:solidFill>
                <a:effectLst/>
                <a:uLnTx/>
                <a:uFillTx/>
                <a:latin typeface="Ericsson Hilda"/>
                <a:ea typeface="+mn-ea"/>
                <a:cs typeface="+mn-cs"/>
              </a:rPr>
              <a:t>It uses the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to select a suitable AMF for further slice and AMF selection handling. NG RAN may make use of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for resource allocation.</a:t>
            </a:r>
          </a:p>
        </p:txBody>
      </p:sp>
      <p:sp>
        <p:nvSpPr>
          <p:cNvPr id="193" name="Rectangular Callout 104">
            <a:extLst>
              <a:ext uri="{FF2B5EF4-FFF2-40B4-BE49-F238E27FC236}">
                <a16:creationId xmlns:a16="http://schemas.microsoft.com/office/drawing/2014/main" id="{62941510-3C0B-431F-BE23-B69C885F9E4F}"/>
              </a:ext>
            </a:extLst>
          </p:cNvPr>
          <p:cNvSpPr/>
          <p:nvPr/>
        </p:nvSpPr>
        <p:spPr bwMode="auto">
          <a:xfrm>
            <a:off x="2048126" y="3568025"/>
            <a:ext cx="3255394" cy="1277273"/>
          </a:xfrm>
          <a:prstGeom prst="wedgeRectCallout">
            <a:avLst>
              <a:gd name="adj1" fmla="val 85598"/>
              <a:gd name="adj2" fmla="val 10578"/>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AMF: </a:t>
            </a:r>
            <a:r>
              <a:rPr kumimoji="0" lang="en-US" sz="1100" b="0" i="0" u="none" strike="noStrike" kern="1200" cap="none" spc="0" normalizeH="0" baseline="0" noProof="0">
                <a:ln>
                  <a:noFill/>
                </a:ln>
                <a:solidFill>
                  <a:srgbClr val="00285F"/>
                </a:solidFill>
                <a:effectLst/>
                <a:uLnTx/>
                <a:uFillTx/>
                <a:latin typeface="Ericsson Hilda"/>
                <a:ea typeface="+mn-ea"/>
                <a:cs typeface="+mn-cs"/>
              </a:rPr>
              <a:t>Whenever possible, based on the UE Request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it provides the UE with the Allow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If necessary, it requests re-allocation of AMF via R(AN) or directly to target AMF. AMFs are shared across slices that are supported simultaneously, or may be dedicated to a slice. AMF selects SMF based on S-</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a:t>
            </a:r>
          </a:p>
        </p:txBody>
      </p:sp>
      <p:sp>
        <p:nvSpPr>
          <p:cNvPr id="194" name="Rectangular Callout 104">
            <a:extLst>
              <a:ext uri="{FF2B5EF4-FFF2-40B4-BE49-F238E27FC236}">
                <a16:creationId xmlns:a16="http://schemas.microsoft.com/office/drawing/2014/main" id="{29C61128-815E-4DE9-98ED-A4A4A2F03C25}"/>
              </a:ext>
            </a:extLst>
          </p:cNvPr>
          <p:cNvSpPr/>
          <p:nvPr/>
        </p:nvSpPr>
        <p:spPr bwMode="auto">
          <a:xfrm>
            <a:off x="122694" y="2215748"/>
            <a:ext cx="1382480" cy="2800767"/>
          </a:xfrm>
          <a:prstGeom prst="wedgeRectCallout">
            <a:avLst>
              <a:gd name="adj1" fmla="val 120209"/>
              <a:gd name="adj2" fmla="val -30783"/>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NSSF</a:t>
            </a:r>
            <a:r>
              <a:rPr kumimoji="0" lang="en-US" sz="1100" b="0" i="0" u="none" strike="noStrike" kern="1200" cap="none" spc="0" normalizeH="0" baseline="0" noProof="0">
                <a:ln>
                  <a:noFill/>
                </a:ln>
                <a:solidFill>
                  <a:srgbClr val="00285F"/>
                </a:solidFill>
                <a:effectLst/>
                <a:uLnTx/>
                <a:uFillTx/>
                <a:latin typeface="Ericsson Hilda"/>
                <a:ea typeface="+mn-ea"/>
                <a:cs typeface="+mn-cs"/>
              </a:rPr>
              <a:t>: It selects the set of Network Slices granted to the UE, when AMF is unable by itself. It determines the Allowed S-</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s, further determines the AMF, possibly by querying the NRF. The NSSF is an optional network function, on PLMN level, external to, but accessible from, multiple slices. </a:t>
            </a:r>
            <a:endParaRPr kumimoji="0" lang="en-US" sz="1800" b="0" i="0" u="none" strike="noStrike" kern="1200" cap="none" spc="0" normalizeH="0" baseline="0" noProof="0">
              <a:ln>
                <a:noFill/>
              </a:ln>
              <a:solidFill>
                <a:srgbClr val="00285F"/>
              </a:solidFill>
              <a:effectLst/>
              <a:uLnTx/>
              <a:uFillTx/>
              <a:latin typeface="Ericsson Hilda"/>
              <a:ea typeface="+mn-ea"/>
              <a:cs typeface="+mn-cs"/>
            </a:endParaRPr>
          </a:p>
        </p:txBody>
      </p:sp>
      <p:sp>
        <p:nvSpPr>
          <p:cNvPr id="196" name="Rectangular Callout 104">
            <a:extLst>
              <a:ext uri="{FF2B5EF4-FFF2-40B4-BE49-F238E27FC236}">
                <a16:creationId xmlns:a16="http://schemas.microsoft.com/office/drawing/2014/main" id="{1B360875-3F7D-4610-A9EA-DC5F84E3BA46}"/>
              </a:ext>
            </a:extLst>
          </p:cNvPr>
          <p:cNvSpPr/>
          <p:nvPr/>
        </p:nvSpPr>
        <p:spPr bwMode="auto">
          <a:xfrm>
            <a:off x="5468892" y="772579"/>
            <a:ext cx="2352371" cy="1107996"/>
          </a:xfrm>
          <a:prstGeom prst="wedgeRectCallout">
            <a:avLst>
              <a:gd name="adj1" fmla="val 16776"/>
              <a:gd name="adj2" fmla="val 73926"/>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UDM: </a:t>
            </a:r>
            <a:r>
              <a:rPr kumimoji="0" lang="en-US" sz="1100" b="0" i="0" u="none" strike="noStrike" kern="1200" cap="none" spc="0" normalizeH="0" baseline="0" noProof="0">
                <a:ln>
                  <a:noFill/>
                </a:ln>
                <a:solidFill>
                  <a:srgbClr val="00285F"/>
                </a:solidFill>
                <a:effectLst/>
                <a:uLnTx/>
                <a:uFillTx/>
                <a:latin typeface="Ericsson Hilda"/>
                <a:ea typeface="+mn-ea"/>
                <a:cs typeface="+mn-cs"/>
              </a:rPr>
              <a:t>It is used for administration of slicing information for the subscriber, such as Subscrib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s)</a:t>
            </a:r>
            <a:r>
              <a:rPr kumimoji="0" lang="en-US" sz="1100" b="0" i="0" u="none" strike="noStrike" kern="1200" cap="none" spc="0" normalizeH="0" baseline="0" noProof="0">
                <a:ln>
                  <a:noFill/>
                </a:ln>
                <a:solidFill>
                  <a:srgbClr val="00285F"/>
                </a:solidFill>
                <a:effectLst/>
                <a:uLnTx/>
                <a:uFillTx/>
                <a:latin typeface="Ericsson Hilda"/>
                <a:ea typeface="+mn-ea"/>
                <a:cs typeface="+mn-cs"/>
              </a:rPr>
              <a:t>, Default S-</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s) and Default DNN per Subscrib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a:t>
            </a:r>
          </a:p>
        </p:txBody>
      </p:sp>
      <p:sp>
        <p:nvSpPr>
          <p:cNvPr id="201" name="Rectangular Callout 104">
            <a:extLst>
              <a:ext uri="{FF2B5EF4-FFF2-40B4-BE49-F238E27FC236}">
                <a16:creationId xmlns:a16="http://schemas.microsoft.com/office/drawing/2014/main" id="{62E79366-5521-4AC9-94DC-C16A2E7B33C0}"/>
              </a:ext>
            </a:extLst>
          </p:cNvPr>
          <p:cNvSpPr/>
          <p:nvPr/>
        </p:nvSpPr>
        <p:spPr bwMode="auto">
          <a:xfrm>
            <a:off x="10897664" y="2028997"/>
            <a:ext cx="1176491" cy="2970044"/>
          </a:xfrm>
          <a:prstGeom prst="wedgeRectCallout">
            <a:avLst>
              <a:gd name="adj1" fmla="val -154120"/>
              <a:gd name="adj2" fmla="val -28123"/>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NRF: </a:t>
            </a:r>
            <a:r>
              <a:rPr kumimoji="0" lang="en-US" sz="1100" b="0" i="0" u="none" strike="noStrike" kern="1200" cap="none" spc="0" normalizeH="0" baseline="0" noProof="0">
                <a:ln>
                  <a:noFill/>
                </a:ln>
                <a:solidFill>
                  <a:srgbClr val="00285F"/>
                </a:solidFill>
                <a:effectLst/>
                <a:uLnTx/>
                <a:uFillTx/>
                <a:latin typeface="Ericsson Hilda"/>
                <a:ea typeface="+mn-ea"/>
                <a:cs typeface="+mn-cs"/>
              </a:rPr>
              <a:t>It is used for Service discovery, and provides a NF instance to the requester. Stores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endParaRPr kumimoji="0" lang="en-US" sz="1100" b="0" i="0" u="none" strike="noStrike" kern="1200" cap="none" spc="0" normalizeH="0" baseline="0" noProof="0">
              <a:ln>
                <a:noFill/>
              </a:ln>
              <a:solidFill>
                <a:srgbClr val="00285F"/>
              </a:solidFill>
              <a:effectLst/>
              <a:highlight>
                <a:srgbClr val="00FF00"/>
              </a:highlight>
              <a:uLnTx/>
              <a:uFillTx/>
              <a:latin typeface="Ericsson Hild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85F"/>
                </a:solidFill>
                <a:effectLst/>
                <a:uLnTx/>
                <a:uFillTx/>
                <a:latin typeface="Ericsson Hilda"/>
                <a:ea typeface="+mn-ea"/>
                <a:cs typeface="+mn-cs"/>
              </a:rPr>
              <a:t>- Takes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as input @ service discovery and service  not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85F"/>
                </a:solidFill>
                <a:effectLst/>
                <a:uLnTx/>
                <a:uFillTx/>
                <a:latin typeface="Ericsson Hilda"/>
                <a:ea typeface="+mn-ea"/>
                <a:cs typeface="+mn-cs"/>
              </a:rPr>
              <a:t>- Outputs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 @ Discovery Servi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285F"/>
              </a:solidFill>
              <a:effectLst/>
              <a:uLnTx/>
              <a:uFillTx/>
              <a:latin typeface="Ericsson Hilda"/>
              <a:ea typeface="+mn-ea"/>
              <a:cs typeface="+mn-cs"/>
            </a:endParaRPr>
          </a:p>
        </p:txBody>
      </p:sp>
      <p:sp>
        <p:nvSpPr>
          <p:cNvPr id="197" name="Rectangular Callout 104">
            <a:extLst>
              <a:ext uri="{FF2B5EF4-FFF2-40B4-BE49-F238E27FC236}">
                <a16:creationId xmlns:a16="http://schemas.microsoft.com/office/drawing/2014/main" id="{9759DC02-109E-4F6F-A293-272A86CE540F}"/>
              </a:ext>
            </a:extLst>
          </p:cNvPr>
          <p:cNvSpPr/>
          <p:nvPr/>
        </p:nvSpPr>
        <p:spPr bwMode="auto">
          <a:xfrm>
            <a:off x="8219711" y="781932"/>
            <a:ext cx="3044123" cy="1107996"/>
          </a:xfrm>
          <a:prstGeom prst="wedgeRectCallout">
            <a:avLst>
              <a:gd name="adj1" fmla="val -44721"/>
              <a:gd name="adj2" fmla="val 75156"/>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PCF:</a:t>
            </a:r>
            <a:r>
              <a:rPr kumimoji="0" lang="en-US" sz="1100" b="0" i="0" u="none" strike="noStrike" kern="1200" cap="none" spc="0" normalizeH="0" baseline="0" noProof="0">
                <a:ln>
                  <a:noFill/>
                </a:ln>
                <a:solidFill>
                  <a:srgbClr val="00285F"/>
                </a:solidFill>
                <a:effectLst/>
                <a:uLnTx/>
                <a:uFillTx/>
                <a:latin typeface="Ericsson Hilda"/>
                <a:ea typeface="+mn-ea"/>
                <a:cs typeface="+mn-cs"/>
              </a:rPr>
              <a:t> It is used for policy-based slice decisions. It uses the UE Route Selection Policy (URSP), which includes Network Slice Selection Policy (NSSP). Operator specific policies, e.g. time dependent, can be used to associate UE applications with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 </a:t>
            </a:r>
          </a:p>
        </p:txBody>
      </p:sp>
      <p:sp>
        <p:nvSpPr>
          <p:cNvPr id="91" name="Rectangular Callout 104">
            <a:extLst>
              <a:ext uri="{FF2B5EF4-FFF2-40B4-BE49-F238E27FC236}">
                <a16:creationId xmlns:a16="http://schemas.microsoft.com/office/drawing/2014/main" id="{63EDC375-20F0-431B-88FC-55A8B6BC928D}"/>
              </a:ext>
            </a:extLst>
          </p:cNvPr>
          <p:cNvSpPr/>
          <p:nvPr/>
        </p:nvSpPr>
        <p:spPr bwMode="auto">
          <a:xfrm>
            <a:off x="9354950" y="3568025"/>
            <a:ext cx="773647" cy="1107996"/>
          </a:xfrm>
          <a:prstGeom prst="wedgeRectCallout">
            <a:avLst>
              <a:gd name="adj1" fmla="val -172578"/>
              <a:gd name="adj2" fmla="val 22335"/>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SMF: </a:t>
            </a:r>
            <a:r>
              <a:rPr kumimoji="0" lang="en-US" sz="1100" b="0" i="0" u="none" strike="noStrike" kern="1200" cap="none" spc="0" normalizeH="0" baseline="0" noProof="0">
                <a:ln>
                  <a:noFill/>
                </a:ln>
                <a:solidFill>
                  <a:srgbClr val="00285F"/>
                </a:solidFill>
                <a:effectLst/>
                <a:uLnTx/>
                <a:uFillTx/>
                <a:latin typeface="Ericsson Hilda"/>
                <a:ea typeface="+mn-ea"/>
                <a:cs typeface="+mn-cs"/>
              </a:rPr>
              <a:t>It</a:t>
            </a:r>
            <a:r>
              <a:rPr kumimoji="0" lang="en-US" sz="1100" b="1" i="0" u="none" strike="noStrike" kern="1200" cap="none" spc="0" normalizeH="0" baseline="0" noProof="0">
                <a:ln>
                  <a:noFill/>
                </a:ln>
                <a:solidFill>
                  <a:srgbClr val="00285F"/>
                </a:solidFill>
                <a:effectLst/>
                <a:uLnTx/>
                <a:uFillTx/>
                <a:latin typeface="Ericsson Hilda"/>
                <a:ea typeface="+mn-ea"/>
                <a:cs typeface="+mn-cs"/>
              </a:rPr>
              <a:t> </a:t>
            </a:r>
            <a:r>
              <a:rPr kumimoji="0" lang="en-US" sz="1100" b="0" i="0" u="none" strike="noStrike" kern="1200" cap="none" spc="0" normalizeH="0" baseline="0" noProof="0">
                <a:ln>
                  <a:noFill/>
                </a:ln>
                <a:solidFill>
                  <a:srgbClr val="00285F"/>
                </a:solidFill>
                <a:effectLst/>
                <a:uLnTx/>
                <a:uFillTx/>
                <a:latin typeface="Ericsson Hilda"/>
                <a:ea typeface="+mn-ea"/>
                <a:cs typeface="+mn-cs"/>
              </a:rPr>
              <a:t>may select UPF based on S-</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a:t>
            </a:r>
          </a:p>
        </p:txBody>
      </p:sp>
      <p:sp>
        <p:nvSpPr>
          <p:cNvPr id="116" name="Rectangular Callout 104">
            <a:extLst>
              <a:ext uri="{FF2B5EF4-FFF2-40B4-BE49-F238E27FC236}">
                <a16:creationId xmlns:a16="http://schemas.microsoft.com/office/drawing/2014/main" id="{A510768A-04EC-41BE-8274-15776B497A97}"/>
              </a:ext>
            </a:extLst>
          </p:cNvPr>
          <p:cNvSpPr/>
          <p:nvPr/>
        </p:nvSpPr>
        <p:spPr bwMode="auto">
          <a:xfrm>
            <a:off x="154935" y="772579"/>
            <a:ext cx="2164692" cy="1277273"/>
          </a:xfrm>
          <a:prstGeom prst="wedgeRectCallout">
            <a:avLst>
              <a:gd name="adj1" fmla="val 119689"/>
              <a:gd name="adj2" fmla="val 59042"/>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NWDAF: </a:t>
            </a:r>
            <a:r>
              <a:rPr kumimoji="0" lang="en-US" sz="1100" b="0" i="0" u="none" strike="noStrike" kern="1200" cap="none" spc="0" normalizeH="0" baseline="0" noProof="0">
                <a:ln>
                  <a:noFill/>
                </a:ln>
                <a:solidFill>
                  <a:srgbClr val="00285F"/>
                </a:solidFill>
                <a:effectLst/>
                <a:uLnTx/>
                <a:uFillTx/>
                <a:latin typeface="Ericsson Hilda"/>
                <a:ea typeface="+mn-ea"/>
                <a:cs typeface="+mn-cs"/>
              </a:rPr>
              <a:t>It provides slice specific network data analytics to a NF (e.g. PCF).</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a:ln>
                  <a:noFill/>
                </a:ln>
                <a:solidFill>
                  <a:srgbClr val="00285F"/>
                </a:solidFill>
                <a:effectLst/>
                <a:uLnTx/>
                <a:uFillTx/>
                <a:latin typeface="Ericsson Hilda"/>
                <a:ea typeface="+mn-ea"/>
                <a:cs typeface="+mn-cs"/>
              </a:rPr>
              <a:t>Input @Subscription (S-NSSA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a:ln>
                  <a:noFill/>
                </a:ln>
                <a:solidFill>
                  <a:srgbClr val="00285F"/>
                </a:solidFill>
                <a:effectLst/>
                <a:uLnTx/>
                <a:uFillTx/>
                <a:latin typeface="Ericsson Hilda"/>
                <a:ea typeface="+mn-ea"/>
                <a:cs typeface="+mn-cs"/>
              </a:rPr>
              <a:t>Output: Slice performance data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endParaRPr kumimoji="0" lang="en-US" sz="1100" b="0" i="0" u="none" strike="noStrike" kern="1200" cap="none" spc="0" normalizeH="0" baseline="0" noProof="0">
              <a:ln>
                <a:noFill/>
              </a:ln>
              <a:solidFill>
                <a:srgbClr val="00285F"/>
              </a:solidFill>
              <a:effectLst/>
              <a:highlight>
                <a:srgbClr val="00FF00"/>
              </a:highlight>
              <a:uLnTx/>
              <a:uFillTx/>
              <a:latin typeface="Ericsson Hilda"/>
              <a:ea typeface="+mn-ea"/>
              <a:cs typeface="+mn-cs"/>
            </a:endParaRPr>
          </a:p>
        </p:txBody>
      </p:sp>
      <p:sp>
        <p:nvSpPr>
          <p:cNvPr id="120" name="TextBox 119">
            <a:extLst>
              <a:ext uri="{FF2B5EF4-FFF2-40B4-BE49-F238E27FC236}">
                <a16:creationId xmlns:a16="http://schemas.microsoft.com/office/drawing/2014/main" id="{C3D73DB3-6DFA-41A4-AE23-0F3F4C2AB5EB}"/>
              </a:ext>
            </a:extLst>
          </p:cNvPr>
          <p:cNvSpPr txBox="1"/>
          <p:nvPr/>
        </p:nvSpPr>
        <p:spPr bwMode="auto">
          <a:xfrm>
            <a:off x="2511133" y="2158714"/>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SS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5" name="TextBox 124">
            <a:extLst>
              <a:ext uri="{FF2B5EF4-FFF2-40B4-BE49-F238E27FC236}">
                <a16:creationId xmlns:a16="http://schemas.microsoft.com/office/drawing/2014/main" id="{C879B926-135B-4E51-9573-ECF5E8EC5F6E}"/>
              </a:ext>
            </a:extLst>
          </p:cNvPr>
          <p:cNvSpPr txBox="1"/>
          <p:nvPr/>
        </p:nvSpPr>
        <p:spPr bwMode="auto">
          <a:xfrm>
            <a:off x="3831672" y="2158714"/>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WDA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31" name="TextBox 130">
            <a:extLst>
              <a:ext uri="{FF2B5EF4-FFF2-40B4-BE49-F238E27FC236}">
                <a16:creationId xmlns:a16="http://schemas.microsoft.com/office/drawing/2014/main" id="{D590FD95-BD36-470D-A25F-544AAD800692}"/>
              </a:ext>
            </a:extLst>
          </p:cNvPr>
          <p:cNvSpPr txBox="1"/>
          <p:nvPr/>
        </p:nvSpPr>
        <p:spPr bwMode="auto">
          <a:xfrm>
            <a:off x="6472750" y="3799497"/>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AM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32" name="TextBox 131">
            <a:extLst>
              <a:ext uri="{FF2B5EF4-FFF2-40B4-BE49-F238E27FC236}">
                <a16:creationId xmlns:a16="http://schemas.microsoft.com/office/drawing/2014/main" id="{27C681FF-38C9-46BE-8A28-2FDC211DE7E9}"/>
              </a:ext>
            </a:extLst>
          </p:cNvPr>
          <p:cNvSpPr txBox="1"/>
          <p:nvPr/>
        </p:nvSpPr>
        <p:spPr bwMode="auto">
          <a:xfrm>
            <a:off x="7793289" y="3799497"/>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SM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1" name="TextBox 150">
            <a:extLst>
              <a:ext uri="{FF2B5EF4-FFF2-40B4-BE49-F238E27FC236}">
                <a16:creationId xmlns:a16="http://schemas.microsoft.com/office/drawing/2014/main" id="{BF857A45-6D4C-410F-8195-99DBB7161B92}"/>
              </a:ext>
            </a:extLst>
          </p:cNvPr>
          <p:cNvSpPr txBox="1"/>
          <p:nvPr/>
        </p:nvSpPr>
        <p:spPr bwMode="auto">
          <a:xfrm>
            <a:off x="11197910" y="5825712"/>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A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5" name="TextBox 154">
            <a:extLst>
              <a:ext uri="{FF2B5EF4-FFF2-40B4-BE49-F238E27FC236}">
                <a16:creationId xmlns:a16="http://schemas.microsoft.com/office/drawing/2014/main" id="{D41F4477-99F0-4AD1-A844-7BF7E1BAC929}"/>
              </a:ext>
            </a:extLst>
          </p:cNvPr>
          <p:cNvSpPr txBox="1"/>
          <p:nvPr/>
        </p:nvSpPr>
        <p:spPr bwMode="auto">
          <a:xfrm>
            <a:off x="7793289" y="5805910"/>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G</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UPF</a:t>
            </a:r>
          </a:p>
        </p:txBody>
      </p:sp>
      <p:sp>
        <p:nvSpPr>
          <p:cNvPr id="156" name="TextBox 155">
            <a:extLst>
              <a:ext uri="{FF2B5EF4-FFF2-40B4-BE49-F238E27FC236}">
                <a16:creationId xmlns:a16="http://schemas.microsoft.com/office/drawing/2014/main" id="{49A6FAA4-61A7-4AA2-A20B-7272DC006347}"/>
              </a:ext>
            </a:extLst>
          </p:cNvPr>
          <p:cNvSpPr txBox="1"/>
          <p:nvPr/>
        </p:nvSpPr>
        <p:spPr bwMode="auto">
          <a:xfrm>
            <a:off x="2819473" y="5805910"/>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G-RAN</a:t>
            </a:r>
          </a:p>
        </p:txBody>
      </p:sp>
      <p:pic>
        <p:nvPicPr>
          <p:cNvPr id="157" name="Picture Placeholder 51">
            <a:extLst>
              <a:ext uri="{FF2B5EF4-FFF2-40B4-BE49-F238E27FC236}">
                <a16:creationId xmlns:a16="http://schemas.microsoft.com/office/drawing/2014/main" id="{8E9CFD99-29D2-40F0-B372-D8A200BD83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73" b="73"/>
          <a:stretch>
            <a:fillRect/>
          </a:stretch>
        </p:blipFill>
        <p:spPr>
          <a:xfrm>
            <a:off x="168448" y="5822919"/>
            <a:ext cx="686942" cy="686942"/>
          </a:xfrm>
          <a:prstGeom prst="rect">
            <a:avLst/>
          </a:prstGeom>
        </p:spPr>
      </p:pic>
      <p:pic>
        <p:nvPicPr>
          <p:cNvPr id="160" name="Picture Placeholder 27">
            <a:extLst>
              <a:ext uri="{FF2B5EF4-FFF2-40B4-BE49-F238E27FC236}">
                <a16:creationId xmlns:a16="http://schemas.microsoft.com/office/drawing/2014/main" id="{6EADE978-2B38-49C6-84F8-D9805362C3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9708359" y="5704161"/>
            <a:ext cx="1081151" cy="1081151"/>
          </a:xfrm>
          <a:prstGeom prst="rect">
            <a:avLst/>
          </a:prstGeom>
        </p:spPr>
      </p:pic>
      <p:sp>
        <p:nvSpPr>
          <p:cNvPr id="28" name="TextBox 27">
            <a:extLst>
              <a:ext uri="{FF2B5EF4-FFF2-40B4-BE49-F238E27FC236}">
                <a16:creationId xmlns:a16="http://schemas.microsoft.com/office/drawing/2014/main" id="{03C0E274-9C5E-48D2-91F0-0AD25FD395C6}"/>
              </a:ext>
            </a:extLst>
          </p:cNvPr>
          <p:cNvSpPr txBox="1"/>
          <p:nvPr/>
        </p:nvSpPr>
        <p:spPr bwMode="auto">
          <a:xfrm>
            <a:off x="5058170" y="2153225"/>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b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UDR</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9" name="Rectangular Callout 104">
            <a:extLst>
              <a:ext uri="{FF2B5EF4-FFF2-40B4-BE49-F238E27FC236}">
                <a16:creationId xmlns:a16="http://schemas.microsoft.com/office/drawing/2014/main" id="{CE932F38-A6A1-4B8B-9E2E-A5B6A6128784}"/>
              </a:ext>
            </a:extLst>
          </p:cNvPr>
          <p:cNvSpPr/>
          <p:nvPr/>
        </p:nvSpPr>
        <p:spPr bwMode="auto">
          <a:xfrm>
            <a:off x="2718074" y="772579"/>
            <a:ext cx="2352371" cy="938719"/>
          </a:xfrm>
          <a:prstGeom prst="wedgeRectCallout">
            <a:avLst>
              <a:gd name="adj1" fmla="val 49580"/>
              <a:gd name="adj2" fmla="val 98728"/>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85F"/>
                </a:solidFill>
                <a:effectLst/>
                <a:uLnTx/>
                <a:uFillTx/>
                <a:latin typeface="Ericsson Hilda"/>
                <a:ea typeface="+mn-ea"/>
                <a:cs typeface="+mn-cs"/>
              </a:rPr>
              <a:t>UDR:  </a:t>
            </a:r>
            <a:r>
              <a:rPr lang="en-US" sz="1100">
                <a:solidFill>
                  <a:srgbClr val="00285F"/>
                </a:solidFill>
                <a:latin typeface="Ericsson Hilda"/>
              </a:rPr>
              <a:t>It stores </a:t>
            </a:r>
            <a:r>
              <a:rPr kumimoji="0" lang="en-US" sz="1100" i="0" u="none" strike="noStrike" kern="1200" cap="none" spc="0" normalizeH="0" baseline="0" noProof="0">
                <a:ln>
                  <a:noFill/>
                </a:ln>
                <a:solidFill>
                  <a:srgbClr val="00285F"/>
                </a:solidFill>
                <a:effectLst/>
                <a:uLnTx/>
                <a:uFillTx/>
                <a:latin typeface="Ericsson Hilda"/>
              </a:rPr>
              <a:t> </a:t>
            </a:r>
            <a:r>
              <a:rPr kumimoji="0" lang="en-US" sz="1100" b="0" i="0" u="none" strike="noStrike" kern="1200" cap="none" spc="0" normalizeH="0" baseline="0" noProof="0">
                <a:ln>
                  <a:noFill/>
                </a:ln>
                <a:solidFill>
                  <a:srgbClr val="00285F"/>
                </a:solidFill>
                <a:effectLst/>
                <a:uLnTx/>
                <a:uFillTx/>
                <a:latin typeface="Ericsson Hilda"/>
                <a:ea typeface="+mn-ea"/>
                <a:cs typeface="+mn-cs"/>
              </a:rPr>
              <a:t>subscription data including slicing information, such as Subscrib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s)</a:t>
            </a:r>
            <a:r>
              <a:rPr kumimoji="0" lang="en-US" sz="1100" b="0" i="0" u="none" strike="noStrike" kern="1200" cap="none" spc="0" normalizeH="0" baseline="0" noProof="0">
                <a:ln>
                  <a:noFill/>
                </a:ln>
                <a:solidFill>
                  <a:srgbClr val="00285F"/>
                </a:solidFill>
                <a:effectLst/>
                <a:uLnTx/>
                <a:uFillTx/>
                <a:latin typeface="Ericsson Hilda"/>
                <a:ea typeface="+mn-ea"/>
                <a:cs typeface="+mn-cs"/>
              </a:rPr>
              <a:t>, Default S-</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s) and Default DNN per Subscribed </a:t>
            </a:r>
            <a:r>
              <a:rPr kumimoji="0" lang="en-US" sz="1100" b="0" i="0" u="none" strike="noStrike" kern="1200" cap="none" spc="0" normalizeH="0" baseline="0" noProof="0">
                <a:ln>
                  <a:noFill/>
                </a:ln>
                <a:solidFill>
                  <a:srgbClr val="00285F"/>
                </a:solidFill>
                <a:effectLst/>
                <a:highlight>
                  <a:srgbClr val="FFFF00"/>
                </a:highlight>
                <a:uLnTx/>
                <a:uFillTx/>
                <a:latin typeface="Ericsson Hilda"/>
                <a:ea typeface="+mn-ea"/>
                <a:cs typeface="+mn-cs"/>
              </a:rPr>
              <a:t>S-NSSAI</a:t>
            </a:r>
            <a:r>
              <a:rPr kumimoji="0" lang="en-US" sz="1100" b="0" i="0" u="none" strike="noStrike" kern="1200" cap="none" spc="0" normalizeH="0" baseline="0" noProof="0">
                <a:ln>
                  <a:noFill/>
                </a:ln>
                <a:solidFill>
                  <a:srgbClr val="00285F"/>
                </a:solidFill>
                <a:effectLst/>
                <a:uLnTx/>
                <a:uFillTx/>
                <a:latin typeface="Ericsson Hilda"/>
                <a:ea typeface="+mn-ea"/>
                <a:cs typeface="+mn-cs"/>
              </a:rPr>
              <a:t>.</a:t>
            </a:r>
          </a:p>
        </p:txBody>
      </p:sp>
      <p:sp>
        <p:nvSpPr>
          <p:cNvPr id="32" name="TextBox 31">
            <a:extLst>
              <a:ext uri="{FF2B5EF4-FFF2-40B4-BE49-F238E27FC236}">
                <a16:creationId xmlns:a16="http://schemas.microsoft.com/office/drawing/2014/main" id="{7BC4C5EC-D5E2-472E-A116-7395AE5A0630}"/>
              </a:ext>
            </a:extLst>
          </p:cNvPr>
          <p:cNvSpPr txBox="1"/>
          <p:nvPr/>
        </p:nvSpPr>
        <p:spPr bwMode="auto">
          <a:xfrm>
            <a:off x="6472750" y="2158714"/>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UDM</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3" name="TextBox 32">
            <a:extLst>
              <a:ext uri="{FF2B5EF4-FFF2-40B4-BE49-F238E27FC236}">
                <a16:creationId xmlns:a16="http://schemas.microsoft.com/office/drawing/2014/main" id="{81255F13-E572-489B-A797-B4F00B576EAE}"/>
              </a:ext>
            </a:extLst>
          </p:cNvPr>
          <p:cNvSpPr txBox="1"/>
          <p:nvPr/>
        </p:nvSpPr>
        <p:spPr bwMode="auto">
          <a:xfrm>
            <a:off x="7798830" y="2159829"/>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PC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4" name="TextBox 33">
            <a:extLst>
              <a:ext uri="{FF2B5EF4-FFF2-40B4-BE49-F238E27FC236}">
                <a16:creationId xmlns:a16="http://schemas.microsoft.com/office/drawing/2014/main" id="{232C49F1-B27A-4088-90A9-D96D015CB73A}"/>
              </a:ext>
            </a:extLst>
          </p:cNvPr>
          <p:cNvSpPr txBox="1"/>
          <p:nvPr/>
        </p:nvSpPr>
        <p:spPr bwMode="auto">
          <a:xfrm>
            <a:off x="9110440" y="2158715"/>
            <a:ext cx="576000" cy="936000"/>
          </a:xfrm>
          <a:prstGeom prst="rect">
            <a:avLst/>
          </a:prstGeom>
          <a:solidFill>
            <a:schemeClr val="bg1"/>
          </a:solidFill>
          <a:ln w="1905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NR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Tree>
    <p:extLst>
      <p:ext uri="{BB962C8B-B14F-4D97-AF65-F5344CB8AC3E}">
        <p14:creationId xmlns:p14="http://schemas.microsoft.com/office/powerpoint/2010/main" val="242849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5"/>
                                        </p:tgtEl>
                                        <p:attrNameLst>
                                          <p:attrName>style.visibility</p:attrName>
                                        </p:attrNameLst>
                                      </p:cBhvr>
                                      <p:to>
                                        <p:strVal val="visible"/>
                                      </p:to>
                                    </p:set>
                                    <p:animEffect transition="in" filter="fade">
                                      <p:cBhvr>
                                        <p:cTn id="7" dur="500"/>
                                        <p:tgtEl>
                                          <p:spTgt spid="18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6"/>
                                        </p:tgtEl>
                                        <p:attrNameLst>
                                          <p:attrName>style.visibility</p:attrName>
                                        </p:attrNameLst>
                                      </p:cBhvr>
                                      <p:to>
                                        <p:strVal val="visible"/>
                                      </p:to>
                                    </p:set>
                                    <p:animEffect transition="in" filter="fade">
                                      <p:cBhvr>
                                        <p:cTn id="12" dur="500"/>
                                        <p:tgtEl>
                                          <p:spTgt spid="1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3"/>
                                        </p:tgtEl>
                                        <p:attrNameLst>
                                          <p:attrName>style.visibility</p:attrName>
                                        </p:attrNameLst>
                                      </p:cBhvr>
                                      <p:to>
                                        <p:strVal val="visible"/>
                                      </p:to>
                                    </p:set>
                                    <p:animEffect transition="in" filter="fade">
                                      <p:cBhvr>
                                        <p:cTn id="17" dur="500"/>
                                        <p:tgtEl>
                                          <p:spTgt spid="19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4"/>
                                        </p:tgtEl>
                                        <p:attrNameLst>
                                          <p:attrName>style.visibility</p:attrName>
                                        </p:attrNameLst>
                                      </p:cBhvr>
                                      <p:to>
                                        <p:strVal val="visible"/>
                                      </p:to>
                                    </p:set>
                                    <p:animEffect transition="in" filter="fade">
                                      <p:cBhvr>
                                        <p:cTn id="22" dur="500"/>
                                        <p:tgtEl>
                                          <p:spTgt spid="19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6"/>
                                        </p:tgtEl>
                                        <p:attrNameLst>
                                          <p:attrName>style.visibility</p:attrName>
                                        </p:attrNameLst>
                                      </p:cBhvr>
                                      <p:to>
                                        <p:strVal val="visible"/>
                                      </p:to>
                                    </p:set>
                                    <p:animEffect transition="in" filter="fade">
                                      <p:cBhvr>
                                        <p:cTn id="27" dur="500"/>
                                        <p:tgtEl>
                                          <p:spTgt spid="19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97"/>
                                        </p:tgtEl>
                                        <p:attrNameLst>
                                          <p:attrName>style.visibility</p:attrName>
                                        </p:attrNameLst>
                                      </p:cBhvr>
                                      <p:to>
                                        <p:strVal val="visible"/>
                                      </p:to>
                                    </p:set>
                                    <p:animEffect transition="in" filter="fade">
                                      <p:cBhvr>
                                        <p:cTn id="32" dur="500"/>
                                        <p:tgtEl>
                                          <p:spTgt spid="19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01"/>
                                        </p:tgtEl>
                                        <p:attrNameLst>
                                          <p:attrName>style.visibility</p:attrName>
                                        </p:attrNameLst>
                                      </p:cBhvr>
                                      <p:to>
                                        <p:strVal val="visible"/>
                                      </p:to>
                                    </p:set>
                                    <p:animEffect transition="in" filter="fade">
                                      <p:cBhvr>
                                        <p:cTn id="37" dur="500"/>
                                        <p:tgtEl>
                                          <p:spTgt spid="20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1"/>
                                        </p:tgtEl>
                                        <p:attrNameLst>
                                          <p:attrName>style.visibility</p:attrName>
                                        </p:attrNameLst>
                                      </p:cBhvr>
                                      <p:to>
                                        <p:strVal val="visible"/>
                                      </p:to>
                                    </p:set>
                                    <p:animEffect transition="in" filter="fade">
                                      <p:cBhvr>
                                        <p:cTn id="42" dur="500"/>
                                        <p:tgtEl>
                                          <p:spTgt spid="9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6"/>
                                        </p:tgtEl>
                                        <p:attrNameLst>
                                          <p:attrName>style.visibility</p:attrName>
                                        </p:attrNameLst>
                                      </p:cBhvr>
                                      <p:to>
                                        <p:strVal val="visible"/>
                                      </p:to>
                                    </p:set>
                                    <p:animEffect transition="in" filter="fade">
                                      <p:cBhvr>
                                        <p:cTn id="47" dur="500"/>
                                        <p:tgtEl>
                                          <p:spTgt spid="11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6" grpId="0" animBg="1"/>
      <p:bldP spid="193" grpId="0" animBg="1"/>
      <p:bldP spid="194" grpId="0" animBg="1"/>
      <p:bldP spid="196" grpId="0" animBg="1"/>
      <p:bldP spid="201" grpId="0" animBg="1"/>
      <p:bldP spid="197" grpId="0" animBg="1"/>
      <p:bldP spid="91" grpId="0" animBg="1"/>
      <p:bldP spid="116" grpId="0" animBg="1"/>
      <p:bldP spid="2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26F0F097-0E84-46C3-9B49-5D0FF226382C}"/>
              </a:ext>
            </a:extLst>
          </p:cNvPr>
          <p:cNvSpPr txBox="1"/>
          <p:nvPr/>
        </p:nvSpPr>
        <p:spPr bwMode="auto">
          <a:xfrm>
            <a:off x="2285801" y="4661469"/>
            <a:ext cx="670610" cy="1071094"/>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NG-</a:t>
            </a:r>
            <a:br>
              <a:rPr kumimoji="0" lang="en-US" sz="1400" b="0" i="0" u="none" strike="noStrike" kern="1200" cap="none" spc="0" normalizeH="0" baseline="0" noProof="0">
                <a:ln>
                  <a:noFill/>
                </a:ln>
                <a:solidFill>
                  <a:srgbClr val="0082F0"/>
                </a:solidFill>
                <a:effectLst/>
                <a:uLnTx/>
                <a:uFillTx/>
                <a:latin typeface="Ericsson Hilda"/>
                <a:ea typeface="+mn-ea"/>
                <a:cs typeface="+mn-cs"/>
              </a:rPr>
            </a:br>
            <a:r>
              <a:rPr kumimoji="0" lang="en-US" sz="1400" b="0" i="0" u="none" strike="noStrike" kern="1200" cap="none" spc="0" normalizeH="0" baseline="0" noProof="0">
                <a:ln>
                  <a:noFill/>
                </a:ln>
                <a:solidFill>
                  <a:srgbClr val="0082F0"/>
                </a:solidFill>
                <a:effectLst/>
                <a:uLnTx/>
                <a:uFillTx/>
                <a:latin typeface="Ericsson Hilda"/>
                <a:ea typeface="+mn-ea"/>
                <a:cs typeface="+mn-cs"/>
              </a:rPr>
              <a:t>RAN</a:t>
            </a:r>
          </a:p>
        </p:txBody>
      </p:sp>
      <p:sp>
        <p:nvSpPr>
          <p:cNvPr id="68" name="TextBox 67">
            <a:extLst>
              <a:ext uri="{FF2B5EF4-FFF2-40B4-BE49-F238E27FC236}">
                <a16:creationId xmlns:a16="http://schemas.microsoft.com/office/drawing/2014/main" id="{3D242B9A-0B60-4DE1-8172-E9712E0F6964}"/>
              </a:ext>
            </a:extLst>
          </p:cNvPr>
          <p:cNvSpPr txBox="1"/>
          <p:nvPr/>
        </p:nvSpPr>
        <p:spPr bwMode="auto">
          <a:xfrm>
            <a:off x="5335790" y="3786259"/>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Initial</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69" name="TextBox 68">
            <a:extLst>
              <a:ext uri="{FF2B5EF4-FFF2-40B4-BE49-F238E27FC236}">
                <a16:creationId xmlns:a16="http://schemas.microsoft.com/office/drawing/2014/main" id="{C1430FB5-5790-4F30-91A1-8BA3003F5E31}"/>
              </a:ext>
            </a:extLst>
          </p:cNvPr>
          <p:cNvSpPr txBox="1"/>
          <p:nvPr/>
        </p:nvSpPr>
        <p:spPr bwMode="auto">
          <a:xfrm>
            <a:off x="4098288" y="2265341"/>
            <a:ext cx="669383" cy="106913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UDM</a:t>
            </a:r>
          </a:p>
        </p:txBody>
      </p:sp>
      <p:sp>
        <p:nvSpPr>
          <p:cNvPr id="70" name="TextBox 69">
            <a:extLst>
              <a:ext uri="{FF2B5EF4-FFF2-40B4-BE49-F238E27FC236}">
                <a16:creationId xmlns:a16="http://schemas.microsoft.com/office/drawing/2014/main" id="{563D5821-87FD-4982-9C25-8D811A888DE3}"/>
              </a:ext>
            </a:extLst>
          </p:cNvPr>
          <p:cNvSpPr txBox="1"/>
          <p:nvPr/>
        </p:nvSpPr>
        <p:spPr bwMode="auto">
          <a:xfrm>
            <a:off x="6828346" y="2009919"/>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a:ea typeface="+mn-ea"/>
                <a:cs typeface="+mn-cs"/>
              </a:rPr>
              <a:t>NSS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72" name="TextBox 71">
            <a:extLst>
              <a:ext uri="{FF2B5EF4-FFF2-40B4-BE49-F238E27FC236}">
                <a16:creationId xmlns:a16="http://schemas.microsoft.com/office/drawing/2014/main" id="{1706AA88-AB6C-422A-B260-B7327C368D51}"/>
              </a:ext>
            </a:extLst>
          </p:cNvPr>
          <p:cNvSpPr txBox="1"/>
          <p:nvPr/>
        </p:nvSpPr>
        <p:spPr bwMode="auto">
          <a:xfrm>
            <a:off x="7644131" y="4431559"/>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Serving</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66" name="Title 65">
            <a:extLst>
              <a:ext uri="{FF2B5EF4-FFF2-40B4-BE49-F238E27FC236}">
                <a16:creationId xmlns:a16="http://schemas.microsoft.com/office/drawing/2014/main" id="{0EACBB2A-3AE0-4527-940D-1F94836C2863}"/>
              </a:ext>
            </a:extLst>
          </p:cNvPr>
          <p:cNvSpPr>
            <a:spLocks noGrp="1"/>
          </p:cNvSpPr>
          <p:nvPr>
            <p:ph type="title"/>
          </p:nvPr>
        </p:nvSpPr>
        <p:spPr>
          <a:xfrm>
            <a:off x="524935" y="239714"/>
            <a:ext cx="9992784" cy="1085371"/>
          </a:xfrm>
        </p:spPr>
        <p:txBody>
          <a:bodyPr>
            <a:normAutofit/>
          </a:bodyPr>
          <a:lstStyle/>
          <a:p>
            <a:r>
              <a:rPr lang="en-US"/>
              <a:t>AMF &amp; Slice Selection – with NSSF</a:t>
            </a:r>
            <a:br>
              <a:rPr lang="en-US"/>
            </a:br>
            <a:r>
              <a:rPr lang="en-US" sz="2400"/>
              <a:t>registration procedure interactions  - </a:t>
            </a:r>
            <a:r>
              <a:rPr lang="en-US" sz="2400">
                <a:solidFill>
                  <a:schemeClr val="tx2"/>
                </a:solidFill>
              </a:rPr>
              <a:t>non  roaming - redirect</a:t>
            </a:r>
            <a:endParaRPr lang="en-US">
              <a:solidFill>
                <a:schemeClr val="tx2"/>
              </a:solidFill>
            </a:endParaRPr>
          </a:p>
        </p:txBody>
      </p:sp>
      <p:grpSp>
        <p:nvGrpSpPr>
          <p:cNvPr id="49" name="Group 48">
            <a:extLst>
              <a:ext uri="{FF2B5EF4-FFF2-40B4-BE49-F238E27FC236}">
                <a16:creationId xmlns:a16="http://schemas.microsoft.com/office/drawing/2014/main" id="{6C2DA795-1229-4391-9E7C-24A4A8277196}"/>
              </a:ext>
            </a:extLst>
          </p:cNvPr>
          <p:cNvGrpSpPr/>
          <p:nvPr/>
        </p:nvGrpSpPr>
        <p:grpSpPr>
          <a:xfrm>
            <a:off x="314517" y="4984993"/>
            <a:ext cx="992350" cy="1351944"/>
            <a:chOff x="9538020" y="331410"/>
            <a:chExt cx="992350" cy="1351944"/>
          </a:xfrm>
        </p:grpSpPr>
        <p:sp>
          <p:nvSpPr>
            <p:cNvPr id="50" name="Freeform 4">
              <a:extLst>
                <a:ext uri="{FF2B5EF4-FFF2-40B4-BE49-F238E27FC236}">
                  <a16:creationId xmlns:a16="http://schemas.microsoft.com/office/drawing/2014/main" id="{1FA6F3E5-A3E3-42A1-BDC9-DCB7F017C48C}"/>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51" name="Text Box 144">
              <a:extLst>
                <a:ext uri="{FF2B5EF4-FFF2-40B4-BE49-F238E27FC236}">
                  <a16:creationId xmlns:a16="http://schemas.microsoft.com/office/drawing/2014/main" id="{F45418F4-99F4-48F5-8052-2805DCD1DA8E}"/>
                </a:ext>
              </a:extLst>
            </p:cNvPr>
            <p:cNvSpPr txBox="1">
              <a:spLocks noChangeAspect="1" noChangeArrowheads="1"/>
            </p:cNvSpPr>
            <p:nvPr/>
          </p:nvSpPr>
          <p:spPr bwMode="auto">
            <a:xfrm>
              <a:off x="9538020" y="9964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endParaRPr kumimoji="0" lang="en-US" altLang="en-US" sz="1600" b="0" i="0" u="none" strike="noStrike" kern="1200" cap="none" spc="0" normalizeH="0" baseline="0" noProof="0">
                <a:ln>
                  <a:noFill/>
                </a:ln>
                <a:solidFill>
                  <a:srgbClr val="58585A"/>
                </a:solidFill>
                <a:effectLst/>
                <a:uLnTx/>
                <a:uFillTx/>
                <a:latin typeface="Arial" charset="0"/>
                <a:ea typeface="MS PGothic" charset="-128"/>
                <a:cs typeface="+mn-cs"/>
              </a:endParaRPr>
            </a:p>
          </p:txBody>
        </p:sp>
      </p:grpSp>
      <p:cxnSp>
        <p:nvCxnSpPr>
          <p:cNvPr id="62" name="Straight Arrow Connector 61">
            <a:extLst>
              <a:ext uri="{FF2B5EF4-FFF2-40B4-BE49-F238E27FC236}">
                <a16:creationId xmlns:a16="http://schemas.microsoft.com/office/drawing/2014/main" id="{AB2D154B-11DE-4C68-A682-0F9B82190DEA}"/>
              </a:ext>
            </a:extLst>
          </p:cNvPr>
          <p:cNvCxnSpPr>
            <a:cxnSpLocks/>
          </p:cNvCxnSpPr>
          <p:nvPr/>
        </p:nvCxnSpPr>
        <p:spPr bwMode="auto">
          <a:xfrm>
            <a:off x="4667470" y="3340752"/>
            <a:ext cx="610673" cy="543877"/>
          </a:xfrm>
          <a:prstGeom prst="straightConnector1">
            <a:avLst/>
          </a:prstGeom>
          <a:solidFill>
            <a:schemeClr val="accent1"/>
          </a:solidFill>
          <a:ln w="12700" cap="flat" cmpd="sng" algn="ctr">
            <a:solidFill>
              <a:schemeClr val="tx1"/>
            </a:solidFill>
            <a:prstDash val="dash"/>
            <a:round/>
            <a:headEnd type="triangle" w="med" len="med"/>
            <a:tailEnd type="triangle" w="med" len="med"/>
          </a:ln>
          <a:effectLst/>
        </p:spPr>
      </p:cxnSp>
      <p:cxnSp>
        <p:nvCxnSpPr>
          <p:cNvPr id="63" name="Straight Arrow Connector 62">
            <a:extLst>
              <a:ext uri="{FF2B5EF4-FFF2-40B4-BE49-F238E27FC236}">
                <a16:creationId xmlns:a16="http://schemas.microsoft.com/office/drawing/2014/main" id="{67DF1C5A-2D75-4CC5-A5A6-98695466EBF3}"/>
              </a:ext>
            </a:extLst>
          </p:cNvPr>
          <p:cNvCxnSpPr>
            <a:cxnSpLocks/>
          </p:cNvCxnSpPr>
          <p:nvPr/>
        </p:nvCxnSpPr>
        <p:spPr bwMode="auto">
          <a:xfrm flipH="1">
            <a:off x="6049675" y="3085060"/>
            <a:ext cx="1138751" cy="845495"/>
          </a:xfrm>
          <a:prstGeom prst="straightConnector1">
            <a:avLst/>
          </a:prstGeom>
          <a:solidFill>
            <a:schemeClr val="accent1"/>
          </a:solidFill>
          <a:ln w="12700" cap="flat" cmpd="sng" algn="ctr">
            <a:solidFill>
              <a:schemeClr val="tx1"/>
            </a:solidFill>
            <a:prstDash val="dash"/>
            <a:round/>
            <a:headEnd type="triangle" w="med" len="med"/>
            <a:tailEnd type="triangle" w="med" len="med"/>
          </a:ln>
          <a:effectLst/>
        </p:spPr>
      </p:cxnSp>
      <p:sp>
        <p:nvSpPr>
          <p:cNvPr id="71" name="Freeform: Shape 70">
            <a:extLst>
              <a:ext uri="{FF2B5EF4-FFF2-40B4-BE49-F238E27FC236}">
                <a16:creationId xmlns:a16="http://schemas.microsoft.com/office/drawing/2014/main" id="{6B74C197-38D5-4F41-9A29-6D220C563E9A}"/>
              </a:ext>
            </a:extLst>
          </p:cNvPr>
          <p:cNvSpPr/>
          <p:nvPr/>
        </p:nvSpPr>
        <p:spPr bwMode="auto">
          <a:xfrm>
            <a:off x="2897335" y="4446696"/>
            <a:ext cx="2422697" cy="494103"/>
          </a:xfrm>
          <a:custGeom>
            <a:avLst/>
            <a:gdLst>
              <a:gd name="connsiteX0" fmla="*/ 0 w 3918857"/>
              <a:gd name="connsiteY0" fmla="*/ 667657 h 731902"/>
              <a:gd name="connsiteX1" fmla="*/ 2177143 w 3918857"/>
              <a:gd name="connsiteY1" fmla="*/ 667657 h 731902"/>
              <a:gd name="connsiteX2" fmla="*/ 3918857 w 3918857"/>
              <a:gd name="connsiteY2" fmla="*/ 0 h 731902"/>
              <a:gd name="connsiteX0" fmla="*/ 0 w 3918857"/>
              <a:gd name="connsiteY0" fmla="*/ 667657 h 667656"/>
              <a:gd name="connsiteX1" fmla="*/ 3918857 w 3918857"/>
              <a:gd name="connsiteY1" fmla="*/ 0 h 667656"/>
              <a:gd name="connsiteX0" fmla="*/ 0 w 4062369"/>
              <a:gd name="connsiteY0" fmla="*/ 400382 h 400382"/>
              <a:gd name="connsiteX1" fmla="*/ 4062369 w 4062369"/>
              <a:gd name="connsiteY1" fmla="*/ 0 h 400382"/>
              <a:gd name="connsiteX0" fmla="*/ 0 w 4277637"/>
              <a:gd name="connsiteY0" fmla="*/ 749898 h 749898"/>
              <a:gd name="connsiteX1" fmla="*/ 4277637 w 4277637"/>
              <a:gd name="connsiteY1" fmla="*/ 0 h 749898"/>
            </a:gdLst>
            <a:ahLst/>
            <a:cxnLst>
              <a:cxn ang="0">
                <a:pos x="connsiteX0" y="connsiteY0"/>
              </a:cxn>
              <a:cxn ang="0">
                <a:pos x="connsiteX1" y="connsiteY1"/>
              </a:cxn>
            </a:cxnLst>
            <a:rect l="l" t="t" r="r" b="b"/>
            <a:pathLst>
              <a:path w="4277637" h="749898">
                <a:moveTo>
                  <a:pt x="0" y="749898"/>
                </a:moveTo>
                <a:lnTo>
                  <a:pt x="4277637" y="0"/>
                </a:lnTo>
              </a:path>
            </a:pathLst>
          </a:custGeom>
          <a:noFill/>
          <a:ln w="12700" cap="flat" cmpd="sng" algn="ctr">
            <a:solidFill>
              <a:schemeClr val="tx1"/>
            </a:solidFill>
            <a:prstDash val="solid"/>
            <a:round/>
            <a:headEnd type="non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cxnSp>
        <p:nvCxnSpPr>
          <p:cNvPr id="76" name="Straight Arrow Connector 75">
            <a:extLst>
              <a:ext uri="{FF2B5EF4-FFF2-40B4-BE49-F238E27FC236}">
                <a16:creationId xmlns:a16="http://schemas.microsoft.com/office/drawing/2014/main" id="{2B8045EE-FFC1-41E5-A43E-F28134B9D2DB}"/>
              </a:ext>
            </a:extLst>
          </p:cNvPr>
          <p:cNvCxnSpPr>
            <a:cxnSpLocks/>
          </p:cNvCxnSpPr>
          <p:nvPr/>
        </p:nvCxnSpPr>
        <p:spPr bwMode="auto">
          <a:xfrm flipH="1">
            <a:off x="1022593" y="5583867"/>
            <a:ext cx="6731721" cy="3866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81" name="Rectangular Callout 104">
            <a:extLst>
              <a:ext uri="{FF2B5EF4-FFF2-40B4-BE49-F238E27FC236}">
                <a16:creationId xmlns:a16="http://schemas.microsoft.com/office/drawing/2014/main" id="{EDAAEBDE-B7D3-4A20-B7FE-A39386C4F08B}"/>
              </a:ext>
            </a:extLst>
          </p:cNvPr>
          <p:cNvSpPr/>
          <p:nvPr/>
        </p:nvSpPr>
        <p:spPr bwMode="auto">
          <a:xfrm>
            <a:off x="1863711" y="3290057"/>
            <a:ext cx="2181906" cy="646331"/>
          </a:xfrm>
          <a:prstGeom prst="wedgeRectCallout">
            <a:avLst>
              <a:gd name="adj1" fmla="val 77192"/>
              <a:gd name="adj2" fmla="val 94503"/>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latin typeface="Arial" charset="0"/>
                <a:ea typeface="+mn-ea"/>
                <a:cs typeface="+mn-cs"/>
              </a:rPr>
              <a:t>AMF Receives a Registration Request:</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charset="0"/>
                <a:ea typeface="+mn-ea"/>
                <a:cs typeface="+mn-cs"/>
              </a:rPr>
              <a:t>Requested NSSAI</a:t>
            </a:r>
          </a:p>
        </p:txBody>
      </p:sp>
      <p:sp>
        <p:nvSpPr>
          <p:cNvPr id="82" name="Rectangular Callout 104">
            <a:extLst>
              <a:ext uri="{FF2B5EF4-FFF2-40B4-BE49-F238E27FC236}">
                <a16:creationId xmlns:a16="http://schemas.microsoft.com/office/drawing/2014/main" id="{CFBF0D61-4D59-49CE-B912-F58101190331}"/>
              </a:ext>
            </a:extLst>
          </p:cNvPr>
          <p:cNvSpPr/>
          <p:nvPr/>
        </p:nvSpPr>
        <p:spPr bwMode="auto">
          <a:xfrm>
            <a:off x="4388454" y="1118690"/>
            <a:ext cx="2174192" cy="646331"/>
          </a:xfrm>
          <a:prstGeom prst="wedgeRectCallout">
            <a:avLst>
              <a:gd name="adj1" fmla="val -18115"/>
              <a:gd name="adj2" fmla="val 217976"/>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rPr>
              <a:t>AMF receives</a:t>
            </a:r>
            <a:r>
              <a:rPr kumimoji="0" lang="en-US" sz="1200" b="1" i="0" u="none" strike="noStrike" kern="1200" cap="none" spc="0" normalizeH="0" noProof="0">
                <a:ln>
                  <a:noFill/>
                </a:ln>
                <a:effectLst/>
                <a:uLnTx/>
                <a:uFillTx/>
              </a:rPr>
              <a:t> from UDM</a:t>
            </a:r>
          </a:p>
          <a:p>
            <a:pPr marL="285750" lvl="0" indent="-285750" fontAlgn="base">
              <a:spcBef>
                <a:spcPts val="0"/>
              </a:spcBef>
              <a:spcAft>
                <a:spcPct val="0"/>
              </a:spcAft>
              <a:buFont typeface="Arial" panose="020B0604020202020204" pitchFamily="34" charset="0"/>
              <a:buChar char="•"/>
              <a:defRPr/>
            </a:pPr>
            <a:r>
              <a:rPr lang="en-US" sz="1200"/>
              <a:t>Subscribed S-NSSAIs   </a:t>
            </a:r>
          </a:p>
          <a:p>
            <a:pPr marL="285750" lvl="0" indent="-285750" fontAlgn="base">
              <a:spcBef>
                <a:spcPts val="0"/>
              </a:spcBef>
              <a:spcAft>
                <a:spcPct val="0"/>
              </a:spcAft>
              <a:buFont typeface="Arial" panose="020B0604020202020204" pitchFamily="34" charset="0"/>
              <a:buChar char="•"/>
              <a:defRPr/>
            </a:pPr>
            <a:r>
              <a:rPr lang="en-US" sz="1200">
                <a:latin typeface="Arial" panose="020B0604020202020204" pitchFamily="34" charset="0"/>
                <a:cs typeface="Arial" panose="020B0604020202020204" pitchFamily="34" charset="0"/>
              </a:rPr>
              <a:t>UE Usage type (O)</a:t>
            </a:r>
            <a:endParaRPr lang="en-US" sz="1200"/>
          </a:p>
        </p:txBody>
      </p:sp>
      <p:sp>
        <p:nvSpPr>
          <p:cNvPr id="83" name="Rectangular Callout 104">
            <a:extLst>
              <a:ext uri="{FF2B5EF4-FFF2-40B4-BE49-F238E27FC236}">
                <a16:creationId xmlns:a16="http://schemas.microsoft.com/office/drawing/2014/main" id="{CB78F641-FD90-4CF0-B352-CCE9B8D0E9DD}"/>
              </a:ext>
            </a:extLst>
          </p:cNvPr>
          <p:cNvSpPr/>
          <p:nvPr/>
        </p:nvSpPr>
        <p:spPr bwMode="auto">
          <a:xfrm>
            <a:off x="8293721" y="403992"/>
            <a:ext cx="3188921" cy="1384995"/>
          </a:xfrm>
          <a:prstGeom prst="wedgeRectCallout">
            <a:avLst>
              <a:gd name="adj1" fmla="val -101424"/>
              <a:gd name="adj2" fmla="val 176931"/>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latin typeface="Arial" charset="0"/>
              </a:rPr>
              <a:t>AMF may interact</a:t>
            </a:r>
            <a:r>
              <a:rPr kumimoji="0" lang="en-US" sz="1200" b="1" i="0" u="none" strike="noStrike" kern="1200" cap="none" spc="0" normalizeH="0" noProof="0">
                <a:ln>
                  <a:noFill/>
                </a:ln>
                <a:effectLst/>
                <a:uLnTx/>
                <a:uFillTx/>
                <a:latin typeface="Arial" charset="0"/>
              </a:rPr>
              <a:t> with NSSF to determine</a:t>
            </a:r>
            <a:r>
              <a:rPr kumimoji="0" lang="en-US" sz="1200" b="1" i="0" u="none" strike="noStrike" kern="1200" cap="none" spc="0" normalizeH="0" baseline="0" noProof="0">
                <a:ln>
                  <a:noFill/>
                </a:ln>
                <a:effectLst/>
                <a:uLnTx/>
                <a:uFillTx/>
                <a:latin typeface="Arial" charset="0"/>
              </a:rPr>
              <a:t>:</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charset="0"/>
              </a:rPr>
              <a:t>Allowed NSSAI</a:t>
            </a:r>
            <a:endParaRPr kumimoji="0" lang="en-US" sz="1200" b="0" i="0" u="none" strike="noStrike" kern="1200" cap="none" spc="0" normalizeH="0" baseline="0" noProof="0">
              <a:ln>
                <a:noFill/>
              </a:ln>
              <a:solidFill>
                <a:schemeClr val="accent1"/>
              </a:solidFill>
              <a:effectLst/>
              <a:uLnTx/>
              <a:uFillTx/>
              <a:latin typeface="Arial" charset="0"/>
            </a:endParaRPr>
          </a:p>
          <a:p>
            <a:pPr marL="171450" lvl="0" indent="-171450" fontAlgn="base">
              <a:spcBef>
                <a:spcPts val="0"/>
              </a:spcBef>
              <a:spcAft>
                <a:spcPct val="0"/>
              </a:spcAft>
              <a:buFont typeface="Arial" panose="020B0604020202020204" pitchFamily="34" charset="0"/>
              <a:buChar char="•"/>
              <a:defRPr/>
            </a:pPr>
            <a:r>
              <a:rPr lang="en-US" sz="1200">
                <a:latin typeface="Arial" charset="0"/>
              </a:rPr>
              <a:t>rejected S-NSSAI (O)</a:t>
            </a:r>
            <a:endParaRPr kumimoji="0" lang="en-US" sz="1200" b="0" i="0" u="none" strike="noStrike" kern="1200" cap="none" spc="0" normalizeH="0" baseline="0" noProof="0">
              <a:ln>
                <a:noFill/>
              </a:ln>
              <a:effectLst/>
              <a:uLnTx/>
              <a:uFillTx/>
              <a:latin typeface="Arial" charset="0"/>
            </a:endParaRP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charset="0"/>
              </a:rPr>
              <a:t>Target AMF Set or, based on configuration, the list of candidate AMF(s).</a:t>
            </a:r>
          </a:p>
          <a:p>
            <a:pPr marL="171450" indent="-171450" fontAlgn="base">
              <a:spcBef>
                <a:spcPts val="0"/>
              </a:spcBef>
              <a:spcAft>
                <a:spcPct val="0"/>
              </a:spcAft>
              <a:buFont typeface="Arial" panose="020B0604020202020204" pitchFamily="34" charset="0"/>
              <a:buChar char="•"/>
              <a:defRPr/>
            </a:pPr>
            <a:r>
              <a:rPr lang="en-US" sz="1200">
                <a:latin typeface="Arial" charset="0"/>
              </a:rPr>
              <a:t>NSI IDs for the UE (O)</a:t>
            </a:r>
            <a:endParaRPr lang="en-US" sz="1400">
              <a:latin typeface="Arial" charset="0"/>
            </a:endParaRPr>
          </a:p>
        </p:txBody>
      </p:sp>
      <p:sp>
        <p:nvSpPr>
          <p:cNvPr id="84" name="Rectangular Callout 104">
            <a:extLst>
              <a:ext uri="{FF2B5EF4-FFF2-40B4-BE49-F238E27FC236}">
                <a16:creationId xmlns:a16="http://schemas.microsoft.com/office/drawing/2014/main" id="{95BDEF4D-885F-4CFC-8C37-70AA486FB33A}"/>
              </a:ext>
            </a:extLst>
          </p:cNvPr>
          <p:cNvSpPr/>
          <p:nvPr/>
        </p:nvSpPr>
        <p:spPr bwMode="auto">
          <a:xfrm>
            <a:off x="8737425" y="2863611"/>
            <a:ext cx="2626941" cy="1107996"/>
          </a:xfrm>
          <a:prstGeom prst="wedgeRectCallout">
            <a:avLst>
              <a:gd name="adj1" fmla="val -188941"/>
              <a:gd name="adj2" fmla="val 77197"/>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solidFill>
                  <a:srgbClr val="00285F"/>
                </a:solidFill>
                <a:effectLst/>
                <a:uLnTx/>
                <a:uFillTx/>
                <a:latin typeface="Arial" charset="0"/>
              </a:rPr>
              <a:t>AMF </a:t>
            </a:r>
            <a:r>
              <a:rPr kumimoji="0" lang="en-US" sz="1200" b="1" i="0" u="none" strike="noStrike" kern="1200" cap="none" spc="0" normalizeH="0" baseline="0" noProof="0">
                <a:ln>
                  <a:noFill/>
                </a:ln>
                <a:effectLst/>
                <a:uLnTx/>
                <a:uFillTx/>
                <a:latin typeface="Arial" charset="0"/>
              </a:rPr>
              <a:t>redirects</a:t>
            </a:r>
            <a:r>
              <a:rPr kumimoji="0" lang="en-US" sz="1200" b="1" i="0" u="none" strike="noStrike" kern="1200" cap="none" spc="0" normalizeH="0" baseline="0" noProof="0">
                <a:ln>
                  <a:noFill/>
                </a:ln>
                <a:solidFill>
                  <a:srgbClr val="00285F"/>
                </a:solidFill>
                <a:effectLst/>
                <a:uLnTx/>
                <a:uFillTx/>
                <a:latin typeface="Arial" charset="0"/>
              </a:rPr>
              <a:t> the NAS message:</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285F"/>
                </a:solidFill>
                <a:effectLst/>
                <a:uLnTx/>
                <a:uFillTx/>
                <a:latin typeface="Arial" charset="0"/>
              </a:rPr>
              <a:t>Registration Request</a:t>
            </a:r>
          </a:p>
          <a:p>
            <a:pPr marL="171450" lvl="0" indent="-171450" fontAlgn="base">
              <a:spcAft>
                <a:spcPct val="0"/>
              </a:spcAft>
              <a:buFont typeface="Arial" panose="020B0604020202020204" pitchFamily="34" charset="0"/>
              <a:buChar char="•"/>
              <a:defRPr/>
            </a:pPr>
            <a:r>
              <a:rPr lang="en-US" sz="1200">
                <a:solidFill>
                  <a:srgbClr val="00285F"/>
                </a:solidFill>
                <a:latin typeface="Arial" charset="0"/>
              </a:rPr>
              <a:t>Target AMF (not to AMF set)</a:t>
            </a:r>
            <a:endParaRPr lang="en-US" sz="1200">
              <a:solidFill>
                <a:srgbClr val="00285F"/>
              </a:solidFill>
              <a:highlight>
                <a:srgbClr val="FFFF00"/>
              </a:highlight>
              <a:latin typeface="Arial" charset="0"/>
            </a:endParaRP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285F"/>
                </a:solidFill>
                <a:effectLst/>
                <a:uLnTx/>
                <a:uFillTx/>
                <a:latin typeface="Arial" charset="0"/>
              </a:rPr>
              <a:t>Slicing information for UE Context (from NSSF)</a:t>
            </a:r>
          </a:p>
        </p:txBody>
      </p:sp>
      <p:sp>
        <p:nvSpPr>
          <p:cNvPr id="88" name="Oval 87">
            <a:extLst>
              <a:ext uri="{FF2B5EF4-FFF2-40B4-BE49-F238E27FC236}">
                <a16:creationId xmlns:a16="http://schemas.microsoft.com/office/drawing/2014/main" id="{B3761750-3E2D-4D1E-8A86-956F27E50790}"/>
              </a:ext>
            </a:extLst>
          </p:cNvPr>
          <p:cNvSpPr/>
          <p:nvPr/>
        </p:nvSpPr>
        <p:spPr bwMode="auto">
          <a:xfrm rot="1263626">
            <a:off x="4753853" y="3815183"/>
            <a:ext cx="4148987" cy="1850388"/>
          </a:xfrm>
          <a:prstGeom prst="ellipse">
            <a:avLst/>
          </a:prstGeom>
          <a:noFill/>
          <a:ln w="12700" cap="flat" cmpd="sng" algn="ctr">
            <a:solidFill>
              <a:schemeClr val="tx1"/>
            </a:solidFill>
            <a:prstDash val="sysDot"/>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1" name="TextBox 90">
            <a:extLst>
              <a:ext uri="{FF2B5EF4-FFF2-40B4-BE49-F238E27FC236}">
                <a16:creationId xmlns:a16="http://schemas.microsoft.com/office/drawing/2014/main" id="{8B5D0688-F850-4D64-A2EF-5B4A60EC7CDB}"/>
              </a:ext>
            </a:extLst>
          </p:cNvPr>
          <p:cNvSpPr txBox="1"/>
          <p:nvPr/>
        </p:nvSpPr>
        <p:spPr>
          <a:xfrm>
            <a:off x="6996462" y="5898602"/>
            <a:ext cx="156773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58585A"/>
                </a:solidFill>
                <a:effectLst/>
                <a:uLnTx/>
                <a:uFillTx/>
                <a:latin typeface="Arial" charset="0"/>
                <a:ea typeface="+mn-ea"/>
                <a:cs typeface="+mn-cs"/>
              </a:rPr>
              <a:t>Holds the UE Context (including slicing information)</a:t>
            </a:r>
          </a:p>
        </p:txBody>
      </p:sp>
      <p:sp>
        <p:nvSpPr>
          <p:cNvPr id="92" name="Oval 91">
            <a:extLst>
              <a:ext uri="{FF2B5EF4-FFF2-40B4-BE49-F238E27FC236}">
                <a16:creationId xmlns:a16="http://schemas.microsoft.com/office/drawing/2014/main" id="{2CFBA9A4-CE20-4B8B-8566-8E2FA3B09FF3}"/>
              </a:ext>
            </a:extLst>
          </p:cNvPr>
          <p:cNvSpPr/>
          <p:nvPr/>
        </p:nvSpPr>
        <p:spPr bwMode="auto">
          <a:xfrm>
            <a:off x="4671398" y="411567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00285E"/>
                </a:solidFill>
                <a:effectLst/>
                <a:uLnTx/>
                <a:uFillTx/>
                <a:latin typeface="Arial" charset="0"/>
                <a:ea typeface="+mn-ea"/>
                <a:cs typeface="+mn-cs"/>
              </a:rPr>
              <a:t>2</a:t>
            </a:r>
          </a:p>
        </p:txBody>
      </p:sp>
      <p:sp>
        <p:nvSpPr>
          <p:cNvPr id="93" name="Oval 92">
            <a:extLst>
              <a:ext uri="{FF2B5EF4-FFF2-40B4-BE49-F238E27FC236}">
                <a16:creationId xmlns:a16="http://schemas.microsoft.com/office/drawing/2014/main" id="{E7A662BD-C2CF-421F-986D-90CC844555A3}"/>
              </a:ext>
            </a:extLst>
          </p:cNvPr>
          <p:cNvSpPr/>
          <p:nvPr/>
        </p:nvSpPr>
        <p:spPr bwMode="auto">
          <a:xfrm>
            <a:off x="4870758" y="3412962"/>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00285E"/>
                </a:solidFill>
                <a:effectLst/>
                <a:uLnTx/>
                <a:uFillTx/>
                <a:latin typeface="Arial" charset="0"/>
                <a:ea typeface="+mn-ea"/>
                <a:cs typeface="+mn-cs"/>
              </a:rPr>
              <a:t>3</a:t>
            </a:r>
          </a:p>
        </p:txBody>
      </p:sp>
      <p:sp>
        <p:nvSpPr>
          <p:cNvPr id="95" name="Oval 94">
            <a:extLst>
              <a:ext uri="{FF2B5EF4-FFF2-40B4-BE49-F238E27FC236}">
                <a16:creationId xmlns:a16="http://schemas.microsoft.com/office/drawing/2014/main" id="{01D23C6F-59D6-4A38-8BD6-A7BB0D9B93BE}"/>
              </a:ext>
            </a:extLst>
          </p:cNvPr>
          <p:cNvSpPr/>
          <p:nvPr/>
        </p:nvSpPr>
        <p:spPr bwMode="auto">
          <a:xfrm>
            <a:off x="4686760" y="4613868"/>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00285E"/>
                </a:solidFill>
                <a:effectLst/>
                <a:uLnTx/>
                <a:uFillTx/>
                <a:latin typeface="Arial" charset="0"/>
                <a:ea typeface="+mn-ea"/>
                <a:cs typeface="+mn-cs"/>
              </a:rPr>
              <a:t>5</a:t>
            </a:r>
          </a:p>
        </p:txBody>
      </p:sp>
      <p:sp>
        <p:nvSpPr>
          <p:cNvPr id="96" name="Oval 95">
            <a:extLst>
              <a:ext uri="{FF2B5EF4-FFF2-40B4-BE49-F238E27FC236}">
                <a16:creationId xmlns:a16="http://schemas.microsoft.com/office/drawing/2014/main" id="{7ED7B94A-9414-4BD2-9DDC-05B7AB67526A}"/>
              </a:ext>
            </a:extLst>
          </p:cNvPr>
          <p:cNvSpPr/>
          <p:nvPr/>
        </p:nvSpPr>
        <p:spPr bwMode="auto">
          <a:xfrm>
            <a:off x="7412336" y="5480568"/>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en-US" sz="2000">
                <a:solidFill>
                  <a:srgbClr val="00285E"/>
                </a:solidFill>
                <a:latin typeface="Arial" charset="0"/>
              </a:rPr>
              <a:t>7</a:t>
            </a:r>
            <a:endParaRPr kumimoji="0" lang="en-US" sz="2000" b="0" i="0" u="none" strike="noStrike" kern="1200" cap="none" spc="0" normalizeH="0" baseline="0" noProof="0">
              <a:ln>
                <a:noFill/>
              </a:ln>
              <a:solidFill>
                <a:srgbClr val="00285E"/>
              </a:solidFill>
              <a:effectLst/>
              <a:uLnTx/>
              <a:uFillTx/>
              <a:latin typeface="Arial" charset="0"/>
              <a:ea typeface="+mn-ea"/>
              <a:cs typeface="+mn-cs"/>
            </a:endParaRPr>
          </a:p>
        </p:txBody>
      </p:sp>
      <p:sp>
        <p:nvSpPr>
          <p:cNvPr id="94" name="Oval 93">
            <a:extLst>
              <a:ext uri="{FF2B5EF4-FFF2-40B4-BE49-F238E27FC236}">
                <a16:creationId xmlns:a16="http://schemas.microsoft.com/office/drawing/2014/main" id="{C6A832A1-78AD-43B1-BACB-588B69D7E72F}"/>
              </a:ext>
            </a:extLst>
          </p:cNvPr>
          <p:cNvSpPr/>
          <p:nvPr/>
        </p:nvSpPr>
        <p:spPr bwMode="auto">
          <a:xfrm>
            <a:off x="6194650" y="344564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en-US" sz="2000">
                <a:solidFill>
                  <a:srgbClr val="00285E"/>
                </a:solidFill>
                <a:latin typeface="Arial" charset="0"/>
              </a:rPr>
              <a:t>4</a:t>
            </a:r>
            <a:endParaRPr kumimoji="0" lang="en-US" sz="2000" b="0" i="0" u="none" strike="noStrike" kern="1200" cap="none" spc="0" normalizeH="0" baseline="0" noProof="0">
              <a:ln>
                <a:noFill/>
              </a:ln>
              <a:solidFill>
                <a:srgbClr val="00285E"/>
              </a:solidFill>
              <a:effectLst/>
              <a:uLnTx/>
              <a:uFillTx/>
              <a:latin typeface="Arial" charset="0"/>
              <a:ea typeface="+mn-ea"/>
              <a:cs typeface="+mn-cs"/>
            </a:endParaRPr>
          </a:p>
        </p:txBody>
      </p:sp>
      <p:sp>
        <p:nvSpPr>
          <p:cNvPr id="73" name="Rectangular Callout 104">
            <a:extLst>
              <a:ext uri="{FF2B5EF4-FFF2-40B4-BE49-F238E27FC236}">
                <a16:creationId xmlns:a16="http://schemas.microsoft.com/office/drawing/2014/main" id="{90375843-8618-4CB2-917E-FB2BBEF22FD4}"/>
              </a:ext>
            </a:extLst>
          </p:cNvPr>
          <p:cNvSpPr/>
          <p:nvPr/>
        </p:nvSpPr>
        <p:spPr bwMode="auto">
          <a:xfrm>
            <a:off x="222957" y="1166193"/>
            <a:ext cx="2571626" cy="1200329"/>
          </a:xfrm>
          <a:prstGeom prst="wedgeRectCallout">
            <a:avLst>
              <a:gd name="adj1" fmla="val -28129"/>
              <a:gd name="adj2" fmla="val 247861"/>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latin typeface="Arial" charset="0"/>
              </a:rPr>
              <a:t>UE provides</a:t>
            </a:r>
            <a:r>
              <a:rPr kumimoji="0" lang="en-US" sz="1200" b="1" i="0" u="none" strike="noStrike" kern="1200" cap="none" spc="0" normalizeH="0" noProof="0">
                <a:ln>
                  <a:noFill/>
                </a:ln>
                <a:effectLst/>
                <a:uLnTx/>
                <a:uFillTx/>
                <a:latin typeface="Arial" charset="0"/>
              </a:rPr>
              <a:t> Requested NSSAI based on</a:t>
            </a:r>
            <a:r>
              <a:rPr kumimoji="0" lang="en-US" sz="1200" b="1" i="0" u="none" strike="noStrike" kern="1200" cap="none" spc="0" normalizeH="0" baseline="0" noProof="0">
                <a:ln>
                  <a:noFill/>
                </a:ln>
                <a:effectLst/>
                <a:uLnTx/>
                <a:uFillTx/>
                <a:latin typeface="Arial" charset="0"/>
              </a:rPr>
              <a:t>:</a:t>
            </a:r>
          </a:p>
          <a:p>
            <a:pPr marL="171450" indent="-171450" fontAlgn="base">
              <a:spcBef>
                <a:spcPts val="0"/>
              </a:spcBef>
              <a:spcAft>
                <a:spcPct val="0"/>
              </a:spcAft>
              <a:buFont typeface="Arial" panose="020B0604020202020204" pitchFamily="34" charset="0"/>
              <a:buChar char="•"/>
              <a:defRPr/>
            </a:pPr>
            <a:r>
              <a:rPr lang="en-US" sz="1200">
                <a:latin typeface="Arial" charset="0"/>
              </a:rPr>
              <a:t>Allowed NSSAI</a:t>
            </a:r>
          </a:p>
          <a:p>
            <a:pPr marL="171450" indent="-171450" fontAlgn="base">
              <a:spcBef>
                <a:spcPts val="0"/>
              </a:spcBef>
              <a:spcAft>
                <a:spcPct val="0"/>
              </a:spcAft>
              <a:buFont typeface="Arial" panose="020B0604020202020204" pitchFamily="34" charset="0"/>
              <a:buChar char="•"/>
              <a:defRPr/>
            </a:pPr>
            <a:r>
              <a:rPr lang="en-US" sz="1200">
                <a:latin typeface="Arial" charset="0"/>
              </a:rPr>
              <a:t>Default Configured NSSAI </a:t>
            </a:r>
            <a:endParaRPr lang="en-US" sz="1200"/>
          </a:p>
          <a:p>
            <a:pPr marL="171450" indent="-171450" fontAlgn="base">
              <a:spcBef>
                <a:spcPts val="0"/>
              </a:spcBef>
              <a:spcAft>
                <a:spcPct val="0"/>
              </a:spcAft>
              <a:buFont typeface="Arial" panose="020B0604020202020204" pitchFamily="34" charset="0"/>
              <a:buChar char="•"/>
              <a:defRPr/>
            </a:pPr>
            <a:r>
              <a:rPr kumimoji="0" lang="en-US" sz="1200" b="0" i="0" u="none" strike="noStrike" kern="1200" cap="none" spc="0" normalizeH="0" baseline="0" noProof="0">
                <a:ln>
                  <a:noFill/>
                </a:ln>
                <a:effectLst/>
                <a:uLnTx/>
                <a:uFillTx/>
                <a:latin typeface="Arial" charset="0"/>
              </a:rPr>
              <a:t>S-NSSAIs for established PDN connections</a:t>
            </a:r>
          </a:p>
        </p:txBody>
      </p:sp>
      <p:sp>
        <p:nvSpPr>
          <p:cNvPr id="75" name="Freeform: Shape 74">
            <a:extLst>
              <a:ext uri="{FF2B5EF4-FFF2-40B4-BE49-F238E27FC236}">
                <a16:creationId xmlns:a16="http://schemas.microsoft.com/office/drawing/2014/main" id="{7493FDD8-E5A7-4CD4-8E74-7BDECB20EE45}"/>
              </a:ext>
            </a:extLst>
          </p:cNvPr>
          <p:cNvSpPr/>
          <p:nvPr/>
        </p:nvSpPr>
        <p:spPr bwMode="auto">
          <a:xfrm>
            <a:off x="1050406" y="4963545"/>
            <a:ext cx="1233823" cy="265227"/>
          </a:xfrm>
          <a:custGeom>
            <a:avLst/>
            <a:gdLst>
              <a:gd name="connsiteX0" fmla="*/ 0 w 3918857"/>
              <a:gd name="connsiteY0" fmla="*/ 667657 h 731902"/>
              <a:gd name="connsiteX1" fmla="*/ 2177143 w 3918857"/>
              <a:gd name="connsiteY1" fmla="*/ 667657 h 731902"/>
              <a:gd name="connsiteX2" fmla="*/ 3918857 w 3918857"/>
              <a:gd name="connsiteY2" fmla="*/ 0 h 731902"/>
              <a:gd name="connsiteX0" fmla="*/ 0 w 3230901"/>
              <a:gd name="connsiteY0" fmla="*/ 4354368 h 4354992"/>
              <a:gd name="connsiteX1" fmla="*/ 1489187 w 3230901"/>
              <a:gd name="connsiteY1" fmla="*/ 667657 h 4354992"/>
              <a:gd name="connsiteX2" fmla="*/ 3230901 w 3230901"/>
              <a:gd name="connsiteY2" fmla="*/ 0 h 4354992"/>
              <a:gd name="connsiteX0" fmla="*/ 0 w 3230901"/>
              <a:gd name="connsiteY0" fmla="*/ 4354368 h 4354368"/>
              <a:gd name="connsiteX1" fmla="*/ 3230901 w 3230901"/>
              <a:gd name="connsiteY1" fmla="*/ 0 h 4354368"/>
              <a:gd name="connsiteX0" fmla="*/ 0 w 3213262"/>
              <a:gd name="connsiteY0" fmla="*/ 4245941 h 4245941"/>
              <a:gd name="connsiteX1" fmla="*/ 3213262 w 3213262"/>
              <a:gd name="connsiteY1" fmla="*/ 0 h 4245941"/>
            </a:gdLst>
            <a:ahLst/>
            <a:cxnLst>
              <a:cxn ang="0">
                <a:pos x="connsiteX0" y="connsiteY0"/>
              </a:cxn>
              <a:cxn ang="0">
                <a:pos x="connsiteX1" y="connsiteY1"/>
              </a:cxn>
            </a:cxnLst>
            <a:rect l="l" t="t" r="r" b="b"/>
            <a:pathLst>
              <a:path w="3213262" h="4245941">
                <a:moveTo>
                  <a:pt x="0" y="4245941"/>
                </a:moveTo>
                <a:lnTo>
                  <a:pt x="3213262" y="0"/>
                </a:lnTo>
              </a:path>
            </a:pathLst>
          </a:custGeom>
          <a:noFill/>
          <a:ln w="12700" cap="flat" cmpd="sng" algn="ctr">
            <a:solidFill>
              <a:schemeClr val="tx1"/>
            </a:solidFill>
            <a:prstDash val="solid"/>
            <a:round/>
            <a:headEnd type="non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77" name="Oval 76">
            <a:extLst>
              <a:ext uri="{FF2B5EF4-FFF2-40B4-BE49-F238E27FC236}">
                <a16:creationId xmlns:a16="http://schemas.microsoft.com/office/drawing/2014/main" id="{16EE690D-6F01-4239-8CDD-10D91D97AB13}"/>
              </a:ext>
            </a:extLst>
          </p:cNvPr>
          <p:cNvSpPr/>
          <p:nvPr/>
        </p:nvSpPr>
        <p:spPr bwMode="auto">
          <a:xfrm>
            <a:off x="1939299" y="4529390"/>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00285E"/>
                </a:solidFill>
                <a:effectLst/>
                <a:uLnTx/>
                <a:uFillTx/>
                <a:latin typeface="Arial" charset="0"/>
                <a:ea typeface="+mn-ea"/>
                <a:cs typeface="+mn-cs"/>
              </a:rPr>
              <a:t>1</a:t>
            </a:r>
          </a:p>
        </p:txBody>
      </p:sp>
      <p:sp>
        <p:nvSpPr>
          <p:cNvPr id="78" name="Rectangular Callout 104">
            <a:extLst>
              <a:ext uri="{FF2B5EF4-FFF2-40B4-BE49-F238E27FC236}">
                <a16:creationId xmlns:a16="http://schemas.microsoft.com/office/drawing/2014/main" id="{9098DB44-BCAF-4A9C-907A-B3AB5E5FB5BF}"/>
              </a:ext>
            </a:extLst>
          </p:cNvPr>
          <p:cNvSpPr/>
          <p:nvPr/>
        </p:nvSpPr>
        <p:spPr bwMode="auto">
          <a:xfrm>
            <a:off x="612677" y="5777937"/>
            <a:ext cx="2181906" cy="738664"/>
          </a:xfrm>
          <a:prstGeom prst="wedgeRectCallout">
            <a:avLst>
              <a:gd name="adj1" fmla="val 16629"/>
              <a:gd name="adj2" fmla="val -163132"/>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latin typeface="Arial" charset="0"/>
              </a:rPr>
              <a:t>NG-RAN</a:t>
            </a:r>
            <a:r>
              <a:rPr kumimoji="0" lang="en-US" sz="1200" b="1" i="0" u="none" strike="noStrike" kern="1200" cap="none" spc="0" normalizeH="0" noProof="0">
                <a:ln>
                  <a:noFill/>
                </a:ln>
                <a:effectLst/>
                <a:uLnTx/>
                <a:uFillTx/>
                <a:latin typeface="Arial" charset="0"/>
              </a:rPr>
              <a:t> selects AMF taking into account</a:t>
            </a:r>
            <a:endParaRPr kumimoji="0" lang="en-US" sz="1200" b="1" i="0" u="none" strike="noStrike" kern="1200" cap="none" spc="0" normalizeH="0" baseline="0" noProof="0">
              <a:ln>
                <a:noFill/>
              </a:ln>
              <a:effectLst/>
              <a:uLnTx/>
              <a:uFillTx/>
              <a:latin typeface="Arial" charset="0"/>
            </a:endParaRPr>
          </a:p>
          <a:p>
            <a:pPr marL="171450" lvl="0" indent="-171450" fontAlgn="base">
              <a:spcAft>
                <a:spcPct val="0"/>
              </a:spcAft>
              <a:buFont typeface="Arial" panose="020B0604020202020204" pitchFamily="34" charset="0"/>
              <a:buChar char="•"/>
              <a:defRPr/>
            </a:pPr>
            <a:r>
              <a:rPr lang="en-US" sz="1200">
                <a:latin typeface="Arial" charset="0"/>
              </a:rPr>
              <a:t>Requested </a:t>
            </a:r>
            <a:r>
              <a:rPr kumimoji="0" lang="en-US" sz="1200" b="0" i="0" u="none" strike="noStrike" kern="1200" cap="none" spc="0" normalizeH="0" baseline="0" noProof="0">
                <a:ln>
                  <a:noFill/>
                </a:ln>
                <a:effectLst/>
                <a:uLnTx/>
                <a:uFillTx/>
                <a:latin typeface="Arial" charset="0"/>
              </a:rPr>
              <a:t>NSSAI</a:t>
            </a:r>
            <a:endParaRPr kumimoji="0" lang="en-US" sz="1400" b="0" i="0" u="none" strike="noStrike" kern="1200" cap="none" spc="0" normalizeH="0" baseline="0" noProof="0">
              <a:ln>
                <a:noFill/>
              </a:ln>
              <a:effectLst/>
              <a:uLnTx/>
              <a:uFillTx/>
              <a:latin typeface="Arial" charset="0"/>
            </a:endParaRPr>
          </a:p>
        </p:txBody>
      </p:sp>
      <p:sp>
        <p:nvSpPr>
          <p:cNvPr id="79" name="Rectangular Callout 104">
            <a:extLst>
              <a:ext uri="{FF2B5EF4-FFF2-40B4-BE49-F238E27FC236}">
                <a16:creationId xmlns:a16="http://schemas.microsoft.com/office/drawing/2014/main" id="{9233D61D-952C-411A-86F5-1146A1647AAA}"/>
              </a:ext>
            </a:extLst>
          </p:cNvPr>
          <p:cNvSpPr/>
          <p:nvPr/>
        </p:nvSpPr>
        <p:spPr bwMode="auto">
          <a:xfrm>
            <a:off x="8546536" y="4558583"/>
            <a:ext cx="3645464" cy="1200329"/>
          </a:xfrm>
          <a:prstGeom prst="wedgeRectCallout">
            <a:avLst>
              <a:gd name="adj1" fmla="val -68722"/>
              <a:gd name="adj2" fmla="val 46230"/>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solidFill>
                  <a:srgbClr val="00285F"/>
                </a:solidFill>
                <a:effectLst/>
                <a:uLnTx/>
                <a:uFillTx/>
                <a:latin typeface="Arial" charset="0"/>
              </a:rPr>
              <a:t>AMF sends the Registration response to the UE:</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285F"/>
                </a:solidFill>
                <a:effectLst/>
                <a:uLnTx/>
                <a:uFillTx/>
                <a:latin typeface="Arial" charset="0"/>
              </a:rPr>
              <a:t>Allowed NSSAI</a:t>
            </a:r>
            <a:endParaRPr lang="en-US" sz="1200">
              <a:solidFill>
                <a:srgbClr val="00285F"/>
              </a:solidFill>
              <a:latin typeface="Arial" charset="0"/>
            </a:endParaRPr>
          </a:p>
          <a:p>
            <a:pPr marL="171450" lvl="0" indent="-171450" fontAlgn="base">
              <a:spcBef>
                <a:spcPts val="0"/>
              </a:spcBef>
              <a:spcAft>
                <a:spcPct val="0"/>
              </a:spcAft>
              <a:buFont typeface="Arial" panose="020B0604020202020204" pitchFamily="34" charset="0"/>
              <a:buChar char="•"/>
              <a:defRPr/>
            </a:pPr>
            <a:r>
              <a:rPr lang="en-US" sz="1200">
                <a:solidFill>
                  <a:srgbClr val="00285F"/>
                </a:solidFill>
                <a:latin typeface="Arial" charset="0"/>
              </a:rPr>
              <a:t>rejected S-NSSAIs</a:t>
            </a:r>
            <a:r>
              <a:rPr lang="en-US" sz="1200" b="1">
                <a:solidFill>
                  <a:srgbClr val="00285F"/>
                </a:solidFill>
                <a:latin typeface="Arial" charset="0"/>
              </a:rPr>
              <a:t> </a:t>
            </a:r>
            <a:r>
              <a:rPr lang="en-US" sz="1200">
                <a:solidFill>
                  <a:srgbClr val="00285F"/>
                </a:solidFill>
                <a:latin typeface="Arial" charset="0"/>
              </a:rPr>
              <a:t> (O)</a:t>
            </a:r>
          </a:p>
          <a:p>
            <a:pPr lvl="0" fontAlgn="base">
              <a:spcAft>
                <a:spcPct val="0"/>
              </a:spcAft>
              <a:defRPr/>
            </a:pPr>
            <a:r>
              <a:rPr lang="en-US" sz="1200" b="1">
                <a:latin typeface="Arial" charset="0"/>
              </a:rPr>
              <a:t>To NG-RAN</a:t>
            </a:r>
          </a:p>
          <a:p>
            <a:pPr marL="171450" indent="-171450" fontAlgn="base">
              <a:spcAft>
                <a:spcPct val="0"/>
              </a:spcAft>
              <a:buFont typeface="Arial" panose="020B0604020202020204" pitchFamily="34" charset="0"/>
              <a:buChar char="•"/>
              <a:defRPr/>
            </a:pPr>
            <a:r>
              <a:rPr lang="en-GB" sz="1200">
                <a:latin typeface="Arial" charset="0"/>
              </a:rPr>
              <a:t>The Allowed NSSAI for the Access Type</a:t>
            </a:r>
            <a:endParaRPr lang="en-US" sz="1200">
              <a:latin typeface="Arial" charset="0"/>
            </a:endParaRPr>
          </a:p>
        </p:txBody>
      </p:sp>
      <p:sp>
        <p:nvSpPr>
          <p:cNvPr id="34" name="Oval 33">
            <a:extLst>
              <a:ext uri="{FF2B5EF4-FFF2-40B4-BE49-F238E27FC236}">
                <a16:creationId xmlns:a16="http://schemas.microsoft.com/office/drawing/2014/main" id="{3906A96B-4C1E-4028-9563-B109F25D5186}"/>
              </a:ext>
            </a:extLst>
          </p:cNvPr>
          <p:cNvSpPr/>
          <p:nvPr/>
        </p:nvSpPr>
        <p:spPr bwMode="auto">
          <a:xfrm>
            <a:off x="6168353" y="492353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srgbClr val="00285E"/>
                </a:solidFill>
                <a:effectLst/>
                <a:uLnTx/>
                <a:uFillTx/>
                <a:latin typeface="Arial" charset="0"/>
                <a:ea typeface="+mn-ea"/>
                <a:cs typeface="+mn-cs"/>
              </a:rPr>
              <a:t>6</a:t>
            </a:r>
          </a:p>
        </p:txBody>
      </p:sp>
      <p:sp>
        <p:nvSpPr>
          <p:cNvPr id="35" name="Freeform: Shape 34">
            <a:extLst>
              <a:ext uri="{FF2B5EF4-FFF2-40B4-BE49-F238E27FC236}">
                <a16:creationId xmlns:a16="http://schemas.microsoft.com/office/drawing/2014/main" id="{E9AAE9BE-3B29-4838-AF87-1A5780344DEC}"/>
              </a:ext>
            </a:extLst>
          </p:cNvPr>
          <p:cNvSpPr/>
          <p:nvPr/>
        </p:nvSpPr>
        <p:spPr bwMode="auto">
          <a:xfrm flipH="1" flipV="1">
            <a:off x="2963455" y="4791608"/>
            <a:ext cx="2356576" cy="396359"/>
          </a:xfrm>
          <a:custGeom>
            <a:avLst/>
            <a:gdLst>
              <a:gd name="connsiteX0" fmla="*/ 0 w 3918857"/>
              <a:gd name="connsiteY0" fmla="*/ 667657 h 731902"/>
              <a:gd name="connsiteX1" fmla="*/ 2177143 w 3918857"/>
              <a:gd name="connsiteY1" fmla="*/ 667657 h 731902"/>
              <a:gd name="connsiteX2" fmla="*/ 3918857 w 3918857"/>
              <a:gd name="connsiteY2" fmla="*/ 0 h 731902"/>
              <a:gd name="connsiteX0" fmla="*/ 0 w 3918857"/>
              <a:gd name="connsiteY0" fmla="*/ 667657 h 667656"/>
              <a:gd name="connsiteX1" fmla="*/ 3918857 w 3918857"/>
              <a:gd name="connsiteY1" fmla="*/ 0 h 667656"/>
              <a:gd name="connsiteX0" fmla="*/ 0 w 4062369"/>
              <a:gd name="connsiteY0" fmla="*/ 400382 h 400382"/>
              <a:gd name="connsiteX1" fmla="*/ 4062369 w 4062369"/>
              <a:gd name="connsiteY1" fmla="*/ 0 h 400382"/>
              <a:gd name="connsiteX0" fmla="*/ 0 w 4277637"/>
              <a:gd name="connsiteY0" fmla="*/ 749898 h 749898"/>
              <a:gd name="connsiteX1" fmla="*/ 4277637 w 4277637"/>
              <a:gd name="connsiteY1" fmla="*/ 0 h 749898"/>
            </a:gdLst>
            <a:ahLst/>
            <a:cxnLst>
              <a:cxn ang="0">
                <a:pos x="connsiteX0" y="connsiteY0"/>
              </a:cxn>
              <a:cxn ang="0">
                <a:pos x="connsiteX1" y="connsiteY1"/>
              </a:cxn>
            </a:cxnLst>
            <a:rect l="l" t="t" r="r" b="b"/>
            <a:pathLst>
              <a:path w="4277637" h="749898">
                <a:moveTo>
                  <a:pt x="0" y="749898"/>
                </a:moveTo>
                <a:lnTo>
                  <a:pt x="4277637" y="0"/>
                </a:lnTo>
              </a:path>
            </a:pathLst>
          </a:custGeom>
          <a:noFill/>
          <a:ln w="12700" cap="flat" cmpd="sng" algn="ctr">
            <a:solidFill>
              <a:schemeClr val="tx1"/>
            </a:solidFill>
            <a:prstDash val="dash"/>
            <a:round/>
            <a:headEnd type="non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36" name="Freeform: Shape 35">
            <a:extLst>
              <a:ext uri="{FF2B5EF4-FFF2-40B4-BE49-F238E27FC236}">
                <a16:creationId xmlns:a16="http://schemas.microsoft.com/office/drawing/2014/main" id="{983FCCA5-4AAB-413B-A648-2DF1D42A5A05}"/>
              </a:ext>
            </a:extLst>
          </p:cNvPr>
          <p:cNvSpPr/>
          <p:nvPr/>
        </p:nvSpPr>
        <p:spPr bwMode="auto">
          <a:xfrm>
            <a:off x="2956411" y="5323447"/>
            <a:ext cx="4715648" cy="45719"/>
          </a:xfrm>
          <a:custGeom>
            <a:avLst/>
            <a:gdLst>
              <a:gd name="connsiteX0" fmla="*/ 0 w 3918857"/>
              <a:gd name="connsiteY0" fmla="*/ 667657 h 731902"/>
              <a:gd name="connsiteX1" fmla="*/ 2177143 w 3918857"/>
              <a:gd name="connsiteY1" fmla="*/ 667657 h 731902"/>
              <a:gd name="connsiteX2" fmla="*/ 3918857 w 3918857"/>
              <a:gd name="connsiteY2" fmla="*/ 0 h 731902"/>
              <a:gd name="connsiteX0" fmla="*/ 0 w 3918857"/>
              <a:gd name="connsiteY0" fmla="*/ 667657 h 667656"/>
              <a:gd name="connsiteX1" fmla="*/ 3918857 w 3918857"/>
              <a:gd name="connsiteY1" fmla="*/ 0 h 667656"/>
              <a:gd name="connsiteX0" fmla="*/ 0 w 4062369"/>
              <a:gd name="connsiteY0" fmla="*/ 400382 h 400382"/>
              <a:gd name="connsiteX1" fmla="*/ 4062369 w 4062369"/>
              <a:gd name="connsiteY1" fmla="*/ 0 h 400382"/>
              <a:gd name="connsiteX0" fmla="*/ 0 w 4277637"/>
              <a:gd name="connsiteY0" fmla="*/ 749898 h 749898"/>
              <a:gd name="connsiteX1" fmla="*/ 4277637 w 4277637"/>
              <a:gd name="connsiteY1" fmla="*/ 0 h 749898"/>
            </a:gdLst>
            <a:ahLst/>
            <a:cxnLst>
              <a:cxn ang="0">
                <a:pos x="connsiteX0" y="connsiteY0"/>
              </a:cxn>
              <a:cxn ang="0">
                <a:pos x="connsiteX1" y="connsiteY1"/>
              </a:cxn>
            </a:cxnLst>
            <a:rect l="l" t="t" r="r" b="b"/>
            <a:pathLst>
              <a:path w="4277637" h="749898">
                <a:moveTo>
                  <a:pt x="0" y="749898"/>
                </a:moveTo>
                <a:lnTo>
                  <a:pt x="4277637" y="0"/>
                </a:lnTo>
              </a:path>
            </a:pathLst>
          </a:custGeom>
          <a:noFill/>
          <a:ln w="12700" cap="flat" cmpd="sng" algn="ctr">
            <a:solidFill>
              <a:schemeClr val="tx1"/>
            </a:solidFill>
            <a:prstDash val="dash"/>
            <a:round/>
            <a:headEnd type="non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37" name="Rectangular Callout 104">
            <a:extLst>
              <a:ext uri="{FF2B5EF4-FFF2-40B4-BE49-F238E27FC236}">
                <a16:creationId xmlns:a16="http://schemas.microsoft.com/office/drawing/2014/main" id="{D00975FC-4A13-47C5-A1B1-B83C4B8DA8A7}"/>
              </a:ext>
            </a:extLst>
          </p:cNvPr>
          <p:cNvSpPr/>
          <p:nvPr/>
        </p:nvSpPr>
        <p:spPr bwMode="auto">
          <a:xfrm>
            <a:off x="3704378" y="5703893"/>
            <a:ext cx="3145940" cy="830997"/>
          </a:xfrm>
          <a:prstGeom prst="wedgeRectCallout">
            <a:avLst>
              <a:gd name="adj1" fmla="val 29955"/>
              <a:gd name="adj2" fmla="val -92398"/>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200" b="1" i="0" u="none" strike="noStrike" kern="1200" cap="none" spc="0" normalizeH="0" baseline="0" noProof="0">
                <a:ln>
                  <a:noFill/>
                </a:ln>
                <a:effectLst/>
                <a:uLnTx/>
                <a:uFillTx/>
                <a:latin typeface="Arial" charset="0"/>
              </a:rPr>
              <a:t>Serving AMF receives  Registration Request:</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charset="0"/>
              </a:rPr>
              <a:t>Requested NSSAI</a:t>
            </a:r>
          </a:p>
          <a:p>
            <a:pPr marL="171450" lvl="0" indent="-171450" fontAlgn="base">
              <a:spcBef>
                <a:spcPts val="0"/>
              </a:spcBef>
              <a:spcAft>
                <a:spcPct val="0"/>
              </a:spcAft>
              <a:buFont typeface="Arial" panose="020B0604020202020204" pitchFamily="34" charset="0"/>
              <a:buChar char="•"/>
              <a:defRPr/>
            </a:pPr>
            <a:r>
              <a:rPr lang="en-US" sz="1200">
                <a:latin typeface="Arial" charset="0"/>
              </a:rPr>
              <a:t>Slicing information for UE Context</a:t>
            </a:r>
          </a:p>
        </p:txBody>
      </p:sp>
    </p:spTree>
    <p:extLst>
      <p:ext uri="{BB962C8B-B14F-4D97-AF65-F5344CB8AC3E}">
        <p14:creationId xmlns:p14="http://schemas.microsoft.com/office/powerpoint/2010/main" val="4234999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500"/>
                                        <p:tgtEl>
                                          <p:spTgt spid="7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2"/>
                                        </p:tgtEl>
                                        <p:attrNameLst>
                                          <p:attrName>style.visibility</p:attrName>
                                        </p:attrNameLst>
                                      </p:cBhvr>
                                      <p:to>
                                        <p:strVal val="visible"/>
                                      </p:to>
                                    </p:set>
                                    <p:animEffect transition="in" filter="fade">
                                      <p:cBhvr>
                                        <p:cTn id="22" dur="500"/>
                                        <p:tgtEl>
                                          <p:spTgt spid="8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4"/>
                                        </p:tgtEl>
                                        <p:attrNameLst>
                                          <p:attrName>style.visibility</p:attrName>
                                        </p:attrNameLst>
                                      </p:cBhvr>
                                      <p:to>
                                        <p:strVal val="visible"/>
                                      </p:to>
                                    </p:set>
                                    <p:animEffect transition="in" filter="fade">
                                      <p:cBhvr>
                                        <p:cTn id="32" dur="500"/>
                                        <p:tgtEl>
                                          <p:spTgt spid="8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9"/>
                                        </p:tgtEl>
                                        <p:attrNameLst>
                                          <p:attrName>style.visibility</p:attrName>
                                        </p:attrNameLst>
                                      </p:cBhvr>
                                      <p:to>
                                        <p:strVal val="visible"/>
                                      </p:to>
                                    </p:set>
                                    <p:animEffect transition="in" filter="fade">
                                      <p:cBhvr>
                                        <p:cTn id="42"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P spid="83" grpId="0" animBg="1"/>
      <p:bldP spid="84" grpId="0" animBg="1"/>
      <p:bldP spid="73" grpId="0" animBg="1"/>
      <p:bldP spid="78" grpId="0" animBg="1"/>
      <p:bldP spid="79" grpId="0" animBg="1"/>
      <p:bldP spid="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a:solidFill>
                  <a:schemeClr val="bg1"/>
                </a:solidFill>
              </a:rPr>
              <a:t>5G core – key concepts</a:t>
            </a:r>
            <a:endParaRPr lang="en-US"/>
          </a:p>
        </p:txBody>
      </p:sp>
      <p:sp>
        <p:nvSpPr>
          <p:cNvPr id="15363" name="Rounded Rectangle 4"/>
          <p:cNvSpPr>
            <a:spLocks noChangeArrowheads="1"/>
          </p:cNvSpPr>
          <p:nvPr/>
        </p:nvSpPr>
        <p:spPr bwMode="auto">
          <a:xfrm>
            <a:off x="2508250" y="2413000"/>
            <a:ext cx="7440613" cy="1317625"/>
          </a:xfrm>
          <a:prstGeom prst="roundRect">
            <a:avLst>
              <a:gd name="adj" fmla="val 1491"/>
            </a:avLst>
          </a:prstGeom>
          <a:solidFill>
            <a:schemeClr val="accent1">
              <a:alpha val="50195"/>
            </a:schemeClr>
          </a:solidFill>
          <a:ln w="12700">
            <a:noFill/>
            <a:round/>
            <a:headEnd/>
            <a:tailEnd/>
          </a:ln>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sv-SE" sz="2000" b="0" i="0" u="none" strike="noStrike" kern="0" cap="none" spc="0" normalizeH="0" baseline="0" noProof="0">
              <a:ln>
                <a:noFill/>
              </a:ln>
              <a:solidFill>
                <a:srgbClr val="58585A"/>
              </a:solidFill>
              <a:effectLst/>
              <a:uLnTx/>
              <a:uFillTx/>
              <a:latin typeface="+mn-lt"/>
              <a:ea typeface="MS PGothic" panose="020B0600070205080204" pitchFamily="34" charset="-128"/>
              <a:cs typeface="Arial" panose="020B0604020202020204" pitchFamily="34" charset="0"/>
            </a:endParaRPr>
          </a:p>
        </p:txBody>
      </p:sp>
      <p:grpSp>
        <p:nvGrpSpPr>
          <p:cNvPr id="7" name="Group 7"/>
          <p:cNvGrpSpPr>
            <a:grpSpLocks/>
          </p:cNvGrpSpPr>
          <p:nvPr>
            <p:custDataLst>
              <p:tags r:id="rId1"/>
            </p:custDataLst>
          </p:nvPr>
        </p:nvGrpSpPr>
        <p:grpSpPr bwMode="auto">
          <a:xfrm>
            <a:off x="642950" y="4413051"/>
            <a:ext cx="785359" cy="548096"/>
            <a:chOff x="1554162" y="4567970"/>
            <a:chExt cx="760413" cy="549275"/>
          </a:xfrm>
          <a:solidFill>
            <a:srgbClr val="FFFFFF"/>
          </a:solidFill>
        </p:grpSpPr>
        <p:sp>
          <p:nvSpPr>
            <p:cNvPr id="8" name="Freeform 3"/>
            <p:cNvSpPr>
              <a:spLocks noChangeAspect="1" noEditPoints="1"/>
            </p:cNvSpPr>
            <p:nvPr/>
          </p:nvSpPr>
          <p:spPr bwMode="auto">
            <a:xfrm>
              <a:off x="1554162" y="4567970"/>
              <a:ext cx="760413" cy="549275"/>
            </a:xfrm>
            <a:custGeom>
              <a:avLst/>
              <a:gdLst>
                <a:gd name="T0" fmla="*/ 2147483647 w 368"/>
                <a:gd name="T1" fmla="*/ 0 h 296"/>
                <a:gd name="T2" fmla="*/ 2147483647 w 368"/>
                <a:gd name="T3" fmla="*/ 2147483647 h 296"/>
                <a:gd name="T4" fmla="*/ 2147483647 w 368"/>
                <a:gd name="T5" fmla="*/ 2147483647 h 296"/>
                <a:gd name="T6" fmla="*/ 2147483647 w 368"/>
                <a:gd name="T7" fmla="*/ 2147483647 h 296"/>
                <a:gd name="T8" fmla="*/ 2147483647 w 368"/>
                <a:gd name="T9" fmla="*/ 2147483647 h 296"/>
                <a:gd name="T10" fmla="*/ 2147483647 w 368"/>
                <a:gd name="T11" fmla="*/ 2147483647 h 296"/>
                <a:gd name="T12" fmla="*/ 2147483647 w 368"/>
                <a:gd name="T13" fmla="*/ 2147483647 h 296"/>
                <a:gd name="T14" fmla="*/ 2147483647 w 368"/>
                <a:gd name="T15" fmla="*/ 2147483647 h 296"/>
                <a:gd name="T16" fmla="*/ 2147483647 w 368"/>
                <a:gd name="T17" fmla="*/ 2147483647 h 296"/>
                <a:gd name="T18" fmla="*/ 2147483647 w 368"/>
                <a:gd name="T19" fmla="*/ 2147483647 h 296"/>
                <a:gd name="T20" fmla="*/ 2147483647 w 368"/>
                <a:gd name="T21" fmla="*/ 2147483647 h 296"/>
                <a:gd name="T22" fmla="*/ 2147483647 w 368"/>
                <a:gd name="T23" fmla="*/ 2147483647 h 296"/>
                <a:gd name="T24" fmla="*/ 2147483647 w 368"/>
                <a:gd name="T25" fmla="*/ 2147483647 h 296"/>
                <a:gd name="T26" fmla="*/ 2147483647 w 368"/>
                <a:gd name="T27" fmla="*/ 2147483647 h 296"/>
                <a:gd name="T28" fmla="*/ 2147483647 w 368"/>
                <a:gd name="T29" fmla="*/ 2147483647 h 296"/>
                <a:gd name="T30" fmla="*/ 2147483647 w 368"/>
                <a:gd name="T31" fmla="*/ 2147483647 h 296"/>
                <a:gd name="T32" fmla="*/ 2147483647 w 368"/>
                <a:gd name="T33" fmla="*/ 2147483647 h 296"/>
                <a:gd name="T34" fmla="*/ 2147483647 w 368"/>
                <a:gd name="T35" fmla="*/ 2147483647 h 296"/>
                <a:gd name="T36" fmla="*/ 2147483647 w 368"/>
                <a:gd name="T37" fmla="*/ 2147483647 h 296"/>
                <a:gd name="T38" fmla="*/ 2147483647 w 368"/>
                <a:gd name="T39" fmla="*/ 2147483647 h 296"/>
                <a:gd name="T40" fmla="*/ 2147483647 w 368"/>
                <a:gd name="T41" fmla="*/ 2147483647 h 296"/>
                <a:gd name="T42" fmla="*/ 2147483647 w 368"/>
                <a:gd name="T43" fmla="*/ 2147483647 h 296"/>
                <a:gd name="T44" fmla="*/ 2147483647 w 368"/>
                <a:gd name="T45" fmla="*/ 2147483647 h 296"/>
                <a:gd name="T46" fmla="*/ 2147483647 w 368"/>
                <a:gd name="T47" fmla="*/ 2147483647 h 296"/>
                <a:gd name="T48" fmla="*/ 2147483647 w 368"/>
                <a:gd name="T49" fmla="*/ 2147483647 h 296"/>
                <a:gd name="T50" fmla="*/ 2147483647 w 368"/>
                <a:gd name="T51" fmla="*/ 2147483647 h 296"/>
                <a:gd name="T52" fmla="*/ 2147483647 w 368"/>
                <a:gd name="T53" fmla="*/ 2147483647 h 296"/>
                <a:gd name="T54" fmla="*/ 2147483647 w 368"/>
                <a:gd name="T55" fmla="*/ 0 h 296"/>
                <a:gd name="T56" fmla="*/ 2147483647 w 368"/>
                <a:gd name="T57" fmla="*/ 2147483647 h 296"/>
                <a:gd name="T58" fmla="*/ 2147483647 w 368"/>
                <a:gd name="T59" fmla="*/ 2147483647 h 296"/>
                <a:gd name="T60" fmla="*/ 2147483647 w 368"/>
                <a:gd name="T61" fmla="*/ 2147483647 h 296"/>
                <a:gd name="T62" fmla="*/ 2147483647 w 368"/>
                <a:gd name="T63" fmla="*/ 2147483647 h 296"/>
                <a:gd name="T64" fmla="*/ 2147483647 w 368"/>
                <a:gd name="T65" fmla="*/ 2147483647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8"/>
                <a:gd name="T100" fmla="*/ 0 h 296"/>
                <a:gd name="T101" fmla="*/ 368 w 368"/>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8" h="296">
                  <a:moveTo>
                    <a:pt x="344" y="0"/>
                  </a:moveTo>
                  <a:cubicBezTo>
                    <a:pt x="321" y="0"/>
                    <a:pt x="321" y="0"/>
                    <a:pt x="321" y="0"/>
                  </a:cubicBezTo>
                  <a:cubicBezTo>
                    <a:pt x="303" y="0"/>
                    <a:pt x="294" y="14"/>
                    <a:pt x="291" y="26"/>
                  </a:cubicBezTo>
                  <a:cubicBezTo>
                    <a:pt x="291" y="27"/>
                    <a:pt x="289" y="37"/>
                    <a:pt x="287" y="49"/>
                  </a:cubicBezTo>
                  <a:cubicBezTo>
                    <a:pt x="283" y="47"/>
                    <a:pt x="278" y="45"/>
                    <a:pt x="272" y="45"/>
                  </a:cubicBezTo>
                  <a:cubicBezTo>
                    <a:pt x="25" y="45"/>
                    <a:pt x="25" y="45"/>
                    <a:pt x="25" y="45"/>
                  </a:cubicBezTo>
                  <a:cubicBezTo>
                    <a:pt x="18" y="45"/>
                    <a:pt x="11" y="48"/>
                    <a:pt x="6" y="54"/>
                  </a:cubicBezTo>
                  <a:cubicBezTo>
                    <a:pt x="1" y="60"/>
                    <a:pt x="0" y="68"/>
                    <a:pt x="1" y="76"/>
                  </a:cubicBezTo>
                  <a:cubicBezTo>
                    <a:pt x="2" y="82"/>
                    <a:pt x="21" y="198"/>
                    <a:pt x="22" y="199"/>
                  </a:cubicBezTo>
                  <a:cubicBezTo>
                    <a:pt x="23" y="208"/>
                    <a:pt x="33" y="220"/>
                    <a:pt x="48" y="220"/>
                  </a:cubicBezTo>
                  <a:cubicBezTo>
                    <a:pt x="248" y="220"/>
                    <a:pt x="248" y="220"/>
                    <a:pt x="248" y="220"/>
                  </a:cubicBezTo>
                  <a:cubicBezTo>
                    <a:pt x="250" y="220"/>
                    <a:pt x="253" y="220"/>
                    <a:pt x="255" y="219"/>
                  </a:cubicBezTo>
                  <a:cubicBezTo>
                    <a:pt x="252" y="234"/>
                    <a:pt x="248" y="251"/>
                    <a:pt x="248" y="253"/>
                  </a:cubicBezTo>
                  <a:cubicBezTo>
                    <a:pt x="247" y="258"/>
                    <a:pt x="247" y="259"/>
                    <a:pt x="241" y="259"/>
                  </a:cubicBezTo>
                  <a:cubicBezTo>
                    <a:pt x="239" y="259"/>
                    <a:pt x="239" y="259"/>
                    <a:pt x="239" y="259"/>
                  </a:cubicBezTo>
                  <a:cubicBezTo>
                    <a:pt x="235" y="248"/>
                    <a:pt x="224" y="239"/>
                    <a:pt x="211" y="239"/>
                  </a:cubicBezTo>
                  <a:cubicBezTo>
                    <a:pt x="198" y="239"/>
                    <a:pt x="187" y="248"/>
                    <a:pt x="184" y="259"/>
                  </a:cubicBezTo>
                  <a:cubicBezTo>
                    <a:pt x="90" y="259"/>
                    <a:pt x="90" y="259"/>
                    <a:pt x="90" y="259"/>
                  </a:cubicBezTo>
                  <a:cubicBezTo>
                    <a:pt x="86" y="248"/>
                    <a:pt x="75" y="239"/>
                    <a:pt x="62" y="239"/>
                  </a:cubicBezTo>
                  <a:cubicBezTo>
                    <a:pt x="46" y="239"/>
                    <a:pt x="34" y="252"/>
                    <a:pt x="34" y="267"/>
                  </a:cubicBezTo>
                  <a:cubicBezTo>
                    <a:pt x="34" y="283"/>
                    <a:pt x="46" y="296"/>
                    <a:pt x="62" y="296"/>
                  </a:cubicBezTo>
                  <a:cubicBezTo>
                    <a:pt x="75" y="296"/>
                    <a:pt x="86" y="287"/>
                    <a:pt x="90" y="275"/>
                  </a:cubicBezTo>
                  <a:cubicBezTo>
                    <a:pt x="184" y="275"/>
                    <a:pt x="184" y="275"/>
                    <a:pt x="184" y="275"/>
                  </a:cubicBezTo>
                  <a:cubicBezTo>
                    <a:pt x="187" y="287"/>
                    <a:pt x="198" y="296"/>
                    <a:pt x="211" y="296"/>
                  </a:cubicBezTo>
                  <a:cubicBezTo>
                    <a:pt x="224" y="296"/>
                    <a:pt x="235" y="287"/>
                    <a:pt x="239" y="275"/>
                  </a:cubicBezTo>
                  <a:cubicBezTo>
                    <a:pt x="241" y="275"/>
                    <a:pt x="241" y="275"/>
                    <a:pt x="241" y="275"/>
                  </a:cubicBezTo>
                  <a:cubicBezTo>
                    <a:pt x="259" y="275"/>
                    <a:pt x="262" y="262"/>
                    <a:pt x="263" y="257"/>
                  </a:cubicBezTo>
                  <a:cubicBezTo>
                    <a:pt x="264" y="254"/>
                    <a:pt x="288" y="127"/>
                    <a:pt x="288" y="127"/>
                  </a:cubicBezTo>
                  <a:cubicBezTo>
                    <a:pt x="289" y="123"/>
                    <a:pt x="286" y="118"/>
                    <a:pt x="282" y="118"/>
                  </a:cubicBezTo>
                  <a:cubicBezTo>
                    <a:pt x="277" y="117"/>
                    <a:pt x="273" y="120"/>
                    <a:pt x="272" y="124"/>
                  </a:cubicBezTo>
                  <a:cubicBezTo>
                    <a:pt x="272" y="124"/>
                    <a:pt x="259" y="194"/>
                    <a:pt x="259" y="195"/>
                  </a:cubicBezTo>
                  <a:cubicBezTo>
                    <a:pt x="257" y="201"/>
                    <a:pt x="254" y="204"/>
                    <a:pt x="248" y="204"/>
                  </a:cubicBezTo>
                  <a:cubicBezTo>
                    <a:pt x="48" y="204"/>
                    <a:pt x="48" y="204"/>
                    <a:pt x="48" y="204"/>
                  </a:cubicBezTo>
                  <a:cubicBezTo>
                    <a:pt x="41" y="204"/>
                    <a:pt x="38" y="198"/>
                    <a:pt x="37" y="196"/>
                  </a:cubicBezTo>
                  <a:cubicBezTo>
                    <a:pt x="37" y="192"/>
                    <a:pt x="18" y="79"/>
                    <a:pt x="17" y="74"/>
                  </a:cubicBezTo>
                  <a:cubicBezTo>
                    <a:pt x="16" y="70"/>
                    <a:pt x="17" y="67"/>
                    <a:pt x="19" y="64"/>
                  </a:cubicBezTo>
                  <a:cubicBezTo>
                    <a:pt x="21" y="62"/>
                    <a:pt x="23" y="61"/>
                    <a:pt x="25" y="61"/>
                  </a:cubicBezTo>
                  <a:cubicBezTo>
                    <a:pt x="272" y="61"/>
                    <a:pt x="272" y="61"/>
                    <a:pt x="272" y="61"/>
                  </a:cubicBezTo>
                  <a:cubicBezTo>
                    <a:pt x="276" y="61"/>
                    <a:pt x="278" y="62"/>
                    <a:pt x="280" y="64"/>
                  </a:cubicBezTo>
                  <a:cubicBezTo>
                    <a:pt x="282" y="67"/>
                    <a:pt x="282" y="71"/>
                    <a:pt x="282" y="74"/>
                  </a:cubicBezTo>
                  <a:cubicBezTo>
                    <a:pt x="282" y="75"/>
                    <a:pt x="279" y="88"/>
                    <a:pt x="278" y="92"/>
                  </a:cubicBezTo>
                  <a:cubicBezTo>
                    <a:pt x="278" y="92"/>
                    <a:pt x="278" y="92"/>
                    <a:pt x="278" y="92"/>
                  </a:cubicBezTo>
                  <a:cubicBezTo>
                    <a:pt x="277" y="96"/>
                    <a:pt x="280" y="100"/>
                    <a:pt x="285" y="101"/>
                  </a:cubicBezTo>
                  <a:cubicBezTo>
                    <a:pt x="289" y="102"/>
                    <a:pt x="294" y="99"/>
                    <a:pt x="295" y="95"/>
                  </a:cubicBezTo>
                  <a:cubicBezTo>
                    <a:pt x="295" y="92"/>
                    <a:pt x="307" y="30"/>
                    <a:pt x="307" y="29"/>
                  </a:cubicBezTo>
                  <a:cubicBezTo>
                    <a:pt x="308" y="25"/>
                    <a:pt x="311" y="16"/>
                    <a:pt x="321" y="16"/>
                  </a:cubicBezTo>
                  <a:cubicBezTo>
                    <a:pt x="344" y="16"/>
                    <a:pt x="344" y="16"/>
                    <a:pt x="344" y="16"/>
                  </a:cubicBezTo>
                  <a:cubicBezTo>
                    <a:pt x="350" y="16"/>
                    <a:pt x="352" y="20"/>
                    <a:pt x="352" y="23"/>
                  </a:cubicBezTo>
                  <a:cubicBezTo>
                    <a:pt x="352" y="26"/>
                    <a:pt x="349" y="28"/>
                    <a:pt x="344" y="28"/>
                  </a:cubicBezTo>
                  <a:cubicBezTo>
                    <a:pt x="330" y="28"/>
                    <a:pt x="330" y="28"/>
                    <a:pt x="330" y="28"/>
                  </a:cubicBezTo>
                  <a:cubicBezTo>
                    <a:pt x="326" y="28"/>
                    <a:pt x="322" y="32"/>
                    <a:pt x="322" y="36"/>
                  </a:cubicBezTo>
                  <a:cubicBezTo>
                    <a:pt x="322" y="41"/>
                    <a:pt x="326" y="44"/>
                    <a:pt x="330" y="44"/>
                  </a:cubicBezTo>
                  <a:cubicBezTo>
                    <a:pt x="344" y="44"/>
                    <a:pt x="344" y="44"/>
                    <a:pt x="344" y="44"/>
                  </a:cubicBezTo>
                  <a:cubicBezTo>
                    <a:pt x="353" y="44"/>
                    <a:pt x="358" y="41"/>
                    <a:pt x="362" y="38"/>
                  </a:cubicBezTo>
                  <a:cubicBezTo>
                    <a:pt x="366" y="34"/>
                    <a:pt x="368" y="28"/>
                    <a:pt x="368" y="23"/>
                  </a:cubicBezTo>
                  <a:cubicBezTo>
                    <a:pt x="368" y="12"/>
                    <a:pt x="359" y="0"/>
                    <a:pt x="344" y="0"/>
                  </a:cubicBezTo>
                  <a:close/>
                  <a:moveTo>
                    <a:pt x="62" y="280"/>
                  </a:moveTo>
                  <a:cubicBezTo>
                    <a:pt x="55" y="280"/>
                    <a:pt x="50" y="274"/>
                    <a:pt x="50" y="267"/>
                  </a:cubicBezTo>
                  <a:cubicBezTo>
                    <a:pt x="50" y="260"/>
                    <a:pt x="55" y="255"/>
                    <a:pt x="62" y="255"/>
                  </a:cubicBezTo>
                  <a:cubicBezTo>
                    <a:pt x="69" y="255"/>
                    <a:pt x="75" y="260"/>
                    <a:pt x="75" y="267"/>
                  </a:cubicBezTo>
                  <a:cubicBezTo>
                    <a:pt x="75" y="274"/>
                    <a:pt x="69" y="280"/>
                    <a:pt x="62" y="280"/>
                  </a:cubicBezTo>
                  <a:close/>
                  <a:moveTo>
                    <a:pt x="211" y="280"/>
                  </a:moveTo>
                  <a:cubicBezTo>
                    <a:pt x="204" y="280"/>
                    <a:pt x="199" y="274"/>
                    <a:pt x="199" y="267"/>
                  </a:cubicBezTo>
                  <a:cubicBezTo>
                    <a:pt x="199" y="260"/>
                    <a:pt x="204" y="255"/>
                    <a:pt x="211" y="255"/>
                  </a:cubicBezTo>
                  <a:cubicBezTo>
                    <a:pt x="218" y="255"/>
                    <a:pt x="224" y="260"/>
                    <a:pt x="224" y="267"/>
                  </a:cubicBezTo>
                  <a:cubicBezTo>
                    <a:pt x="224" y="274"/>
                    <a:pt x="218" y="280"/>
                    <a:pt x="211"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sp>
          <p:nvSpPr>
            <p:cNvPr id="9" name="TextBox 8"/>
            <p:cNvSpPr txBox="1"/>
            <p:nvPr/>
          </p:nvSpPr>
          <p:spPr>
            <a:xfrm>
              <a:off x="1620246" y="4580898"/>
              <a:ext cx="247470" cy="416392"/>
            </a:xfrm>
            <a:prstGeom prst="rect">
              <a:avLst/>
            </a:prstGeom>
            <a:noFill/>
            <a:ln>
              <a:noFill/>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a:ln>
                    <a:noFill/>
                  </a:ln>
                  <a:solidFill>
                    <a:srgbClr val="FFFFFF"/>
                  </a:solidFill>
                  <a:effectLst/>
                  <a:uLnTx/>
                  <a:uFillTx/>
                  <a:latin typeface="Ericsson Capital TT"/>
                  <a:ea typeface="MS PGothic" pitchFamily="34" charset="-128"/>
                  <a:cs typeface="Arial" charset="0"/>
                </a:rPr>
                <a:t>@</a:t>
              </a:r>
            </a:p>
          </p:txBody>
        </p:sp>
      </p:grpSp>
      <p:sp>
        <p:nvSpPr>
          <p:cNvPr id="15365" name="Freeform 3"/>
          <p:cNvSpPr>
            <a:spLocks noChangeAspect="1" noEditPoints="1"/>
          </p:cNvSpPr>
          <p:nvPr>
            <p:custDataLst>
              <p:tags r:id="rId2"/>
            </p:custDataLst>
          </p:nvPr>
        </p:nvSpPr>
        <p:spPr bwMode="auto">
          <a:xfrm>
            <a:off x="560388" y="3100388"/>
            <a:ext cx="868362" cy="422275"/>
          </a:xfrm>
          <a:custGeom>
            <a:avLst/>
            <a:gdLst>
              <a:gd name="T0" fmla="*/ 2147483646 w 448"/>
              <a:gd name="T1" fmla="*/ 2147483646 h 208"/>
              <a:gd name="T2" fmla="*/ 2147483646 w 448"/>
              <a:gd name="T3" fmla="*/ 2147483646 h 208"/>
              <a:gd name="T4" fmla="*/ 2147483646 w 448"/>
              <a:gd name="T5" fmla="*/ 2147483646 h 208"/>
              <a:gd name="T6" fmla="*/ 2147483646 w 448"/>
              <a:gd name="T7" fmla="*/ 2147483646 h 208"/>
              <a:gd name="T8" fmla="*/ 2147483646 w 448"/>
              <a:gd name="T9" fmla="*/ 2147483646 h 208"/>
              <a:gd name="T10" fmla="*/ 2147483646 w 448"/>
              <a:gd name="T11" fmla="*/ 2147483646 h 208"/>
              <a:gd name="T12" fmla="*/ 2147483646 w 448"/>
              <a:gd name="T13" fmla="*/ 2147483646 h 208"/>
              <a:gd name="T14" fmla="*/ 2147483646 w 448"/>
              <a:gd name="T15" fmla="*/ 2147483646 h 208"/>
              <a:gd name="T16" fmla="*/ 2147483646 w 448"/>
              <a:gd name="T17" fmla="*/ 2147483646 h 208"/>
              <a:gd name="T18" fmla="*/ 2147483646 w 448"/>
              <a:gd name="T19" fmla="*/ 2147483646 h 208"/>
              <a:gd name="T20" fmla="*/ 2147483646 w 448"/>
              <a:gd name="T21" fmla="*/ 2147483646 h 208"/>
              <a:gd name="T22" fmla="*/ 2147483646 w 448"/>
              <a:gd name="T23" fmla="*/ 2147483646 h 208"/>
              <a:gd name="T24" fmla="*/ 2147483646 w 448"/>
              <a:gd name="T25" fmla="*/ 2147483646 h 208"/>
              <a:gd name="T26" fmla="*/ 2147483646 w 448"/>
              <a:gd name="T27" fmla="*/ 2147483646 h 208"/>
              <a:gd name="T28" fmla="*/ 2147483646 w 448"/>
              <a:gd name="T29" fmla="*/ 2147483646 h 208"/>
              <a:gd name="T30" fmla="*/ 2147483646 w 448"/>
              <a:gd name="T31" fmla="*/ 2147483646 h 208"/>
              <a:gd name="T32" fmla="*/ 2147483646 w 448"/>
              <a:gd name="T33" fmla="*/ 2147483646 h 208"/>
              <a:gd name="T34" fmla="*/ 2147483646 w 448"/>
              <a:gd name="T35" fmla="*/ 2147483646 h 208"/>
              <a:gd name="T36" fmla="*/ 2147483646 w 448"/>
              <a:gd name="T37" fmla="*/ 2147483646 h 208"/>
              <a:gd name="T38" fmla="*/ 2147483646 w 448"/>
              <a:gd name="T39" fmla="*/ 2147483646 h 208"/>
              <a:gd name="T40" fmla="*/ 2147483646 w 448"/>
              <a:gd name="T41" fmla="*/ 2147483646 h 208"/>
              <a:gd name="T42" fmla="*/ 2147483646 w 448"/>
              <a:gd name="T43" fmla="*/ 2147483646 h 208"/>
              <a:gd name="T44" fmla="*/ 2147483646 w 448"/>
              <a:gd name="T45" fmla="*/ 2147483646 h 208"/>
              <a:gd name="T46" fmla="*/ 2147483646 w 448"/>
              <a:gd name="T47" fmla="*/ 2147483646 h 208"/>
              <a:gd name="T48" fmla="*/ 2147483646 w 448"/>
              <a:gd name="T49" fmla="*/ 2147483646 h 208"/>
              <a:gd name="T50" fmla="*/ 2147483646 w 448"/>
              <a:gd name="T51" fmla="*/ 2147483646 h 208"/>
              <a:gd name="T52" fmla="*/ 2147483646 w 448"/>
              <a:gd name="T53" fmla="*/ 2147483646 h 208"/>
              <a:gd name="T54" fmla="*/ 2147483646 w 448"/>
              <a:gd name="T55" fmla="*/ 2147483646 h 208"/>
              <a:gd name="T56" fmla="*/ 2147483646 w 448"/>
              <a:gd name="T57" fmla="*/ 2147483646 h 208"/>
              <a:gd name="T58" fmla="*/ 2147483646 w 448"/>
              <a:gd name="T59" fmla="*/ 2147483646 h 208"/>
              <a:gd name="T60" fmla="*/ 2147483646 w 448"/>
              <a:gd name="T61" fmla="*/ 2147483646 h 208"/>
              <a:gd name="T62" fmla="*/ 2147483646 w 448"/>
              <a:gd name="T63" fmla="*/ 2147483646 h 208"/>
              <a:gd name="T64" fmla="*/ 2147483646 w 448"/>
              <a:gd name="T65" fmla="*/ 2147483646 h 208"/>
              <a:gd name="T66" fmla="*/ 2147483646 w 448"/>
              <a:gd name="T67" fmla="*/ 2147483646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77" tIns="45688" rIns="91377" bIns="4568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66" name="Freeform 28"/>
          <p:cNvSpPr>
            <a:spLocks noChangeAspect="1" noEditPoints="1"/>
          </p:cNvSpPr>
          <p:nvPr>
            <p:custDataLst>
              <p:tags r:id="rId3"/>
            </p:custDataLst>
          </p:nvPr>
        </p:nvSpPr>
        <p:spPr bwMode="auto">
          <a:xfrm>
            <a:off x="736600" y="1274763"/>
            <a:ext cx="490538" cy="762000"/>
          </a:xfrm>
          <a:custGeom>
            <a:avLst/>
            <a:gdLst>
              <a:gd name="T0" fmla="*/ 2147483646 w 275"/>
              <a:gd name="T1" fmla="*/ 2147483646 h 503"/>
              <a:gd name="T2" fmla="*/ 2147483646 w 275"/>
              <a:gd name="T3" fmla="*/ 2147483646 h 503"/>
              <a:gd name="T4" fmla="*/ 2147483646 w 275"/>
              <a:gd name="T5" fmla="*/ 2147483646 h 503"/>
              <a:gd name="T6" fmla="*/ 2147483646 w 275"/>
              <a:gd name="T7" fmla="*/ 2147483646 h 503"/>
              <a:gd name="T8" fmla="*/ 2147483646 w 275"/>
              <a:gd name="T9" fmla="*/ 2147483646 h 503"/>
              <a:gd name="T10" fmla="*/ 2147483646 w 275"/>
              <a:gd name="T11" fmla="*/ 2147483646 h 503"/>
              <a:gd name="T12" fmla="*/ 2147483646 w 275"/>
              <a:gd name="T13" fmla="*/ 2147483646 h 503"/>
              <a:gd name="T14" fmla="*/ 2147483646 w 275"/>
              <a:gd name="T15" fmla="*/ 2147483646 h 503"/>
              <a:gd name="T16" fmla="*/ 2147483646 w 275"/>
              <a:gd name="T17" fmla="*/ 2147483646 h 503"/>
              <a:gd name="T18" fmla="*/ 2147483646 w 275"/>
              <a:gd name="T19" fmla="*/ 2147483646 h 503"/>
              <a:gd name="T20" fmla="*/ 2147483646 w 275"/>
              <a:gd name="T21" fmla="*/ 2147483646 h 503"/>
              <a:gd name="T22" fmla="*/ 2147483646 w 275"/>
              <a:gd name="T23" fmla="*/ 2147483646 h 503"/>
              <a:gd name="T24" fmla="*/ 2147483646 w 275"/>
              <a:gd name="T25" fmla="*/ 2147483646 h 503"/>
              <a:gd name="T26" fmla="*/ 2147483646 w 275"/>
              <a:gd name="T27" fmla="*/ 2147483646 h 503"/>
              <a:gd name="T28" fmla="*/ 2147483646 w 275"/>
              <a:gd name="T29" fmla="*/ 2147483646 h 503"/>
              <a:gd name="T30" fmla="*/ 2147483646 w 275"/>
              <a:gd name="T31" fmla="*/ 2147483646 h 503"/>
              <a:gd name="T32" fmla="*/ 2147483646 w 275"/>
              <a:gd name="T33" fmla="*/ 2147483646 h 503"/>
              <a:gd name="T34" fmla="*/ 2147483646 w 275"/>
              <a:gd name="T35" fmla="*/ 2147483646 h 503"/>
              <a:gd name="T36" fmla="*/ 2147483646 w 275"/>
              <a:gd name="T37" fmla="*/ 2147483646 h 503"/>
              <a:gd name="T38" fmla="*/ 2147483646 w 275"/>
              <a:gd name="T39" fmla="*/ 2147483646 h 503"/>
              <a:gd name="T40" fmla="*/ 2147483646 w 275"/>
              <a:gd name="T41" fmla="*/ 2147483646 h 503"/>
              <a:gd name="T42" fmla="*/ 2147483646 w 275"/>
              <a:gd name="T43" fmla="*/ 2147483646 h 503"/>
              <a:gd name="T44" fmla="*/ 2147483646 w 275"/>
              <a:gd name="T45" fmla="*/ 2147483646 h 503"/>
              <a:gd name="T46" fmla="*/ 2147483646 w 275"/>
              <a:gd name="T47" fmla="*/ 2147483646 h 503"/>
              <a:gd name="T48" fmla="*/ 2147483646 w 275"/>
              <a:gd name="T49" fmla="*/ 2147483646 h 503"/>
              <a:gd name="T50" fmla="*/ 2147483646 w 275"/>
              <a:gd name="T51" fmla="*/ 2147483646 h 503"/>
              <a:gd name="T52" fmla="*/ 2147483646 w 275"/>
              <a:gd name="T53" fmla="*/ 2147483646 h 503"/>
              <a:gd name="T54" fmla="*/ 2147483646 w 275"/>
              <a:gd name="T55" fmla="*/ 2147483646 h 503"/>
              <a:gd name="T56" fmla="*/ 2147483646 w 275"/>
              <a:gd name="T57" fmla="*/ 2147483646 h 503"/>
              <a:gd name="T58" fmla="*/ 2147483646 w 275"/>
              <a:gd name="T59" fmla="*/ 2147483646 h 503"/>
              <a:gd name="T60" fmla="*/ 2147483646 w 275"/>
              <a:gd name="T61" fmla="*/ 2147483646 h 503"/>
              <a:gd name="T62" fmla="*/ 2147483646 w 275"/>
              <a:gd name="T63" fmla="*/ 2147483646 h 503"/>
              <a:gd name="T64" fmla="*/ 2147483646 w 275"/>
              <a:gd name="T65" fmla="*/ 2147483646 h 503"/>
              <a:gd name="T66" fmla="*/ 2147483646 w 275"/>
              <a:gd name="T67" fmla="*/ 2147483646 h 503"/>
              <a:gd name="T68" fmla="*/ 2147483646 w 275"/>
              <a:gd name="T69" fmla="*/ 2147483646 h 503"/>
              <a:gd name="T70" fmla="*/ 2147483646 w 275"/>
              <a:gd name="T71" fmla="*/ 2147483646 h 503"/>
              <a:gd name="T72" fmla="*/ 2147483646 w 275"/>
              <a:gd name="T73" fmla="*/ 2147483646 h 503"/>
              <a:gd name="T74" fmla="*/ 2147483646 w 275"/>
              <a:gd name="T75" fmla="*/ 2147483646 h 503"/>
              <a:gd name="T76" fmla="*/ 2147483646 w 275"/>
              <a:gd name="T77" fmla="*/ 2147483646 h 503"/>
              <a:gd name="T78" fmla="*/ 2147483646 w 275"/>
              <a:gd name="T79" fmla="*/ 2147483646 h 503"/>
              <a:gd name="T80" fmla="*/ 2147483646 w 275"/>
              <a:gd name="T81" fmla="*/ 2147483646 h 503"/>
              <a:gd name="T82" fmla="*/ 2147483646 w 275"/>
              <a:gd name="T83" fmla="*/ 2147483646 h 503"/>
              <a:gd name="T84" fmla="*/ 2147483646 w 275"/>
              <a:gd name="T85" fmla="*/ 2147483646 h 503"/>
              <a:gd name="T86" fmla="*/ 2147483646 w 275"/>
              <a:gd name="T87" fmla="*/ 0 h 503"/>
              <a:gd name="T88" fmla="*/ 2147483646 w 275"/>
              <a:gd name="T89" fmla="*/ 2147483646 h 503"/>
              <a:gd name="T90" fmla="*/ 0 w 275"/>
              <a:gd name="T91" fmla="*/ 2147483646 h 503"/>
              <a:gd name="T92" fmla="*/ 2147483646 w 275"/>
              <a:gd name="T93" fmla="*/ 2147483646 h 503"/>
              <a:gd name="T94" fmla="*/ 2147483646 w 275"/>
              <a:gd name="T95" fmla="*/ 2147483646 h 503"/>
              <a:gd name="T96" fmla="*/ 2147483646 w 275"/>
              <a:gd name="T97" fmla="*/ 2147483646 h 503"/>
              <a:gd name="T98" fmla="*/ 2147483646 w 275"/>
              <a:gd name="T99" fmla="*/ 2147483646 h 503"/>
              <a:gd name="T100" fmla="*/ 2147483646 w 275"/>
              <a:gd name="T101" fmla="*/ 2147483646 h 503"/>
              <a:gd name="T102" fmla="*/ 2147483646 w 275"/>
              <a:gd name="T103" fmla="*/ 2147483646 h 503"/>
              <a:gd name="T104" fmla="*/ 2147483646 w 275"/>
              <a:gd name="T105" fmla="*/ 214748364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67" name="Freeform 3"/>
          <p:cNvSpPr>
            <a:spLocks noChangeAspect="1" noEditPoints="1"/>
          </p:cNvSpPr>
          <p:nvPr>
            <p:custDataLst>
              <p:tags r:id="rId4"/>
            </p:custDataLst>
          </p:nvPr>
        </p:nvSpPr>
        <p:spPr bwMode="auto">
          <a:xfrm>
            <a:off x="619125" y="2273300"/>
            <a:ext cx="711200" cy="520700"/>
          </a:xfrm>
          <a:custGeom>
            <a:avLst/>
            <a:gdLst>
              <a:gd name="T0" fmla="*/ 2147483646 w 418"/>
              <a:gd name="T1" fmla="*/ 2147483646 h 336"/>
              <a:gd name="T2" fmla="*/ 2147483646 w 418"/>
              <a:gd name="T3" fmla="*/ 2147483646 h 336"/>
              <a:gd name="T4" fmla="*/ 2147483646 w 418"/>
              <a:gd name="T5" fmla="*/ 2147483646 h 336"/>
              <a:gd name="T6" fmla="*/ 2147483646 w 418"/>
              <a:gd name="T7" fmla="*/ 2147483646 h 336"/>
              <a:gd name="T8" fmla="*/ 2147483646 w 418"/>
              <a:gd name="T9" fmla="*/ 2147483646 h 336"/>
              <a:gd name="T10" fmla="*/ 2147483646 w 418"/>
              <a:gd name="T11" fmla="*/ 2147483646 h 336"/>
              <a:gd name="T12" fmla="*/ 2147483646 w 418"/>
              <a:gd name="T13" fmla="*/ 2147483646 h 336"/>
              <a:gd name="T14" fmla="*/ 2147483646 w 418"/>
              <a:gd name="T15" fmla="*/ 2147483646 h 336"/>
              <a:gd name="T16" fmla="*/ 2147483646 w 418"/>
              <a:gd name="T17" fmla="*/ 2147483646 h 336"/>
              <a:gd name="T18" fmla="*/ 2147483646 w 418"/>
              <a:gd name="T19" fmla="*/ 2147483646 h 336"/>
              <a:gd name="T20" fmla="*/ 2147483646 w 418"/>
              <a:gd name="T21" fmla="*/ 2147483646 h 336"/>
              <a:gd name="T22" fmla="*/ 2147483646 w 418"/>
              <a:gd name="T23" fmla="*/ 2147483646 h 336"/>
              <a:gd name="T24" fmla="*/ 2147483646 w 418"/>
              <a:gd name="T25" fmla="*/ 2147483646 h 336"/>
              <a:gd name="T26" fmla="*/ 2147483646 w 418"/>
              <a:gd name="T27" fmla="*/ 2147483646 h 336"/>
              <a:gd name="T28" fmla="*/ 2147483646 w 418"/>
              <a:gd name="T29" fmla="*/ 2147483646 h 336"/>
              <a:gd name="T30" fmla="*/ 2147483646 w 418"/>
              <a:gd name="T31" fmla="*/ 2147483646 h 336"/>
              <a:gd name="T32" fmla="*/ 2147483646 w 418"/>
              <a:gd name="T33" fmla="*/ 2147483646 h 336"/>
              <a:gd name="T34" fmla="*/ 2147483646 w 418"/>
              <a:gd name="T35" fmla="*/ 2147483646 h 336"/>
              <a:gd name="T36" fmla="*/ 2147483646 w 418"/>
              <a:gd name="T37" fmla="*/ 2147483646 h 336"/>
              <a:gd name="T38" fmla="*/ 2147483646 w 418"/>
              <a:gd name="T39" fmla="*/ 2147483646 h 336"/>
              <a:gd name="T40" fmla="*/ 2147483646 w 418"/>
              <a:gd name="T41" fmla="*/ 2147483646 h 336"/>
              <a:gd name="T42" fmla="*/ 2147483646 w 418"/>
              <a:gd name="T43" fmla="*/ 2147483646 h 336"/>
              <a:gd name="T44" fmla="*/ 2147483646 w 418"/>
              <a:gd name="T45" fmla="*/ 2147483646 h 336"/>
              <a:gd name="T46" fmla="*/ 2147483646 w 418"/>
              <a:gd name="T47" fmla="*/ 2147483646 h 336"/>
              <a:gd name="T48" fmla="*/ 2147483646 w 418"/>
              <a:gd name="T49" fmla="*/ 2147483646 h 336"/>
              <a:gd name="T50" fmla="*/ 2147483646 w 418"/>
              <a:gd name="T51" fmla="*/ 2147483646 h 336"/>
              <a:gd name="T52" fmla="*/ 2147483646 w 418"/>
              <a:gd name="T53" fmla="*/ 2147483646 h 336"/>
              <a:gd name="T54" fmla="*/ 2147483646 w 418"/>
              <a:gd name="T55" fmla="*/ 2147483646 h 336"/>
              <a:gd name="T56" fmla="*/ 2147483646 w 418"/>
              <a:gd name="T57" fmla="*/ 2147483646 h 336"/>
              <a:gd name="T58" fmla="*/ 2147483646 w 418"/>
              <a:gd name="T59" fmla="*/ 2147483646 h 336"/>
              <a:gd name="T60" fmla="*/ 2147483646 w 418"/>
              <a:gd name="T61" fmla="*/ 2147483646 h 336"/>
              <a:gd name="T62" fmla="*/ 2147483646 w 418"/>
              <a:gd name="T63" fmla="*/ 2147483646 h 336"/>
              <a:gd name="T64" fmla="*/ 2147483646 w 418"/>
              <a:gd name="T65" fmla="*/ 2147483646 h 336"/>
              <a:gd name="T66" fmla="*/ 2147483646 w 418"/>
              <a:gd name="T67" fmla="*/ 2147483646 h 336"/>
              <a:gd name="T68" fmla="*/ 2147483646 w 418"/>
              <a:gd name="T69" fmla="*/ 2147483646 h 336"/>
              <a:gd name="T70" fmla="*/ 2147483646 w 418"/>
              <a:gd name="T71" fmla="*/ 2147483646 h 336"/>
              <a:gd name="T72" fmla="*/ 2147483646 w 418"/>
              <a:gd name="T73" fmla="*/ 2147483646 h 336"/>
              <a:gd name="T74" fmla="*/ 2147483646 w 418"/>
              <a:gd name="T75" fmla="*/ 2147483646 h 336"/>
              <a:gd name="T76" fmla="*/ 2147483646 w 418"/>
              <a:gd name="T77" fmla="*/ 2147483646 h 336"/>
              <a:gd name="T78" fmla="*/ 2147483646 w 418"/>
              <a:gd name="T79" fmla="*/ 2147483646 h 336"/>
              <a:gd name="T80" fmla="*/ 2147483646 w 418"/>
              <a:gd name="T81" fmla="*/ 2147483646 h 336"/>
              <a:gd name="T82" fmla="*/ 2147483646 w 418"/>
              <a:gd name="T83" fmla="*/ 2147483646 h 336"/>
              <a:gd name="T84" fmla="*/ 2147483646 w 418"/>
              <a:gd name="T85" fmla="*/ 2147483646 h 336"/>
              <a:gd name="T86" fmla="*/ 2147483646 w 418"/>
              <a:gd name="T87" fmla="*/ 2147483646 h 336"/>
              <a:gd name="T88" fmla="*/ 2147483646 w 418"/>
              <a:gd name="T89" fmla="*/ 0 h 336"/>
              <a:gd name="T90" fmla="*/ 2147483646 w 418"/>
              <a:gd name="T91" fmla="*/ 0 h 336"/>
              <a:gd name="T92" fmla="*/ 2147483646 w 418"/>
              <a:gd name="T93" fmla="*/ 2147483646 h 336"/>
              <a:gd name="T94" fmla="*/ 2147483646 w 418"/>
              <a:gd name="T95" fmla="*/ 2147483646 h 336"/>
              <a:gd name="T96" fmla="*/ 2147483646 w 418"/>
              <a:gd name="T97" fmla="*/ 2147483646 h 336"/>
              <a:gd name="T98" fmla="*/ 0 w 418"/>
              <a:gd name="T99" fmla="*/ 2147483646 h 336"/>
              <a:gd name="T100" fmla="*/ 0 w 418"/>
              <a:gd name="T101" fmla="*/ 2147483646 h 336"/>
              <a:gd name="T102" fmla="*/ 2147483646 w 418"/>
              <a:gd name="T103" fmla="*/ 2147483646 h 336"/>
              <a:gd name="T104" fmla="*/ 2147483646 w 418"/>
              <a:gd name="T105" fmla="*/ 2147483646 h 336"/>
              <a:gd name="T106" fmla="*/ 2147483646 w 418"/>
              <a:gd name="T107" fmla="*/ 2147483646 h 336"/>
              <a:gd name="T108" fmla="*/ 2147483646 w 418"/>
              <a:gd name="T109" fmla="*/ 2147483646 h 336"/>
              <a:gd name="T110" fmla="*/ 2147483646 w 418"/>
              <a:gd name="T111" fmla="*/ 2147483646 h 336"/>
              <a:gd name="T112" fmla="*/ 2147483646 w 418"/>
              <a:gd name="T113" fmla="*/ 2147483646 h 336"/>
              <a:gd name="T114" fmla="*/ 2147483646 w 418"/>
              <a:gd name="T115" fmla="*/ 2147483646 h 336"/>
              <a:gd name="T116" fmla="*/ 2147483646 w 418"/>
              <a:gd name="T117" fmla="*/ 2147483646 h 336"/>
              <a:gd name="T118" fmla="*/ 2147483646 w 418"/>
              <a:gd name="T119" fmla="*/ 2147483646 h 336"/>
              <a:gd name="T120" fmla="*/ 2147483646 w 418"/>
              <a:gd name="T121" fmla="*/ 2147483646 h 336"/>
              <a:gd name="T122" fmla="*/ 2147483646 w 418"/>
              <a:gd name="T123" fmla="*/ 2147483646 h 336"/>
              <a:gd name="T124" fmla="*/ 2147483646 w 418"/>
              <a:gd name="T125" fmla="*/ 2147483646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68" name="Freeform 3"/>
          <p:cNvSpPr>
            <a:spLocks noChangeAspect="1" noEditPoints="1"/>
          </p:cNvSpPr>
          <p:nvPr>
            <p:custDataLst>
              <p:tags r:id="rId5"/>
            </p:custDataLst>
          </p:nvPr>
        </p:nvSpPr>
        <p:spPr bwMode="auto">
          <a:xfrm>
            <a:off x="676275" y="3738563"/>
            <a:ext cx="619125" cy="579437"/>
          </a:xfrm>
          <a:custGeom>
            <a:avLst/>
            <a:gdLst>
              <a:gd name="T0" fmla="*/ 2147483646 w 395"/>
              <a:gd name="T1" fmla="*/ 2147483646 h 395"/>
              <a:gd name="T2" fmla="*/ 2147483646 w 395"/>
              <a:gd name="T3" fmla="*/ 2147483646 h 395"/>
              <a:gd name="T4" fmla="*/ 2147483646 w 395"/>
              <a:gd name="T5" fmla="*/ 2147483646 h 395"/>
              <a:gd name="T6" fmla="*/ 2147483646 w 395"/>
              <a:gd name="T7" fmla="*/ 2147483646 h 395"/>
              <a:gd name="T8" fmla="*/ 2147483646 w 395"/>
              <a:gd name="T9" fmla="*/ 0 h 395"/>
              <a:gd name="T10" fmla="*/ 2147483646 w 395"/>
              <a:gd name="T11" fmla="*/ 2147483646 h 395"/>
              <a:gd name="T12" fmla="*/ 2147483646 w 395"/>
              <a:gd name="T13" fmla="*/ 2147483646 h 395"/>
              <a:gd name="T14" fmla="*/ 2147483646 w 395"/>
              <a:gd name="T15" fmla="*/ 2147483646 h 395"/>
              <a:gd name="T16" fmla="*/ 2147483646 w 395"/>
              <a:gd name="T17" fmla="*/ 2147483646 h 395"/>
              <a:gd name="T18" fmla="*/ 2147483646 w 395"/>
              <a:gd name="T19" fmla="*/ 2147483646 h 395"/>
              <a:gd name="T20" fmla="*/ 2147483646 w 395"/>
              <a:gd name="T21" fmla="*/ 2147483646 h 395"/>
              <a:gd name="T22" fmla="*/ 2147483646 w 395"/>
              <a:gd name="T23" fmla="*/ 2147483646 h 395"/>
              <a:gd name="T24" fmla="*/ 2147483646 w 395"/>
              <a:gd name="T25" fmla="*/ 2147483646 h 395"/>
              <a:gd name="T26" fmla="*/ 2147483646 w 395"/>
              <a:gd name="T27" fmla="*/ 2147483646 h 395"/>
              <a:gd name="T28" fmla="*/ 2147483646 w 395"/>
              <a:gd name="T29" fmla="*/ 2147483646 h 395"/>
              <a:gd name="T30" fmla="*/ 2147483646 w 395"/>
              <a:gd name="T31" fmla="*/ 2147483646 h 395"/>
              <a:gd name="T32" fmla="*/ 2147483646 w 395"/>
              <a:gd name="T33" fmla="*/ 2147483646 h 395"/>
              <a:gd name="T34" fmla="*/ 2147483646 w 395"/>
              <a:gd name="T35" fmla="*/ 2147483646 h 395"/>
              <a:gd name="T36" fmla="*/ 2147483646 w 395"/>
              <a:gd name="T37" fmla="*/ 2147483646 h 395"/>
              <a:gd name="T38" fmla="*/ 2147483646 w 395"/>
              <a:gd name="T39" fmla="*/ 2147483646 h 395"/>
              <a:gd name="T40" fmla="*/ 2147483646 w 395"/>
              <a:gd name="T41" fmla="*/ 2147483646 h 395"/>
              <a:gd name="T42" fmla="*/ 2147483646 w 395"/>
              <a:gd name="T43" fmla="*/ 2147483646 h 395"/>
              <a:gd name="T44" fmla="*/ 2147483646 w 395"/>
              <a:gd name="T45" fmla="*/ 2147483646 h 395"/>
              <a:gd name="T46" fmla="*/ 2147483646 w 395"/>
              <a:gd name="T47" fmla="*/ 2147483646 h 395"/>
              <a:gd name="T48" fmla="*/ 2147483646 w 395"/>
              <a:gd name="T49" fmla="*/ 2147483646 h 395"/>
              <a:gd name="T50" fmla="*/ 2147483646 w 395"/>
              <a:gd name="T51" fmla="*/ 2147483646 h 395"/>
              <a:gd name="T52" fmla="*/ 2147483646 w 395"/>
              <a:gd name="T53" fmla="*/ 2147483646 h 395"/>
              <a:gd name="T54" fmla="*/ 2147483646 w 395"/>
              <a:gd name="T55" fmla="*/ 2147483646 h 395"/>
              <a:gd name="T56" fmla="*/ 2147483646 w 395"/>
              <a:gd name="T57" fmla="*/ 2147483646 h 395"/>
              <a:gd name="T58" fmla="*/ 2147483646 w 395"/>
              <a:gd name="T59" fmla="*/ 2147483646 h 395"/>
              <a:gd name="T60" fmla="*/ 2147483646 w 395"/>
              <a:gd name="T61" fmla="*/ 2147483646 h 395"/>
              <a:gd name="T62" fmla="*/ 2147483646 w 395"/>
              <a:gd name="T63" fmla="*/ 2147483646 h 395"/>
              <a:gd name="T64" fmla="*/ 2147483646 w 395"/>
              <a:gd name="T65" fmla="*/ 2147483646 h 395"/>
              <a:gd name="T66" fmla="*/ 2147483646 w 395"/>
              <a:gd name="T67" fmla="*/ 2147483646 h 395"/>
              <a:gd name="T68" fmla="*/ 2147483646 w 395"/>
              <a:gd name="T69" fmla="*/ 2147483646 h 395"/>
              <a:gd name="T70" fmla="*/ 2147483646 w 395"/>
              <a:gd name="T71" fmla="*/ 2147483646 h 395"/>
              <a:gd name="T72" fmla="*/ 2147483646 w 395"/>
              <a:gd name="T73" fmla="*/ 2147483646 h 395"/>
              <a:gd name="T74" fmla="*/ 2147483646 w 395"/>
              <a:gd name="T75" fmla="*/ 2147483646 h 395"/>
              <a:gd name="T76" fmla="*/ 2147483646 w 395"/>
              <a:gd name="T77" fmla="*/ 2147483646 h 395"/>
              <a:gd name="T78" fmla="*/ 2147483646 w 395"/>
              <a:gd name="T79" fmla="*/ 2147483646 h 395"/>
              <a:gd name="T80" fmla="*/ 2147483646 w 395"/>
              <a:gd name="T81" fmla="*/ 2147483646 h 395"/>
              <a:gd name="T82" fmla="*/ 2147483646 w 395"/>
              <a:gd name="T83" fmla="*/ 2147483646 h 395"/>
              <a:gd name="T84" fmla="*/ 2147483646 w 395"/>
              <a:gd name="T85" fmla="*/ 2147483646 h 395"/>
              <a:gd name="T86" fmla="*/ 2147483646 w 395"/>
              <a:gd name="T87" fmla="*/ 2147483646 h 395"/>
              <a:gd name="T88" fmla="*/ 2147483646 w 395"/>
              <a:gd name="T89" fmla="*/ 2147483646 h 395"/>
              <a:gd name="T90" fmla="*/ 2147483646 w 395"/>
              <a:gd name="T91" fmla="*/ 2147483646 h 395"/>
              <a:gd name="T92" fmla="*/ 2147483646 w 395"/>
              <a:gd name="T93" fmla="*/ 2147483646 h 395"/>
              <a:gd name="T94" fmla="*/ 2147483646 w 395"/>
              <a:gd name="T95" fmla="*/ 2147483646 h 395"/>
              <a:gd name="T96" fmla="*/ 2147483646 w 395"/>
              <a:gd name="T97" fmla="*/ 2147483646 h 395"/>
              <a:gd name="T98" fmla="*/ 2147483646 w 395"/>
              <a:gd name="T99" fmla="*/ 2147483646 h 395"/>
              <a:gd name="T100" fmla="*/ 2147483646 w 395"/>
              <a:gd name="T101" fmla="*/ 2147483646 h 395"/>
              <a:gd name="T102" fmla="*/ 2147483646 w 395"/>
              <a:gd name="T103" fmla="*/ 2147483646 h 395"/>
              <a:gd name="T104" fmla="*/ 2147483646 w 395"/>
              <a:gd name="T105" fmla="*/ 2147483646 h 395"/>
              <a:gd name="T106" fmla="*/ 2147483646 w 395"/>
              <a:gd name="T107" fmla="*/ 2147483646 h 395"/>
              <a:gd name="T108" fmla="*/ 2147483646 w 395"/>
              <a:gd name="T109" fmla="*/ 2147483646 h 395"/>
              <a:gd name="T110" fmla="*/ 2147483646 w 395"/>
              <a:gd name="T111" fmla="*/ 2147483646 h 395"/>
              <a:gd name="T112" fmla="*/ 2147483646 w 395"/>
              <a:gd name="T113" fmla="*/ 2147483646 h 395"/>
              <a:gd name="T114" fmla="*/ 2147483646 w 395"/>
              <a:gd name="T115" fmla="*/ 2147483646 h 395"/>
              <a:gd name="T116" fmla="*/ 2147483646 w 395"/>
              <a:gd name="T117" fmla="*/ 2147483646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395"/>
              <a:gd name="T179" fmla="*/ 395 w 395"/>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395">
                <a:moveTo>
                  <a:pt x="348" y="70"/>
                </a:moveTo>
                <a:cubicBezTo>
                  <a:pt x="346" y="67"/>
                  <a:pt x="341" y="66"/>
                  <a:pt x="337" y="69"/>
                </a:cubicBezTo>
                <a:cubicBezTo>
                  <a:pt x="334" y="72"/>
                  <a:pt x="333" y="77"/>
                  <a:pt x="336" y="80"/>
                </a:cubicBezTo>
                <a:cubicBezTo>
                  <a:pt x="363" y="112"/>
                  <a:pt x="379" y="153"/>
                  <a:pt x="379" y="197"/>
                </a:cubicBezTo>
                <a:cubicBezTo>
                  <a:pt x="379" y="247"/>
                  <a:pt x="359" y="293"/>
                  <a:pt x="326" y="325"/>
                </a:cubicBezTo>
                <a:cubicBezTo>
                  <a:pt x="293" y="358"/>
                  <a:pt x="248" y="379"/>
                  <a:pt x="198" y="379"/>
                </a:cubicBezTo>
                <a:cubicBezTo>
                  <a:pt x="148" y="379"/>
                  <a:pt x="102" y="358"/>
                  <a:pt x="69" y="325"/>
                </a:cubicBezTo>
                <a:cubicBezTo>
                  <a:pt x="37" y="293"/>
                  <a:pt x="16" y="247"/>
                  <a:pt x="16" y="197"/>
                </a:cubicBezTo>
                <a:cubicBezTo>
                  <a:pt x="16" y="147"/>
                  <a:pt x="37" y="102"/>
                  <a:pt x="69" y="69"/>
                </a:cubicBezTo>
                <a:cubicBezTo>
                  <a:pt x="102" y="36"/>
                  <a:pt x="148" y="16"/>
                  <a:pt x="198" y="16"/>
                </a:cubicBezTo>
                <a:cubicBezTo>
                  <a:pt x="242" y="16"/>
                  <a:pt x="283" y="32"/>
                  <a:pt x="315" y="59"/>
                </a:cubicBezTo>
                <a:cubicBezTo>
                  <a:pt x="318" y="62"/>
                  <a:pt x="323" y="61"/>
                  <a:pt x="326" y="58"/>
                </a:cubicBezTo>
                <a:cubicBezTo>
                  <a:pt x="329" y="54"/>
                  <a:pt x="328" y="49"/>
                  <a:pt x="325" y="46"/>
                </a:cubicBezTo>
                <a:cubicBezTo>
                  <a:pt x="325" y="46"/>
                  <a:pt x="325" y="46"/>
                  <a:pt x="325" y="46"/>
                </a:cubicBezTo>
                <a:cubicBezTo>
                  <a:pt x="291" y="17"/>
                  <a:pt x="246" y="0"/>
                  <a:pt x="198" y="0"/>
                </a:cubicBezTo>
                <a:cubicBezTo>
                  <a:pt x="89" y="0"/>
                  <a:pt x="0" y="88"/>
                  <a:pt x="0" y="197"/>
                </a:cubicBezTo>
                <a:cubicBezTo>
                  <a:pt x="0" y="306"/>
                  <a:pt x="89" y="395"/>
                  <a:pt x="198" y="395"/>
                </a:cubicBezTo>
                <a:cubicBezTo>
                  <a:pt x="307" y="395"/>
                  <a:pt x="395" y="306"/>
                  <a:pt x="395" y="197"/>
                </a:cubicBezTo>
                <a:cubicBezTo>
                  <a:pt x="395" y="149"/>
                  <a:pt x="378" y="104"/>
                  <a:pt x="348" y="70"/>
                </a:cubicBezTo>
                <a:close/>
                <a:moveTo>
                  <a:pt x="75" y="300"/>
                </a:moveTo>
                <a:cubicBezTo>
                  <a:pt x="320" y="300"/>
                  <a:pt x="320" y="300"/>
                  <a:pt x="320" y="300"/>
                </a:cubicBezTo>
                <a:cubicBezTo>
                  <a:pt x="324" y="300"/>
                  <a:pt x="328" y="296"/>
                  <a:pt x="328" y="292"/>
                </a:cubicBezTo>
                <a:cubicBezTo>
                  <a:pt x="328" y="287"/>
                  <a:pt x="324" y="284"/>
                  <a:pt x="320" y="284"/>
                </a:cubicBezTo>
                <a:cubicBezTo>
                  <a:pt x="75" y="284"/>
                  <a:pt x="75" y="284"/>
                  <a:pt x="75" y="284"/>
                </a:cubicBezTo>
                <a:cubicBezTo>
                  <a:pt x="71" y="284"/>
                  <a:pt x="67" y="287"/>
                  <a:pt x="67" y="292"/>
                </a:cubicBezTo>
                <a:cubicBezTo>
                  <a:pt x="67" y="296"/>
                  <a:pt x="71" y="300"/>
                  <a:pt x="75" y="300"/>
                </a:cubicBezTo>
                <a:close/>
                <a:moveTo>
                  <a:pt x="328" y="103"/>
                </a:moveTo>
                <a:cubicBezTo>
                  <a:pt x="328" y="98"/>
                  <a:pt x="324" y="95"/>
                  <a:pt x="320" y="95"/>
                </a:cubicBezTo>
                <a:cubicBezTo>
                  <a:pt x="75" y="95"/>
                  <a:pt x="75" y="95"/>
                  <a:pt x="75" y="95"/>
                </a:cubicBezTo>
                <a:cubicBezTo>
                  <a:pt x="71" y="95"/>
                  <a:pt x="67" y="98"/>
                  <a:pt x="67" y="103"/>
                </a:cubicBezTo>
                <a:cubicBezTo>
                  <a:pt x="67" y="107"/>
                  <a:pt x="71" y="111"/>
                  <a:pt x="75" y="111"/>
                </a:cubicBezTo>
                <a:cubicBezTo>
                  <a:pt x="320" y="111"/>
                  <a:pt x="320" y="111"/>
                  <a:pt x="320" y="111"/>
                </a:cubicBezTo>
                <a:cubicBezTo>
                  <a:pt x="324" y="111"/>
                  <a:pt x="328" y="107"/>
                  <a:pt x="328" y="103"/>
                </a:cubicBezTo>
                <a:close/>
                <a:moveTo>
                  <a:pt x="359" y="235"/>
                </a:moveTo>
                <a:cubicBezTo>
                  <a:pt x="359" y="159"/>
                  <a:pt x="359" y="159"/>
                  <a:pt x="359" y="159"/>
                </a:cubicBezTo>
                <a:cubicBezTo>
                  <a:pt x="359" y="153"/>
                  <a:pt x="354" y="149"/>
                  <a:pt x="348" y="149"/>
                </a:cubicBezTo>
                <a:cubicBezTo>
                  <a:pt x="311" y="149"/>
                  <a:pt x="311" y="149"/>
                  <a:pt x="311" y="149"/>
                </a:cubicBezTo>
                <a:cubicBezTo>
                  <a:pt x="305" y="149"/>
                  <a:pt x="301" y="153"/>
                  <a:pt x="301" y="159"/>
                </a:cubicBezTo>
                <a:cubicBezTo>
                  <a:pt x="301" y="235"/>
                  <a:pt x="301" y="235"/>
                  <a:pt x="301" y="235"/>
                </a:cubicBezTo>
                <a:cubicBezTo>
                  <a:pt x="301" y="241"/>
                  <a:pt x="305" y="246"/>
                  <a:pt x="311" y="246"/>
                </a:cubicBezTo>
                <a:cubicBezTo>
                  <a:pt x="348" y="246"/>
                  <a:pt x="348" y="246"/>
                  <a:pt x="348" y="246"/>
                </a:cubicBezTo>
                <a:cubicBezTo>
                  <a:pt x="354" y="246"/>
                  <a:pt x="359" y="241"/>
                  <a:pt x="359" y="235"/>
                </a:cubicBezTo>
                <a:close/>
                <a:moveTo>
                  <a:pt x="316" y="226"/>
                </a:moveTo>
                <a:cubicBezTo>
                  <a:pt x="315" y="226"/>
                  <a:pt x="313" y="225"/>
                  <a:pt x="313" y="223"/>
                </a:cubicBezTo>
                <a:cubicBezTo>
                  <a:pt x="313" y="222"/>
                  <a:pt x="314" y="220"/>
                  <a:pt x="316" y="220"/>
                </a:cubicBezTo>
                <a:cubicBezTo>
                  <a:pt x="334" y="220"/>
                  <a:pt x="343" y="215"/>
                  <a:pt x="344" y="196"/>
                </a:cubicBezTo>
                <a:cubicBezTo>
                  <a:pt x="344" y="193"/>
                  <a:pt x="344" y="191"/>
                  <a:pt x="344" y="188"/>
                </a:cubicBezTo>
                <a:cubicBezTo>
                  <a:pt x="343" y="179"/>
                  <a:pt x="338" y="174"/>
                  <a:pt x="329" y="174"/>
                </a:cubicBezTo>
                <a:cubicBezTo>
                  <a:pt x="320" y="174"/>
                  <a:pt x="315" y="179"/>
                  <a:pt x="315" y="187"/>
                </a:cubicBezTo>
                <a:cubicBezTo>
                  <a:pt x="315" y="195"/>
                  <a:pt x="319" y="199"/>
                  <a:pt x="329" y="199"/>
                </a:cubicBezTo>
                <a:cubicBezTo>
                  <a:pt x="331" y="199"/>
                  <a:pt x="333" y="199"/>
                  <a:pt x="337" y="198"/>
                </a:cubicBezTo>
                <a:cubicBezTo>
                  <a:pt x="338" y="198"/>
                  <a:pt x="340" y="199"/>
                  <a:pt x="340" y="200"/>
                </a:cubicBezTo>
                <a:cubicBezTo>
                  <a:pt x="340" y="202"/>
                  <a:pt x="339" y="203"/>
                  <a:pt x="338" y="203"/>
                </a:cubicBezTo>
                <a:cubicBezTo>
                  <a:pt x="335" y="204"/>
                  <a:pt x="333" y="205"/>
                  <a:pt x="329" y="205"/>
                </a:cubicBezTo>
                <a:cubicBezTo>
                  <a:pt x="316" y="205"/>
                  <a:pt x="310" y="199"/>
                  <a:pt x="310" y="188"/>
                </a:cubicBezTo>
                <a:cubicBezTo>
                  <a:pt x="310" y="177"/>
                  <a:pt x="317" y="169"/>
                  <a:pt x="329" y="169"/>
                </a:cubicBezTo>
                <a:cubicBezTo>
                  <a:pt x="342" y="169"/>
                  <a:pt x="349" y="176"/>
                  <a:pt x="350" y="188"/>
                </a:cubicBezTo>
                <a:cubicBezTo>
                  <a:pt x="350" y="191"/>
                  <a:pt x="350" y="193"/>
                  <a:pt x="350" y="196"/>
                </a:cubicBezTo>
                <a:cubicBezTo>
                  <a:pt x="349" y="218"/>
                  <a:pt x="338" y="226"/>
                  <a:pt x="316" y="226"/>
                </a:cubicBezTo>
                <a:close/>
                <a:moveTo>
                  <a:pt x="179" y="149"/>
                </a:moveTo>
                <a:cubicBezTo>
                  <a:pt x="174" y="149"/>
                  <a:pt x="169" y="153"/>
                  <a:pt x="169" y="159"/>
                </a:cubicBezTo>
                <a:cubicBezTo>
                  <a:pt x="169" y="235"/>
                  <a:pt x="169" y="235"/>
                  <a:pt x="169" y="235"/>
                </a:cubicBezTo>
                <a:cubicBezTo>
                  <a:pt x="169" y="241"/>
                  <a:pt x="174" y="246"/>
                  <a:pt x="179" y="246"/>
                </a:cubicBezTo>
                <a:cubicBezTo>
                  <a:pt x="217" y="246"/>
                  <a:pt x="217" y="246"/>
                  <a:pt x="217" y="246"/>
                </a:cubicBezTo>
                <a:cubicBezTo>
                  <a:pt x="222" y="246"/>
                  <a:pt x="227" y="241"/>
                  <a:pt x="227" y="235"/>
                </a:cubicBezTo>
                <a:cubicBezTo>
                  <a:pt x="227" y="159"/>
                  <a:pt x="227" y="159"/>
                  <a:pt x="227" y="159"/>
                </a:cubicBezTo>
                <a:cubicBezTo>
                  <a:pt x="227" y="153"/>
                  <a:pt x="222" y="149"/>
                  <a:pt x="217" y="149"/>
                </a:cubicBezTo>
                <a:lnTo>
                  <a:pt x="179" y="149"/>
                </a:lnTo>
                <a:close/>
                <a:moveTo>
                  <a:pt x="183" y="225"/>
                </a:moveTo>
                <a:cubicBezTo>
                  <a:pt x="181" y="225"/>
                  <a:pt x="180" y="224"/>
                  <a:pt x="180" y="223"/>
                </a:cubicBezTo>
                <a:cubicBezTo>
                  <a:pt x="180" y="221"/>
                  <a:pt x="181" y="220"/>
                  <a:pt x="183" y="220"/>
                </a:cubicBezTo>
                <a:cubicBezTo>
                  <a:pt x="199" y="221"/>
                  <a:pt x="211" y="216"/>
                  <a:pt x="211" y="205"/>
                </a:cubicBezTo>
                <a:cubicBezTo>
                  <a:pt x="211" y="199"/>
                  <a:pt x="206" y="195"/>
                  <a:pt x="199" y="195"/>
                </a:cubicBezTo>
                <a:cubicBezTo>
                  <a:pt x="196" y="195"/>
                  <a:pt x="195" y="195"/>
                  <a:pt x="194" y="195"/>
                </a:cubicBezTo>
                <a:cubicBezTo>
                  <a:pt x="192" y="195"/>
                  <a:pt x="191" y="194"/>
                  <a:pt x="191" y="193"/>
                </a:cubicBezTo>
                <a:cubicBezTo>
                  <a:pt x="191" y="192"/>
                  <a:pt x="191" y="191"/>
                  <a:pt x="192" y="191"/>
                </a:cubicBezTo>
                <a:cubicBezTo>
                  <a:pt x="206" y="175"/>
                  <a:pt x="206" y="175"/>
                  <a:pt x="206" y="175"/>
                </a:cubicBezTo>
                <a:cubicBezTo>
                  <a:pt x="183" y="175"/>
                  <a:pt x="183" y="175"/>
                  <a:pt x="183" y="175"/>
                </a:cubicBezTo>
                <a:cubicBezTo>
                  <a:pt x="181" y="175"/>
                  <a:pt x="180" y="173"/>
                  <a:pt x="180" y="172"/>
                </a:cubicBezTo>
                <a:cubicBezTo>
                  <a:pt x="180" y="170"/>
                  <a:pt x="181" y="169"/>
                  <a:pt x="183" y="169"/>
                </a:cubicBezTo>
                <a:cubicBezTo>
                  <a:pt x="209" y="169"/>
                  <a:pt x="209" y="169"/>
                  <a:pt x="209" y="169"/>
                </a:cubicBezTo>
                <a:cubicBezTo>
                  <a:pt x="211" y="169"/>
                  <a:pt x="213" y="171"/>
                  <a:pt x="213" y="173"/>
                </a:cubicBezTo>
                <a:cubicBezTo>
                  <a:pt x="213" y="174"/>
                  <a:pt x="213" y="175"/>
                  <a:pt x="212" y="176"/>
                </a:cubicBezTo>
                <a:cubicBezTo>
                  <a:pt x="199" y="190"/>
                  <a:pt x="199" y="190"/>
                  <a:pt x="199" y="190"/>
                </a:cubicBezTo>
                <a:cubicBezTo>
                  <a:pt x="209" y="189"/>
                  <a:pt x="216" y="196"/>
                  <a:pt x="216" y="205"/>
                </a:cubicBezTo>
                <a:cubicBezTo>
                  <a:pt x="216" y="219"/>
                  <a:pt x="204" y="226"/>
                  <a:pt x="183" y="225"/>
                </a:cubicBezTo>
                <a:close/>
                <a:moveTo>
                  <a:pt x="245" y="149"/>
                </a:moveTo>
                <a:cubicBezTo>
                  <a:pt x="240" y="149"/>
                  <a:pt x="235" y="153"/>
                  <a:pt x="235" y="159"/>
                </a:cubicBezTo>
                <a:cubicBezTo>
                  <a:pt x="235" y="235"/>
                  <a:pt x="235" y="235"/>
                  <a:pt x="235" y="235"/>
                </a:cubicBezTo>
                <a:cubicBezTo>
                  <a:pt x="235" y="241"/>
                  <a:pt x="240" y="246"/>
                  <a:pt x="245" y="246"/>
                </a:cubicBezTo>
                <a:cubicBezTo>
                  <a:pt x="282" y="246"/>
                  <a:pt x="282" y="246"/>
                  <a:pt x="282" y="246"/>
                </a:cubicBezTo>
                <a:cubicBezTo>
                  <a:pt x="288" y="246"/>
                  <a:pt x="293" y="241"/>
                  <a:pt x="293" y="235"/>
                </a:cubicBezTo>
                <a:cubicBezTo>
                  <a:pt x="293" y="159"/>
                  <a:pt x="293" y="159"/>
                  <a:pt x="293" y="159"/>
                </a:cubicBezTo>
                <a:cubicBezTo>
                  <a:pt x="293" y="153"/>
                  <a:pt x="288" y="149"/>
                  <a:pt x="282" y="149"/>
                </a:cubicBezTo>
                <a:lnTo>
                  <a:pt x="245" y="149"/>
                </a:lnTo>
                <a:close/>
                <a:moveTo>
                  <a:pt x="285" y="210"/>
                </a:moveTo>
                <a:cubicBezTo>
                  <a:pt x="285" y="219"/>
                  <a:pt x="278" y="224"/>
                  <a:pt x="269" y="225"/>
                </a:cubicBezTo>
                <a:cubicBezTo>
                  <a:pt x="269" y="226"/>
                  <a:pt x="268" y="226"/>
                  <a:pt x="268" y="226"/>
                </a:cubicBezTo>
                <a:cubicBezTo>
                  <a:pt x="266" y="226"/>
                  <a:pt x="265" y="224"/>
                  <a:pt x="265" y="223"/>
                </a:cubicBezTo>
                <a:cubicBezTo>
                  <a:pt x="265" y="222"/>
                  <a:pt x="266" y="220"/>
                  <a:pt x="267" y="220"/>
                </a:cubicBezTo>
                <a:cubicBezTo>
                  <a:pt x="274" y="219"/>
                  <a:pt x="279" y="216"/>
                  <a:pt x="279" y="210"/>
                </a:cubicBezTo>
                <a:cubicBezTo>
                  <a:pt x="279" y="203"/>
                  <a:pt x="273" y="199"/>
                  <a:pt x="263" y="199"/>
                </a:cubicBezTo>
                <a:cubicBezTo>
                  <a:pt x="254" y="199"/>
                  <a:pt x="249" y="203"/>
                  <a:pt x="249" y="210"/>
                </a:cubicBezTo>
                <a:cubicBezTo>
                  <a:pt x="249" y="216"/>
                  <a:pt x="254" y="219"/>
                  <a:pt x="260" y="220"/>
                </a:cubicBezTo>
                <a:cubicBezTo>
                  <a:pt x="262" y="221"/>
                  <a:pt x="263" y="222"/>
                  <a:pt x="263" y="223"/>
                </a:cubicBezTo>
                <a:cubicBezTo>
                  <a:pt x="263" y="224"/>
                  <a:pt x="261" y="226"/>
                  <a:pt x="260" y="226"/>
                </a:cubicBezTo>
                <a:cubicBezTo>
                  <a:pt x="260" y="226"/>
                  <a:pt x="259" y="226"/>
                  <a:pt x="258" y="225"/>
                </a:cubicBezTo>
                <a:cubicBezTo>
                  <a:pt x="250" y="224"/>
                  <a:pt x="243" y="219"/>
                  <a:pt x="243" y="210"/>
                </a:cubicBezTo>
                <a:cubicBezTo>
                  <a:pt x="243" y="202"/>
                  <a:pt x="248" y="198"/>
                  <a:pt x="253" y="196"/>
                </a:cubicBezTo>
                <a:cubicBezTo>
                  <a:pt x="253" y="196"/>
                  <a:pt x="253" y="196"/>
                  <a:pt x="253" y="196"/>
                </a:cubicBezTo>
                <a:cubicBezTo>
                  <a:pt x="248" y="194"/>
                  <a:pt x="245" y="191"/>
                  <a:pt x="245" y="183"/>
                </a:cubicBezTo>
                <a:cubicBezTo>
                  <a:pt x="245" y="176"/>
                  <a:pt x="249" y="171"/>
                  <a:pt x="258" y="169"/>
                </a:cubicBezTo>
                <a:cubicBezTo>
                  <a:pt x="259" y="169"/>
                  <a:pt x="260" y="169"/>
                  <a:pt x="260" y="169"/>
                </a:cubicBezTo>
                <a:cubicBezTo>
                  <a:pt x="261" y="169"/>
                  <a:pt x="263" y="170"/>
                  <a:pt x="263" y="171"/>
                </a:cubicBezTo>
                <a:cubicBezTo>
                  <a:pt x="263" y="173"/>
                  <a:pt x="262" y="174"/>
                  <a:pt x="260" y="174"/>
                </a:cubicBezTo>
                <a:cubicBezTo>
                  <a:pt x="254" y="175"/>
                  <a:pt x="250" y="178"/>
                  <a:pt x="250" y="183"/>
                </a:cubicBezTo>
                <a:cubicBezTo>
                  <a:pt x="250" y="190"/>
                  <a:pt x="255" y="193"/>
                  <a:pt x="264" y="193"/>
                </a:cubicBezTo>
                <a:cubicBezTo>
                  <a:pt x="272" y="193"/>
                  <a:pt x="277" y="189"/>
                  <a:pt x="277" y="183"/>
                </a:cubicBezTo>
                <a:cubicBezTo>
                  <a:pt x="277" y="178"/>
                  <a:pt x="274" y="175"/>
                  <a:pt x="267" y="174"/>
                </a:cubicBezTo>
                <a:cubicBezTo>
                  <a:pt x="266" y="174"/>
                  <a:pt x="265" y="173"/>
                  <a:pt x="265" y="171"/>
                </a:cubicBezTo>
                <a:cubicBezTo>
                  <a:pt x="265" y="170"/>
                  <a:pt x="266" y="169"/>
                  <a:pt x="268" y="169"/>
                </a:cubicBezTo>
                <a:cubicBezTo>
                  <a:pt x="268" y="169"/>
                  <a:pt x="269" y="169"/>
                  <a:pt x="269" y="169"/>
                </a:cubicBezTo>
                <a:cubicBezTo>
                  <a:pt x="278" y="171"/>
                  <a:pt x="283" y="176"/>
                  <a:pt x="283" y="183"/>
                </a:cubicBezTo>
                <a:cubicBezTo>
                  <a:pt x="283" y="190"/>
                  <a:pt x="279" y="194"/>
                  <a:pt x="275" y="196"/>
                </a:cubicBezTo>
                <a:cubicBezTo>
                  <a:pt x="275" y="196"/>
                  <a:pt x="275" y="196"/>
                  <a:pt x="275" y="196"/>
                </a:cubicBezTo>
                <a:cubicBezTo>
                  <a:pt x="280" y="197"/>
                  <a:pt x="284" y="202"/>
                  <a:pt x="285" y="210"/>
                </a:cubicBezTo>
                <a:close/>
                <a:moveTo>
                  <a:pt x="114" y="149"/>
                </a:moveTo>
                <a:cubicBezTo>
                  <a:pt x="108" y="149"/>
                  <a:pt x="103" y="153"/>
                  <a:pt x="103" y="159"/>
                </a:cubicBezTo>
                <a:cubicBezTo>
                  <a:pt x="103" y="235"/>
                  <a:pt x="103" y="235"/>
                  <a:pt x="103" y="235"/>
                </a:cubicBezTo>
                <a:cubicBezTo>
                  <a:pt x="103" y="241"/>
                  <a:pt x="108" y="246"/>
                  <a:pt x="114" y="246"/>
                </a:cubicBezTo>
                <a:cubicBezTo>
                  <a:pt x="151" y="246"/>
                  <a:pt x="151" y="246"/>
                  <a:pt x="151" y="246"/>
                </a:cubicBezTo>
                <a:cubicBezTo>
                  <a:pt x="157" y="246"/>
                  <a:pt x="161" y="241"/>
                  <a:pt x="161" y="235"/>
                </a:cubicBezTo>
                <a:cubicBezTo>
                  <a:pt x="161" y="159"/>
                  <a:pt x="161" y="159"/>
                  <a:pt x="161" y="159"/>
                </a:cubicBezTo>
                <a:cubicBezTo>
                  <a:pt x="161" y="153"/>
                  <a:pt x="157" y="149"/>
                  <a:pt x="151" y="149"/>
                </a:cubicBezTo>
                <a:lnTo>
                  <a:pt x="114" y="149"/>
                </a:lnTo>
                <a:close/>
                <a:moveTo>
                  <a:pt x="117" y="225"/>
                </a:moveTo>
                <a:cubicBezTo>
                  <a:pt x="115" y="225"/>
                  <a:pt x="114" y="224"/>
                  <a:pt x="114" y="223"/>
                </a:cubicBezTo>
                <a:cubicBezTo>
                  <a:pt x="114" y="221"/>
                  <a:pt x="115" y="220"/>
                  <a:pt x="117" y="220"/>
                </a:cubicBezTo>
                <a:cubicBezTo>
                  <a:pt x="133" y="221"/>
                  <a:pt x="145" y="215"/>
                  <a:pt x="145" y="204"/>
                </a:cubicBezTo>
                <a:cubicBezTo>
                  <a:pt x="145" y="198"/>
                  <a:pt x="140" y="194"/>
                  <a:pt x="134" y="194"/>
                </a:cubicBezTo>
                <a:cubicBezTo>
                  <a:pt x="127" y="194"/>
                  <a:pt x="123" y="196"/>
                  <a:pt x="120" y="197"/>
                </a:cubicBezTo>
                <a:cubicBezTo>
                  <a:pt x="117" y="199"/>
                  <a:pt x="115" y="197"/>
                  <a:pt x="115" y="195"/>
                </a:cubicBezTo>
                <a:cubicBezTo>
                  <a:pt x="115" y="174"/>
                  <a:pt x="115" y="174"/>
                  <a:pt x="115" y="174"/>
                </a:cubicBezTo>
                <a:cubicBezTo>
                  <a:pt x="115" y="170"/>
                  <a:pt x="118" y="169"/>
                  <a:pt x="120" y="169"/>
                </a:cubicBezTo>
                <a:cubicBezTo>
                  <a:pt x="144" y="169"/>
                  <a:pt x="144" y="169"/>
                  <a:pt x="144" y="169"/>
                </a:cubicBezTo>
                <a:cubicBezTo>
                  <a:pt x="146" y="169"/>
                  <a:pt x="147" y="170"/>
                  <a:pt x="147" y="172"/>
                </a:cubicBezTo>
                <a:cubicBezTo>
                  <a:pt x="147" y="173"/>
                  <a:pt x="146" y="175"/>
                  <a:pt x="144" y="175"/>
                </a:cubicBezTo>
                <a:cubicBezTo>
                  <a:pt x="121" y="175"/>
                  <a:pt x="121" y="175"/>
                  <a:pt x="121" y="175"/>
                </a:cubicBezTo>
                <a:cubicBezTo>
                  <a:pt x="121" y="192"/>
                  <a:pt x="121" y="192"/>
                  <a:pt x="121" y="192"/>
                </a:cubicBezTo>
                <a:cubicBezTo>
                  <a:pt x="124" y="190"/>
                  <a:pt x="128" y="188"/>
                  <a:pt x="134" y="188"/>
                </a:cubicBezTo>
                <a:cubicBezTo>
                  <a:pt x="144" y="188"/>
                  <a:pt x="151" y="195"/>
                  <a:pt x="151" y="204"/>
                </a:cubicBezTo>
                <a:cubicBezTo>
                  <a:pt x="151" y="218"/>
                  <a:pt x="137" y="226"/>
                  <a:pt x="117" y="225"/>
                </a:cubicBezTo>
                <a:close/>
                <a:moveTo>
                  <a:pt x="37" y="159"/>
                </a:moveTo>
                <a:cubicBezTo>
                  <a:pt x="37" y="235"/>
                  <a:pt x="37" y="235"/>
                  <a:pt x="37" y="235"/>
                </a:cubicBezTo>
                <a:cubicBezTo>
                  <a:pt x="37" y="241"/>
                  <a:pt x="42" y="246"/>
                  <a:pt x="48" y="246"/>
                </a:cubicBezTo>
                <a:cubicBezTo>
                  <a:pt x="85" y="246"/>
                  <a:pt x="85" y="246"/>
                  <a:pt x="85" y="246"/>
                </a:cubicBezTo>
                <a:cubicBezTo>
                  <a:pt x="91" y="246"/>
                  <a:pt x="95" y="241"/>
                  <a:pt x="95" y="235"/>
                </a:cubicBezTo>
                <a:cubicBezTo>
                  <a:pt x="95" y="159"/>
                  <a:pt x="95" y="159"/>
                  <a:pt x="95" y="159"/>
                </a:cubicBezTo>
                <a:cubicBezTo>
                  <a:pt x="95" y="153"/>
                  <a:pt x="91" y="149"/>
                  <a:pt x="85" y="149"/>
                </a:cubicBezTo>
                <a:cubicBezTo>
                  <a:pt x="48" y="149"/>
                  <a:pt x="48" y="149"/>
                  <a:pt x="48" y="149"/>
                </a:cubicBezTo>
                <a:cubicBezTo>
                  <a:pt x="42" y="149"/>
                  <a:pt x="37" y="153"/>
                  <a:pt x="37" y="159"/>
                </a:cubicBezTo>
                <a:close/>
                <a:moveTo>
                  <a:pt x="66" y="174"/>
                </a:moveTo>
                <a:cubicBezTo>
                  <a:pt x="60" y="174"/>
                  <a:pt x="56" y="177"/>
                  <a:pt x="54" y="180"/>
                </a:cubicBezTo>
                <a:cubicBezTo>
                  <a:pt x="53" y="181"/>
                  <a:pt x="53" y="181"/>
                  <a:pt x="52" y="181"/>
                </a:cubicBezTo>
                <a:cubicBezTo>
                  <a:pt x="50" y="182"/>
                  <a:pt x="49" y="181"/>
                  <a:pt x="48" y="180"/>
                </a:cubicBezTo>
                <a:cubicBezTo>
                  <a:pt x="48" y="179"/>
                  <a:pt x="48" y="178"/>
                  <a:pt x="49" y="177"/>
                </a:cubicBezTo>
                <a:cubicBezTo>
                  <a:pt x="52" y="173"/>
                  <a:pt x="57" y="169"/>
                  <a:pt x="66" y="169"/>
                </a:cubicBezTo>
                <a:cubicBezTo>
                  <a:pt x="77" y="169"/>
                  <a:pt x="83" y="176"/>
                  <a:pt x="83" y="184"/>
                </a:cubicBezTo>
                <a:cubicBezTo>
                  <a:pt x="83" y="193"/>
                  <a:pt x="78" y="197"/>
                  <a:pt x="66" y="206"/>
                </a:cubicBezTo>
                <a:cubicBezTo>
                  <a:pt x="57" y="212"/>
                  <a:pt x="54" y="215"/>
                  <a:pt x="54" y="220"/>
                </a:cubicBezTo>
                <a:cubicBezTo>
                  <a:pt x="82" y="220"/>
                  <a:pt x="82" y="220"/>
                  <a:pt x="82" y="220"/>
                </a:cubicBezTo>
                <a:cubicBezTo>
                  <a:pt x="83" y="220"/>
                  <a:pt x="85" y="221"/>
                  <a:pt x="85" y="223"/>
                </a:cubicBezTo>
                <a:cubicBezTo>
                  <a:pt x="85" y="224"/>
                  <a:pt x="83" y="226"/>
                  <a:pt x="82" y="226"/>
                </a:cubicBezTo>
                <a:cubicBezTo>
                  <a:pt x="53" y="226"/>
                  <a:pt x="53" y="226"/>
                  <a:pt x="53" y="226"/>
                </a:cubicBezTo>
                <a:cubicBezTo>
                  <a:pt x="50" y="226"/>
                  <a:pt x="48" y="224"/>
                  <a:pt x="48" y="221"/>
                </a:cubicBezTo>
                <a:cubicBezTo>
                  <a:pt x="48" y="214"/>
                  <a:pt x="52" y="209"/>
                  <a:pt x="61" y="203"/>
                </a:cubicBezTo>
                <a:cubicBezTo>
                  <a:pt x="74" y="193"/>
                  <a:pt x="78" y="191"/>
                  <a:pt x="78" y="184"/>
                </a:cubicBezTo>
                <a:cubicBezTo>
                  <a:pt x="78" y="180"/>
                  <a:pt x="74" y="174"/>
                  <a:pt x="66"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nvGrpSpPr>
          <p:cNvPr id="14" name="Group 6"/>
          <p:cNvGrpSpPr>
            <a:grpSpLocks/>
          </p:cNvGrpSpPr>
          <p:nvPr>
            <p:custDataLst>
              <p:tags r:id="rId6"/>
            </p:custDataLst>
          </p:nvPr>
        </p:nvGrpSpPr>
        <p:grpSpPr bwMode="auto">
          <a:xfrm>
            <a:off x="541340" y="5210858"/>
            <a:ext cx="840397" cy="689881"/>
            <a:chOff x="1250592" y="5365091"/>
            <a:chExt cx="1706563" cy="1566862"/>
          </a:xfrm>
          <a:solidFill>
            <a:srgbClr val="FFFFFF"/>
          </a:solidFill>
        </p:grpSpPr>
        <p:sp>
          <p:nvSpPr>
            <p:cNvPr id="15" name="Freeform 3"/>
            <p:cNvSpPr>
              <a:spLocks noChangeAspect="1" noEditPoints="1"/>
            </p:cNvSpPr>
            <p:nvPr/>
          </p:nvSpPr>
          <p:spPr bwMode="auto">
            <a:xfrm>
              <a:off x="1773747" y="5646014"/>
              <a:ext cx="635162" cy="579057"/>
            </a:xfrm>
            <a:custGeom>
              <a:avLst/>
              <a:gdLst>
                <a:gd name="T0" fmla="*/ 2147483647 w 418"/>
                <a:gd name="T1" fmla="*/ 2147483647 h 333"/>
                <a:gd name="T2" fmla="*/ 2147483647 w 418"/>
                <a:gd name="T3" fmla="*/ 2147483647 h 333"/>
                <a:gd name="T4" fmla="*/ 2147483647 w 418"/>
                <a:gd name="T5" fmla="*/ 2147483647 h 333"/>
                <a:gd name="T6" fmla="*/ 2147483647 w 418"/>
                <a:gd name="T7" fmla="*/ 2147483647 h 333"/>
                <a:gd name="T8" fmla="*/ 2147483647 w 418"/>
                <a:gd name="T9" fmla="*/ 0 h 333"/>
                <a:gd name="T10" fmla="*/ 0 w 418"/>
                <a:gd name="T11" fmla="*/ 2147483647 h 333"/>
                <a:gd name="T12" fmla="*/ 2147483647 w 418"/>
                <a:gd name="T13" fmla="*/ 2147483647 h 333"/>
                <a:gd name="T14" fmla="*/ 2147483647 w 418"/>
                <a:gd name="T15" fmla="*/ 2147483647 h 333"/>
                <a:gd name="T16" fmla="*/ 2147483647 w 418"/>
                <a:gd name="T17" fmla="*/ 2147483647 h 333"/>
                <a:gd name="T18" fmla="*/ 2147483647 w 418"/>
                <a:gd name="T19" fmla="*/ 2147483647 h 333"/>
                <a:gd name="T20" fmla="*/ 2147483647 w 418"/>
                <a:gd name="T21" fmla="*/ 2147483647 h 333"/>
                <a:gd name="T22" fmla="*/ 2147483647 w 418"/>
                <a:gd name="T23" fmla="*/ 2147483647 h 333"/>
                <a:gd name="T24" fmla="*/ 2147483647 w 418"/>
                <a:gd name="T25" fmla="*/ 2147483647 h 333"/>
                <a:gd name="T26" fmla="*/ 2147483647 w 418"/>
                <a:gd name="T27" fmla="*/ 2147483647 h 333"/>
                <a:gd name="T28" fmla="*/ 2147483647 w 418"/>
                <a:gd name="T29" fmla="*/ 2147483647 h 333"/>
                <a:gd name="T30" fmla="*/ 2147483647 w 418"/>
                <a:gd name="T31" fmla="*/ 2147483647 h 333"/>
                <a:gd name="T32" fmla="*/ 2147483647 w 418"/>
                <a:gd name="T33" fmla="*/ 2147483647 h 333"/>
                <a:gd name="T34" fmla="*/ 2147483647 w 418"/>
                <a:gd name="T35" fmla="*/ 2147483647 h 333"/>
                <a:gd name="T36" fmla="*/ 2147483647 w 418"/>
                <a:gd name="T37" fmla="*/ 2147483647 h 333"/>
                <a:gd name="T38" fmla="*/ 2147483647 w 418"/>
                <a:gd name="T39" fmla="*/ 2147483647 h 333"/>
                <a:gd name="T40" fmla="*/ 2147483647 w 418"/>
                <a:gd name="T41" fmla="*/ 2147483647 h 333"/>
                <a:gd name="T42" fmla="*/ 2147483647 w 418"/>
                <a:gd name="T43" fmla="*/ 2147483647 h 333"/>
                <a:gd name="T44" fmla="*/ 2147483647 w 418"/>
                <a:gd name="T45" fmla="*/ 2147483647 h 333"/>
                <a:gd name="T46" fmla="*/ 2147483647 w 418"/>
                <a:gd name="T47" fmla="*/ 2147483647 h 333"/>
                <a:gd name="T48" fmla="*/ 2147483647 w 418"/>
                <a:gd name="T49" fmla="*/ 2147483647 h 333"/>
                <a:gd name="T50" fmla="*/ 2147483647 w 418"/>
                <a:gd name="T51" fmla="*/ 2147483647 h 333"/>
                <a:gd name="T52" fmla="*/ 2147483647 w 418"/>
                <a:gd name="T53" fmla="*/ 2147483647 h 333"/>
                <a:gd name="T54" fmla="*/ 2147483647 w 418"/>
                <a:gd name="T55" fmla="*/ 2147483647 h 333"/>
                <a:gd name="T56" fmla="*/ 2147483647 w 418"/>
                <a:gd name="T57" fmla="*/ 2147483647 h 333"/>
                <a:gd name="T58" fmla="*/ 2147483647 w 418"/>
                <a:gd name="T59" fmla="*/ 2147483647 h 333"/>
                <a:gd name="T60" fmla="*/ 2147483647 w 418"/>
                <a:gd name="T61" fmla="*/ 2147483647 h 333"/>
                <a:gd name="T62" fmla="*/ 2147483647 w 418"/>
                <a:gd name="T63" fmla="*/ 2147483647 h 333"/>
                <a:gd name="T64" fmla="*/ 2147483647 w 418"/>
                <a:gd name="T65" fmla="*/ 2147483647 h 333"/>
                <a:gd name="T66" fmla="*/ 2147483647 w 418"/>
                <a:gd name="T67" fmla="*/ 2147483647 h 333"/>
                <a:gd name="T68" fmla="*/ 2147483647 w 418"/>
                <a:gd name="T69" fmla="*/ 2147483647 h 333"/>
                <a:gd name="T70" fmla="*/ 2147483647 w 418"/>
                <a:gd name="T71" fmla="*/ 2147483647 h 333"/>
                <a:gd name="T72" fmla="*/ 2147483647 w 418"/>
                <a:gd name="T73" fmla="*/ 2147483647 h 333"/>
                <a:gd name="T74" fmla="*/ 2147483647 w 418"/>
                <a:gd name="T75" fmla="*/ 2147483647 h 333"/>
                <a:gd name="T76" fmla="*/ 2147483647 w 418"/>
                <a:gd name="T77" fmla="*/ 2147483647 h 333"/>
                <a:gd name="T78" fmla="*/ 2147483647 w 418"/>
                <a:gd name="T79" fmla="*/ 2147483647 h 333"/>
                <a:gd name="T80" fmla="*/ 2147483647 w 418"/>
                <a:gd name="T81" fmla="*/ 2147483647 h 333"/>
                <a:gd name="T82" fmla="*/ 2147483647 w 418"/>
                <a:gd name="T83" fmla="*/ 2147483647 h 333"/>
                <a:gd name="T84" fmla="*/ 2147483647 w 418"/>
                <a:gd name="T85" fmla="*/ 2147483647 h 3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18"/>
                <a:gd name="T130" fmla="*/ 0 h 333"/>
                <a:gd name="T131" fmla="*/ 418 w 418"/>
                <a:gd name="T132" fmla="*/ 333 h 33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18" h="333">
                  <a:moveTo>
                    <a:pt x="410" y="124"/>
                  </a:moveTo>
                  <a:cubicBezTo>
                    <a:pt x="406" y="124"/>
                    <a:pt x="402" y="128"/>
                    <a:pt x="402" y="132"/>
                  </a:cubicBezTo>
                  <a:cubicBezTo>
                    <a:pt x="402" y="138"/>
                    <a:pt x="402" y="145"/>
                    <a:pt x="402" y="152"/>
                  </a:cubicBezTo>
                  <a:cubicBezTo>
                    <a:pt x="402" y="152"/>
                    <a:pt x="402" y="152"/>
                    <a:pt x="402" y="152"/>
                  </a:cubicBezTo>
                  <a:cubicBezTo>
                    <a:pt x="402" y="264"/>
                    <a:pt x="402" y="264"/>
                    <a:pt x="402" y="264"/>
                  </a:cubicBezTo>
                  <a:cubicBezTo>
                    <a:pt x="16" y="264"/>
                    <a:pt x="16" y="264"/>
                    <a:pt x="16" y="264"/>
                  </a:cubicBezTo>
                  <a:cubicBezTo>
                    <a:pt x="16" y="69"/>
                    <a:pt x="16" y="69"/>
                    <a:pt x="16" y="69"/>
                  </a:cubicBezTo>
                  <a:cubicBezTo>
                    <a:pt x="402" y="69"/>
                    <a:pt x="402" y="69"/>
                    <a:pt x="402" y="69"/>
                  </a:cubicBezTo>
                  <a:cubicBezTo>
                    <a:pt x="402" y="90"/>
                    <a:pt x="402" y="90"/>
                    <a:pt x="402" y="90"/>
                  </a:cubicBezTo>
                  <a:cubicBezTo>
                    <a:pt x="402" y="90"/>
                    <a:pt x="402" y="90"/>
                    <a:pt x="402" y="90"/>
                  </a:cubicBezTo>
                  <a:cubicBezTo>
                    <a:pt x="402" y="93"/>
                    <a:pt x="402" y="93"/>
                    <a:pt x="402" y="93"/>
                  </a:cubicBezTo>
                  <a:cubicBezTo>
                    <a:pt x="402" y="98"/>
                    <a:pt x="406" y="101"/>
                    <a:pt x="410" y="101"/>
                  </a:cubicBezTo>
                  <a:cubicBezTo>
                    <a:pt x="415" y="101"/>
                    <a:pt x="418" y="98"/>
                    <a:pt x="418" y="93"/>
                  </a:cubicBezTo>
                  <a:cubicBezTo>
                    <a:pt x="418" y="31"/>
                    <a:pt x="418" y="31"/>
                    <a:pt x="418" y="31"/>
                  </a:cubicBezTo>
                  <a:cubicBezTo>
                    <a:pt x="418" y="14"/>
                    <a:pt x="405" y="0"/>
                    <a:pt x="388" y="0"/>
                  </a:cubicBezTo>
                  <a:cubicBezTo>
                    <a:pt x="31" y="0"/>
                    <a:pt x="31" y="0"/>
                    <a:pt x="31" y="0"/>
                  </a:cubicBezTo>
                  <a:cubicBezTo>
                    <a:pt x="14" y="0"/>
                    <a:pt x="0" y="14"/>
                    <a:pt x="0" y="31"/>
                  </a:cubicBezTo>
                  <a:cubicBezTo>
                    <a:pt x="0" y="302"/>
                    <a:pt x="0" y="302"/>
                    <a:pt x="0" y="302"/>
                  </a:cubicBezTo>
                  <a:cubicBezTo>
                    <a:pt x="0" y="319"/>
                    <a:pt x="14" y="333"/>
                    <a:pt x="31" y="333"/>
                  </a:cubicBezTo>
                  <a:cubicBezTo>
                    <a:pt x="388" y="333"/>
                    <a:pt x="388" y="333"/>
                    <a:pt x="388" y="333"/>
                  </a:cubicBezTo>
                  <a:cubicBezTo>
                    <a:pt x="405" y="333"/>
                    <a:pt x="418" y="319"/>
                    <a:pt x="418" y="302"/>
                  </a:cubicBezTo>
                  <a:cubicBezTo>
                    <a:pt x="418" y="302"/>
                    <a:pt x="418" y="190"/>
                    <a:pt x="418" y="132"/>
                  </a:cubicBezTo>
                  <a:cubicBezTo>
                    <a:pt x="418" y="128"/>
                    <a:pt x="415" y="124"/>
                    <a:pt x="410" y="124"/>
                  </a:cubicBezTo>
                  <a:close/>
                  <a:moveTo>
                    <a:pt x="65" y="41"/>
                  </a:moveTo>
                  <a:cubicBezTo>
                    <a:pt x="65" y="47"/>
                    <a:pt x="60" y="53"/>
                    <a:pt x="54" y="53"/>
                  </a:cubicBezTo>
                  <a:cubicBezTo>
                    <a:pt x="28" y="53"/>
                    <a:pt x="28" y="53"/>
                    <a:pt x="28" y="53"/>
                  </a:cubicBezTo>
                  <a:cubicBezTo>
                    <a:pt x="22" y="53"/>
                    <a:pt x="16" y="47"/>
                    <a:pt x="16" y="41"/>
                  </a:cubicBezTo>
                  <a:cubicBezTo>
                    <a:pt x="16" y="28"/>
                    <a:pt x="16" y="28"/>
                    <a:pt x="16" y="28"/>
                  </a:cubicBezTo>
                  <a:cubicBezTo>
                    <a:pt x="16" y="21"/>
                    <a:pt x="22" y="16"/>
                    <a:pt x="28" y="16"/>
                  </a:cubicBezTo>
                  <a:cubicBezTo>
                    <a:pt x="54" y="16"/>
                    <a:pt x="54" y="16"/>
                    <a:pt x="54" y="16"/>
                  </a:cubicBezTo>
                  <a:cubicBezTo>
                    <a:pt x="60" y="16"/>
                    <a:pt x="65" y="21"/>
                    <a:pt x="65" y="28"/>
                  </a:cubicBezTo>
                  <a:lnTo>
                    <a:pt x="65" y="41"/>
                  </a:lnTo>
                  <a:close/>
                  <a:moveTo>
                    <a:pt x="133" y="41"/>
                  </a:moveTo>
                  <a:cubicBezTo>
                    <a:pt x="133" y="47"/>
                    <a:pt x="128" y="53"/>
                    <a:pt x="121" y="53"/>
                  </a:cubicBezTo>
                  <a:cubicBezTo>
                    <a:pt x="95" y="53"/>
                    <a:pt x="95" y="53"/>
                    <a:pt x="95" y="53"/>
                  </a:cubicBezTo>
                  <a:cubicBezTo>
                    <a:pt x="89" y="53"/>
                    <a:pt x="84" y="47"/>
                    <a:pt x="84" y="41"/>
                  </a:cubicBezTo>
                  <a:cubicBezTo>
                    <a:pt x="84" y="28"/>
                    <a:pt x="84" y="28"/>
                    <a:pt x="84" y="28"/>
                  </a:cubicBezTo>
                  <a:cubicBezTo>
                    <a:pt x="84" y="21"/>
                    <a:pt x="89" y="16"/>
                    <a:pt x="95" y="16"/>
                  </a:cubicBezTo>
                  <a:cubicBezTo>
                    <a:pt x="121" y="16"/>
                    <a:pt x="121" y="16"/>
                    <a:pt x="121" y="16"/>
                  </a:cubicBezTo>
                  <a:cubicBezTo>
                    <a:pt x="128" y="16"/>
                    <a:pt x="133" y="21"/>
                    <a:pt x="133" y="28"/>
                  </a:cubicBezTo>
                  <a:lnTo>
                    <a:pt x="133" y="41"/>
                  </a:lnTo>
                  <a:close/>
                  <a:moveTo>
                    <a:pt x="200" y="41"/>
                  </a:moveTo>
                  <a:cubicBezTo>
                    <a:pt x="200" y="47"/>
                    <a:pt x="195" y="53"/>
                    <a:pt x="188" y="53"/>
                  </a:cubicBezTo>
                  <a:cubicBezTo>
                    <a:pt x="162" y="53"/>
                    <a:pt x="162" y="53"/>
                    <a:pt x="162" y="53"/>
                  </a:cubicBezTo>
                  <a:cubicBezTo>
                    <a:pt x="156" y="53"/>
                    <a:pt x="151" y="47"/>
                    <a:pt x="151" y="41"/>
                  </a:cubicBezTo>
                  <a:cubicBezTo>
                    <a:pt x="151" y="28"/>
                    <a:pt x="151" y="28"/>
                    <a:pt x="151" y="28"/>
                  </a:cubicBezTo>
                  <a:cubicBezTo>
                    <a:pt x="151" y="21"/>
                    <a:pt x="156" y="16"/>
                    <a:pt x="162" y="16"/>
                  </a:cubicBezTo>
                  <a:cubicBezTo>
                    <a:pt x="188" y="16"/>
                    <a:pt x="188" y="16"/>
                    <a:pt x="188" y="16"/>
                  </a:cubicBezTo>
                  <a:cubicBezTo>
                    <a:pt x="195" y="16"/>
                    <a:pt x="200" y="21"/>
                    <a:pt x="200" y="28"/>
                  </a:cubicBezTo>
                  <a:lnTo>
                    <a:pt x="200" y="41"/>
                  </a:lnTo>
                  <a:close/>
                  <a:moveTo>
                    <a:pt x="267" y="41"/>
                  </a:moveTo>
                  <a:cubicBezTo>
                    <a:pt x="267" y="47"/>
                    <a:pt x="262" y="53"/>
                    <a:pt x="256" y="53"/>
                  </a:cubicBezTo>
                  <a:cubicBezTo>
                    <a:pt x="230" y="53"/>
                    <a:pt x="230" y="53"/>
                    <a:pt x="230" y="53"/>
                  </a:cubicBezTo>
                  <a:cubicBezTo>
                    <a:pt x="223" y="53"/>
                    <a:pt x="218" y="47"/>
                    <a:pt x="218" y="41"/>
                  </a:cubicBezTo>
                  <a:cubicBezTo>
                    <a:pt x="218" y="28"/>
                    <a:pt x="218" y="28"/>
                    <a:pt x="218" y="28"/>
                  </a:cubicBezTo>
                  <a:cubicBezTo>
                    <a:pt x="218" y="21"/>
                    <a:pt x="223" y="16"/>
                    <a:pt x="230" y="16"/>
                  </a:cubicBezTo>
                  <a:cubicBezTo>
                    <a:pt x="256" y="16"/>
                    <a:pt x="256" y="16"/>
                    <a:pt x="256" y="16"/>
                  </a:cubicBezTo>
                  <a:cubicBezTo>
                    <a:pt x="262" y="16"/>
                    <a:pt x="267" y="21"/>
                    <a:pt x="267" y="28"/>
                  </a:cubicBezTo>
                  <a:lnTo>
                    <a:pt x="267" y="41"/>
                  </a:lnTo>
                  <a:close/>
                  <a:moveTo>
                    <a:pt x="334" y="41"/>
                  </a:moveTo>
                  <a:cubicBezTo>
                    <a:pt x="334" y="47"/>
                    <a:pt x="329" y="53"/>
                    <a:pt x="323" y="53"/>
                  </a:cubicBezTo>
                  <a:cubicBezTo>
                    <a:pt x="297" y="53"/>
                    <a:pt x="297" y="53"/>
                    <a:pt x="297" y="53"/>
                  </a:cubicBezTo>
                  <a:cubicBezTo>
                    <a:pt x="291" y="53"/>
                    <a:pt x="285" y="47"/>
                    <a:pt x="285" y="41"/>
                  </a:cubicBezTo>
                  <a:cubicBezTo>
                    <a:pt x="285" y="28"/>
                    <a:pt x="285" y="28"/>
                    <a:pt x="285" y="28"/>
                  </a:cubicBezTo>
                  <a:cubicBezTo>
                    <a:pt x="285" y="21"/>
                    <a:pt x="291" y="16"/>
                    <a:pt x="297" y="16"/>
                  </a:cubicBezTo>
                  <a:cubicBezTo>
                    <a:pt x="323" y="16"/>
                    <a:pt x="323" y="16"/>
                    <a:pt x="323" y="16"/>
                  </a:cubicBezTo>
                  <a:cubicBezTo>
                    <a:pt x="329" y="16"/>
                    <a:pt x="334" y="21"/>
                    <a:pt x="334" y="28"/>
                  </a:cubicBezTo>
                  <a:lnTo>
                    <a:pt x="334" y="41"/>
                  </a:lnTo>
                  <a:close/>
                  <a:moveTo>
                    <a:pt x="402" y="41"/>
                  </a:moveTo>
                  <a:cubicBezTo>
                    <a:pt x="402" y="47"/>
                    <a:pt x="397" y="53"/>
                    <a:pt x="390" y="53"/>
                  </a:cubicBezTo>
                  <a:cubicBezTo>
                    <a:pt x="364" y="53"/>
                    <a:pt x="364" y="53"/>
                    <a:pt x="364" y="53"/>
                  </a:cubicBezTo>
                  <a:cubicBezTo>
                    <a:pt x="358" y="53"/>
                    <a:pt x="353" y="47"/>
                    <a:pt x="353" y="41"/>
                  </a:cubicBezTo>
                  <a:cubicBezTo>
                    <a:pt x="353" y="28"/>
                    <a:pt x="353" y="28"/>
                    <a:pt x="353" y="28"/>
                  </a:cubicBezTo>
                  <a:cubicBezTo>
                    <a:pt x="353" y="21"/>
                    <a:pt x="358" y="16"/>
                    <a:pt x="364" y="16"/>
                  </a:cubicBezTo>
                  <a:cubicBezTo>
                    <a:pt x="390" y="16"/>
                    <a:pt x="390" y="16"/>
                    <a:pt x="390" y="16"/>
                  </a:cubicBezTo>
                  <a:cubicBezTo>
                    <a:pt x="397" y="16"/>
                    <a:pt x="402" y="21"/>
                    <a:pt x="402" y="28"/>
                  </a:cubicBezTo>
                  <a:lnTo>
                    <a:pt x="402" y="41"/>
                  </a:lnTo>
                  <a:close/>
                  <a:moveTo>
                    <a:pt x="353" y="292"/>
                  </a:moveTo>
                  <a:cubicBezTo>
                    <a:pt x="353" y="285"/>
                    <a:pt x="358" y="280"/>
                    <a:pt x="365" y="280"/>
                  </a:cubicBezTo>
                  <a:cubicBezTo>
                    <a:pt x="390" y="280"/>
                    <a:pt x="390" y="280"/>
                    <a:pt x="390" y="280"/>
                  </a:cubicBezTo>
                  <a:cubicBezTo>
                    <a:pt x="397" y="280"/>
                    <a:pt x="402" y="285"/>
                    <a:pt x="402" y="292"/>
                  </a:cubicBezTo>
                  <a:cubicBezTo>
                    <a:pt x="402" y="305"/>
                    <a:pt x="402" y="305"/>
                    <a:pt x="402" y="305"/>
                  </a:cubicBezTo>
                  <a:cubicBezTo>
                    <a:pt x="402" y="311"/>
                    <a:pt x="397" y="316"/>
                    <a:pt x="390" y="316"/>
                  </a:cubicBezTo>
                  <a:cubicBezTo>
                    <a:pt x="365" y="316"/>
                    <a:pt x="365" y="316"/>
                    <a:pt x="365" y="316"/>
                  </a:cubicBezTo>
                  <a:cubicBezTo>
                    <a:pt x="358" y="316"/>
                    <a:pt x="353" y="311"/>
                    <a:pt x="353" y="305"/>
                  </a:cubicBezTo>
                  <a:lnTo>
                    <a:pt x="353" y="292"/>
                  </a:lnTo>
                  <a:close/>
                  <a:moveTo>
                    <a:pt x="286" y="292"/>
                  </a:moveTo>
                  <a:cubicBezTo>
                    <a:pt x="286" y="285"/>
                    <a:pt x="291" y="280"/>
                    <a:pt x="297" y="280"/>
                  </a:cubicBezTo>
                  <a:cubicBezTo>
                    <a:pt x="323" y="280"/>
                    <a:pt x="323" y="280"/>
                    <a:pt x="323" y="280"/>
                  </a:cubicBezTo>
                  <a:cubicBezTo>
                    <a:pt x="330" y="280"/>
                    <a:pt x="335" y="285"/>
                    <a:pt x="335" y="292"/>
                  </a:cubicBezTo>
                  <a:cubicBezTo>
                    <a:pt x="335" y="305"/>
                    <a:pt x="335" y="305"/>
                    <a:pt x="335" y="305"/>
                  </a:cubicBezTo>
                  <a:cubicBezTo>
                    <a:pt x="335" y="311"/>
                    <a:pt x="330" y="316"/>
                    <a:pt x="323" y="316"/>
                  </a:cubicBezTo>
                  <a:cubicBezTo>
                    <a:pt x="297" y="316"/>
                    <a:pt x="297" y="316"/>
                    <a:pt x="297" y="316"/>
                  </a:cubicBezTo>
                  <a:cubicBezTo>
                    <a:pt x="291" y="316"/>
                    <a:pt x="286" y="311"/>
                    <a:pt x="286" y="305"/>
                  </a:cubicBezTo>
                  <a:lnTo>
                    <a:pt x="286" y="292"/>
                  </a:lnTo>
                  <a:close/>
                  <a:moveTo>
                    <a:pt x="218" y="292"/>
                  </a:moveTo>
                  <a:cubicBezTo>
                    <a:pt x="218" y="285"/>
                    <a:pt x="224" y="280"/>
                    <a:pt x="230" y="280"/>
                  </a:cubicBezTo>
                  <a:cubicBezTo>
                    <a:pt x="256" y="280"/>
                    <a:pt x="256" y="280"/>
                    <a:pt x="256" y="280"/>
                  </a:cubicBezTo>
                  <a:cubicBezTo>
                    <a:pt x="262" y="280"/>
                    <a:pt x="268" y="285"/>
                    <a:pt x="268" y="292"/>
                  </a:cubicBezTo>
                  <a:cubicBezTo>
                    <a:pt x="268" y="305"/>
                    <a:pt x="268" y="305"/>
                    <a:pt x="268" y="305"/>
                  </a:cubicBezTo>
                  <a:cubicBezTo>
                    <a:pt x="268" y="311"/>
                    <a:pt x="262" y="316"/>
                    <a:pt x="256" y="316"/>
                  </a:cubicBezTo>
                  <a:cubicBezTo>
                    <a:pt x="230" y="316"/>
                    <a:pt x="230" y="316"/>
                    <a:pt x="230" y="316"/>
                  </a:cubicBezTo>
                  <a:cubicBezTo>
                    <a:pt x="224" y="316"/>
                    <a:pt x="218" y="311"/>
                    <a:pt x="218" y="305"/>
                  </a:cubicBezTo>
                  <a:lnTo>
                    <a:pt x="218" y="292"/>
                  </a:lnTo>
                  <a:close/>
                  <a:moveTo>
                    <a:pt x="151" y="292"/>
                  </a:moveTo>
                  <a:cubicBezTo>
                    <a:pt x="151" y="285"/>
                    <a:pt x="156" y="280"/>
                    <a:pt x="163" y="280"/>
                  </a:cubicBezTo>
                  <a:cubicBezTo>
                    <a:pt x="189" y="280"/>
                    <a:pt x="189" y="280"/>
                    <a:pt x="189" y="280"/>
                  </a:cubicBezTo>
                  <a:cubicBezTo>
                    <a:pt x="195" y="280"/>
                    <a:pt x="200" y="285"/>
                    <a:pt x="200" y="292"/>
                  </a:cubicBezTo>
                  <a:cubicBezTo>
                    <a:pt x="200" y="305"/>
                    <a:pt x="200" y="305"/>
                    <a:pt x="200" y="305"/>
                  </a:cubicBezTo>
                  <a:cubicBezTo>
                    <a:pt x="200" y="311"/>
                    <a:pt x="195" y="316"/>
                    <a:pt x="189" y="316"/>
                  </a:cubicBezTo>
                  <a:cubicBezTo>
                    <a:pt x="163" y="316"/>
                    <a:pt x="163" y="316"/>
                    <a:pt x="163" y="316"/>
                  </a:cubicBezTo>
                  <a:cubicBezTo>
                    <a:pt x="156" y="316"/>
                    <a:pt x="151" y="311"/>
                    <a:pt x="151" y="305"/>
                  </a:cubicBezTo>
                  <a:lnTo>
                    <a:pt x="151" y="292"/>
                  </a:lnTo>
                  <a:close/>
                  <a:moveTo>
                    <a:pt x="84" y="292"/>
                  </a:moveTo>
                  <a:cubicBezTo>
                    <a:pt x="84" y="285"/>
                    <a:pt x="89" y="280"/>
                    <a:pt x="95" y="280"/>
                  </a:cubicBezTo>
                  <a:cubicBezTo>
                    <a:pt x="121" y="280"/>
                    <a:pt x="121" y="280"/>
                    <a:pt x="121" y="280"/>
                  </a:cubicBezTo>
                  <a:cubicBezTo>
                    <a:pt x="128" y="280"/>
                    <a:pt x="133" y="285"/>
                    <a:pt x="133" y="292"/>
                  </a:cubicBezTo>
                  <a:cubicBezTo>
                    <a:pt x="133" y="305"/>
                    <a:pt x="133" y="305"/>
                    <a:pt x="133" y="305"/>
                  </a:cubicBezTo>
                  <a:cubicBezTo>
                    <a:pt x="133" y="311"/>
                    <a:pt x="128" y="316"/>
                    <a:pt x="121" y="316"/>
                  </a:cubicBezTo>
                  <a:cubicBezTo>
                    <a:pt x="95" y="316"/>
                    <a:pt x="95" y="316"/>
                    <a:pt x="95" y="316"/>
                  </a:cubicBezTo>
                  <a:cubicBezTo>
                    <a:pt x="89" y="316"/>
                    <a:pt x="84" y="311"/>
                    <a:pt x="84" y="305"/>
                  </a:cubicBezTo>
                  <a:lnTo>
                    <a:pt x="84" y="292"/>
                  </a:lnTo>
                  <a:close/>
                  <a:moveTo>
                    <a:pt x="17" y="292"/>
                  </a:moveTo>
                  <a:cubicBezTo>
                    <a:pt x="17" y="285"/>
                    <a:pt x="22" y="280"/>
                    <a:pt x="28" y="280"/>
                  </a:cubicBezTo>
                  <a:cubicBezTo>
                    <a:pt x="54" y="280"/>
                    <a:pt x="54" y="280"/>
                    <a:pt x="54" y="280"/>
                  </a:cubicBezTo>
                  <a:cubicBezTo>
                    <a:pt x="61" y="280"/>
                    <a:pt x="66" y="285"/>
                    <a:pt x="66" y="292"/>
                  </a:cubicBezTo>
                  <a:cubicBezTo>
                    <a:pt x="66" y="305"/>
                    <a:pt x="66" y="305"/>
                    <a:pt x="66" y="305"/>
                  </a:cubicBezTo>
                  <a:cubicBezTo>
                    <a:pt x="66" y="311"/>
                    <a:pt x="61" y="316"/>
                    <a:pt x="54" y="316"/>
                  </a:cubicBezTo>
                  <a:cubicBezTo>
                    <a:pt x="28" y="316"/>
                    <a:pt x="28" y="316"/>
                    <a:pt x="28" y="316"/>
                  </a:cubicBezTo>
                  <a:cubicBezTo>
                    <a:pt x="22" y="316"/>
                    <a:pt x="17" y="311"/>
                    <a:pt x="17" y="305"/>
                  </a:cubicBezTo>
                  <a:lnTo>
                    <a:pt x="17"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sp>
          <p:nvSpPr>
            <p:cNvPr id="16" name="Freeform 3"/>
            <p:cNvSpPr>
              <a:spLocks noChangeAspect="1" noEditPoints="1"/>
            </p:cNvSpPr>
            <p:nvPr/>
          </p:nvSpPr>
          <p:spPr bwMode="auto">
            <a:xfrm>
              <a:off x="1250592" y="5365091"/>
              <a:ext cx="1706563" cy="1566862"/>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2147483647 h 418"/>
                <a:gd name="T12" fmla="*/ 2147483647 w 455"/>
                <a:gd name="T13" fmla="*/ 2147483647 h 418"/>
                <a:gd name="T14" fmla="*/ 2147483647 w 455"/>
                <a:gd name="T15" fmla="*/ 2147483647 h 418"/>
                <a:gd name="T16" fmla="*/ 2147483647 w 455"/>
                <a:gd name="T17" fmla="*/ 2147483647 h 418"/>
                <a:gd name="T18" fmla="*/ 2147483647 w 455"/>
                <a:gd name="T19" fmla="*/ 2147483647 h 418"/>
                <a:gd name="T20" fmla="*/ 2147483647 w 455"/>
                <a:gd name="T21" fmla="*/ 2147483647 h 418"/>
                <a:gd name="T22" fmla="*/ 2147483647 w 455"/>
                <a:gd name="T23" fmla="*/ 2147483647 h 418"/>
                <a:gd name="T24" fmla="*/ 2147483647 w 455"/>
                <a:gd name="T25" fmla="*/ 0 h 418"/>
                <a:gd name="T26" fmla="*/ 0 w 455"/>
                <a:gd name="T27" fmla="*/ 2147483647 h 418"/>
                <a:gd name="T28" fmla="*/ 2147483647 w 455"/>
                <a:gd name="T29" fmla="*/ 2147483647 h 418"/>
                <a:gd name="T30" fmla="*/ 2147483647 w 455"/>
                <a:gd name="T31" fmla="*/ 2147483647 h 418"/>
                <a:gd name="T32" fmla="*/ 2147483647 w 455"/>
                <a:gd name="T33" fmla="*/ 2147483647 h 418"/>
                <a:gd name="T34" fmla="*/ 2147483647 w 455"/>
                <a:gd name="T35" fmla="*/ 2147483647 h 418"/>
                <a:gd name="T36" fmla="*/ 2147483647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21474836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2147483647 w 455"/>
                <a:gd name="T65" fmla="*/ 2147483647 h 418"/>
                <a:gd name="T66" fmla="*/ 2147483647 w 455"/>
                <a:gd name="T67" fmla="*/ 2147483647 h 418"/>
                <a:gd name="T68" fmla="*/ 2147483647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2147483647 h 418"/>
                <a:gd name="T88" fmla="*/ 2147483647 w 455"/>
                <a:gd name="T89" fmla="*/ 2147483647 h 418"/>
                <a:gd name="T90" fmla="*/ 2147483647 w 455"/>
                <a:gd name="T91" fmla="*/ 2147483647 h 418"/>
                <a:gd name="T92" fmla="*/ 2147483647 w 455"/>
                <a:gd name="T93" fmla="*/ 2147483647 h 418"/>
                <a:gd name="T94" fmla="*/ 2147483647 w 455"/>
                <a:gd name="T95" fmla="*/ 2147483647 h 418"/>
                <a:gd name="T96" fmla="*/ 2147483647 w 455"/>
                <a:gd name="T97" fmla="*/ 2147483647 h 418"/>
                <a:gd name="T98" fmla="*/ 2147483647 w 455"/>
                <a:gd name="T99" fmla="*/ 2147483647 h 418"/>
                <a:gd name="T100" fmla="*/ 2147483647 w 455"/>
                <a:gd name="T101" fmla="*/ 2147483647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grpSp>
      <p:cxnSp>
        <p:nvCxnSpPr>
          <p:cNvPr id="18" name="Straight Connector 19"/>
          <p:cNvCxnSpPr>
            <a:cxnSpLocks noChangeShapeType="1"/>
          </p:cNvCxnSpPr>
          <p:nvPr>
            <p:custDataLst>
              <p:tags r:id="rId7"/>
            </p:custDataLst>
          </p:nvPr>
        </p:nvCxnSpPr>
        <p:spPr bwMode="auto">
          <a:xfrm flipV="1">
            <a:off x="1536700" y="3662363"/>
            <a:ext cx="889000" cy="168433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9" name="Straight Connector 37"/>
          <p:cNvCxnSpPr>
            <a:cxnSpLocks noChangeShapeType="1"/>
          </p:cNvCxnSpPr>
          <p:nvPr>
            <p:custDataLst>
              <p:tags r:id="rId8"/>
            </p:custDataLst>
          </p:nvPr>
        </p:nvCxnSpPr>
        <p:spPr bwMode="auto">
          <a:xfrm flipV="1">
            <a:off x="1525588" y="3582988"/>
            <a:ext cx="857250" cy="10207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0" name="Straight Connector 39"/>
          <p:cNvCxnSpPr>
            <a:cxnSpLocks noChangeShapeType="1"/>
          </p:cNvCxnSpPr>
          <p:nvPr>
            <p:custDataLst>
              <p:tags r:id="rId9"/>
            </p:custDataLst>
          </p:nvPr>
        </p:nvCxnSpPr>
        <p:spPr bwMode="auto">
          <a:xfrm flipV="1">
            <a:off x="1536700" y="3509963"/>
            <a:ext cx="820738" cy="593725"/>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1" name="Straight Connector 41"/>
          <p:cNvCxnSpPr>
            <a:cxnSpLocks noChangeShapeType="1"/>
          </p:cNvCxnSpPr>
          <p:nvPr>
            <p:custDataLst>
              <p:tags r:id="rId10"/>
            </p:custDataLst>
          </p:nvPr>
        </p:nvCxnSpPr>
        <p:spPr bwMode="auto">
          <a:xfrm>
            <a:off x="1590675" y="3382963"/>
            <a:ext cx="777875" cy="301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2" name="Straight Connector 44"/>
          <p:cNvCxnSpPr>
            <a:cxnSpLocks noChangeShapeType="1"/>
          </p:cNvCxnSpPr>
          <p:nvPr>
            <p:custDataLst>
              <p:tags r:id="rId11"/>
            </p:custDataLst>
          </p:nvPr>
        </p:nvCxnSpPr>
        <p:spPr bwMode="auto">
          <a:xfrm>
            <a:off x="1563688" y="2546350"/>
            <a:ext cx="841375" cy="79533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3" name="Straight Connector 47"/>
          <p:cNvCxnSpPr>
            <a:cxnSpLocks noChangeShapeType="1"/>
          </p:cNvCxnSpPr>
          <p:nvPr>
            <p:custDataLst>
              <p:tags r:id="rId12"/>
            </p:custDataLst>
          </p:nvPr>
        </p:nvCxnSpPr>
        <p:spPr bwMode="auto">
          <a:xfrm>
            <a:off x="1536700" y="1617663"/>
            <a:ext cx="946150" cy="16557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5" name="Straight Connector 51"/>
          <p:cNvCxnSpPr>
            <a:cxnSpLocks noChangeShapeType="1"/>
          </p:cNvCxnSpPr>
          <p:nvPr>
            <p:custDataLst>
              <p:tags r:id="rId13"/>
            </p:custDataLst>
          </p:nvPr>
        </p:nvCxnSpPr>
        <p:spPr bwMode="auto">
          <a:xfrm flipH="1" flipV="1">
            <a:off x="10075863" y="3640138"/>
            <a:ext cx="628650" cy="16938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6" name="Straight Connector 52"/>
          <p:cNvCxnSpPr>
            <a:cxnSpLocks noChangeShapeType="1"/>
          </p:cNvCxnSpPr>
          <p:nvPr>
            <p:custDataLst>
              <p:tags r:id="rId14"/>
            </p:custDataLst>
          </p:nvPr>
        </p:nvCxnSpPr>
        <p:spPr bwMode="auto">
          <a:xfrm flipH="1" flipV="1">
            <a:off x="10075863" y="3538538"/>
            <a:ext cx="693737" cy="9715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7" name="Straight Connector 53"/>
          <p:cNvCxnSpPr>
            <a:cxnSpLocks noChangeShapeType="1"/>
          </p:cNvCxnSpPr>
          <p:nvPr>
            <p:custDataLst>
              <p:tags r:id="rId15"/>
            </p:custDataLst>
          </p:nvPr>
        </p:nvCxnSpPr>
        <p:spPr bwMode="auto">
          <a:xfrm flipH="1" flipV="1">
            <a:off x="10112375" y="3471863"/>
            <a:ext cx="657225" cy="3190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8" name="Straight Connector 54"/>
          <p:cNvCxnSpPr>
            <a:cxnSpLocks noChangeShapeType="1"/>
          </p:cNvCxnSpPr>
          <p:nvPr>
            <p:custDataLst>
              <p:tags r:id="rId16"/>
            </p:custDataLst>
          </p:nvPr>
        </p:nvCxnSpPr>
        <p:spPr bwMode="auto">
          <a:xfrm flipH="1">
            <a:off x="10112375" y="3168650"/>
            <a:ext cx="657225" cy="214313"/>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9" name="Straight Connector 55"/>
          <p:cNvCxnSpPr>
            <a:cxnSpLocks noChangeShapeType="1"/>
          </p:cNvCxnSpPr>
          <p:nvPr>
            <p:custDataLst>
              <p:tags r:id="rId17"/>
            </p:custDataLst>
          </p:nvPr>
        </p:nvCxnSpPr>
        <p:spPr bwMode="auto">
          <a:xfrm flipH="1">
            <a:off x="10093325" y="2700338"/>
            <a:ext cx="676275" cy="6111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0" name="Straight Connector 56"/>
          <p:cNvCxnSpPr>
            <a:cxnSpLocks noChangeShapeType="1"/>
          </p:cNvCxnSpPr>
          <p:nvPr>
            <p:custDataLst>
              <p:tags r:id="rId18"/>
            </p:custDataLst>
          </p:nvPr>
        </p:nvCxnSpPr>
        <p:spPr bwMode="auto">
          <a:xfrm flipH="1">
            <a:off x="10058400" y="1962150"/>
            <a:ext cx="711200" cy="1274763"/>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2" name="Straight Connector 50"/>
          <p:cNvCxnSpPr>
            <a:cxnSpLocks noChangeShapeType="1"/>
          </p:cNvCxnSpPr>
          <p:nvPr>
            <p:custDataLst>
              <p:tags r:id="rId19"/>
            </p:custDataLst>
          </p:nvPr>
        </p:nvCxnSpPr>
        <p:spPr bwMode="auto">
          <a:xfrm>
            <a:off x="2908300" y="5948363"/>
            <a:ext cx="6659563"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4" name="Straight Connector 59"/>
          <p:cNvCxnSpPr>
            <a:cxnSpLocks noChangeShapeType="1"/>
          </p:cNvCxnSpPr>
          <p:nvPr>
            <p:custDataLst>
              <p:tags r:id="rId20"/>
            </p:custDataLst>
          </p:nvPr>
        </p:nvCxnSpPr>
        <p:spPr bwMode="auto">
          <a:xfrm>
            <a:off x="2551113" y="3298825"/>
            <a:ext cx="7415212"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5" name="Straight Connector 60"/>
          <p:cNvCxnSpPr>
            <a:cxnSpLocks noChangeShapeType="1"/>
          </p:cNvCxnSpPr>
          <p:nvPr>
            <p:custDataLst>
              <p:tags r:id="rId21"/>
            </p:custDataLst>
          </p:nvPr>
        </p:nvCxnSpPr>
        <p:spPr bwMode="auto">
          <a:xfrm>
            <a:off x="2551113" y="3392488"/>
            <a:ext cx="2794000" cy="4762"/>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6" name="Straight Connector 61"/>
          <p:cNvCxnSpPr>
            <a:cxnSpLocks noChangeShapeType="1"/>
          </p:cNvCxnSpPr>
          <p:nvPr>
            <p:custDataLst>
              <p:tags r:id="rId22"/>
            </p:custDataLst>
          </p:nvPr>
        </p:nvCxnSpPr>
        <p:spPr bwMode="auto">
          <a:xfrm>
            <a:off x="2551113" y="3486150"/>
            <a:ext cx="2794000" cy="952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7" name="Straight Connector 62"/>
          <p:cNvCxnSpPr>
            <a:cxnSpLocks noChangeShapeType="1"/>
          </p:cNvCxnSpPr>
          <p:nvPr>
            <p:custDataLst>
              <p:tags r:id="rId23"/>
            </p:custDataLst>
          </p:nvPr>
        </p:nvCxnSpPr>
        <p:spPr bwMode="auto">
          <a:xfrm>
            <a:off x="2551113" y="3579813"/>
            <a:ext cx="2794000"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15388" name="Freeform 7"/>
          <p:cNvSpPr>
            <a:spLocks noChangeAspect="1"/>
          </p:cNvSpPr>
          <p:nvPr/>
        </p:nvSpPr>
        <p:spPr bwMode="auto">
          <a:xfrm>
            <a:off x="2501900" y="2413000"/>
            <a:ext cx="7421563" cy="755650"/>
          </a:xfrm>
          <a:custGeom>
            <a:avLst/>
            <a:gdLst>
              <a:gd name="T0" fmla="*/ 2147483646 w 2234"/>
              <a:gd name="T1" fmla="*/ 2147483646 h 227"/>
              <a:gd name="T2" fmla="*/ 0 w 2234"/>
              <a:gd name="T3" fmla="*/ 2147483646 h 227"/>
              <a:gd name="T4" fmla="*/ 0 w 2234"/>
              <a:gd name="T5" fmla="*/ 2147483646 h 227"/>
              <a:gd name="T6" fmla="*/ 0 w 2234"/>
              <a:gd name="T7" fmla="*/ 2147483646 h 227"/>
              <a:gd name="T8" fmla="*/ 2147483646 w 2234"/>
              <a:gd name="T9" fmla="*/ 0 h 227"/>
              <a:gd name="T10" fmla="*/ 2147483646 w 2234"/>
              <a:gd name="T11" fmla="*/ 0 h 227"/>
              <a:gd name="T12" fmla="*/ 2147483646 w 2234"/>
              <a:gd name="T13" fmla="*/ 0 h 227"/>
              <a:gd name="T14" fmla="*/ 2147483646 w 2234"/>
              <a:gd name="T15" fmla="*/ 2147483646 h 227"/>
              <a:gd name="T16" fmla="*/ 2147483646 w 2234"/>
              <a:gd name="T17" fmla="*/ 2147483646 h 227"/>
              <a:gd name="T18" fmla="*/ 2147483646 w 2234"/>
              <a:gd name="T19" fmla="*/ 2147483646 h 227"/>
              <a:gd name="T20" fmla="*/ 2147483646 w 2234"/>
              <a:gd name="T21" fmla="*/ 2147483646 h 227"/>
              <a:gd name="T22" fmla="*/ 2147483646 w 2234"/>
              <a:gd name="T23" fmla="*/ 2147483646 h 227"/>
              <a:gd name="T24" fmla="*/ 2147483646 w 2234"/>
              <a:gd name="T25" fmla="*/ 2147483646 h 227"/>
              <a:gd name="T26" fmla="*/ 2147483646 w 2234"/>
              <a:gd name="T27" fmla="*/ 2147483646 h 227"/>
              <a:gd name="T28" fmla="*/ 2147483646 w 2234"/>
              <a:gd name="T29" fmla="*/ 2147483646 h 227"/>
              <a:gd name="T30" fmla="*/ 2147483646 w 2234"/>
              <a:gd name="T31" fmla="*/ 2147483646 h 227"/>
              <a:gd name="T32" fmla="*/ 2147483646 w 2234"/>
              <a:gd name="T33" fmla="*/ 2147483646 h 227"/>
              <a:gd name="T34" fmla="*/ 2147483646 w 2234"/>
              <a:gd name="T35" fmla="*/ 2147483646 h 227"/>
              <a:gd name="T36" fmla="*/ 2147483646 w 2234"/>
              <a:gd name="T37" fmla="*/ 2147483646 h 227"/>
              <a:gd name="T38" fmla="*/ 2147483646 w 2234"/>
              <a:gd name="T39" fmla="*/ 2147483646 h 227"/>
              <a:gd name="T40" fmla="*/ 2147483646 w 2234"/>
              <a:gd name="T41" fmla="*/ 2147483646 h 227"/>
              <a:gd name="T42" fmla="*/ 2147483646 w 2234"/>
              <a:gd name="T43" fmla="*/ 2147483646 h 227"/>
              <a:gd name="T44" fmla="*/ 2147483646 w 2234"/>
              <a:gd name="T45" fmla="*/ 2147483646 h 227"/>
              <a:gd name="T46" fmla="*/ 2147483646 w 2234"/>
              <a:gd name="T47" fmla="*/ 2147483646 h 227"/>
              <a:gd name="T48" fmla="*/ 2147483646 w 2234"/>
              <a:gd name="T49" fmla="*/ 2147483646 h 227"/>
              <a:gd name="T50" fmla="*/ 2147483646 w 2234"/>
              <a:gd name="T51" fmla="*/ 2147483646 h 227"/>
              <a:gd name="T52" fmla="*/ 2147483646 w 2234"/>
              <a:gd name="T53" fmla="*/ 2147483646 h 227"/>
              <a:gd name="T54" fmla="*/ 2147483646 w 2234"/>
              <a:gd name="T55" fmla="*/ 2147483646 h 227"/>
              <a:gd name="T56" fmla="*/ 2147483646 w 2234"/>
              <a:gd name="T57" fmla="*/ 2147483646 h 227"/>
              <a:gd name="T58" fmla="*/ 2147483646 w 2234"/>
              <a:gd name="T59" fmla="*/ 2147483646 h 227"/>
              <a:gd name="T60" fmla="*/ 2147483646 w 2234"/>
              <a:gd name="T61" fmla="*/ 2147483646 h 227"/>
              <a:gd name="T62" fmla="*/ 2147483646 w 2234"/>
              <a:gd name="T63" fmla="*/ 2147483646 h 227"/>
              <a:gd name="T64" fmla="*/ 2147483646 w 2234"/>
              <a:gd name="T65" fmla="*/ 2147483646 h 227"/>
              <a:gd name="T66" fmla="*/ 2147483646 w 2234"/>
              <a:gd name="T67" fmla="*/ 2147483646 h 227"/>
              <a:gd name="T68" fmla="*/ 2147483646 w 2234"/>
              <a:gd name="T69" fmla="*/ 2147483646 h 227"/>
              <a:gd name="T70" fmla="*/ 2147483646 w 2234"/>
              <a:gd name="T71" fmla="*/ 2147483646 h 2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34"/>
              <a:gd name="T109" fmla="*/ 0 h 227"/>
              <a:gd name="T110" fmla="*/ 2234 w 2234"/>
              <a:gd name="T111" fmla="*/ 227 h 2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34"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2203" y="0"/>
                  <a:pt x="2203" y="0"/>
                  <a:pt x="2203" y="0"/>
                </a:cubicBezTo>
                <a:cubicBezTo>
                  <a:pt x="2220" y="0"/>
                  <a:pt x="2234" y="13"/>
                  <a:pt x="2234" y="30"/>
                </a:cubicBezTo>
                <a:cubicBezTo>
                  <a:pt x="2234" y="30"/>
                  <a:pt x="2234" y="30"/>
                  <a:pt x="2234" y="30"/>
                </a:cubicBezTo>
                <a:cubicBezTo>
                  <a:pt x="2234" y="52"/>
                  <a:pt x="2234" y="52"/>
                  <a:pt x="2234" y="52"/>
                </a:cubicBezTo>
                <a:cubicBezTo>
                  <a:pt x="2234" y="57"/>
                  <a:pt x="2230" y="60"/>
                  <a:pt x="2226" y="60"/>
                </a:cubicBezTo>
                <a:cubicBezTo>
                  <a:pt x="2226" y="60"/>
                  <a:pt x="2226" y="60"/>
                  <a:pt x="2226" y="60"/>
                </a:cubicBezTo>
                <a:cubicBezTo>
                  <a:pt x="2221" y="60"/>
                  <a:pt x="2218" y="57"/>
                  <a:pt x="2218" y="52"/>
                </a:cubicBezTo>
                <a:cubicBezTo>
                  <a:pt x="2218" y="52"/>
                  <a:pt x="2218" y="52"/>
                  <a:pt x="2218" y="52"/>
                </a:cubicBezTo>
                <a:cubicBezTo>
                  <a:pt x="2218" y="30"/>
                  <a:pt x="2218" y="30"/>
                  <a:pt x="2218" y="30"/>
                </a:cubicBezTo>
                <a:cubicBezTo>
                  <a:pt x="2218" y="22"/>
                  <a:pt x="2211" y="16"/>
                  <a:pt x="2203" y="16"/>
                </a:cubicBezTo>
                <a:cubicBezTo>
                  <a:pt x="2203" y="16"/>
                  <a:pt x="2203" y="16"/>
                  <a:pt x="2203"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2203" y="211"/>
                  <a:pt x="2203" y="211"/>
                  <a:pt x="2203" y="211"/>
                </a:cubicBezTo>
                <a:cubicBezTo>
                  <a:pt x="2211" y="211"/>
                  <a:pt x="2218" y="204"/>
                  <a:pt x="2218" y="196"/>
                </a:cubicBezTo>
                <a:cubicBezTo>
                  <a:pt x="2218" y="196"/>
                  <a:pt x="2218" y="196"/>
                  <a:pt x="2218" y="196"/>
                </a:cubicBezTo>
                <a:cubicBezTo>
                  <a:pt x="2218" y="82"/>
                  <a:pt x="2218" y="82"/>
                  <a:pt x="2218" y="82"/>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196"/>
                  <a:pt x="2234" y="196"/>
                  <a:pt x="2234" y="196"/>
                </a:cubicBezTo>
                <a:cubicBezTo>
                  <a:pt x="2234" y="213"/>
                  <a:pt x="2220" y="227"/>
                  <a:pt x="2203" y="227"/>
                </a:cubicBezTo>
                <a:cubicBezTo>
                  <a:pt x="2203" y="227"/>
                  <a:pt x="2203" y="227"/>
                  <a:pt x="2203" y="227"/>
                </a:cubicBezTo>
                <a:cubicBezTo>
                  <a:pt x="31" y="227"/>
                  <a:pt x="31" y="227"/>
                  <a:pt x="31"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Management &amp; Orchestration, Analytics &amp; Exposure</a:t>
            </a:r>
          </a:p>
        </p:txBody>
      </p:sp>
      <p:grpSp>
        <p:nvGrpSpPr>
          <p:cNvPr id="15389" name="Group 26686"/>
          <p:cNvGrpSpPr>
            <a:grpSpLocks/>
          </p:cNvGrpSpPr>
          <p:nvPr/>
        </p:nvGrpSpPr>
        <p:grpSpPr bwMode="auto">
          <a:xfrm>
            <a:off x="4427538" y="3802063"/>
            <a:ext cx="1809750" cy="1512887"/>
            <a:chOff x="2524449" y="3827893"/>
            <a:chExt cx="1810186" cy="1511778"/>
          </a:xfrm>
        </p:grpSpPr>
        <p:grpSp>
          <p:nvGrpSpPr>
            <p:cNvPr id="15434" name="Group 38"/>
            <p:cNvGrpSpPr>
              <a:grpSpLocks noChangeAspect="1"/>
            </p:cNvGrpSpPr>
            <p:nvPr/>
          </p:nvGrpSpPr>
          <p:grpSpPr bwMode="auto">
            <a:xfrm>
              <a:off x="2763172" y="4168691"/>
              <a:ext cx="1356897" cy="956731"/>
              <a:chOff x="6578600" y="5335588"/>
              <a:chExt cx="1895475" cy="1336675"/>
            </a:xfrm>
          </p:grpSpPr>
          <p:sp>
            <p:nvSpPr>
              <p:cNvPr id="15436" name="Freeform 56"/>
              <p:cNvSpPr>
                <a:spLocks noChangeAspect="1" noEditPoints="1"/>
              </p:cNvSpPr>
              <p:nvPr/>
            </p:nvSpPr>
            <p:spPr bwMode="auto">
              <a:xfrm>
                <a:off x="8013455" y="5929955"/>
                <a:ext cx="461263"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37" name="Freeform 61"/>
              <p:cNvSpPr>
                <a:spLocks noChangeAspect="1" noEditPoints="1"/>
              </p:cNvSpPr>
              <p:nvPr/>
            </p:nvSpPr>
            <p:spPr bwMode="auto">
              <a:xfrm>
                <a:off x="7297168" y="5929955"/>
                <a:ext cx="459044"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38" name="Freeform 61"/>
              <p:cNvSpPr>
                <a:spLocks noChangeAspect="1" noEditPoints="1"/>
              </p:cNvSpPr>
              <p:nvPr/>
            </p:nvSpPr>
            <p:spPr bwMode="auto">
              <a:xfrm>
                <a:off x="6578663" y="5929955"/>
                <a:ext cx="459044"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39" name="Freeform 18"/>
              <p:cNvSpPr>
                <a:spLocks noChangeAspect="1"/>
              </p:cNvSpPr>
              <p:nvPr/>
            </p:nvSpPr>
            <p:spPr bwMode="auto">
              <a:xfrm>
                <a:off x="6693979" y="5335547"/>
                <a:ext cx="771728" cy="470203"/>
              </a:xfrm>
              <a:custGeom>
                <a:avLst/>
                <a:gdLst>
                  <a:gd name="T0" fmla="*/ 2147483646 w 733"/>
                  <a:gd name="T1" fmla="*/ 2147483646 h 447"/>
                  <a:gd name="T2" fmla="*/ 0 w 733"/>
                  <a:gd name="T3" fmla="*/ 2147483646 h 447"/>
                  <a:gd name="T4" fmla="*/ 0 w 733"/>
                  <a:gd name="T5" fmla="*/ 2147483646 h 447"/>
                  <a:gd name="T6" fmla="*/ 0 w 733"/>
                  <a:gd name="T7" fmla="*/ 2147483646 h 447"/>
                  <a:gd name="T8" fmla="*/ 2147483646 w 733"/>
                  <a:gd name="T9" fmla="*/ 0 h 447"/>
                  <a:gd name="T10" fmla="*/ 2147483646 w 733"/>
                  <a:gd name="T11" fmla="*/ 0 h 447"/>
                  <a:gd name="T12" fmla="*/ 2147483646 w 733"/>
                  <a:gd name="T13" fmla="*/ 0 h 447"/>
                  <a:gd name="T14" fmla="*/ 2147483646 w 733"/>
                  <a:gd name="T15" fmla="*/ 2147483646 h 447"/>
                  <a:gd name="T16" fmla="*/ 2147483646 w 733"/>
                  <a:gd name="T17" fmla="*/ 2147483646 h 447"/>
                  <a:gd name="T18" fmla="*/ 2147483646 w 733"/>
                  <a:gd name="T19" fmla="*/ 2147483646 h 447"/>
                  <a:gd name="T20" fmla="*/ 2147483646 w 733"/>
                  <a:gd name="T21" fmla="*/ 2147483646 h 447"/>
                  <a:gd name="T22" fmla="*/ 2147483646 w 733"/>
                  <a:gd name="T23" fmla="*/ 2147483646 h 447"/>
                  <a:gd name="T24" fmla="*/ 2147483646 w 733"/>
                  <a:gd name="T25" fmla="*/ 2147483646 h 447"/>
                  <a:gd name="T26" fmla="*/ 2147483646 w 733"/>
                  <a:gd name="T27" fmla="*/ 2147483646 h 447"/>
                  <a:gd name="T28" fmla="*/ 2147483646 w 733"/>
                  <a:gd name="T29" fmla="*/ 2147483646 h 447"/>
                  <a:gd name="T30" fmla="*/ 2147483646 w 733"/>
                  <a:gd name="T31" fmla="*/ 2147483646 h 447"/>
                  <a:gd name="T32" fmla="*/ 2147483646 w 733"/>
                  <a:gd name="T33" fmla="*/ 2147483646 h 447"/>
                  <a:gd name="T34" fmla="*/ 2147483646 w 733"/>
                  <a:gd name="T35" fmla="*/ 2147483646 h 447"/>
                  <a:gd name="T36" fmla="*/ 2147483646 w 733"/>
                  <a:gd name="T37" fmla="*/ 2147483646 h 447"/>
                  <a:gd name="T38" fmla="*/ 2147483646 w 733"/>
                  <a:gd name="T39" fmla="*/ 2147483646 h 447"/>
                  <a:gd name="T40" fmla="*/ 2147483646 w 733"/>
                  <a:gd name="T41" fmla="*/ 2147483646 h 447"/>
                  <a:gd name="T42" fmla="*/ 2147483646 w 733"/>
                  <a:gd name="T43" fmla="*/ 2147483646 h 447"/>
                  <a:gd name="T44" fmla="*/ 2147483646 w 733"/>
                  <a:gd name="T45" fmla="*/ 2147483646 h 447"/>
                  <a:gd name="T46" fmla="*/ 2147483646 w 733"/>
                  <a:gd name="T47" fmla="*/ 2147483646 h 447"/>
                  <a:gd name="T48" fmla="*/ 2147483646 w 733"/>
                  <a:gd name="T49" fmla="*/ 2147483646 h 447"/>
                  <a:gd name="T50" fmla="*/ 2147483646 w 733"/>
                  <a:gd name="T51" fmla="*/ 2147483646 h 447"/>
                  <a:gd name="T52" fmla="*/ 2147483646 w 733"/>
                  <a:gd name="T53" fmla="*/ 2147483646 h 447"/>
                  <a:gd name="T54" fmla="*/ 2147483646 w 733"/>
                  <a:gd name="T55" fmla="*/ 2147483646 h 447"/>
                  <a:gd name="T56" fmla="*/ 2147483646 w 733"/>
                  <a:gd name="T57" fmla="*/ 2147483646 h 447"/>
                  <a:gd name="T58" fmla="*/ 2147483646 w 733"/>
                  <a:gd name="T59" fmla="*/ 2147483646 h 447"/>
                  <a:gd name="T60" fmla="*/ 2147483646 w 733"/>
                  <a:gd name="T61" fmla="*/ 2147483646 h 447"/>
                  <a:gd name="T62" fmla="*/ 2147483646 w 733"/>
                  <a:gd name="T63" fmla="*/ 2147483646 h 447"/>
                  <a:gd name="T64" fmla="*/ 2147483646 w 733"/>
                  <a:gd name="T65" fmla="*/ 2147483646 h 447"/>
                  <a:gd name="T66" fmla="*/ 2147483646 w 733"/>
                  <a:gd name="T67" fmla="*/ 2147483646 h 447"/>
                  <a:gd name="T68" fmla="*/ 2147483646 w 733"/>
                  <a:gd name="T69" fmla="*/ 2147483646 h 447"/>
                  <a:gd name="T70" fmla="*/ 2147483646 w 733"/>
                  <a:gd name="T71" fmla="*/ 2147483646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3"/>
                  <a:gd name="T109" fmla="*/ 0 h 447"/>
                  <a:gd name="T110" fmla="*/ 733 w 733"/>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3" h="447">
                    <a:moveTo>
                      <a:pt x="31" y="447"/>
                    </a:moveTo>
                    <a:cubicBezTo>
                      <a:pt x="14" y="447"/>
                      <a:pt x="0" y="433"/>
                      <a:pt x="0" y="416"/>
                    </a:cubicBezTo>
                    <a:cubicBezTo>
                      <a:pt x="0" y="416"/>
                      <a:pt x="0" y="416"/>
                      <a:pt x="0" y="41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2" y="16"/>
                      <a:pt x="16" y="22"/>
                      <a:pt x="16" y="30"/>
                    </a:cubicBezTo>
                    <a:cubicBezTo>
                      <a:pt x="16" y="30"/>
                      <a:pt x="16" y="30"/>
                      <a:pt x="16" y="30"/>
                    </a:cubicBezTo>
                    <a:cubicBezTo>
                      <a:pt x="16" y="416"/>
                      <a:pt x="16" y="416"/>
                      <a:pt x="16" y="416"/>
                    </a:cubicBezTo>
                    <a:cubicBezTo>
                      <a:pt x="16" y="424"/>
                      <a:pt x="22" y="431"/>
                      <a:pt x="31" y="431"/>
                    </a:cubicBezTo>
                    <a:cubicBezTo>
                      <a:pt x="31" y="431"/>
                      <a:pt x="31" y="431"/>
                      <a:pt x="31" y="431"/>
                    </a:cubicBezTo>
                    <a:cubicBezTo>
                      <a:pt x="702" y="431"/>
                      <a:pt x="702" y="431"/>
                      <a:pt x="702" y="431"/>
                    </a:cubicBezTo>
                    <a:cubicBezTo>
                      <a:pt x="710" y="431"/>
                      <a:pt x="717" y="424"/>
                      <a:pt x="717" y="416"/>
                    </a:cubicBezTo>
                    <a:cubicBezTo>
                      <a:pt x="717" y="416"/>
                      <a:pt x="717" y="416"/>
                      <a:pt x="717" y="416"/>
                    </a:cubicBezTo>
                    <a:cubicBezTo>
                      <a:pt x="717" y="82"/>
                      <a:pt x="717" y="82"/>
                      <a:pt x="717" y="82"/>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416"/>
                      <a:pt x="733" y="416"/>
                      <a:pt x="733" y="416"/>
                    </a:cubicBezTo>
                    <a:cubicBezTo>
                      <a:pt x="733" y="433"/>
                      <a:pt x="719" y="447"/>
                      <a:pt x="702" y="447"/>
                    </a:cubicBezTo>
                    <a:cubicBezTo>
                      <a:pt x="702" y="447"/>
                      <a:pt x="702" y="447"/>
                      <a:pt x="702" y="447"/>
                    </a:cubicBezTo>
                    <a:cubicBezTo>
                      <a:pt x="31" y="447"/>
                      <a:pt x="31" y="447"/>
                      <a:pt x="31" y="447"/>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46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FI" sz="1100" b="0" i="0" u="none" strike="noStrike" kern="0" cap="none" spc="0" normalizeH="0" baseline="0" noProof="0">
                    <a:ln>
                      <a:noFill/>
                    </a:ln>
                    <a:solidFill>
                      <a:srgbClr val="FFFFFF"/>
                    </a:solidFill>
                    <a:effectLst/>
                    <a:uLnTx/>
                    <a:uFillTx/>
                    <a:latin typeface="+mn-lt"/>
                    <a:ea typeface="MS PGothic" panose="020B0600070205080204" pitchFamily="34" charset="-128"/>
                  </a:rPr>
                  <a:t>VNF</a:t>
                </a:r>
              </a:p>
            </p:txBody>
          </p:sp>
          <p:sp>
            <p:nvSpPr>
              <p:cNvPr id="15440" name="Freeform 18"/>
              <p:cNvSpPr>
                <a:spLocks noChangeAspect="1"/>
              </p:cNvSpPr>
              <p:nvPr/>
            </p:nvSpPr>
            <p:spPr bwMode="auto">
              <a:xfrm>
                <a:off x="7587674" y="5335547"/>
                <a:ext cx="769511" cy="470203"/>
              </a:xfrm>
              <a:custGeom>
                <a:avLst/>
                <a:gdLst>
                  <a:gd name="T0" fmla="*/ 2147483646 w 733"/>
                  <a:gd name="T1" fmla="*/ 2147483646 h 447"/>
                  <a:gd name="T2" fmla="*/ 0 w 733"/>
                  <a:gd name="T3" fmla="*/ 2147483646 h 447"/>
                  <a:gd name="T4" fmla="*/ 0 w 733"/>
                  <a:gd name="T5" fmla="*/ 2147483646 h 447"/>
                  <a:gd name="T6" fmla="*/ 0 w 733"/>
                  <a:gd name="T7" fmla="*/ 2147483646 h 447"/>
                  <a:gd name="T8" fmla="*/ 2147483646 w 733"/>
                  <a:gd name="T9" fmla="*/ 0 h 447"/>
                  <a:gd name="T10" fmla="*/ 2147483646 w 733"/>
                  <a:gd name="T11" fmla="*/ 0 h 447"/>
                  <a:gd name="T12" fmla="*/ 2147483646 w 733"/>
                  <a:gd name="T13" fmla="*/ 0 h 447"/>
                  <a:gd name="T14" fmla="*/ 2147483646 w 733"/>
                  <a:gd name="T15" fmla="*/ 2147483646 h 447"/>
                  <a:gd name="T16" fmla="*/ 2147483646 w 733"/>
                  <a:gd name="T17" fmla="*/ 2147483646 h 447"/>
                  <a:gd name="T18" fmla="*/ 2147483646 w 733"/>
                  <a:gd name="T19" fmla="*/ 2147483646 h 447"/>
                  <a:gd name="T20" fmla="*/ 2147483646 w 733"/>
                  <a:gd name="T21" fmla="*/ 2147483646 h 447"/>
                  <a:gd name="T22" fmla="*/ 2147483646 w 733"/>
                  <a:gd name="T23" fmla="*/ 2147483646 h 447"/>
                  <a:gd name="T24" fmla="*/ 2147483646 w 733"/>
                  <a:gd name="T25" fmla="*/ 2147483646 h 447"/>
                  <a:gd name="T26" fmla="*/ 2147483646 w 733"/>
                  <a:gd name="T27" fmla="*/ 2147483646 h 447"/>
                  <a:gd name="T28" fmla="*/ 2147483646 w 733"/>
                  <a:gd name="T29" fmla="*/ 2147483646 h 447"/>
                  <a:gd name="T30" fmla="*/ 2147483646 w 733"/>
                  <a:gd name="T31" fmla="*/ 2147483646 h 447"/>
                  <a:gd name="T32" fmla="*/ 2147483646 w 733"/>
                  <a:gd name="T33" fmla="*/ 2147483646 h 447"/>
                  <a:gd name="T34" fmla="*/ 2147483646 w 733"/>
                  <a:gd name="T35" fmla="*/ 2147483646 h 447"/>
                  <a:gd name="T36" fmla="*/ 2147483646 w 733"/>
                  <a:gd name="T37" fmla="*/ 2147483646 h 447"/>
                  <a:gd name="T38" fmla="*/ 2147483646 w 733"/>
                  <a:gd name="T39" fmla="*/ 2147483646 h 447"/>
                  <a:gd name="T40" fmla="*/ 2147483646 w 733"/>
                  <a:gd name="T41" fmla="*/ 2147483646 h 447"/>
                  <a:gd name="T42" fmla="*/ 2147483646 w 733"/>
                  <a:gd name="T43" fmla="*/ 2147483646 h 447"/>
                  <a:gd name="T44" fmla="*/ 2147483646 w 733"/>
                  <a:gd name="T45" fmla="*/ 2147483646 h 447"/>
                  <a:gd name="T46" fmla="*/ 2147483646 w 733"/>
                  <a:gd name="T47" fmla="*/ 2147483646 h 447"/>
                  <a:gd name="T48" fmla="*/ 2147483646 w 733"/>
                  <a:gd name="T49" fmla="*/ 2147483646 h 447"/>
                  <a:gd name="T50" fmla="*/ 2147483646 w 733"/>
                  <a:gd name="T51" fmla="*/ 2147483646 h 447"/>
                  <a:gd name="T52" fmla="*/ 2147483646 w 733"/>
                  <a:gd name="T53" fmla="*/ 2147483646 h 447"/>
                  <a:gd name="T54" fmla="*/ 2147483646 w 733"/>
                  <a:gd name="T55" fmla="*/ 2147483646 h 447"/>
                  <a:gd name="T56" fmla="*/ 2147483646 w 733"/>
                  <a:gd name="T57" fmla="*/ 2147483646 h 447"/>
                  <a:gd name="T58" fmla="*/ 2147483646 w 733"/>
                  <a:gd name="T59" fmla="*/ 2147483646 h 447"/>
                  <a:gd name="T60" fmla="*/ 2147483646 w 733"/>
                  <a:gd name="T61" fmla="*/ 2147483646 h 447"/>
                  <a:gd name="T62" fmla="*/ 2147483646 w 733"/>
                  <a:gd name="T63" fmla="*/ 2147483646 h 447"/>
                  <a:gd name="T64" fmla="*/ 2147483646 w 733"/>
                  <a:gd name="T65" fmla="*/ 2147483646 h 447"/>
                  <a:gd name="T66" fmla="*/ 2147483646 w 733"/>
                  <a:gd name="T67" fmla="*/ 2147483646 h 447"/>
                  <a:gd name="T68" fmla="*/ 2147483646 w 733"/>
                  <a:gd name="T69" fmla="*/ 2147483646 h 447"/>
                  <a:gd name="T70" fmla="*/ 2147483646 w 733"/>
                  <a:gd name="T71" fmla="*/ 2147483646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3"/>
                  <a:gd name="T109" fmla="*/ 0 h 447"/>
                  <a:gd name="T110" fmla="*/ 733 w 733"/>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3" h="447">
                    <a:moveTo>
                      <a:pt x="31" y="447"/>
                    </a:moveTo>
                    <a:cubicBezTo>
                      <a:pt x="14" y="447"/>
                      <a:pt x="0" y="433"/>
                      <a:pt x="0" y="416"/>
                    </a:cubicBezTo>
                    <a:cubicBezTo>
                      <a:pt x="0" y="416"/>
                      <a:pt x="0" y="416"/>
                      <a:pt x="0" y="41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2" y="16"/>
                      <a:pt x="16" y="22"/>
                      <a:pt x="16" y="30"/>
                    </a:cubicBezTo>
                    <a:cubicBezTo>
                      <a:pt x="16" y="30"/>
                      <a:pt x="16" y="30"/>
                      <a:pt x="16" y="30"/>
                    </a:cubicBezTo>
                    <a:cubicBezTo>
                      <a:pt x="16" y="416"/>
                      <a:pt x="16" y="416"/>
                      <a:pt x="16" y="416"/>
                    </a:cubicBezTo>
                    <a:cubicBezTo>
                      <a:pt x="16" y="424"/>
                      <a:pt x="22" y="431"/>
                      <a:pt x="31" y="431"/>
                    </a:cubicBezTo>
                    <a:cubicBezTo>
                      <a:pt x="31" y="431"/>
                      <a:pt x="31" y="431"/>
                      <a:pt x="31" y="431"/>
                    </a:cubicBezTo>
                    <a:cubicBezTo>
                      <a:pt x="702" y="431"/>
                      <a:pt x="702" y="431"/>
                      <a:pt x="702" y="431"/>
                    </a:cubicBezTo>
                    <a:cubicBezTo>
                      <a:pt x="710" y="431"/>
                      <a:pt x="717" y="424"/>
                      <a:pt x="717" y="416"/>
                    </a:cubicBezTo>
                    <a:cubicBezTo>
                      <a:pt x="717" y="416"/>
                      <a:pt x="717" y="416"/>
                      <a:pt x="717" y="416"/>
                    </a:cubicBezTo>
                    <a:cubicBezTo>
                      <a:pt x="717" y="82"/>
                      <a:pt x="717" y="82"/>
                      <a:pt x="717" y="82"/>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416"/>
                      <a:pt x="733" y="416"/>
                      <a:pt x="733" y="416"/>
                    </a:cubicBezTo>
                    <a:cubicBezTo>
                      <a:pt x="733" y="433"/>
                      <a:pt x="719" y="447"/>
                      <a:pt x="702" y="447"/>
                    </a:cubicBezTo>
                    <a:cubicBezTo>
                      <a:pt x="702" y="447"/>
                      <a:pt x="702" y="447"/>
                      <a:pt x="702" y="447"/>
                    </a:cubicBezTo>
                    <a:cubicBezTo>
                      <a:pt x="31" y="447"/>
                      <a:pt x="31" y="447"/>
                      <a:pt x="31" y="447"/>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46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FI" sz="1100" b="0" i="0" u="none" strike="noStrike" kern="0" cap="none" spc="0" normalizeH="0" baseline="0" noProof="0">
                    <a:ln>
                      <a:noFill/>
                    </a:ln>
                    <a:solidFill>
                      <a:srgbClr val="FFFFFF"/>
                    </a:solidFill>
                    <a:effectLst/>
                    <a:uLnTx/>
                    <a:uFillTx/>
                    <a:latin typeface="+mn-lt"/>
                    <a:ea typeface="MS PGothic" panose="020B0600070205080204" pitchFamily="34" charset="-128"/>
                  </a:rPr>
                  <a:t>VNF</a:t>
                </a:r>
              </a:p>
            </p:txBody>
          </p:sp>
        </p:grpSp>
        <p:sp>
          <p:nvSpPr>
            <p:cNvPr id="15435" name="Freeform 6"/>
            <p:cNvSpPr>
              <a:spLocks noChangeAspect="1"/>
            </p:cNvSpPr>
            <p:nvPr/>
          </p:nvSpPr>
          <p:spPr bwMode="auto">
            <a:xfrm>
              <a:off x="2524449"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Virtualization</a:t>
              </a:r>
            </a:p>
          </p:txBody>
        </p:sp>
      </p:grpSp>
      <p:grpSp>
        <p:nvGrpSpPr>
          <p:cNvPr id="15390" name="Group 26685"/>
          <p:cNvGrpSpPr>
            <a:grpSpLocks/>
          </p:cNvGrpSpPr>
          <p:nvPr/>
        </p:nvGrpSpPr>
        <p:grpSpPr bwMode="auto">
          <a:xfrm>
            <a:off x="6292850" y="3802063"/>
            <a:ext cx="1809750" cy="1512887"/>
            <a:chOff x="4389944" y="3827893"/>
            <a:chExt cx="1810186" cy="1511778"/>
          </a:xfrm>
        </p:grpSpPr>
        <p:sp>
          <p:nvSpPr>
            <p:cNvPr id="15428" name="Freeform 6"/>
            <p:cNvSpPr>
              <a:spLocks noChangeAspect="1"/>
            </p:cNvSpPr>
            <p:nvPr/>
          </p:nvSpPr>
          <p:spPr bwMode="auto">
            <a:xfrm>
              <a:off x="4389944"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Software Defined Networking (SDN)</a:t>
              </a:r>
            </a:p>
          </p:txBody>
        </p:sp>
        <p:grpSp>
          <p:nvGrpSpPr>
            <p:cNvPr id="15429" name="Group 50"/>
            <p:cNvGrpSpPr>
              <a:grpSpLocks noChangeAspect="1"/>
            </p:cNvGrpSpPr>
            <p:nvPr/>
          </p:nvGrpSpPr>
          <p:grpSpPr bwMode="auto">
            <a:xfrm>
              <a:off x="4548632" y="4440342"/>
              <a:ext cx="1492811" cy="725654"/>
              <a:chOff x="9544050" y="3587750"/>
              <a:chExt cx="2181225" cy="1060450"/>
            </a:xfrm>
          </p:grpSpPr>
          <p:sp>
            <p:nvSpPr>
              <p:cNvPr id="15430" name="Freeform 3"/>
              <p:cNvSpPr>
                <a:spLocks noChangeAspect="1" noEditPoints="1"/>
              </p:cNvSpPr>
              <p:nvPr/>
            </p:nvSpPr>
            <p:spPr bwMode="auto">
              <a:xfrm>
                <a:off x="9543401" y="3960113"/>
                <a:ext cx="1085563" cy="689018"/>
              </a:xfrm>
              <a:custGeom>
                <a:avLst/>
                <a:gdLst>
                  <a:gd name="T0" fmla="*/ 2147483646 w 462"/>
                  <a:gd name="T1" fmla="*/ 2147483646 h 293"/>
                  <a:gd name="T2" fmla="*/ 2147483646 w 462"/>
                  <a:gd name="T3" fmla="*/ 2147483646 h 293"/>
                  <a:gd name="T4" fmla="*/ 2147483646 w 462"/>
                  <a:gd name="T5" fmla="*/ 2147483646 h 293"/>
                  <a:gd name="T6" fmla="*/ 2147483646 w 462"/>
                  <a:gd name="T7" fmla="*/ 2147483646 h 293"/>
                  <a:gd name="T8" fmla="*/ 2147483646 w 462"/>
                  <a:gd name="T9" fmla="*/ 2147483646 h 293"/>
                  <a:gd name="T10" fmla="*/ 2147483646 w 462"/>
                  <a:gd name="T11" fmla="*/ 2147483646 h 293"/>
                  <a:gd name="T12" fmla="*/ 2147483646 w 462"/>
                  <a:gd name="T13" fmla="*/ 2147483646 h 293"/>
                  <a:gd name="T14" fmla="*/ 2147483646 w 462"/>
                  <a:gd name="T15" fmla="*/ 2147483646 h 293"/>
                  <a:gd name="T16" fmla="*/ 2147483646 w 462"/>
                  <a:gd name="T17" fmla="*/ 2147483646 h 293"/>
                  <a:gd name="T18" fmla="*/ 2147483646 w 462"/>
                  <a:gd name="T19" fmla="*/ 2147483646 h 293"/>
                  <a:gd name="T20" fmla="*/ 2147483646 w 462"/>
                  <a:gd name="T21" fmla="*/ 2147483646 h 293"/>
                  <a:gd name="T22" fmla="*/ 2147483646 w 462"/>
                  <a:gd name="T23" fmla="*/ 2147483646 h 293"/>
                  <a:gd name="T24" fmla="*/ 2147483646 w 462"/>
                  <a:gd name="T25" fmla="*/ 2147483646 h 293"/>
                  <a:gd name="T26" fmla="*/ 2147483646 w 462"/>
                  <a:gd name="T27" fmla="*/ 2147483646 h 293"/>
                  <a:gd name="T28" fmla="*/ 2147483646 w 462"/>
                  <a:gd name="T29" fmla="*/ 2147483646 h 293"/>
                  <a:gd name="T30" fmla="*/ 2147483646 w 462"/>
                  <a:gd name="T31" fmla="*/ 2147483646 h 293"/>
                  <a:gd name="T32" fmla="*/ 2147483646 w 462"/>
                  <a:gd name="T33" fmla="*/ 2147483646 h 293"/>
                  <a:gd name="T34" fmla="*/ 2147483646 w 462"/>
                  <a:gd name="T35" fmla="*/ 2147483646 h 293"/>
                  <a:gd name="T36" fmla="*/ 2147483646 w 462"/>
                  <a:gd name="T37" fmla="*/ 2147483646 h 293"/>
                  <a:gd name="T38" fmla="*/ 2147483646 w 462"/>
                  <a:gd name="T39" fmla="*/ 2147483646 h 293"/>
                  <a:gd name="T40" fmla="*/ 2147483646 w 462"/>
                  <a:gd name="T41" fmla="*/ 2147483646 h 293"/>
                  <a:gd name="T42" fmla="*/ 2147483646 w 462"/>
                  <a:gd name="T43" fmla="*/ 2147483646 h 293"/>
                  <a:gd name="T44" fmla="*/ 2147483646 w 462"/>
                  <a:gd name="T45" fmla="*/ 2147483646 h 293"/>
                  <a:gd name="T46" fmla="*/ 2147483646 w 462"/>
                  <a:gd name="T47" fmla="*/ 2147483646 h 293"/>
                  <a:gd name="T48" fmla="*/ 2147483646 w 462"/>
                  <a:gd name="T49" fmla="*/ 2147483646 h 293"/>
                  <a:gd name="T50" fmla="*/ 2147483646 w 462"/>
                  <a:gd name="T51" fmla="*/ 2147483646 h 293"/>
                  <a:gd name="T52" fmla="*/ 2147483646 w 462"/>
                  <a:gd name="T53" fmla="*/ 2147483646 h 293"/>
                  <a:gd name="T54" fmla="*/ 2147483646 w 462"/>
                  <a:gd name="T55" fmla="*/ 2147483646 h 293"/>
                  <a:gd name="T56" fmla="*/ 2147483646 w 462"/>
                  <a:gd name="T57" fmla="*/ 2147483646 h 293"/>
                  <a:gd name="T58" fmla="*/ 2147483646 w 462"/>
                  <a:gd name="T59" fmla="*/ 2147483646 h 293"/>
                  <a:gd name="T60" fmla="*/ 2147483646 w 462"/>
                  <a:gd name="T61" fmla="*/ 2147483646 h 293"/>
                  <a:gd name="T62" fmla="*/ 2147483646 w 462"/>
                  <a:gd name="T63" fmla="*/ 2147483646 h 293"/>
                  <a:gd name="T64" fmla="*/ 2147483646 w 462"/>
                  <a:gd name="T65" fmla="*/ 2147483646 h 293"/>
                  <a:gd name="T66" fmla="*/ 2147483646 w 462"/>
                  <a:gd name="T67" fmla="*/ 2147483646 h 293"/>
                  <a:gd name="T68" fmla="*/ 2147483646 w 462"/>
                  <a:gd name="T69" fmla="*/ 2147483646 h 293"/>
                  <a:gd name="T70" fmla="*/ 2147483646 w 462"/>
                  <a:gd name="T71" fmla="*/ 2147483646 h 293"/>
                  <a:gd name="T72" fmla="*/ 2147483646 w 462"/>
                  <a:gd name="T73" fmla="*/ 2147483646 h 293"/>
                  <a:gd name="T74" fmla="*/ 2147483646 w 462"/>
                  <a:gd name="T75" fmla="*/ 2147483646 h 293"/>
                  <a:gd name="T76" fmla="*/ 2147483646 w 462"/>
                  <a:gd name="T77" fmla="*/ 2147483646 h 293"/>
                  <a:gd name="T78" fmla="*/ 2147483646 w 462"/>
                  <a:gd name="T79" fmla="*/ 2147483646 h 293"/>
                  <a:gd name="T80" fmla="*/ 2147483646 w 462"/>
                  <a:gd name="T81" fmla="*/ 2147483646 h 293"/>
                  <a:gd name="T82" fmla="*/ 2147483646 w 462"/>
                  <a:gd name="T83" fmla="*/ 2147483646 h 293"/>
                  <a:gd name="T84" fmla="*/ 2147483646 w 462"/>
                  <a:gd name="T85" fmla="*/ 2147483646 h 293"/>
                  <a:gd name="T86" fmla="*/ 2147483646 w 462"/>
                  <a:gd name="T87" fmla="*/ 2147483646 h 293"/>
                  <a:gd name="T88" fmla="*/ 2147483646 w 462"/>
                  <a:gd name="T89" fmla="*/ 2147483646 h 293"/>
                  <a:gd name="T90" fmla="*/ 2147483646 w 462"/>
                  <a:gd name="T91" fmla="*/ 2147483646 h 293"/>
                  <a:gd name="T92" fmla="*/ 2147483646 w 462"/>
                  <a:gd name="T93" fmla="*/ 2147483646 h 293"/>
                  <a:gd name="T94" fmla="*/ 2147483646 w 462"/>
                  <a:gd name="T95" fmla="*/ 2147483646 h 293"/>
                  <a:gd name="T96" fmla="*/ 2147483646 w 462"/>
                  <a:gd name="T97" fmla="*/ 2147483646 h 293"/>
                  <a:gd name="T98" fmla="*/ 2147483646 w 462"/>
                  <a:gd name="T99" fmla="*/ 2147483646 h 2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2" h="293">
                    <a:moveTo>
                      <a:pt x="348" y="111"/>
                    </a:moveTo>
                    <a:cubicBezTo>
                      <a:pt x="348" y="96"/>
                      <a:pt x="337" y="85"/>
                      <a:pt x="322" y="85"/>
                    </a:cubicBezTo>
                    <a:cubicBezTo>
                      <a:pt x="313" y="85"/>
                      <a:pt x="304" y="90"/>
                      <a:pt x="300" y="98"/>
                    </a:cubicBezTo>
                    <a:cubicBezTo>
                      <a:pt x="238" y="86"/>
                      <a:pt x="238" y="86"/>
                      <a:pt x="238" y="86"/>
                    </a:cubicBezTo>
                    <a:cubicBezTo>
                      <a:pt x="236" y="73"/>
                      <a:pt x="226" y="63"/>
                      <a:pt x="212" y="63"/>
                    </a:cubicBezTo>
                    <a:cubicBezTo>
                      <a:pt x="198" y="63"/>
                      <a:pt x="186" y="74"/>
                      <a:pt x="186" y="89"/>
                    </a:cubicBezTo>
                    <a:cubicBezTo>
                      <a:pt x="186" y="90"/>
                      <a:pt x="187" y="91"/>
                      <a:pt x="187" y="92"/>
                    </a:cubicBezTo>
                    <a:cubicBezTo>
                      <a:pt x="160" y="105"/>
                      <a:pt x="160" y="105"/>
                      <a:pt x="160" y="105"/>
                    </a:cubicBezTo>
                    <a:cubicBezTo>
                      <a:pt x="155" y="100"/>
                      <a:pt x="148" y="97"/>
                      <a:pt x="141" y="97"/>
                    </a:cubicBezTo>
                    <a:cubicBezTo>
                      <a:pt x="127" y="97"/>
                      <a:pt x="115" y="108"/>
                      <a:pt x="115" y="122"/>
                    </a:cubicBezTo>
                    <a:cubicBezTo>
                      <a:pt x="115" y="134"/>
                      <a:pt x="123" y="144"/>
                      <a:pt x="133" y="147"/>
                    </a:cubicBezTo>
                    <a:cubicBezTo>
                      <a:pt x="133" y="193"/>
                      <a:pt x="133" y="193"/>
                      <a:pt x="133" y="193"/>
                    </a:cubicBezTo>
                    <a:cubicBezTo>
                      <a:pt x="123" y="196"/>
                      <a:pt x="115" y="206"/>
                      <a:pt x="115" y="217"/>
                    </a:cubicBezTo>
                    <a:cubicBezTo>
                      <a:pt x="115" y="232"/>
                      <a:pt x="127" y="243"/>
                      <a:pt x="141" y="243"/>
                    </a:cubicBezTo>
                    <a:cubicBezTo>
                      <a:pt x="151" y="243"/>
                      <a:pt x="159" y="238"/>
                      <a:pt x="163" y="230"/>
                    </a:cubicBezTo>
                    <a:cubicBezTo>
                      <a:pt x="225" y="242"/>
                      <a:pt x="225" y="242"/>
                      <a:pt x="225" y="242"/>
                    </a:cubicBezTo>
                    <a:cubicBezTo>
                      <a:pt x="227" y="255"/>
                      <a:pt x="238" y="265"/>
                      <a:pt x="251" y="265"/>
                    </a:cubicBezTo>
                    <a:cubicBezTo>
                      <a:pt x="265" y="265"/>
                      <a:pt x="277" y="253"/>
                      <a:pt x="277" y="239"/>
                    </a:cubicBezTo>
                    <a:cubicBezTo>
                      <a:pt x="277" y="238"/>
                      <a:pt x="277" y="237"/>
                      <a:pt x="277" y="236"/>
                    </a:cubicBezTo>
                    <a:cubicBezTo>
                      <a:pt x="304" y="224"/>
                      <a:pt x="304" y="224"/>
                      <a:pt x="304" y="224"/>
                    </a:cubicBezTo>
                    <a:cubicBezTo>
                      <a:pt x="308" y="229"/>
                      <a:pt x="315" y="232"/>
                      <a:pt x="322" y="232"/>
                    </a:cubicBezTo>
                    <a:cubicBezTo>
                      <a:pt x="337" y="232"/>
                      <a:pt x="348" y="220"/>
                      <a:pt x="348" y="206"/>
                    </a:cubicBezTo>
                    <a:cubicBezTo>
                      <a:pt x="348" y="195"/>
                      <a:pt x="341" y="185"/>
                      <a:pt x="330" y="181"/>
                    </a:cubicBezTo>
                    <a:cubicBezTo>
                      <a:pt x="330" y="135"/>
                      <a:pt x="330" y="135"/>
                      <a:pt x="330" y="135"/>
                    </a:cubicBezTo>
                    <a:cubicBezTo>
                      <a:pt x="341" y="132"/>
                      <a:pt x="348" y="122"/>
                      <a:pt x="348" y="111"/>
                    </a:cubicBezTo>
                    <a:close/>
                    <a:moveTo>
                      <a:pt x="235" y="101"/>
                    </a:moveTo>
                    <a:cubicBezTo>
                      <a:pt x="297" y="114"/>
                      <a:pt x="297" y="114"/>
                      <a:pt x="297" y="114"/>
                    </a:cubicBezTo>
                    <a:cubicBezTo>
                      <a:pt x="297" y="114"/>
                      <a:pt x="297" y="114"/>
                      <a:pt x="297" y="114"/>
                    </a:cubicBezTo>
                    <a:cubicBezTo>
                      <a:pt x="270" y="127"/>
                      <a:pt x="270" y="127"/>
                      <a:pt x="270" y="127"/>
                    </a:cubicBezTo>
                    <a:cubicBezTo>
                      <a:pt x="265" y="122"/>
                      <a:pt x="258" y="119"/>
                      <a:pt x="251" y="119"/>
                    </a:cubicBezTo>
                    <a:cubicBezTo>
                      <a:pt x="241" y="119"/>
                      <a:pt x="233" y="124"/>
                      <a:pt x="228" y="132"/>
                    </a:cubicBezTo>
                    <a:cubicBezTo>
                      <a:pt x="220" y="130"/>
                      <a:pt x="220" y="130"/>
                      <a:pt x="220" y="130"/>
                    </a:cubicBezTo>
                    <a:cubicBezTo>
                      <a:pt x="220" y="113"/>
                      <a:pt x="220" y="113"/>
                      <a:pt x="220" y="113"/>
                    </a:cubicBezTo>
                    <a:cubicBezTo>
                      <a:pt x="227" y="111"/>
                      <a:pt x="232" y="107"/>
                      <a:pt x="235" y="101"/>
                    </a:cubicBezTo>
                    <a:close/>
                    <a:moveTo>
                      <a:pt x="220" y="160"/>
                    </a:moveTo>
                    <a:cubicBezTo>
                      <a:pt x="220" y="147"/>
                      <a:pt x="220" y="147"/>
                      <a:pt x="220" y="147"/>
                    </a:cubicBezTo>
                    <a:cubicBezTo>
                      <a:pt x="225" y="148"/>
                      <a:pt x="225" y="148"/>
                      <a:pt x="225" y="148"/>
                    </a:cubicBezTo>
                    <a:cubicBezTo>
                      <a:pt x="227" y="158"/>
                      <a:pt x="234" y="166"/>
                      <a:pt x="243" y="169"/>
                    </a:cubicBezTo>
                    <a:cubicBezTo>
                      <a:pt x="243" y="182"/>
                      <a:pt x="243" y="182"/>
                      <a:pt x="243" y="182"/>
                    </a:cubicBezTo>
                    <a:cubicBezTo>
                      <a:pt x="238" y="181"/>
                      <a:pt x="238" y="181"/>
                      <a:pt x="238" y="181"/>
                    </a:cubicBezTo>
                    <a:cubicBezTo>
                      <a:pt x="237" y="171"/>
                      <a:pt x="230" y="163"/>
                      <a:pt x="220" y="160"/>
                    </a:cubicBezTo>
                    <a:close/>
                    <a:moveTo>
                      <a:pt x="222" y="184"/>
                    </a:moveTo>
                    <a:cubicBezTo>
                      <a:pt x="222" y="190"/>
                      <a:pt x="218" y="194"/>
                      <a:pt x="212" y="194"/>
                    </a:cubicBezTo>
                    <a:cubicBezTo>
                      <a:pt x="207" y="194"/>
                      <a:pt x="202" y="190"/>
                      <a:pt x="202" y="184"/>
                    </a:cubicBezTo>
                    <a:cubicBezTo>
                      <a:pt x="202" y="179"/>
                      <a:pt x="207" y="174"/>
                      <a:pt x="212" y="174"/>
                    </a:cubicBezTo>
                    <a:cubicBezTo>
                      <a:pt x="218" y="174"/>
                      <a:pt x="222" y="179"/>
                      <a:pt x="222" y="184"/>
                    </a:cubicBezTo>
                    <a:close/>
                    <a:moveTo>
                      <a:pt x="241" y="144"/>
                    </a:moveTo>
                    <a:cubicBezTo>
                      <a:pt x="241" y="139"/>
                      <a:pt x="246" y="135"/>
                      <a:pt x="251" y="135"/>
                    </a:cubicBezTo>
                    <a:cubicBezTo>
                      <a:pt x="256" y="135"/>
                      <a:pt x="261" y="139"/>
                      <a:pt x="261" y="144"/>
                    </a:cubicBezTo>
                    <a:cubicBezTo>
                      <a:pt x="261" y="150"/>
                      <a:pt x="256" y="154"/>
                      <a:pt x="251" y="154"/>
                    </a:cubicBezTo>
                    <a:cubicBezTo>
                      <a:pt x="246" y="154"/>
                      <a:pt x="241" y="150"/>
                      <a:pt x="241" y="144"/>
                    </a:cubicBezTo>
                    <a:close/>
                    <a:moveTo>
                      <a:pt x="212" y="79"/>
                    </a:moveTo>
                    <a:cubicBezTo>
                      <a:pt x="218" y="79"/>
                      <a:pt x="222" y="83"/>
                      <a:pt x="222" y="89"/>
                    </a:cubicBezTo>
                    <a:cubicBezTo>
                      <a:pt x="222" y="94"/>
                      <a:pt x="218" y="99"/>
                      <a:pt x="212" y="99"/>
                    </a:cubicBezTo>
                    <a:cubicBezTo>
                      <a:pt x="207" y="99"/>
                      <a:pt x="202" y="94"/>
                      <a:pt x="202" y="89"/>
                    </a:cubicBezTo>
                    <a:cubicBezTo>
                      <a:pt x="202" y="83"/>
                      <a:pt x="207" y="79"/>
                      <a:pt x="212" y="79"/>
                    </a:cubicBezTo>
                    <a:close/>
                    <a:moveTo>
                      <a:pt x="194" y="106"/>
                    </a:moveTo>
                    <a:cubicBezTo>
                      <a:pt x="197" y="110"/>
                      <a:pt x="200" y="112"/>
                      <a:pt x="204" y="113"/>
                    </a:cubicBezTo>
                    <a:cubicBezTo>
                      <a:pt x="204" y="127"/>
                      <a:pt x="204" y="127"/>
                      <a:pt x="204" y="127"/>
                    </a:cubicBezTo>
                    <a:cubicBezTo>
                      <a:pt x="167" y="120"/>
                      <a:pt x="167" y="120"/>
                      <a:pt x="167" y="120"/>
                    </a:cubicBezTo>
                    <a:cubicBezTo>
                      <a:pt x="167" y="120"/>
                      <a:pt x="167" y="119"/>
                      <a:pt x="167" y="119"/>
                    </a:cubicBezTo>
                    <a:lnTo>
                      <a:pt x="194" y="106"/>
                    </a:lnTo>
                    <a:close/>
                    <a:moveTo>
                      <a:pt x="131" y="122"/>
                    </a:moveTo>
                    <a:cubicBezTo>
                      <a:pt x="131" y="117"/>
                      <a:pt x="136" y="113"/>
                      <a:pt x="141" y="113"/>
                    </a:cubicBezTo>
                    <a:cubicBezTo>
                      <a:pt x="146" y="113"/>
                      <a:pt x="151" y="117"/>
                      <a:pt x="151" y="122"/>
                    </a:cubicBezTo>
                    <a:cubicBezTo>
                      <a:pt x="151" y="128"/>
                      <a:pt x="146" y="132"/>
                      <a:pt x="141" y="132"/>
                    </a:cubicBezTo>
                    <a:cubicBezTo>
                      <a:pt x="136" y="132"/>
                      <a:pt x="131" y="128"/>
                      <a:pt x="131" y="122"/>
                    </a:cubicBezTo>
                    <a:close/>
                    <a:moveTo>
                      <a:pt x="141" y="227"/>
                    </a:moveTo>
                    <a:cubicBezTo>
                      <a:pt x="136" y="227"/>
                      <a:pt x="131" y="223"/>
                      <a:pt x="131" y="217"/>
                    </a:cubicBezTo>
                    <a:cubicBezTo>
                      <a:pt x="131" y="212"/>
                      <a:pt x="136" y="207"/>
                      <a:pt x="141" y="207"/>
                    </a:cubicBezTo>
                    <a:cubicBezTo>
                      <a:pt x="146" y="207"/>
                      <a:pt x="151" y="212"/>
                      <a:pt x="151" y="217"/>
                    </a:cubicBezTo>
                    <a:cubicBezTo>
                      <a:pt x="151" y="223"/>
                      <a:pt x="146" y="227"/>
                      <a:pt x="141" y="227"/>
                    </a:cubicBezTo>
                    <a:close/>
                    <a:moveTo>
                      <a:pt x="160" y="200"/>
                    </a:moveTo>
                    <a:cubicBezTo>
                      <a:pt x="157" y="197"/>
                      <a:pt x="153" y="194"/>
                      <a:pt x="149" y="193"/>
                    </a:cubicBezTo>
                    <a:cubicBezTo>
                      <a:pt x="149" y="147"/>
                      <a:pt x="149" y="147"/>
                      <a:pt x="149" y="147"/>
                    </a:cubicBezTo>
                    <a:cubicBezTo>
                      <a:pt x="155" y="145"/>
                      <a:pt x="160" y="141"/>
                      <a:pt x="163" y="136"/>
                    </a:cubicBezTo>
                    <a:cubicBezTo>
                      <a:pt x="204" y="144"/>
                      <a:pt x="204" y="144"/>
                      <a:pt x="204" y="144"/>
                    </a:cubicBezTo>
                    <a:cubicBezTo>
                      <a:pt x="204" y="160"/>
                      <a:pt x="204" y="160"/>
                      <a:pt x="204" y="160"/>
                    </a:cubicBezTo>
                    <a:cubicBezTo>
                      <a:pt x="194" y="163"/>
                      <a:pt x="186" y="173"/>
                      <a:pt x="186" y="184"/>
                    </a:cubicBezTo>
                    <a:cubicBezTo>
                      <a:pt x="186" y="185"/>
                      <a:pt x="187" y="186"/>
                      <a:pt x="187" y="187"/>
                    </a:cubicBezTo>
                    <a:lnTo>
                      <a:pt x="160" y="200"/>
                    </a:lnTo>
                    <a:close/>
                    <a:moveTo>
                      <a:pt x="228" y="227"/>
                    </a:moveTo>
                    <a:cubicBezTo>
                      <a:pt x="167" y="214"/>
                      <a:pt x="167" y="214"/>
                      <a:pt x="167" y="214"/>
                    </a:cubicBezTo>
                    <a:cubicBezTo>
                      <a:pt x="194" y="202"/>
                      <a:pt x="194" y="202"/>
                      <a:pt x="194" y="202"/>
                    </a:cubicBezTo>
                    <a:cubicBezTo>
                      <a:pt x="198" y="207"/>
                      <a:pt x="205" y="210"/>
                      <a:pt x="212" y="210"/>
                    </a:cubicBezTo>
                    <a:cubicBezTo>
                      <a:pt x="222" y="210"/>
                      <a:pt x="230" y="205"/>
                      <a:pt x="235" y="197"/>
                    </a:cubicBezTo>
                    <a:cubicBezTo>
                      <a:pt x="243" y="198"/>
                      <a:pt x="243" y="198"/>
                      <a:pt x="243" y="198"/>
                    </a:cubicBezTo>
                    <a:cubicBezTo>
                      <a:pt x="243" y="215"/>
                      <a:pt x="243" y="215"/>
                      <a:pt x="243" y="215"/>
                    </a:cubicBezTo>
                    <a:cubicBezTo>
                      <a:pt x="237" y="217"/>
                      <a:pt x="232" y="221"/>
                      <a:pt x="228" y="227"/>
                    </a:cubicBezTo>
                    <a:close/>
                    <a:moveTo>
                      <a:pt x="251" y="249"/>
                    </a:moveTo>
                    <a:cubicBezTo>
                      <a:pt x="246" y="249"/>
                      <a:pt x="241" y="245"/>
                      <a:pt x="241" y="239"/>
                    </a:cubicBezTo>
                    <a:cubicBezTo>
                      <a:pt x="241" y="234"/>
                      <a:pt x="246" y="229"/>
                      <a:pt x="251" y="229"/>
                    </a:cubicBezTo>
                    <a:cubicBezTo>
                      <a:pt x="256" y="229"/>
                      <a:pt x="261" y="234"/>
                      <a:pt x="261" y="239"/>
                    </a:cubicBezTo>
                    <a:cubicBezTo>
                      <a:pt x="261" y="245"/>
                      <a:pt x="256" y="249"/>
                      <a:pt x="251" y="249"/>
                    </a:cubicBezTo>
                    <a:close/>
                    <a:moveTo>
                      <a:pt x="270" y="222"/>
                    </a:moveTo>
                    <a:cubicBezTo>
                      <a:pt x="267" y="219"/>
                      <a:pt x="263" y="216"/>
                      <a:pt x="259" y="215"/>
                    </a:cubicBezTo>
                    <a:cubicBezTo>
                      <a:pt x="259" y="202"/>
                      <a:pt x="259" y="202"/>
                      <a:pt x="259" y="202"/>
                    </a:cubicBezTo>
                    <a:cubicBezTo>
                      <a:pt x="297" y="209"/>
                      <a:pt x="297" y="209"/>
                      <a:pt x="297" y="209"/>
                    </a:cubicBezTo>
                    <a:cubicBezTo>
                      <a:pt x="297" y="209"/>
                      <a:pt x="297" y="209"/>
                      <a:pt x="297" y="209"/>
                    </a:cubicBezTo>
                    <a:lnTo>
                      <a:pt x="270" y="222"/>
                    </a:lnTo>
                    <a:close/>
                    <a:moveTo>
                      <a:pt x="300" y="193"/>
                    </a:moveTo>
                    <a:cubicBezTo>
                      <a:pt x="259" y="185"/>
                      <a:pt x="259" y="185"/>
                      <a:pt x="259" y="185"/>
                    </a:cubicBezTo>
                    <a:cubicBezTo>
                      <a:pt x="259" y="169"/>
                      <a:pt x="259" y="169"/>
                      <a:pt x="259" y="169"/>
                    </a:cubicBezTo>
                    <a:cubicBezTo>
                      <a:pt x="269" y="166"/>
                      <a:pt x="277" y="156"/>
                      <a:pt x="277" y="144"/>
                    </a:cubicBezTo>
                    <a:cubicBezTo>
                      <a:pt x="277" y="143"/>
                      <a:pt x="277" y="142"/>
                      <a:pt x="277" y="141"/>
                    </a:cubicBezTo>
                    <a:cubicBezTo>
                      <a:pt x="304" y="128"/>
                      <a:pt x="304" y="128"/>
                      <a:pt x="304" y="128"/>
                    </a:cubicBezTo>
                    <a:cubicBezTo>
                      <a:pt x="306" y="131"/>
                      <a:pt x="310" y="134"/>
                      <a:pt x="314" y="135"/>
                    </a:cubicBezTo>
                    <a:cubicBezTo>
                      <a:pt x="314" y="181"/>
                      <a:pt x="314" y="181"/>
                      <a:pt x="314" y="181"/>
                    </a:cubicBezTo>
                    <a:cubicBezTo>
                      <a:pt x="308" y="183"/>
                      <a:pt x="303" y="188"/>
                      <a:pt x="300" y="193"/>
                    </a:cubicBezTo>
                    <a:close/>
                    <a:moveTo>
                      <a:pt x="332" y="206"/>
                    </a:moveTo>
                    <a:cubicBezTo>
                      <a:pt x="332" y="211"/>
                      <a:pt x="328" y="216"/>
                      <a:pt x="322" y="216"/>
                    </a:cubicBezTo>
                    <a:cubicBezTo>
                      <a:pt x="317" y="216"/>
                      <a:pt x="312" y="211"/>
                      <a:pt x="312" y="206"/>
                    </a:cubicBezTo>
                    <a:cubicBezTo>
                      <a:pt x="312" y="201"/>
                      <a:pt x="317" y="196"/>
                      <a:pt x="322" y="196"/>
                    </a:cubicBezTo>
                    <a:cubicBezTo>
                      <a:pt x="328" y="196"/>
                      <a:pt x="332" y="201"/>
                      <a:pt x="332" y="206"/>
                    </a:cubicBezTo>
                    <a:close/>
                    <a:moveTo>
                      <a:pt x="322" y="120"/>
                    </a:moveTo>
                    <a:cubicBezTo>
                      <a:pt x="317" y="120"/>
                      <a:pt x="312" y="116"/>
                      <a:pt x="312" y="111"/>
                    </a:cubicBezTo>
                    <a:cubicBezTo>
                      <a:pt x="312" y="105"/>
                      <a:pt x="317" y="101"/>
                      <a:pt x="322" y="101"/>
                    </a:cubicBezTo>
                    <a:cubicBezTo>
                      <a:pt x="328" y="101"/>
                      <a:pt x="332" y="105"/>
                      <a:pt x="332" y="111"/>
                    </a:cubicBezTo>
                    <a:cubicBezTo>
                      <a:pt x="332" y="116"/>
                      <a:pt x="328" y="120"/>
                      <a:pt x="322" y="120"/>
                    </a:cubicBezTo>
                    <a:close/>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grpSp>
            <p:nvGrpSpPr>
              <p:cNvPr id="15431" name="Group 87"/>
              <p:cNvGrpSpPr>
                <a:grpSpLocks noChangeAspect="1"/>
              </p:cNvGrpSpPr>
              <p:nvPr/>
            </p:nvGrpSpPr>
            <p:grpSpPr bwMode="auto">
              <a:xfrm>
                <a:off x="10721975" y="3587750"/>
                <a:ext cx="1003300" cy="830263"/>
                <a:chOff x="7334636" y="4749611"/>
                <a:chExt cx="865787" cy="717047"/>
              </a:xfrm>
            </p:grpSpPr>
            <p:sp>
              <p:nvSpPr>
                <p:cNvPr id="15432" name="Freeform 6"/>
                <p:cNvSpPr>
                  <a:spLocks noChangeAspect="1" noEditPoints="1"/>
                </p:cNvSpPr>
                <p:nvPr/>
              </p:nvSpPr>
              <p:spPr bwMode="auto">
                <a:xfrm>
                  <a:off x="7334441" y="4748622"/>
                  <a:ext cx="866716" cy="721288"/>
                </a:xfrm>
                <a:custGeom>
                  <a:avLst/>
                  <a:gdLst>
                    <a:gd name="T0" fmla="*/ 2147483646 w 464"/>
                    <a:gd name="T1" fmla="*/ 2147483646 h 399"/>
                    <a:gd name="T2" fmla="*/ 2147483646 w 464"/>
                    <a:gd name="T3" fmla="*/ 2147483646 h 399"/>
                    <a:gd name="T4" fmla="*/ 2147483646 w 464"/>
                    <a:gd name="T5" fmla="*/ 2147483646 h 399"/>
                    <a:gd name="T6" fmla="*/ 2147483646 w 464"/>
                    <a:gd name="T7" fmla="*/ 0 h 399"/>
                    <a:gd name="T8" fmla="*/ 2147483646 w 464"/>
                    <a:gd name="T9" fmla="*/ 2147483646 h 399"/>
                    <a:gd name="T10" fmla="*/ 2147483646 w 464"/>
                    <a:gd name="T11" fmla="*/ 2147483646 h 399"/>
                    <a:gd name="T12" fmla="*/ 0 w 464"/>
                    <a:gd name="T13" fmla="*/ 2147483646 h 399"/>
                    <a:gd name="T14" fmla="*/ 2147483646 w 464"/>
                    <a:gd name="T15" fmla="*/ 2147483646 h 399"/>
                    <a:gd name="T16" fmla="*/ 2147483646 w 464"/>
                    <a:gd name="T17" fmla="*/ 2147483646 h 399"/>
                    <a:gd name="T18" fmla="*/ 2147483646 w 464"/>
                    <a:gd name="T19" fmla="*/ 2147483646 h 399"/>
                    <a:gd name="T20" fmla="*/ 2147483646 w 464"/>
                    <a:gd name="T21" fmla="*/ 2147483646 h 399"/>
                    <a:gd name="T22" fmla="*/ 2147483646 w 464"/>
                    <a:gd name="T23" fmla="*/ 2147483646 h 399"/>
                    <a:gd name="T24" fmla="*/ 2147483646 w 464"/>
                    <a:gd name="T25" fmla="*/ 2147483646 h 399"/>
                    <a:gd name="T26" fmla="*/ 2147483646 w 464"/>
                    <a:gd name="T27" fmla="*/ 2147483646 h 399"/>
                    <a:gd name="T28" fmla="*/ 2147483646 w 464"/>
                    <a:gd name="T29" fmla="*/ 2147483646 h 399"/>
                    <a:gd name="T30" fmla="*/ 2147483646 w 464"/>
                    <a:gd name="T31" fmla="*/ 2147483646 h 399"/>
                    <a:gd name="T32" fmla="*/ 2147483646 w 464"/>
                    <a:gd name="T33" fmla="*/ 2147483646 h 399"/>
                    <a:gd name="T34" fmla="*/ 2147483646 w 464"/>
                    <a:gd name="T35" fmla="*/ 0 h 399"/>
                    <a:gd name="T36" fmla="*/ 2147483646 w 464"/>
                    <a:gd name="T37" fmla="*/ 2147483646 h 399"/>
                    <a:gd name="T38" fmla="*/ 2147483646 w 464"/>
                    <a:gd name="T39" fmla="*/ 2147483646 h 399"/>
                    <a:gd name="T40" fmla="*/ 2147483646 w 464"/>
                    <a:gd name="T41" fmla="*/ 2147483646 h 399"/>
                    <a:gd name="T42" fmla="*/ 2147483646 w 464"/>
                    <a:gd name="T43" fmla="*/ 2147483646 h 399"/>
                    <a:gd name="T44" fmla="*/ 2147483646 w 464"/>
                    <a:gd name="T45" fmla="*/ 2147483646 h 399"/>
                    <a:gd name="T46" fmla="*/ 2147483646 w 464"/>
                    <a:gd name="T47" fmla="*/ 2147483646 h 399"/>
                    <a:gd name="T48" fmla="*/ 2147483646 w 464"/>
                    <a:gd name="T49" fmla="*/ 2147483646 h 399"/>
                    <a:gd name="T50" fmla="*/ 2147483646 w 464"/>
                    <a:gd name="T51" fmla="*/ 2147483646 h 399"/>
                    <a:gd name="T52" fmla="*/ 2147483646 w 464"/>
                    <a:gd name="T53" fmla="*/ 2147483646 h 399"/>
                    <a:gd name="T54" fmla="*/ 2147483646 w 464"/>
                    <a:gd name="T55" fmla="*/ 2147483646 h 399"/>
                    <a:gd name="T56" fmla="*/ 2147483646 w 464"/>
                    <a:gd name="T57" fmla="*/ 2147483646 h 399"/>
                    <a:gd name="T58" fmla="*/ 2147483646 w 464"/>
                    <a:gd name="T59" fmla="*/ 2147483646 h 399"/>
                    <a:gd name="T60" fmla="*/ 2147483646 w 464"/>
                    <a:gd name="T61" fmla="*/ 2147483646 h 399"/>
                    <a:gd name="T62" fmla="*/ 2147483646 w 464"/>
                    <a:gd name="T63" fmla="*/ 2147483646 h 399"/>
                    <a:gd name="T64" fmla="*/ 2147483646 w 464"/>
                    <a:gd name="T65" fmla="*/ 2147483646 h 399"/>
                    <a:gd name="T66" fmla="*/ 2147483646 w 464"/>
                    <a:gd name="T67" fmla="*/ 2147483646 h 399"/>
                    <a:gd name="T68" fmla="*/ 2147483646 w 464"/>
                    <a:gd name="T69" fmla="*/ 2147483646 h 399"/>
                    <a:gd name="T70" fmla="*/ 2147483646 w 464"/>
                    <a:gd name="T71" fmla="*/ 2147483646 h 399"/>
                    <a:gd name="T72" fmla="*/ 2147483646 w 464"/>
                    <a:gd name="T73" fmla="*/ 2147483646 h 399"/>
                    <a:gd name="T74" fmla="*/ 2147483646 w 464"/>
                    <a:gd name="T75" fmla="*/ 2147483646 h 399"/>
                    <a:gd name="T76" fmla="*/ 2147483646 w 464"/>
                    <a:gd name="T77" fmla="*/ 2147483646 h 399"/>
                    <a:gd name="T78" fmla="*/ 2147483646 w 464"/>
                    <a:gd name="T79" fmla="*/ 2147483646 h 3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399">
                      <a:moveTo>
                        <a:pt x="351" y="81"/>
                      </a:moveTo>
                      <a:cubicBezTo>
                        <a:pt x="426" y="81"/>
                        <a:pt x="426" y="81"/>
                        <a:pt x="426" y="81"/>
                      </a:cubicBezTo>
                      <a:cubicBezTo>
                        <a:pt x="430" y="81"/>
                        <a:pt x="434" y="77"/>
                        <a:pt x="434" y="73"/>
                      </a:cubicBezTo>
                      <a:cubicBezTo>
                        <a:pt x="434" y="68"/>
                        <a:pt x="430" y="65"/>
                        <a:pt x="426" y="65"/>
                      </a:cubicBezTo>
                      <a:cubicBezTo>
                        <a:pt x="351" y="65"/>
                        <a:pt x="351" y="65"/>
                        <a:pt x="351" y="65"/>
                      </a:cubicBezTo>
                      <a:cubicBezTo>
                        <a:pt x="346" y="65"/>
                        <a:pt x="343" y="68"/>
                        <a:pt x="343" y="73"/>
                      </a:cubicBezTo>
                      <a:cubicBezTo>
                        <a:pt x="343" y="77"/>
                        <a:pt x="346" y="81"/>
                        <a:pt x="351" y="81"/>
                      </a:cubicBezTo>
                      <a:close/>
                      <a:moveTo>
                        <a:pt x="450" y="0"/>
                      </a:moveTo>
                      <a:cubicBezTo>
                        <a:pt x="327" y="0"/>
                        <a:pt x="327" y="0"/>
                        <a:pt x="327" y="0"/>
                      </a:cubicBezTo>
                      <a:cubicBezTo>
                        <a:pt x="319" y="0"/>
                        <a:pt x="312" y="6"/>
                        <a:pt x="312" y="14"/>
                      </a:cubicBezTo>
                      <a:cubicBezTo>
                        <a:pt x="312" y="101"/>
                        <a:pt x="312" y="101"/>
                        <a:pt x="312" y="101"/>
                      </a:cubicBezTo>
                      <a:cubicBezTo>
                        <a:pt x="13" y="101"/>
                        <a:pt x="13" y="101"/>
                        <a:pt x="13" y="101"/>
                      </a:cubicBezTo>
                      <a:cubicBezTo>
                        <a:pt x="6" y="101"/>
                        <a:pt x="0" y="107"/>
                        <a:pt x="0" y="113"/>
                      </a:cubicBezTo>
                      <a:cubicBezTo>
                        <a:pt x="0" y="318"/>
                        <a:pt x="0" y="318"/>
                        <a:pt x="0" y="318"/>
                      </a:cubicBezTo>
                      <a:cubicBezTo>
                        <a:pt x="0" y="325"/>
                        <a:pt x="6" y="331"/>
                        <a:pt x="13" y="331"/>
                      </a:cubicBezTo>
                      <a:cubicBezTo>
                        <a:pt x="145" y="331"/>
                        <a:pt x="145" y="331"/>
                        <a:pt x="145" y="331"/>
                      </a:cubicBezTo>
                      <a:cubicBezTo>
                        <a:pt x="145" y="346"/>
                        <a:pt x="145" y="346"/>
                        <a:pt x="145" y="346"/>
                      </a:cubicBezTo>
                      <a:cubicBezTo>
                        <a:pt x="94" y="346"/>
                        <a:pt x="94" y="346"/>
                        <a:pt x="94" y="346"/>
                      </a:cubicBezTo>
                      <a:cubicBezTo>
                        <a:pt x="92" y="346"/>
                        <a:pt x="91" y="347"/>
                        <a:pt x="89" y="348"/>
                      </a:cubicBezTo>
                      <a:cubicBezTo>
                        <a:pt x="33" y="385"/>
                        <a:pt x="33" y="385"/>
                        <a:pt x="33" y="385"/>
                      </a:cubicBezTo>
                      <a:cubicBezTo>
                        <a:pt x="30" y="387"/>
                        <a:pt x="28" y="390"/>
                        <a:pt x="29" y="394"/>
                      </a:cubicBezTo>
                      <a:cubicBezTo>
                        <a:pt x="30" y="397"/>
                        <a:pt x="33" y="399"/>
                        <a:pt x="37" y="399"/>
                      </a:cubicBezTo>
                      <a:cubicBezTo>
                        <a:pt x="332" y="399"/>
                        <a:pt x="332" y="399"/>
                        <a:pt x="332" y="399"/>
                      </a:cubicBezTo>
                      <a:cubicBezTo>
                        <a:pt x="336" y="399"/>
                        <a:pt x="339" y="397"/>
                        <a:pt x="340" y="394"/>
                      </a:cubicBezTo>
                      <a:cubicBezTo>
                        <a:pt x="341" y="390"/>
                        <a:pt x="340" y="387"/>
                        <a:pt x="337" y="385"/>
                      </a:cubicBezTo>
                      <a:cubicBezTo>
                        <a:pt x="280" y="348"/>
                        <a:pt x="280" y="348"/>
                        <a:pt x="280" y="348"/>
                      </a:cubicBezTo>
                      <a:cubicBezTo>
                        <a:pt x="279" y="347"/>
                        <a:pt x="277" y="346"/>
                        <a:pt x="276" y="346"/>
                      </a:cubicBezTo>
                      <a:cubicBezTo>
                        <a:pt x="224" y="346"/>
                        <a:pt x="224" y="346"/>
                        <a:pt x="224" y="346"/>
                      </a:cubicBezTo>
                      <a:cubicBezTo>
                        <a:pt x="224" y="331"/>
                        <a:pt x="224" y="331"/>
                        <a:pt x="224" y="331"/>
                      </a:cubicBezTo>
                      <a:cubicBezTo>
                        <a:pt x="357" y="331"/>
                        <a:pt x="357" y="331"/>
                        <a:pt x="357" y="331"/>
                      </a:cubicBezTo>
                      <a:cubicBezTo>
                        <a:pt x="363" y="331"/>
                        <a:pt x="369" y="325"/>
                        <a:pt x="369" y="318"/>
                      </a:cubicBezTo>
                      <a:cubicBezTo>
                        <a:pt x="369" y="310"/>
                        <a:pt x="369" y="310"/>
                        <a:pt x="369" y="310"/>
                      </a:cubicBezTo>
                      <a:cubicBezTo>
                        <a:pt x="450" y="310"/>
                        <a:pt x="450" y="310"/>
                        <a:pt x="450" y="310"/>
                      </a:cubicBezTo>
                      <a:cubicBezTo>
                        <a:pt x="457" y="310"/>
                        <a:pt x="464" y="303"/>
                        <a:pt x="464" y="296"/>
                      </a:cubicBezTo>
                      <a:cubicBezTo>
                        <a:pt x="464" y="14"/>
                        <a:pt x="464" y="14"/>
                        <a:pt x="464" y="14"/>
                      </a:cubicBezTo>
                      <a:cubicBezTo>
                        <a:pt x="464" y="6"/>
                        <a:pt x="457" y="0"/>
                        <a:pt x="450" y="0"/>
                      </a:cubicBezTo>
                      <a:close/>
                      <a:moveTo>
                        <a:pt x="273" y="362"/>
                      </a:moveTo>
                      <a:cubicBezTo>
                        <a:pt x="305" y="383"/>
                        <a:pt x="305" y="383"/>
                        <a:pt x="305" y="383"/>
                      </a:cubicBezTo>
                      <a:cubicBezTo>
                        <a:pt x="64" y="383"/>
                        <a:pt x="64" y="383"/>
                        <a:pt x="64" y="383"/>
                      </a:cubicBezTo>
                      <a:cubicBezTo>
                        <a:pt x="96" y="362"/>
                        <a:pt x="96" y="362"/>
                        <a:pt x="96" y="362"/>
                      </a:cubicBezTo>
                      <a:lnTo>
                        <a:pt x="273" y="362"/>
                      </a:lnTo>
                      <a:close/>
                      <a:moveTo>
                        <a:pt x="161" y="346"/>
                      </a:moveTo>
                      <a:cubicBezTo>
                        <a:pt x="161" y="331"/>
                        <a:pt x="161" y="331"/>
                        <a:pt x="161" y="331"/>
                      </a:cubicBezTo>
                      <a:cubicBezTo>
                        <a:pt x="208" y="331"/>
                        <a:pt x="208" y="331"/>
                        <a:pt x="208" y="331"/>
                      </a:cubicBezTo>
                      <a:cubicBezTo>
                        <a:pt x="208" y="346"/>
                        <a:pt x="208" y="346"/>
                        <a:pt x="208" y="346"/>
                      </a:cubicBezTo>
                      <a:lnTo>
                        <a:pt x="161" y="346"/>
                      </a:lnTo>
                      <a:close/>
                      <a:moveTo>
                        <a:pt x="448" y="294"/>
                      </a:moveTo>
                      <a:cubicBezTo>
                        <a:pt x="369" y="294"/>
                        <a:pt x="369" y="294"/>
                        <a:pt x="369" y="294"/>
                      </a:cubicBezTo>
                      <a:cubicBezTo>
                        <a:pt x="369" y="161"/>
                        <a:pt x="369" y="161"/>
                        <a:pt x="369" y="161"/>
                      </a:cubicBezTo>
                      <a:cubicBezTo>
                        <a:pt x="369" y="157"/>
                        <a:pt x="365" y="153"/>
                        <a:pt x="361" y="153"/>
                      </a:cubicBezTo>
                      <a:cubicBezTo>
                        <a:pt x="357" y="153"/>
                        <a:pt x="353" y="157"/>
                        <a:pt x="353" y="161"/>
                      </a:cubicBezTo>
                      <a:cubicBezTo>
                        <a:pt x="353" y="315"/>
                        <a:pt x="353" y="315"/>
                        <a:pt x="353" y="315"/>
                      </a:cubicBezTo>
                      <a:cubicBezTo>
                        <a:pt x="16" y="315"/>
                        <a:pt x="16" y="315"/>
                        <a:pt x="16" y="315"/>
                      </a:cubicBezTo>
                      <a:cubicBezTo>
                        <a:pt x="16" y="117"/>
                        <a:pt x="16" y="117"/>
                        <a:pt x="16" y="117"/>
                      </a:cubicBezTo>
                      <a:cubicBezTo>
                        <a:pt x="353" y="117"/>
                        <a:pt x="353" y="117"/>
                        <a:pt x="353" y="117"/>
                      </a:cubicBezTo>
                      <a:cubicBezTo>
                        <a:pt x="353" y="129"/>
                        <a:pt x="353" y="129"/>
                        <a:pt x="353" y="129"/>
                      </a:cubicBezTo>
                      <a:cubicBezTo>
                        <a:pt x="353" y="134"/>
                        <a:pt x="357" y="137"/>
                        <a:pt x="361" y="137"/>
                      </a:cubicBezTo>
                      <a:cubicBezTo>
                        <a:pt x="365" y="137"/>
                        <a:pt x="369" y="134"/>
                        <a:pt x="369" y="129"/>
                      </a:cubicBezTo>
                      <a:cubicBezTo>
                        <a:pt x="369" y="113"/>
                        <a:pt x="369" y="113"/>
                        <a:pt x="369" y="113"/>
                      </a:cubicBezTo>
                      <a:cubicBezTo>
                        <a:pt x="369" y="107"/>
                        <a:pt x="363" y="101"/>
                        <a:pt x="357" y="101"/>
                      </a:cubicBezTo>
                      <a:cubicBezTo>
                        <a:pt x="328" y="101"/>
                        <a:pt x="328" y="101"/>
                        <a:pt x="328" y="101"/>
                      </a:cubicBezTo>
                      <a:cubicBezTo>
                        <a:pt x="328" y="16"/>
                        <a:pt x="328" y="16"/>
                        <a:pt x="328" y="16"/>
                      </a:cubicBezTo>
                      <a:cubicBezTo>
                        <a:pt x="448" y="16"/>
                        <a:pt x="448" y="16"/>
                        <a:pt x="448" y="16"/>
                      </a:cubicBezTo>
                      <a:lnTo>
                        <a:pt x="448" y="294"/>
                      </a:lnTo>
                      <a:close/>
                      <a:moveTo>
                        <a:pt x="428" y="117"/>
                      </a:moveTo>
                      <a:cubicBezTo>
                        <a:pt x="425" y="117"/>
                        <a:pt x="422" y="120"/>
                        <a:pt x="422" y="123"/>
                      </a:cubicBezTo>
                      <a:cubicBezTo>
                        <a:pt x="422" y="126"/>
                        <a:pt x="425" y="128"/>
                        <a:pt x="428" y="128"/>
                      </a:cubicBezTo>
                      <a:cubicBezTo>
                        <a:pt x="431" y="128"/>
                        <a:pt x="434" y="126"/>
                        <a:pt x="434" y="123"/>
                      </a:cubicBezTo>
                      <a:cubicBezTo>
                        <a:pt x="434" y="120"/>
                        <a:pt x="431" y="117"/>
                        <a:pt x="428" y="117"/>
                      </a:cubicBezTo>
                      <a:close/>
                      <a:moveTo>
                        <a:pt x="351" y="50"/>
                      </a:moveTo>
                      <a:cubicBezTo>
                        <a:pt x="426" y="50"/>
                        <a:pt x="426" y="50"/>
                        <a:pt x="426" y="50"/>
                      </a:cubicBezTo>
                      <a:cubicBezTo>
                        <a:pt x="430" y="50"/>
                        <a:pt x="434" y="46"/>
                        <a:pt x="434" y="42"/>
                      </a:cubicBezTo>
                      <a:cubicBezTo>
                        <a:pt x="434" y="38"/>
                        <a:pt x="430" y="34"/>
                        <a:pt x="426" y="34"/>
                      </a:cubicBezTo>
                      <a:cubicBezTo>
                        <a:pt x="351" y="34"/>
                        <a:pt x="351" y="34"/>
                        <a:pt x="351" y="34"/>
                      </a:cubicBezTo>
                      <a:cubicBezTo>
                        <a:pt x="346" y="34"/>
                        <a:pt x="343" y="38"/>
                        <a:pt x="343" y="42"/>
                      </a:cubicBezTo>
                      <a:cubicBezTo>
                        <a:pt x="343" y="46"/>
                        <a:pt x="346" y="50"/>
                        <a:pt x="351" y="50"/>
                      </a:cubicBezTo>
                      <a:close/>
                      <a:moveTo>
                        <a:pt x="428" y="95"/>
                      </a:moveTo>
                      <a:cubicBezTo>
                        <a:pt x="425" y="95"/>
                        <a:pt x="422" y="98"/>
                        <a:pt x="422" y="101"/>
                      </a:cubicBezTo>
                      <a:cubicBezTo>
                        <a:pt x="422" y="104"/>
                        <a:pt x="425" y="106"/>
                        <a:pt x="428" y="106"/>
                      </a:cubicBezTo>
                      <a:cubicBezTo>
                        <a:pt x="431" y="106"/>
                        <a:pt x="434" y="104"/>
                        <a:pt x="434" y="101"/>
                      </a:cubicBezTo>
                      <a:cubicBezTo>
                        <a:pt x="434" y="98"/>
                        <a:pt x="431" y="95"/>
                        <a:pt x="428"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33" name="Freeform 3"/>
                <p:cNvSpPr>
                  <a:spLocks noChangeAspect="1" noEditPoints="1"/>
                </p:cNvSpPr>
                <p:nvPr/>
              </p:nvSpPr>
              <p:spPr bwMode="auto">
                <a:xfrm>
                  <a:off x="7544614" y="5021108"/>
                  <a:ext cx="264219" cy="276494"/>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grpSp>
        </p:grpSp>
      </p:grpSp>
      <p:grpSp>
        <p:nvGrpSpPr>
          <p:cNvPr id="15391" name="Group 26684"/>
          <p:cNvGrpSpPr>
            <a:grpSpLocks/>
          </p:cNvGrpSpPr>
          <p:nvPr/>
        </p:nvGrpSpPr>
        <p:grpSpPr bwMode="auto">
          <a:xfrm>
            <a:off x="8169275" y="3802063"/>
            <a:ext cx="1809750" cy="1512887"/>
            <a:chOff x="6266691" y="3827893"/>
            <a:chExt cx="1810186" cy="1511778"/>
          </a:xfrm>
        </p:grpSpPr>
        <p:sp>
          <p:nvSpPr>
            <p:cNvPr id="15418" name="Freeform 56"/>
            <p:cNvSpPr>
              <a:spLocks noChangeAspect="1" noEditPoints="1"/>
            </p:cNvSpPr>
            <p:nvPr/>
          </p:nvSpPr>
          <p:spPr bwMode="auto">
            <a:xfrm>
              <a:off x="6592888" y="4874533"/>
              <a:ext cx="144462" cy="2381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19" name="Freeform 61"/>
            <p:cNvSpPr>
              <a:spLocks noChangeAspect="1" noEditPoints="1"/>
            </p:cNvSpPr>
            <p:nvPr/>
          </p:nvSpPr>
          <p:spPr bwMode="auto">
            <a:xfrm>
              <a:off x="6410325" y="4874533"/>
              <a:ext cx="144463" cy="2381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20" name="Freeform 3"/>
            <p:cNvSpPr>
              <a:spLocks noChangeAspect="1" noEditPoints="1"/>
            </p:cNvSpPr>
            <p:nvPr/>
          </p:nvSpPr>
          <p:spPr bwMode="auto">
            <a:xfrm>
              <a:off x="6943725" y="4899933"/>
              <a:ext cx="388938" cy="246063"/>
            </a:xfrm>
            <a:custGeom>
              <a:avLst/>
              <a:gdLst>
                <a:gd name="T0" fmla="*/ 2147483646 w 462"/>
                <a:gd name="T1" fmla="*/ 2147483646 h 293"/>
                <a:gd name="T2" fmla="*/ 2147483646 w 462"/>
                <a:gd name="T3" fmla="*/ 2147483646 h 293"/>
                <a:gd name="T4" fmla="*/ 2147483646 w 462"/>
                <a:gd name="T5" fmla="*/ 2147483646 h 293"/>
                <a:gd name="T6" fmla="*/ 2147483646 w 462"/>
                <a:gd name="T7" fmla="*/ 2147483646 h 293"/>
                <a:gd name="T8" fmla="*/ 2147483646 w 462"/>
                <a:gd name="T9" fmla="*/ 2147483646 h 293"/>
                <a:gd name="T10" fmla="*/ 2147483646 w 462"/>
                <a:gd name="T11" fmla="*/ 2147483646 h 293"/>
                <a:gd name="T12" fmla="*/ 2147483646 w 462"/>
                <a:gd name="T13" fmla="*/ 2147483646 h 293"/>
                <a:gd name="T14" fmla="*/ 2147483646 w 462"/>
                <a:gd name="T15" fmla="*/ 2147483646 h 293"/>
                <a:gd name="T16" fmla="*/ 2147483646 w 462"/>
                <a:gd name="T17" fmla="*/ 2147483646 h 293"/>
                <a:gd name="T18" fmla="*/ 2147483646 w 462"/>
                <a:gd name="T19" fmla="*/ 2147483646 h 293"/>
                <a:gd name="T20" fmla="*/ 2147483646 w 462"/>
                <a:gd name="T21" fmla="*/ 2147483646 h 293"/>
                <a:gd name="T22" fmla="*/ 2147483646 w 462"/>
                <a:gd name="T23" fmla="*/ 2147483646 h 293"/>
                <a:gd name="T24" fmla="*/ 2147483646 w 462"/>
                <a:gd name="T25" fmla="*/ 2147483646 h 293"/>
                <a:gd name="T26" fmla="*/ 2147483646 w 462"/>
                <a:gd name="T27" fmla="*/ 2147483646 h 293"/>
                <a:gd name="T28" fmla="*/ 2147483646 w 462"/>
                <a:gd name="T29" fmla="*/ 2147483646 h 293"/>
                <a:gd name="T30" fmla="*/ 2147483646 w 462"/>
                <a:gd name="T31" fmla="*/ 2147483646 h 293"/>
                <a:gd name="T32" fmla="*/ 2147483646 w 462"/>
                <a:gd name="T33" fmla="*/ 2147483646 h 293"/>
                <a:gd name="T34" fmla="*/ 2147483646 w 462"/>
                <a:gd name="T35" fmla="*/ 2147483646 h 293"/>
                <a:gd name="T36" fmla="*/ 2147483646 w 462"/>
                <a:gd name="T37" fmla="*/ 2147483646 h 293"/>
                <a:gd name="T38" fmla="*/ 2147483646 w 462"/>
                <a:gd name="T39" fmla="*/ 2147483646 h 293"/>
                <a:gd name="T40" fmla="*/ 2147483646 w 462"/>
                <a:gd name="T41" fmla="*/ 2147483646 h 293"/>
                <a:gd name="T42" fmla="*/ 2147483646 w 462"/>
                <a:gd name="T43" fmla="*/ 2147483646 h 293"/>
                <a:gd name="T44" fmla="*/ 2147483646 w 462"/>
                <a:gd name="T45" fmla="*/ 2147483646 h 293"/>
                <a:gd name="T46" fmla="*/ 2147483646 w 462"/>
                <a:gd name="T47" fmla="*/ 2147483646 h 293"/>
                <a:gd name="T48" fmla="*/ 2147483646 w 462"/>
                <a:gd name="T49" fmla="*/ 2147483646 h 293"/>
                <a:gd name="T50" fmla="*/ 2147483646 w 462"/>
                <a:gd name="T51" fmla="*/ 2147483646 h 293"/>
                <a:gd name="T52" fmla="*/ 2147483646 w 462"/>
                <a:gd name="T53" fmla="*/ 2147483646 h 293"/>
                <a:gd name="T54" fmla="*/ 2147483646 w 462"/>
                <a:gd name="T55" fmla="*/ 2147483646 h 293"/>
                <a:gd name="T56" fmla="*/ 2147483646 w 462"/>
                <a:gd name="T57" fmla="*/ 2147483646 h 293"/>
                <a:gd name="T58" fmla="*/ 2147483646 w 462"/>
                <a:gd name="T59" fmla="*/ 2147483646 h 293"/>
                <a:gd name="T60" fmla="*/ 2147483646 w 462"/>
                <a:gd name="T61" fmla="*/ 2147483646 h 293"/>
                <a:gd name="T62" fmla="*/ 2147483646 w 462"/>
                <a:gd name="T63" fmla="*/ 2147483646 h 293"/>
                <a:gd name="T64" fmla="*/ 2147483646 w 462"/>
                <a:gd name="T65" fmla="*/ 2147483646 h 293"/>
                <a:gd name="T66" fmla="*/ 2147483646 w 462"/>
                <a:gd name="T67" fmla="*/ 2147483646 h 293"/>
                <a:gd name="T68" fmla="*/ 2147483646 w 462"/>
                <a:gd name="T69" fmla="*/ 2147483646 h 293"/>
                <a:gd name="T70" fmla="*/ 2147483646 w 462"/>
                <a:gd name="T71" fmla="*/ 2147483646 h 293"/>
                <a:gd name="T72" fmla="*/ 2147483646 w 462"/>
                <a:gd name="T73" fmla="*/ 2147483646 h 293"/>
                <a:gd name="T74" fmla="*/ 2147483646 w 462"/>
                <a:gd name="T75" fmla="*/ 2147483646 h 293"/>
                <a:gd name="T76" fmla="*/ 2147483646 w 462"/>
                <a:gd name="T77" fmla="*/ 2147483646 h 293"/>
                <a:gd name="T78" fmla="*/ 2147483646 w 462"/>
                <a:gd name="T79" fmla="*/ 2147483646 h 293"/>
                <a:gd name="T80" fmla="*/ 2147483646 w 462"/>
                <a:gd name="T81" fmla="*/ 2147483646 h 293"/>
                <a:gd name="T82" fmla="*/ 2147483646 w 462"/>
                <a:gd name="T83" fmla="*/ 2147483646 h 293"/>
                <a:gd name="T84" fmla="*/ 2147483646 w 462"/>
                <a:gd name="T85" fmla="*/ 2147483646 h 293"/>
                <a:gd name="T86" fmla="*/ 2147483646 w 462"/>
                <a:gd name="T87" fmla="*/ 2147483646 h 293"/>
                <a:gd name="T88" fmla="*/ 2147483646 w 462"/>
                <a:gd name="T89" fmla="*/ 2147483646 h 293"/>
                <a:gd name="T90" fmla="*/ 2147483646 w 462"/>
                <a:gd name="T91" fmla="*/ 2147483646 h 293"/>
                <a:gd name="T92" fmla="*/ 2147483646 w 462"/>
                <a:gd name="T93" fmla="*/ 2147483646 h 293"/>
                <a:gd name="T94" fmla="*/ 2147483646 w 462"/>
                <a:gd name="T95" fmla="*/ 2147483646 h 293"/>
                <a:gd name="T96" fmla="*/ 2147483646 w 462"/>
                <a:gd name="T97" fmla="*/ 2147483646 h 293"/>
                <a:gd name="T98" fmla="*/ 2147483646 w 462"/>
                <a:gd name="T99" fmla="*/ 2147483646 h 2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2" h="293">
                  <a:moveTo>
                    <a:pt x="348" y="111"/>
                  </a:moveTo>
                  <a:cubicBezTo>
                    <a:pt x="348" y="96"/>
                    <a:pt x="337" y="85"/>
                    <a:pt x="322" y="85"/>
                  </a:cubicBezTo>
                  <a:cubicBezTo>
                    <a:pt x="313" y="85"/>
                    <a:pt x="304" y="90"/>
                    <a:pt x="300" y="98"/>
                  </a:cubicBezTo>
                  <a:cubicBezTo>
                    <a:pt x="238" y="86"/>
                    <a:pt x="238" y="86"/>
                    <a:pt x="238" y="86"/>
                  </a:cubicBezTo>
                  <a:cubicBezTo>
                    <a:pt x="236" y="73"/>
                    <a:pt x="226" y="63"/>
                    <a:pt x="212" y="63"/>
                  </a:cubicBezTo>
                  <a:cubicBezTo>
                    <a:pt x="198" y="63"/>
                    <a:pt x="186" y="74"/>
                    <a:pt x="186" y="89"/>
                  </a:cubicBezTo>
                  <a:cubicBezTo>
                    <a:pt x="186" y="90"/>
                    <a:pt x="187" y="91"/>
                    <a:pt x="187" y="92"/>
                  </a:cubicBezTo>
                  <a:cubicBezTo>
                    <a:pt x="160" y="105"/>
                    <a:pt x="160" y="105"/>
                    <a:pt x="160" y="105"/>
                  </a:cubicBezTo>
                  <a:cubicBezTo>
                    <a:pt x="155" y="100"/>
                    <a:pt x="148" y="97"/>
                    <a:pt x="141" y="97"/>
                  </a:cubicBezTo>
                  <a:cubicBezTo>
                    <a:pt x="127" y="97"/>
                    <a:pt x="115" y="108"/>
                    <a:pt x="115" y="122"/>
                  </a:cubicBezTo>
                  <a:cubicBezTo>
                    <a:pt x="115" y="134"/>
                    <a:pt x="123" y="144"/>
                    <a:pt x="133" y="147"/>
                  </a:cubicBezTo>
                  <a:cubicBezTo>
                    <a:pt x="133" y="193"/>
                    <a:pt x="133" y="193"/>
                    <a:pt x="133" y="193"/>
                  </a:cubicBezTo>
                  <a:cubicBezTo>
                    <a:pt x="123" y="196"/>
                    <a:pt x="115" y="206"/>
                    <a:pt x="115" y="217"/>
                  </a:cubicBezTo>
                  <a:cubicBezTo>
                    <a:pt x="115" y="232"/>
                    <a:pt x="127" y="243"/>
                    <a:pt x="141" y="243"/>
                  </a:cubicBezTo>
                  <a:cubicBezTo>
                    <a:pt x="151" y="243"/>
                    <a:pt x="159" y="238"/>
                    <a:pt x="163" y="230"/>
                  </a:cubicBezTo>
                  <a:cubicBezTo>
                    <a:pt x="225" y="242"/>
                    <a:pt x="225" y="242"/>
                    <a:pt x="225" y="242"/>
                  </a:cubicBezTo>
                  <a:cubicBezTo>
                    <a:pt x="227" y="255"/>
                    <a:pt x="238" y="265"/>
                    <a:pt x="251" y="265"/>
                  </a:cubicBezTo>
                  <a:cubicBezTo>
                    <a:pt x="265" y="265"/>
                    <a:pt x="277" y="253"/>
                    <a:pt x="277" y="239"/>
                  </a:cubicBezTo>
                  <a:cubicBezTo>
                    <a:pt x="277" y="238"/>
                    <a:pt x="277" y="237"/>
                    <a:pt x="277" y="236"/>
                  </a:cubicBezTo>
                  <a:cubicBezTo>
                    <a:pt x="304" y="224"/>
                    <a:pt x="304" y="224"/>
                    <a:pt x="304" y="224"/>
                  </a:cubicBezTo>
                  <a:cubicBezTo>
                    <a:pt x="308" y="229"/>
                    <a:pt x="315" y="232"/>
                    <a:pt x="322" y="232"/>
                  </a:cubicBezTo>
                  <a:cubicBezTo>
                    <a:pt x="337" y="232"/>
                    <a:pt x="348" y="220"/>
                    <a:pt x="348" y="206"/>
                  </a:cubicBezTo>
                  <a:cubicBezTo>
                    <a:pt x="348" y="195"/>
                    <a:pt x="341" y="185"/>
                    <a:pt x="330" y="181"/>
                  </a:cubicBezTo>
                  <a:cubicBezTo>
                    <a:pt x="330" y="135"/>
                    <a:pt x="330" y="135"/>
                    <a:pt x="330" y="135"/>
                  </a:cubicBezTo>
                  <a:cubicBezTo>
                    <a:pt x="341" y="132"/>
                    <a:pt x="348" y="122"/>
                    <a:pt x="348" y="111"/>
                  </a:cubicBezTo>
                  <a:close/>
                  <a:moveTo>
                    <a:pt x="235" y="101"/>
                  </a:moveTo>
                  <a:cubicBezTo>
                    <a:pt x="297" y="114"/>
                    <a:pt x="297" y="114"/>
                    <a:pt x="297" y="114"/>
                  </a:cubicBezTo>
                  <a:cubicBezTo>
                    <a:pt x="297" y="114"/>
                    <a:pt x="297" y="114"/>
                    <a:pt x="297" y="114"/>
                  </a:cubicBezTo>
                  <a:cubicBezTo>
                    <a:pt x="270" y="127"/>
                    <a:pt x="270" y="127"/>
                    <a:pt x="270" y="127"/>
                  </a:cubicBezTo>
                  <a:cubicBezTo>
                    <a:pt x="265" y="122"/>
                    <a:pt x="258" y="119"/>
                    <a:pt x="251" y="119"/>
                  </a:cubicBezTo>
                  <a:cubicBezTo>
                    <a:pt x="241" y="119"/>
                    <a:pt x="233" y="124"/>
                    <a:pt x="228" y="132"/>
                  </a:cubicBezTo>
                  <a:cubicBezTo>
                    <a:pt x="220" y="130"/>
                    <a:pt x="220" y="130"/>
                    <a:pt x="220" y="130"/>
                  </a:cubicBezTo>
                  <a:cubicBezTo>
                    <a:pt x="220" y="113"/>
                    <a:pt x="220" y="113"/>
                    <a:pt x="220" y="113"/>
                  </a:cubicBezTo>
                  <a:cubicBezTo>
                    <a:pt x="227" y="111"/>
                    <a:pt x="232" y="107"/>
                    <a:pt x="235" y="101"/>
                  </a:cubicBezTo>
                  <a:close/>
                  <a:moveTo>
                    <a:pt x="220" y="160"/>
                  </a:moveTo>
                  <a:cubicBezTo>
                    <a:pt x="220" y="147"/>
                    <a:pt x="220" y="147"/>
                    <a:pt x="220" y="147"/>
                  </a:cubicBezTo>
                  <a:cubicBezTo>
                    <a:pt x="225" y="148"/>
                    <a:pt x="225" y="148"/>
                    <a:pt x="225" y="148"/>
                  </a:cubicBezTo>
                  <a:cubicBezTo>
                    <a:pt x="227" y="158"/>
                    <a:pt x="234" y="166"/>
                    <a:pt x="243" y="169"/>
                  </a:cubicBezTo>
                  <a:cubicBezTo>
                    <a:pt x="243" y="182"/>
                    <a:pt x="243" y="182"/>
                    <a:pt x="243" y="182"/>
                  </a:cubicBezTo>
                  <a:cubicBezTo>
                    <a:pt x="238" y="181"/>
                    <a:pt x="238" y="181"/>
                    <a:pt x="238" y="181"/>
                  </a:cubicBezTo>
                  <a:cubicBezTo>
                    <a:pt x="237" y="171"/>
                    <a:pt x="230" y="163"/>
                    <a:pt x="220" y="160"/>
                  </a:cubicBezTo>
                  <a:close/>
                  <a:moveTo>
                    <a:pt x="222" y="184"/>
                  </a:moveTo>
                  <a:cubicBezTo>
                    <a:pt x="222" y="190"/>
                    <a:pt x="218" y="194"/>
                    <a:pt x="212" y="194"/>
                  </a:cubicBezTo>
                  <a:cubicBezTo>
                    <a:pt x="207" y="194"/>
                    <a:pt x="202" y="190"/>
                    <a:pt x="202" y="184"/>
                  </a:cubicBezTo>
                  <a:cubicBezTo>
                    <a:pt x="202" y="179"/>
                    <a:pt x="207" y="174"/>
                    <a:pt x="212" y="174"/>
                  </a:cubicBezTo>
                  <a:cubicBezTo>
                    <a:pt x="218" y="174"/>
                    <a:pt x="222" y="179"/>
                    <a:pt x="222" y="184"/>
                  </a:cubicBezTo>
                  <a:close/>
                  <a:moveTo>
                    <a:pt x="241" y="144"/>
                  </a:moveTo>
                  <a:cubicBezTo>
                    <a:pt x="241" y="139"/>
                    <a:pt x="246" y="135"/>
                    <a:pt x="251" y="135"/>
                  </a:cubicBezTo>
                  <a:cubicBezTo>
                    <a:pt x="256" y="135"/>
                    <a:pt x="261" y="139"/>
                    <a:pt x="261" y="144"/>
                  </a:cubicBezTo>
                  <a:cubicBezTo>
                    <a:pt x="261" y="150"/>
                    <a:pt x="256" y="154"/>
                    <a:pt x="251" y="154"/>
                  </a:cubicBezTo>
                  <a:cubicBezTo>
                    <a:pt x="246" y="154"/>
                    <a:pt x="241" y="150"/>
                    <a:pt x="241" y="144"/>
                  </a:cubicBezTo>
                  <a:close/>
                  <a:moveTo>
                    <a:pt x="212" y="79"/>
                  </a:moveTo>
                  <a:cubicBezTo>
                    <a:pt x="218" y="79"/>
                    <a:pt x="222" y="83"/>
                    <a:pt x="222" y="89"/>
                  </a:cubicBezTo>
                  <a:cubicBezTo>
                    <a:pt x="222" y="94"/>
                    <a:pt x="218" y="99"/>
                    <a:pt x="212" y="99"/>
                  </a:cubicBezTo>
                  <a:cubicBezTo>
                    <a:pt x="207" y="99"/>
                    <a:pt x="202" y="94"/>
                    <a:pt x="202" y="89"/>
                  </a:cubicBezTo>
                  <a:cubicBezTo>
                    <a:pt x="202" y="83"/>
                    <a:pt x="207" y="79"/>
                    <a:pt x="212" y="79"/>
                  </a:cubicBezTo>
                  <a:close/>
                  <a:moveTo>
                    <a:pt x="194" y="106"/>
                  </a:moveTo>
                  <a:cubicBezTo>
                    <a:pt x="197" y="110"/>
                    <a:pt x="200" y="112"/>
                    <a:pt x="204" y="113"/>
                  </a:cubicBezTo>
                  <a:cubicBezTo>
                    <a:pt x="204" y="127"/>
                    <a:pt x="204" y="127"/>
                    <a:pt x="204" y="127"/>
                  </a:cubicBezTo>
                  <a:cubicBezTo>
                    <a:pt x="167" y="120"/>
                    <a:pt x="167" y="120"/>
                    <a:pt x="167" y="120"/>
                  </a:cubicBezTo>
                  <a:cubicBezTo>
                    <a:pt x="167" y="120"/>
                    <a:pt x="167" y="119"/>
                    <a:pt x="167" y="119"/>
                  </a:cubicBezTo>
                  <a:lnTo>
                    <a:pt x="194" y="106"/>
                  </a:lnTo>
                  <a:close/>
                  <a:moveTo>
                    <a:pt x="131" y="122"/>
                  </a:moveTo>
                  <a:cubicBezTo>
                    <a:pt x="131" y="117"/>
                    <a:pt x="136" y="113"/>
                    <a:pt x="141" y="113"/>
                  </a:cubicBezTo>
                  <a:cubicBezTo>
                    <a:pt x="146" y="113"/>
                    <a:pt x="151" y="117"/>
                    <a:pt x="151" y="122"/>
                  </a:cubicBezTo>
                  <a:cubicBezTo>
                    <a:pt x="151" y="128"/>
                    <a:pt x="146" y="132"/>
                    <a:pt x="141" y="132"/>
                  </a:cubicBezTo>
                  <a:cubicBezTo>
                    <a:pt x="136" y="132"/>
                    <a:pt x="131" y="128"/>
                    <a:pt x="131" y="122"/>
                  </a:cubicBezTo>
                  <a:close/>
                  <a:moveTo>
                    <a:pt x="141" y="227"/>
                  </a:moveTo>
                  <a:cubicBezTo>
                    <a:pt x="136" y="227"/>
                    <a:pt x="131" y="223"/>
                    <a:pt x="131" y="217"/>
                  </a:cubicBezTo>
                  <a:cubicBezTo>
                    <a:pt x="131" y="212"/>
                    <a:pt x="136" y="207"/>
                    <a:pt x="141" y="207"/>
                  </a:cubicBezTo>
                  <a:cubicBezTo>
                    <a:pt x="146" y="207"/>
                    <a:pt x="151" y="212"/>
                    <a:pt x="151" y="217"/>
                  </a:cubicBezTo>
                  <a:cubicBezTo>
                    <a:pt x="151" y="223"/>
                    <a:pt x="146" y="227"/>
                    <a:pt x="141" y="227"/>
                  </a:cubicBezTo>
                  <a:close/>
                  <a:moveTo>
                    <a:pt x="160" y="200"/>
                  </a:moveTo>
                  <a:cubicBezTo>
                    <a:pt x="157" y="197"/>
                    <a:pt x="153" y="194"/>
                    <a:pt x="149" y="193"/>
                  </a:cubicBezTo>
                  <a:cubicBezTo>
                    <a:pt x="149" y="147"/>
                    <a:pt x="149" y="147"/>
                    <a:pt x="149" y="147"/>
                  </a:cubicBezTo>
                  <a:cubicBezTo>
                    <a:pt x="155" y="145"/>
                    <a:pt x="160" y="141"/>
                    <a:pt x="163" y="136"/>
                  </a:cubicBezTo>
                  <a:cubicBezTo>
                    <a:pt x="204" y="144"/>
                    <a:pt x="204" y="144"/>
                    <a:pt x="204" y="144"/>
                  </a:cubicBezTo>
                  <a:cubicBezTo>
                    <a:pt x="204" y="160"/>
                    <a:pt x="204" y="160"/>
                    <a:pt x="204" y="160"/>
                  </a:cubicBezTo>
                  <a:cubicBezTo>
                    <a:pt x="194" y="163"/>
                    <a:pt x="186" y="173"/>
                    <a:pt x="186" y="184"/>
                  </a:cubicBezTo>
                  <a:cubicBezTo>
                    <a:pt x="186" y="185"/>
                    <a:pt x="187" y="186"/>
                    <a:pt x="187" y="187"/>
                  </a:cubicBezTo>
                  <a:lnTo>
                    <a:pt x="160" y="200"/>
                  </a:lnTo>
                  <a:close/>
                  <a:moveTo>
                    <a:pt x="228" y="227"/>
                  </a:moveTo>
                  <a:cubicBezTo>
                    <a:pt x="167" y="214"/>
                    <a:pt x="167" y="214"/>
                    <a:pt x="167" y="214"/>
                  </a:cubicBezTo>
                  <a:cubicBezTo>
                    <a:pt x="194" y="202"/>
                    <a:pt x="194" y="202"/>
                    <a:pt x="194" y="202"/>
                  </a:cubicBezTo>
                  <a:cubicBezTo>
                    <a:pt x="198" y="207"/>
                    <a:pt x="205" y="210"/>
                    <a:pt x="212" y="210"/>
                  </a:cubicBezTo>
                  <a:cubicBezTo>
                    <a:pt x="222" y="210"/>
                    <a:pt x="230" y="205"/>
                    <a:pt x="235" y="197"/>
                  </a:cubicBezTo>
                  <a:cubicBezTo>
                    <a:pt x="243" y="198"/>
                    <a:pt x="243" y="198"/>
                    <a:pt x="243" y="198"/>
                  </a:cubicBezTo>
                  <a:cubicBezTo>
                    <a:pt x="243" y="215"/>
                    <a:pt x="243" y="215"/>
                    <a:pt x="243" y="215"/>
                  </a:cubicBezTo>
                  <a:cubicBezTo>
                    <a:pt x="237" y="217"/>
                    <a:pt x="232" y="221"/>
                    <a:pt x="228" y="227"/>
                  </a:cubicBezTo>
                  <a:close/>
                  <a:moveTo>
                    <a:pt x="251" y="249"/>
                  </a:moveTo>
                  <a:cubicBezTo>
                    <a:pt x="246" y="249"/>
                    <a:pt x="241" y="245"/>
                    <a:pt x="241" y="239"/>
                  </a:cubicBezTo>
                  <a:cubicBezTo>
                    <a:pt x="241" y="234"/>
                    <a:pt x="246" y="229"/>
                    <a:pt x="251" y="229"/>
                  </a:cubicBezTo>
                  <a:cubicBezTo>
                    <a:pt x="256" y="229"/>
                    <a:pt x="261" y="234"/>
                    <a:pt x="261" y="239"/>
                  </a:cubicBezTo>
                  <a:cubicBezTo>
                    <a:pt x="261" y="245"/>
                    <a:pt x="256" y="249"/>
                    <a:pt x="251" y="249"/>
                  </a:cubicBezTo>
                  <a:close/>
                  <a:moveTo>
                    <a:pt x="270" y="222"/>
                  </a:moveTo>
                  <a:cubicBezTo>
                    <a:pt x="267" y="219"/>
                    <a:pt x="263" y="216"/>
                    <a:pt x="259" y="215"/>
                  </a:cubicBezTo>
                  <a:cubicBezTo>
                    <a:pt x="259" y="202"/>
                    <a:pt x="259" y="202"/>
                    <a:pt x="259" y="202"/>
                  </a:cubicBezTo>
                  <a:cubicBezTo>
                    <a:pt x="297" y="209"/>
                    <a:pt x="297" y="209"/>
                    <a:pt x="297" y="209"/>
                  </a:cubicBezTo>
                  <a:cubicBezTo>
                    <a:pt x="297" y="209"/>
                    <a:pt x="297" y="209"/>
                    <a:pt x="297" y="209"/>
                  </a:cubicBezTo>
                  <a:lnTo>
                    <a:pt x="270" y="222"/>
                  </a:lnTo>
                  <a:close/>
                  <a:moveTo>
                    <a:pt x="300" y="193"/>
                  </a:moveTo>
                  <a:cubicBezTo>
                    <a:pt x="259" y="185"/>
                    <a:pt x="259" y="185"/>
                    <a:pt x="259" y="185"/>
                  </a:cubicBezTo>
                  <a:cubicBezTo>
                    <a:pt x="259" y="169"/>
                    <a:pt x="259" y="169"/>
                    <a:pt x="259" y="169"/>
                  </a:cubicBezTo>
                  <a:cubicBezTo>
                    <a:pt x="269" y="166"/>
                    <a:pt x="277" y="156"/>
                    <a:pt x="277" y="144"/>
                  </a:cubicBezTo>
                  <a:cubicBezTo>
                    <a:pt x="277" y="143"/>
                    <a:pt x="277" y="142"/>
                    <a:pt x="277" y="141"/>
                  </a:cubicBezTo>
                  <a:cubicBezTo>
                    <a:pt x="304" y="128"/>
                    <a:pt x="304" y="128"/>
                    <a:pt x="304" y="128"/>
                  </a:cubicBezTo>
                  <a:cubicBezTo>
                    <a:pt x="306" y="131"/>
                    <a:pt x="310" y="134"/>
                    <a:pt x="314" y="135"/>
                  </a:cubicBezTo>
                  <a:cubicBezTo>
                    <a:pt x="314" y="181"/>
                    <a:pt x="314" y="181"/>
                    <a:pt x="314" y="181"/>
                  </a:cubicBezTo>
                  <a:cubicBezTo>
                    <a:pt x="308" y="183"/>
                    <a:pt x="303" y="188"/>
                    <a:pt x="300" y="193"/>
                  </a:cubicBezTo>
                  <a:close/>
                  <a:moveTo>
                    <a:pt x="332" y="206"/>
                  </a:moveTo>
                  <a:cubicBezTo>
                    <a:pt x="332" y="211"/>
                    <a:pt x="328" y="216"/>
                    <a:pt x="322" y="216"/>
                  </a:cubicBezTo>
                  <a:cubicBezTo>
                    <a:pt x="317" y="216"/>
                    <a:pt x="312" y="211"/>
                    <a:pt x="312" y="206"/>
                  </a:cubicBezTo>
                  <a:cubicBezTo>
                    <a:pt x="312" y="201"/>
                    <a:pt x="317" y="196"/>
                    <a:pt x="322" y="196"/>
                  </a:cubicBezTo>
                  <a:cubicBezTo>
                    <a:pt x="328" y="196"/>
                    <a:pt x="332" y="201"/>
                    <a:pt x="332" y="206"/>
                  </a:cubicBezTo>
                  <a:close/>
                  <a:moveTo>
                    <a:pt x="322" y="120"/>
                  </a:moveTo>
                  <a:cubicBezTo>
                    <a:pt x="317" y="120"/>
                    <a:pt x="312" y="116"/>
                    <a:pt x="312" y="111"/>
                  </a:cubicBezTo>
                  <a:cubicBezTo>
                    <a:pt x="312" y="105"/>
                    <a:pt x="317" y="101"/>
                    <a:pt x="322" y="101"/>
                  </a:cubicBezTo>
                  <a:cubicBezTo>
                    <a:pt x="328" y="101"/>
                    <a:pt x="332" y="105"/>
                    <a:pt x="332" y="111"/>
                  </a:cubicBezTo>
                  <a:cubicBezTo>
                    <a:pt x="332" y="116"/>
                    <a:pt x="328" y="120"/>
                    <a:pt x="322" y="120"/>
                  </a:cubicBezTo>
                  <a:close/>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cxnSp>
          <p:nvCxnSpPr>
            <p:cNvPr id="15421" name="Straight Connector 65"/>
            <p:cNvCxnSpPr>
              <a:cxnSpLocks noChangeShapeType="1"/>
            </p:cNvCxnSpPr>
            <p:nvPr/>
          </p:nvCxnSpPr>
          <p:spPr bwMode="auto">
            <a:xfrm flipH="1">
              <a:off x="6804609" y="5036605"/>
              <a:ext cx="137846" cy="0"/>
            </a:xfrm>
            <a:prstGeom prst="line">
              <a:avLst/>
            </a:prstGeom>
            <a:noFill/>
            <a:ln w="28575">
              <a:solidFill>
                <a:srgbClr val="FFFFFF"/>
              </a:solidFill>
              <a:round/>
              <a:headEnd type="triangle" w="med" len="sm"/>
              <a:tailEnd type="triangle" w="med" len="sm"/>
            </a:ln>
            <a:extLst>
              <a:ext uri="{909E8E84-426E-40DD-AFC4-6F175D3DCCD1}">
                <a14:hiddenFill xmlns:a14="http://schemas.microsoft.com/office/drawing/2010/main">
                  <a:noFill/>
                </a14:hiddenFill>
              </a:ext>
            </a:extLst>
          </p:spPr>
        </p:cxnSp>
        <p:cxnSp>
          <p:nvCxnSpPr>
            <p:cNvPr id="15422" name="Straight Connector 65"/>
            <p:cNvCxnSpPr>
              <a:cxnSpLocks noChangeShapeType="1"/>
            </p:cNvCxnSpPr>
            <p:nvPr/>
          </p:nvCxnSpPr>
          <p:spPr bwMode="auto">
            <a:xfrm flipH="1">
              <a:off x="7332080" y="5036605"/>
              <a:ext cx="137846" cy="0"/>
            </a:xfrm>
            <a:prstGeom prst="line">
              <a:avLst/>
            </a:prstGeom>
            <a:noFill/>
            <a:ln w="28575">
              <a:solidFill>
                <a:srgbClr val="FFFFFF"/>
              </a:solidFill>
              <a:round/>
              <a:headEnd type="triangle" w="med" len="sm"/>
              <a:tailEnd type="triangle" w="med" len="sm"/>
            </a:ln>
            <a:extLst>
              <a:ext uri="{909E8E84-426E-40DD-AFC4-6F175D3DCCD1}">
                <a14:hiddenFill xmlns:a14="http://schemas.microsoft.com/office/drawing/2010/main">
                  <a:noFill/>
                </a14:hiddenFill>
              </a:ext>
            </a:extLst>
          </p:spPr>
        </p:cxnSp>
        <p:sp>
          <p:nvSpPr>
            <p:cNvPr id="15423" name="Freeform 6"/>
            <p:cNvSpPr>
              <a:spLocks noChangeAspect="1"/>
            </p:cNvSpPr>
            <p:nvPr/>
          </p:nvSpPr>
          <p:spPr bwMode="auto">
            <a:xfrm>
              <a:off x="6266691"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Distributed Cloud</a:t>
              </a:r>
              <a:b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br>
              <a: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CORE &amp; RAN</a:t>
              </a:r>
            </a:p>
          </p:txBody>
        </p:sp>
        <p:sp>
          <p:nvSpPr>
            <p:cNvPr id="15424" name="Freeform 61"/>
            <p:cNvSpPr>
              <a:spLocks noChangeAspect="1" noEditPoints="1"/>
            </p:cNvSpPr>
            <p:nvPr/>
          </p:nvSpPr>
          <p:spPr bwMode="auto">
            <a:xfrm>
              <a:off x="7743825" y="4826908"/>
              <a:ext cx="195263"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25" name="Freeform 61"/>
            <p:cNvSpPr>
              <a:spLocks noChangeAspect="1" noEditPoints="1"/>
            </p:cNvSpPr>
            <p:nvPr/>
          </p:nvSpPr>
          <p:spPr bwMode="auto">
            <a:xfrm>
              <a:off x="7507288" y="4826908"/>
              <a:ext cx="195262"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26" name="Freeform 61"/>
            <p:cNvSpPr>
              <a:spLocks noChangeAspect="1" noEditPoints="1"/>
            </p:cNvSpPr>
            <p:nvPr/>
          </p:nvSpPr>
          <p:spPr bwMode="auto">
            <a:xfrm>
              <a:off x="7743825" y="4482421"/>
              <a:ext cx="195263"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27" name="Freeform 61"/>
            <p:cNvSpPr>
              <a:spLocks noChangeAspect="1" noEditPoints="1"/>
            </p:cNvSpPr>
            <p:nvPr/>
          </p:nvSpPr>
          <p:spPr bwMode="auto">
            <a:xfrm>
              <a:off x="7507288" y="4482421"/>
              <a:ext cx="195262"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grpSp>
      <p:sp>
        <p:nvSpPr>
          <p:cNvPr id="15393" name="Freeform 9"/>
          <p:cNvSpPr>
            <a:spLocks noChangeAspect="1"/>
          </p:cNvSpPr>
          <p:nvPr/>
        </p:nvSpPr>
        <p:spPr bwMode="auto">
          <a:xfrm>
            <a:off x="10855325" y="1473200"/>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94" name="Freeform 9"/>
          <p:cNvSpPr>
            <a:spLocks noChangeAspect="1"/>
          </p:cNvSpPr>
          <p:nvPr/>
        </p:nvSpPr>
        <p:spPr bwMode="auto">
          <a:xfrm>
            <a:off x="10855325" y="2211388"/>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95" name="Freeform 9"/>
          <p:cNvSpPr>
            <a:spLocks noChangeAspect="1"/>
          </p:cNvSpPr>
          <p:nvPr/>
        </p:nvSpPr>
        <p:spPr bwMode="auto">
          <a:xfrm>
            <a:off x="10855325" y="2949575"/>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96" name="Freeform 9"/>
          <p:cNvSpPr>
            <a:spLocks noChangeAspect="1"/>
          </p:cNvSpPr>
          <p:nvPr/>
        </p:nvSpPr>
        <p:spPr bwMode="auto">
          <a:xfrm>
            <a:off x="10855325" y="3689350"/>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97" name="Freeform 9"/>
          <p:cNvSpPr>
            <a:spLocks noChangeAspect="1"/>
          </p:cNvSpPr>
          <p:nvPr/>
        </p:nvSpPr>
        <p:spPr bwMode="auto">
          <a:xfrm>
            <a:off x="10855325" y="4427538"/>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5398" name="Freeform 9"/>
          <p:cNvSpPr>
            <a:spLocks noChangeAspect="1"/>
          </p:cNvSpPr>
          <p:nvPr/>
        </p:nvSpPr>
        <p:spPr bwMode="auto">
          <a:xfrm>
            <a:off x="10855325" y="5165725"/>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cxnSp>
        <p:nvCxnSpPr>
          <p:cNvPr id="106" name="Straight Connector 62"/>
          <p:cNvCxnSpPr>
            <a:cxnSpLocks noChangeShapeType="1"/>
          </p:cNvCxnSpPr>
          <p:nvPr>
            <p:custDataLst>
              <p:tags r:id="rId24"/>
            </p:custDataLst>
          </p:nvPr>
        </p:nvCxnSpPr>
        <p:spPr bwMode="auto">
          <a:xfrm>
            <a:off x="2551113" y="3673475"/>
            <a:ext cx="7415212"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15400" name="Freeform 3"/>
          <p:cNvSpPr>
            <a:spLocks noChangeAspect="1" noEditPoints="1"/>
          </p:cNvSpPr>
          <p:nvPr/>
        </p:nvSpPr>
        <p:spPr bwMode="auto">
          <a:xfrm>
            <a:off x="2692400" y="4467225"/>
            <a:ext cx="414338" cy="436563"/>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73966" tIns="36983" rIns="73966" bIns="36983"/>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01" name="Freeform 6"/>
          <p:cNvSpPr>
            <a:spLocks noChangeAspect="1"/>
          </p:cNvSpPr>
          <p:nvPr/>
        </p:nvSpPr>
        <p:spPr bwMode="auto">
          <a:xfrm>
            <a:off x="2538413" y="3802063"/>
            <a:ext cx="1809750" cy="1512887"/>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mn-lt"/>
                <a:ea typeface="MS PGothic" panose="020B0600070205080204" pitchFamily="34" charset="-128"/>
                <a:cs typeface="Arial" panose="020B0604020202020204" pitchFamily="34" charset="0"/>
              </a:rPr>
              <a:t>Access</a:t>
            </a:r>
          </a:p>
        </p:txBody>
      </p:sp>
      <p:grpSp>
        <p:nvGrpSpPr>
          <p:cNvPr id="15402" name="Group 37"/>
          <p:cNvGrpSpPr>
            <a:grpSpLocks/>
          </p:cNvGrpSpPr>
          <p:nvPr/>
        </p:nvGrpSpPr>
        <p:grpSpPr bwMode="auto">
          <a:xfrm>
            <a:off x="3087688" y="4808538"/>
            <a:ext cx="323850" cy="312737"/>
            <a:chOff x="10080561" y="5420759"/>
            <a:chExt cx="324000" cy="324000"/>
          </a:xfrm>
        </p:grpSpPr>
        <p:sp>
          <p:nvSpPr>
            <p:cNvPr id="15416" name="Oval 121"/>
            <p:cNvSpPr>
              <a:spLocks noChangeAspect="1"/>
            </p:cNvSpPr>
            <p:nvPr/>
          </p:nvSpPr>
          <p:spPr bwMode="auto">
            <a:xfrm>
              <a:off x="10080561" y="5420759"/>
              <a:ext cx="324000" cy="324000"/>
            </a:xfrm>
            <a:prstGeom prst="ellipse">
              <a:avLst/>
            </a:prstGeom>
            <a:noFill/>
            <a:ln w="25400">
              <a:solidFill>
                <a:srgbClr val="FFFFFF"/>
              </a:solidFill>
              <a:round/>
              <a:headEnd/>
              <a:tailEnd/>
            </a:ln>
            <a:extLst>
              <a:ext uri="{909E8E84-426E-40DD-AFC4-6F175D3DCCD1}">
                <a14:hiddenFill xmlns:a14="http://schemas.microsoft.com/office/drawing/2010/main">
                  <a:solidFill>
                    <a:srgbClr val="F08A00"/>
                  </a:solidFill>
                </a14:hiddenFill>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sv-SE" sz="2000" b="0" i="0" u="none" strike="noStrike" kern="0" cap="none" spc="0" normalizeH="0" baseline="0" noProof="0">
                <a:ln>
                  <a:noFill/>
                </a:ln>
                <a:solidFill>
                  <a:schemeClr val="tx1"/>
                </a:solidFill>
                <a:effectLst/>
                <a:uLnTx/>
                <a:uFillTx/>
                <a:latin typeface="+mn-lt"/>
                <a:cs typeface="Arial" panose="020B0604020202020204" pitchFamily="34" charset="0"/>
              </a:endParaRPr>
            </a:p>
          </p:txBody>
        </p:sp>
        <p:sp>
          <p:nvSpPr>
            <p:cNvPr id="15417" name="Freeform 6"/>
            <p:cNvSpPr>
              <a:spLocks noChangeAspect="1" noEditPoints="1"/>
            </p:cNvSpPr>
            <p:nvPr/>
          </p:nvSpPr>
          <p:spPr bwMode="auto">
            <a:xfrm>
              <a:off x="10168519" y="5482340"/>
              <a:ext cx="174462" cy="174462"/>
            </a:xfrm>
            <a:custGeom>
              <a:avLst/>
              <a:gdLst>
                <a:gd name="T0" fmla="*/ 2147483646 w 298"/>
                <a:gd name="T1" fmla="*/ 2147483646 h 298"/>
                <a:gd name="T2" fmla="*/ 2147483646 w 298"/>
                <a:gd name="T3" fmla="*/ 2147483646 h 298"/>
                <a:gd name="T4" fmla="*/ 2147483646 w 298"/>
                <a:gd name="T5" fmla="*/ 2147483646 h 298"/>
                <a:gd name="T6" fmla="*/ 2147483646 w 298"/>
                <a:gd name="T7" fmla="*/ 2147483646 h 298"/>
                <a:gd name="T8" fmla="*/ 2147483646 w 298"/>
                <a:gd name="T9" fmla="*/ 2147483646 h 298"/>
                <a:gd name="T10" fmla="*/ 2147483646 w 298"/>
                <a:gd name="T11" fmla="*/ 2147483646 h 298"/>
                <a:gd name="T12" fmla="*/ 2147483646 w 298"/>
                <a:gd name="T13" fmla="*/ 2147483646 h 298"/>
                <a:gd name="T14" fmla="*/ 2147483646 w 298"/>
                <a:gd name="T15" fmla="*/ 2147483646 h 298"/>
                <a:gd name="T16" fmla="*/ 2147483646 w 298"/>
                <a:gd name="T17" fmla="*/ 2147483646 h 298"/>
                <a:gd name="T18" fmla="*/ 2147483646 w 298"/>
                <a:gd name="T19" fmla="*/ 2147483646 h 298"/>
                <a:gd name="T20" fmla="*/ 2147483646 w 298"/>
                <a:gd name="T21" fmla="*/ 2147483646 h 298"/>
                <a:gd name="T22" fmla="*/ 2147483646 w 298"/>
                <a:gd name="T23" fmla="*/ 2147483646 h 298"/>
                <a:gd name="T24" fmla="*/ 2147483646 w 298"/>
                <a:gd name="T25" fmla="*/ 2147483646 h 298"/>
                <a:gd name="T26" fmla="*/ 2147483646 w 298"/>
                <a:gd name="T27" fmla="*/ 2147483646 h 298"/>
                <a:gd name="T28" fmla="*/ 2147483646 w 298"/>
                <a:gd name="T29" fmla="*/ 2147483646 h 298"/>
                <a:gd name="T30" fmla="*/ 2147483646 w 298"/>
                <a:gd name="T31" fmla="*/ 2147483646 h 298"/>
                <a:gd name="T32" fmla="*/ 2147483646 w 298"/>
                <a:gd name="T33" fmla="*/ 2147483646 h 298"/>
                <a:gd name="T34" fmla="*/ 0 w 298"/>
                <a:gd name="T35" fmla="*/ 2147483646 h 298"/>
                <a:gd name="T36" fmla="*/ 2147483646 w 298"/>
                <a:gd name="T37" fmla="*/ 2147483646 h 298"/>
                <a:gd name="T38" fmla="*/ 2147483646 w 298"/>
                <a:gd name="T39" fmla="*/ 2147483646 h 298"/>
                <a:gd name="T40" fmla="*/ 2147483646 w 298"/>
                <a:gd name="T41" fmla="*/ 2147483646 h 298"/>
                <a:gd name="T42" fmla="*/ 2147483646 w 298"/>
                <a:gd name="T43" fmla="*/ 2147483646 h 298"/>
                <a:gd name="T44" fmla="*/ 2147483646 w 298"/>
                <a:gd name="T45" fmla="*/ 2147483646 h 298"/>
                <a:gd name="T46" fmla="*/ 2147483646 w 298"/>
                <a:gd name="T47" fmla="*/ 2147483646 h 298"/>
                <a:gd name="T48" fmla="*/ 2147483646 w 298"/>
                <a:gd name="T49" fmla="*/ 2147483646 h 298"/>
                <a:gd name="T50" fmla="*/ 2147483646 w 298"/>
                <a:gd name="T51" fmla="*/ 2147483646 h 298"/>
                <a:gd name="T52" fmla="*/ 2147483646 w 298"/>
                <a:gd name="T53" fmla="*/ 2147483646 h 298"/>
                <a:gd name="T54" fmla="*/ 2147483646 w 298"/>
                <a:gd name="T55" fmla="*/ 2147483646 h 298"/>
                <a:gd name="T56" fmla="*/ 2147483646 w 298"/>
                <a:gd name="T57" fmla="*/ 2147483646 h 298"/>
                <a:gd name="T58" fmla="*/ 2147483646 w 298"/>
                <a:gd name="T59" fmla="*/ 2147483646 h 298"/>
                <a:gd name="T60" fmla="*/ 2147483646 w 298"/>
                <a:gd name="T61" fmla="*/ 2147483646 h 298"/>
                <a:gd name="T62" fmla="*/ 2147483646 w 298"/>
                <a:gd name="T63" fmla="*/ 2147483646 h 298"/>
                <a:gd name="T64" fmla="*/ 2147483646 w 298"/>
                <a:gd name="T65" fmla="*/ 2147483646 h 298"/>
                <a:gd name="T66" fmla="*/ 2147483646 w 298"/>
                <a:gd name="T67" fmla="*/ 2147483646 h 298"/>
                <a:gd name="T68" fmla="*/ 2147483646 w 298"/>
                <a:gd name="T69" fmla="*/ 2147483646 h 298"/>
                <a:gd name="T70" fmla="*/ 2147483646 w 298"/>
                <a:gd name="T71" fmla="*/ 2147483646 h 298"/>
                <a:gd name="T72" fmla="*/ 2147483646 w 298"/>
                <a:gd name="T73" fmla="*/ 2147483646 h 298"/>
                <a:gd name="T74" fmla="*/ 2147483646 w 298"/>
                <a:gd name="T75" fmla="*/ 2147483646 h 298"/>
                <a:gd name="T76" fmla="*/ 2147483646 w 298"/>
                <a:gd name="T77" fmla="*/ 2147483646 h 298"/>
                <a:gd name="T78" fmla="*/ 2147483646 w 298"/>
                <a:gd name="T79" fmla="*/ 2147483646 h 298"/>
                <a:gd name="T80" fmla="*/ 2147483646 w 298"/>
                <a:gd name="T81" fmla="*/ 0 h 298"/>
                <a:gd name="T82" fmla="*/ 2147483646 w 298"/>
                <a:gd name="T83" fmla="*/ 2147483646 h 298"/>
                <a:gd name="T84" fmla="*/ 2147483646 w 298"/>
                <a:gd name="T85" fmla="*/ 2147483646 h 298"/>
                <a:gd name="T86" fmla="*/ 2147483646 w 298"/>
                <a:gd name="T87" fmla="*/ 2147483646 h 298"/>
                <a:gd name="T88" fmla="*/ 2147483646 w 298"/>
                <a:gd name="T89" fmla="*/ 2147483646 h 298"/>
                <a:gd name="T90" fmla="*/ 2147483646 w 298"/>
                <a:gd name="T91" fmla="*/ 2147483646 h 298"/>
                <a:gd name="T92" fmla="*/ 2147483646 w 298"/>
                <a:gd name="T93" fmla="*/ 2147483646 h 298"/>
                <a:gd name="T94" fmla="*/ 2147483646 w 298"/>
                <a:gd name="T95" fmla="*/ 2147483646 h 298"/>
                <a:gd name="T96" fmla="*/ 2147483646 w 298"/>
                <a:gd name="T97" fmla="*/ 2147483646 h 298"/>
                <a:gd name="T98" fmla="*/ 2147483646 w 298"/>
                <a:gd name="T99" fmla="*/ 2147483646 h 2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8" h="298">
                  <a:moveTo>
                    <a:pt x="181" y="117"/>
                  </a:moveTo>
                  <a:cubicBezTo>
                    <a:pt x="153" y="89"/>
                    <a:pt x="117" y="75"/>
                    <a:pt x="80" y="75"/>
                  </a:cubicBezTo>
                  <a:cubicBezTo>
                    <a:pt x="59" y="75"/>
                    <a:pt x="38" y="80"/>
                    <a:pt x="19" y="89"/>
                  </a:cubicBezTo>
                  <a:cubicBezTo>
                    <a:pt x="15" y="91"/>
                    <a:pt x="13" y="96"/>
                    <a:pt x="15" y="100"/>
                  </a:cubicBezTo>
                  <a:cubicBezTo>
                    <a:pt x="17" y="104"/>
                    <a:pt x="22" y="106"/>
                    <a:pt x="26" y="104"/>
                  </a:cubicBezTo>
                  <a:cubicBezTo>
                    <a:pt x="43" y="95"/>
                    <a:pt x="62" y="91"/>
                    <a:pt x="80" y="91"/>
                  </a:cubicBezTo>
                  <a:cubicBezTo>
                    <a:pt x="113" y="91"/>
                    <a:pt x="145" y="104"/>
                    <a:pt x="170" y="128"/>
                  </a:cubicBezTo>
                  <a:cubicBezTo>
                    <a:pt x="194" y="153"/>
                    <a:pt x="206" y="185"/>
                    <a:pt x="207" y="217"/>
                  </a:cubicBezTo>
                  <a:cubicBezTo>
                    <a:pt x="207" y="218"/>
                    <a:pt x="207" y="218"/>
                    <a:pt x="207" y="218"/>
                  </a:cubicBezTo>
                  <a:cubicBezTo>
                    <a:pt x="206" y="237"/>
                    <a:pt x="202" y="256"/>
                    <a:pt x="193" y="273"/>
                  </a:cubicBezTo>
                  <a:cubicBezTo>
                    <a:pt x="191" y="277"/>
                    <a:pt x="193" y="282"/>
                    <a:pt x="197" y="284"/>
                  </a:cubicBezTo>
                  <a:cubicBezTo>
                    <a:pt x="198" y="285"/>
                    <a:pt x="199" y="285"/>
                    <a:pt x="201" y="285"/>
                  </a:cubicBezTo>
                  <a:cubicBezTo>
                    <a:pt x="204" y="285"/>
                    <a:pt x="206" y="283"/>
                    <a:pt x="208" y="281"/>
                  </a:cubicBezTo>
                  <a:cubicBezTo>
                    <a:pt x="218" y="261"/>
                    <a:pt x="222" y="240"/>
                    <a:pt x="223" y="218"/>
                  </a:cubicBezTo>
                  <a:cubicBezTo>
                    <a:pt x="223" y="218"/>
                    <a:pt x="223" y="218"/>
                    <a:pt x="223" y="217"/>
                  </a:cubicBezTo>
                  <a:cubicBezTo>
                    <a:pt x="223" y="181"/>
                    <a:pt x="209" y="145"/>
                    <a:pt x="181" y="117"/>
                  </a:cubicBezTo>
                  <a:close/>
                  <a:moveTo>
                    <a:pt x="76" y="147"/>
                  </a:moveTo>
                  <a:cubicBezTo>
                    <a:pt x="34" y="147"/>
                    <a:pt x="0" y="181"/>
                    <a:pt x="0" y="222"/>
                  </a:cubicBezTo>
                  <a:cubicBezTo>
                    <a:pt x="0" y="264"/>
                    <a:pt x="34" y="298"/>
                    <a:pt x="76" y="298"/>
                  </a:cubicBezTo>
                  <a:cubicBezTo>
                    <a:pt x="117" y="298"/>
                    <a:pt x="151" y="264"/>
                    <a:pt x="151" y="222"/>
                  </a:cubicBezTo>
                  <a:cubicBezTo>
                    <a:pt x="151" y="181"/>
                    <a:pt x="117" y="147"/>
                    <a:pt x="76" y="147"/>
                  </a:cubicBezTo>
                  <a:close/>
                  <a:moveTo>
                    <a:pt x="76" y="282"/>
                  </a:moveTo>
                  <a:cubicBezTo>
                    <a:pt x="43" y="282"/>
                    <a:pt x="16" y="255"/>
                    <a:pt x="16" y="222"/>
                  </a:cubicBezTo>
                  <a:cubicBezTo>
                    <a:pt x="16" y="189"/>
                    <a:pt x="43" y="163"/>
                    <a:pt x="76" y="163"/>
                  </a:cubicBezTo>
                  <a:cubicBezTo>
                    <a:pt x="108" y="163"/>
                    <a:pt x="135" y="189"/>
                    <a:pt x="135" y="222"/>
                  </a:cubicBezTo>
                  <a:cubicBezTo>
                    <a:pt x="135" y="255"/>
                    <a:pt x="108" y="282"/>
                    <a:pt x="76" y="282"/>
                  </a:cubicBezTo>
                  <a:close/>
                  <a:moveTo>
                    <a:pt x="298" y="218"/>
                  </a:moveTo>
                  <a:cubicBezTo>
                    <a:pt x="298" y="218"/>
                    <a:pt x="298" y="218"/>
                    <a:pt x="298" y="218"/>
                  </a:cubicBezTo>
                  <a:cubicBezTo>
                    <a:pt x="298" y="170"/>
                    <a:pt x="280" y="118"/>
                    <a:pt x="245" y="75"/>
                  </a:cubicBezTo>
                  <a:cubicBezTo>
                    <a:pt x="242" y="71"/>
                    <a:pt x="237" y="71"/>
                    <a:pt x="234" y="74"/>
                  </a:cubicBezTo>
                  <a:cubicBezTo>
                    <a:pt x="230" y="77"/>
                    <a:pt x="230" y="82"/>
                    <a:pt x="233" y="85"/>
                  </a:cubicBezTo>
                  <a:cubicBezTo>
                    <a:pt x="233" y="85"/>
                    <a:pt x="233" y="85"/>
                    <a:pt x="233" y="85"/>
                  </a:cubicBezTo>
                  <a:cubicBezTo>
                    <a:pt x="266" y="125"/>
                    <a:pt x="282" y="174"/>
                    <a:pt x="282" y="218"/>
                  </a:cubicBezTo>
                  <a:cubicBezTo>
                    <a:pt x="282" y="218"/>
                    <a:pt x="282" y="218"/>
                    <a:pt x="282" y="218"/>
                  </a:cubicBezTo>
                  <a:cubicBezTo>
                    <a:pt x="282" y="238"/>
                    <a:pt x="279" y="257"/>
                    <a:pt x="274" y="276"/>
                  </a:cubicBezTo>
                  <a:cubicBezTo>
                    <a:pt x="272" y="280"/>
                    <a:pt x="275" y="284"/>
                    <a:pt x="279" y="286"/>
                  </a:cubicBezTo>
                  <a:cubicBezTo>
                    <a:pt x="280" y="286"/>
                    <a:pt x="281" y="286"/>
                    <a:pt x="281" y="286"/>
                  </a:cubicBezTo>
                  <a:cubicBezTo>
                    <a:pt x="285" y="286"/>
                    <a:pt x="288" y="284"/>
                    <a:pt x="289" y="280"/>
                  </a:cubicBezTo>
                  <a:cubicBezTo>
                    <a:pt x="295" y="260"/>
                    <a:pt x="298" y="239"/>
                    <a:pt x="298" y="218"/>
                  </a:cubicBezTo>
                  <a:close/>
                  <a:moveTo>
                    <a:pt x="222" y="51"/>
                  </a:moveTo>
                  <a:cubicBezTo>
                    <a:pt x="180" y="17"/>
                    <a:pt x="128" y="0"/>
                    <a:pt x="80" y="0"/>
                  </a:cubicBezTo>
                  <a:cubicBezTo>
                    <a:pt x="59" y="0"/>
                    <a:pt x="38" y="3"/>
                    <a:pt x="18" y="9"/>
                  </a:cubicBezTo>
                  <a:cubicBezTo>
                    <a:pt x="13" y="10"/>
                    <a:pt x="11" y="15"/>
                    <a:pt x="12" y="19"/>
                  </a:cubicBezTo>
                  <a:cubicBezTo>
                    <a:pt x="14" y="23"/>
                    <a:pt x="18" y="25"/>
                    <a:pt x="22" y="24"/>
                  </a:cubicBezTo>
                  <a:cubicBezTo>
                    <a:pt x="22" y="24"/>
                    <a:pt x="22" y="24"/>
                    <a:pt x="22" y="24"/>
                  </a:cubicBezTo>
                  <a:cubicBezTo>
                    <a:pt x="41" y="18"/>
                    <a:pt x="61" y="16"/>
                    <a:pt x="80" y="16"/>
                  </a:cubicBezTo>
                  <a:cubicBezTo>
                    <a:pt x="124" y="16"/>
                    <a:pt x="173" y="32"/>
                    <a:pt x="212" y="64"/>
                  </a:cubicBezTo>
                  <a:cubicBezTo>
                    <a:pt x="214" y="65"/>
                    <a:pt x="215" y="65"/>
                    <a:pt x="217" y="65"/>
                  </a:cubicBezTo>
                  <a:cubicBezTo>
                    <a:pt x="220" y="65"/>
                    <a:pt x="222" y="64"/>
                    <a:pt x="223" y="63"/>
                  </a:cubicBezTo>
                  <a:cubicBezTo>
                    <a:pt x="226" y="59"/>
                    <a:pt x="226" y="54"/>
                    <a:pt x="22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grpSp>
      <p:sp>
        <p:nvSpPr>
          <p:cNvPr id="44" name="TextBox 43"/>
          <p:cNvSpPr txBox="1"/>
          <p:nvPr/>
        </p:nvSpPr>
        <p:spPr>
          <a:xfrm>
            <a:off x="5419725" y="3373438"/>
            <a:ext cx="1447800" cy="254000"/>
          </a:xfrm>
          <a:prstGeom prst="rect">
            <a:avLst/>
          </a:prstGeom>
          <a:noFill/>
          <a:extLst>
            <a:ext uri="{909E8E84-426E-40DD-AFC4-6F175D3DCCD1}">
              <a14:hiddenFill xmlns:a14="http://schemas.microsoft.com/office/drawing/2010/main">
                <a:solidFill>
                  <a:srgbClr val="00285F"/>
                </a:solidFill>
              </a14:hiddenFill>
            </a:ext>
          </a:ex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n-lt"/>
              </a:rPr>
              <a:t>NETWORK SLICING</a:t>
            </a:r>
          </a:p>
        </p:txBody>
      </p:sp>
      <p:grpSp>
        <p:nvGrpSpPr>
          <p:cNvPr id="15404" name="Group 57"/>
          <p:cNvGrpSpPr>
            <a:grpSpLocks/>
          </p:cNvGrpSpPr>
          <p:nvPr/>
        </p:nvGrpSpPr>
        <p:grpSpPr bwMode="auto">
          <a:xfrm>
            <a:off x="6870700" y="3392488"/>
            <a:ext cx="3090863" cy="187325"/>
            <a:chOff x="7613195" y="3441791"/>
            <a:chExt cx="2347574" cy="187210"/>
          </a:xfrm>
        </p:grpSpPr>
        <p:cxnSp>
          <p:nvCxnSpPr>
            <p:cNvPr id="148" name="Straight Connector 60"/>
            <p:cNvCxnSpPr>
              <a:cxnSpLocks noChangeShapeType="1"/>
            </p:cNvCxnSpPr>
            <p:nvPr>
              <p:custDataLst>
                <p:tags r:id="rId25"/>
              </p:custDataLst>
            </p:nvPr>
          </p:nvCxnSpPr>
          <p:spPr bwMode="auto">
            <a:xfrm>
              <a:off x="7613195" y="3441791"/>
              <a:ext cx="2347574" cy="1586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49" name="Straight Connector 61"/>
            <p:cNvCxnSpPr>
              <a:cxnSpLocks noChangeShapeType="1"/>
            </p:cNvCxnSpPr>
            <p:nvPr>
              <p:custDataLst>
                <p:tags r:id="rId26"/>
              </p:custDataLst>
            </p:nvPr>
          </p:nvCxnSpPr>
          <p:spPr bwMode="auto">
            <a:xfrm>
              <a:off x="7613195" y="3535396"/>
              <a:ext cx="23475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50" name="Straight Connector 62"/>
            <p:cNvCxnSpPr>
              <a:cxnSpLocks noChangeShapeType="1"/>
            </p:cNvCxnSpPr>
            <p:nvPr>
              <p:custDataLst>
                <p:tags r:id="rId27"/>
              </p:custDataLst>
            </p:nvPr>
          </p:nvCxnSpPr>
          <p:spPr bwMode="auto">
            <a:xfrm>
              <a:off x="7613195" y="3629001"/>
              <a:ext cx="23475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grpSp>
        <p:nvGrpSpPr>
          <p:cNvPr id="15405" name="Group 157"/>
          <p:cNvGrpSpPr>
            <a:grpSpLocks/>
          </p:cNvGrpSpPr>
          <p:nvPr/>
        </p:nvGrpSpPr>
        <p:grpSpPr bwMode="auto">
          <a:xfrm>
            <a:off x="3346450" y="4443413"/>
            <a:ext cx="323850" cy="312737"/>
            <a:chOff x="10080561" y="5420759"/>
            <a:chExt cx="324000" cy="324000"/>
          </a:xfrm>
        </p:grpSpPr>
        <p:sp>
          <p:nvSpPr>
            <p:cNvPr id="15411" name="Oval 158"/>
            <p:cNvSpPr>
              <a:spLocks noChangeAspect="1"/>
            </p:cNvSpPr>
            <p:nvPr/>
          </p:nvSpPr>
          <p:spPr bwMode="auto">
            <a:xfrm>
              <a:off x="10080561" y="5420759"/>
              <a:ext cx="324000" cy="324000"/>
            </a:xfrm>
            <a:prstGeom prst="ellipse">
              <a:avLst/>
            </a:prstGeom>
            <a:noFill/>
            <a:ln w="25400">
              <a:solidFill>
                <a:srgbClr val="FFFFFF"/>
              </a:solidFill>
              <a:round/>
              <a:headEnd/>
              <a:tailEnd/>
            </a:ln>
            <a:extLst>
              <a:ext uri="{909E8E84-426E-40DD-AFC4-6F175D3DCCD1}">
                <a14:hiddenFill xmlns:a14="http://schemas.microsoft.com/office/drawing/2010/main">
                  <a:solidFill>
                    <a:srgbClr val="F08A00"/>
                  </a:solidFill>
                </a14:hiddenFill>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sv-SE" sz="2000" b="0" i="0" u="none" strike="noStrike" kern="0" cap="none" spc="0" normalizeH="0" baseline="0" noProof="0">
                <a:ln>
                  <a:noFill/>
                </a:ln>
                <a:solidFill>
                  <a:schemeClr val="tx1"/>
                </a:solidFill>
                <a:effectLst/>
                <a:uLnTx/>
                <a:uFillTx/>
                <a:latin typeface="+mn-lt"/>
                <a:cs typeface="Arial" panose="020B0604020202020204" pitchFamily="34" charset="0"/>
              </a:endParaRPr>
            </a:p>
          </p:txBody>
        </p:sp>
        <p:sp>
          <p:nvSpPr>
            <p:cNvPr id="15412" name="Freeform 6"/>
            <p:cNvSpPr>
              <a:spLocks noChangeAspect="1" noEditPoints="1"/>
            </p:cNvSpPr>
            <p:nvPr/>
          </p:nvSpPr>
          <p:spPr bwMode="auto">
            <a:xfrm>
              <a:off x="10168519" y="5482340"/>
              <a:ext cx="174462" cy="174462"/>
            </a:xfrm>
            <a:custGeom>
              <a:avLst/>
              <a:gdLst>
                <a:gd name="T0" fmla="*/ 2147483646 w 298"/>
                <a:gd name="T1" fmla="*/ 2147483646 h 298"/>
                <a:gd name="T2" fmla="*/ 2147483646 w 298"/>
                <a:gd name="T3" fmla="*/ 2147483646 h 298"/>
                <a:gd name="T4" fmla="*/ 2147483646 w 298"/>
                <a:gd name="T5" fmla="*/ 2147483646 h 298"/>
                <a:gd name="T6" fmla="*/ 2147483646 w 298"/>
                <a:gd name="T7" fmla="*/ 2147483646 h 298"/>
                <a:gd name="T8" fmla="*/ 2147483646 w 298"/>
                <a:gd name="T9" fmla="*/ 2147483646 h 298"/>
                <a:gd name="T10" fmla="*/ 2147483646 w 298"/>
                <a:gd name="T11" fmla="*/ 2147483646 h 298"/>
                <a:gd name="T12" fmla="*/ 2147483646 w 298"/>
                <a:gd name="T13" fmla="*/ 2147483646 h 298"/>
                <a:gd name="T14" fmla="*/ 2147483646 w 298"/>
                <a:gd name="T15" fmla="*/ 2147483646 h 298"/>
                <a:gd name="T16" fmla="*/ 2147483646 w 298"/>
                <a:gd name="T17" fmla="*/ 2147483646 h 298"/>
                <a:gd name="T18" fmla="*/ 2147483646 w 298"/>
                <a:gd name="T19" fmla="*/ 2147483646 h 298"/>
                <a:gd name="T20" fmla="*/ 2147483646 w 298"/>
                <a:gd name="T21" fmla="*/ 2147483646 h 298"/>
                <a:gd name="T22" fmla="*/ 2147483646 w 298"/>
                <a:gd name="T23" fmla="*/ 2147483646 h 298"/>
                <a:gd name="T24" fmla="*/ 2147483646 w 298"/>
                <a:gd name="T25" fmla="*/ 2147483646 h 298"/>
                <a:gd name="T26" fmla="*/ 2147483646 w 298"/>
                <a:gd name="T27" fmla="*/ 2147483646 h 298"/>
                <a:gd name="T28" fmla="*/ 2147483646 w 298"/>
                <a:gd name="T29" fmla="*/ 2147483646 h 298"/>
                <a:gd name="T30" fmla="*/ 2147483646 w 298"/>
                <a:gd name="T31" fmla="*/ 2147483646 h 298"/>
                <a:gd name="T32" fmla="*/ 2147483646 w 298"/>
                <a:gd name="T33" fmla="*/ 2147483646 h 298"/>
                <a:gd name="T34" fmla="*/ 0 w 298"/>
                <a:gd name="T35" fmla="*/ 2147483646 h 298"/>
                <a:gd name="T36" fmla="*/ 2147483646 w 298"/>
                <a:gd name="T37" fmla="*/ 2147483646 h 298"/>
                <a:gd name="T38" fmla="*/ 2147483646 w 298"/>
                <a:gd name="T39" fmla="*/ 2147483646 h 298"/>
                <a:gd name="T40" fmla="*/ 2147483646 w 298"/>
                <a:gd name="T41" fmla="*/ 2147483646 h 298"/>
                <a:gd name="T42" fmla="*/ 2147483646 w 298"/>
                <a:gd name="T43" fmla="*/ 2147483646 h 298"/>
                <a:gd name="T44" fmla="*/ 2147483646 w 298"/>
                <a:gd name="T45" fmla="*/ 2147483646 h 298"/>
                <a:gd name="T46" fmla="*/ 2147483646 w 298"/>
                <a:gd name="T47" fmla="*/ 2147483646 h 298"/>
                <a:gd name="T48" fmla="*/ 2147483646 w 298"/>
                <a:gd name="T49" fmla="*/ 2147483646 h 298"/>
                <a:gd name="T50" fmla="*/ 2147483646 w 298"/>
                <a:gd name="T51" fmla="*/ 2147483646 h 298"/>
                <a:gd name="T52" fmla="*/ 2147483646 w 298"/>
                <a:gd name="T53" fmla="*/ 2147483646 h 298"/>
                <a:gd name="T54" fmla="*/ 2147483646 w 298"/>
                <a:gd name="T55" fmla="*/ 2147483646 h 298"/>
                <a:gd name="T56" fmla="*/ 2147483646 w 298"/>
                <a:gd name="T57" fmla="*/ 2147483646 h 298"/>
                <a:gd name="T58" fmla="*/ 2147483646 w 298"/>
                <a:gd name="T59" fmla="*/ 2147483646 h 298"/>
                <a:gd name="T60" fmla="*/ 2147483646 w 298"/>
                <a:gd name="T61" fmla="*/ 2147483646 h 298"/>
                <a:gd name="T62" fmla="*/ 2147483646 w 298"/>
                <a:gd name="T63" fmla="*/ 2147483646 h 298"/>
                <a:gd name="T64" fmla="*/ 2147483646 w 298"/>
                <a:gd name="T65" fmla="*/ 2147483646 h 298"/>
                <a:gd name="T66" fmla="*/ 2147483646 w 298"/>
                <a:gd name="T67" fmla="*/ 2147483646 h 298"/>
                <a:gd name="T68" fmla="*/ 2147483646 w 298"/>
                <a:gd name="T69" fmla="*/ 2147483646 h 298"/>
                <a:gd name="T70" fmla="*/ 2147483646 w 298"/>
                <a:gd name="T71" fmla="*/ 2147483646 h 298"/>
                <a:gd name="T72" fmla="*/ 2147483646 w 298"/>
                <a:gd name="T73" fmla="*/ 2147483646 h 298"/>
                <a:gd name="T74" fmla="*/ 2147483646 w 298"/>
                <a:gd name="T75" fmla="*/ 2147483646 h 298"/>
                <a:gd name="T76" fmla="*/ 2147483646 w 298"/>
                <a:gd name="T77" fmla="*/ 2147483646 h 298"/>
                <a:gd name="T78" fmla="*/ 2147483646 w 298"/>
                <a:gd name="T79" fmla="*/ 2147483646 h 298"/>
                <a:gd name="T80" fmla="*/ 2147483646 w 298"/>
                <a:gd name="T81" fmla="*/ 0 h 298"/>
                <a:gd name="T82" fmla="*/ 2147483646 w 298"/>
                <a:gd name="T83" fmla="*/ 2147483646 h 298"/>
                <a:gd name="T84" fmla="*/ 2147483646 w 298"/>
                <a:gd name="T85" fmla="*/ 2147483646 h 298"/>
                <a:gd name="T86" fmla="*/ 2147483646 w 298"/>
                <a:gd name="T87" fmla="*/ 2147483646 h 298"/>
                <a:gd name="T88" fmla="*/ 2147483646 w 298"/>
                <a:gd name="T89" fmla="*/ 2147483646 h 298"/>
                <a:gd name="T90" fmla="*/ 2147483646 w 298"/>
                <a:gd name="T91" fmla="*/ 2147483646 h 298"/>
                <a:gd name="T92" fmla="*/ 2147483646 w 298"/>
                <a:gd name="T93" fmla="*/ 2147483646 h 298"/>
                <a:gd name="T94" fmla="*/ 2147483646 w 298"/>
                <a:gd name="T95" fmla="*/ 2147483646 h 298"/>
                <a:gd name="T96" fmla="*/ 2147483646 w 298"/>
                <a:gd name="T97" fmla="*/ 2147483646 h 298"/>
                <a:gd name="T98" fmla="*/ 2147483646 w 298"/>
                <a:gd name="T99" fmla="*/ 2147483646 h 2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8" h="298">
                  <a:moveTo>
                    <a:pt x="181" y="117"/>
                  </a:moveTo>
                  <a:cubicBezTo>
                    <a:pt x="153" y="89"/>
                    <a:pt x="117" y="75"/>
                    <a:pt x="80" y="75"/>
                  </a:cubicBezTo>
                  <a:cubicBezTo>
                    <a:pt x="59" y="75"/>
                    <a:pt x="38" y="80"/>
                    <a:pt x="19" y="89"/>
                  </a:cubicBezTo>
                  <a:cubicBezTo>
                    <a:pt x="15" y="91"/>
                    <a:pt x="13" y="96"/>
                    <a:pt x="15" y="100"/>
                  </a:cubicBezTo>
                  <a:cubicBezTo>
                    <a:pt x="17" y="104"/>
                    <a:pt x="22" y="106"/>
                    <a:pt x="26" y="104"/>
                  </a:cubicBezTo>
                  <a:cubicBezTo>
                    <a:pt x="43" y="95"/>
                    <a:pt x="62" y="91"/>
                    <a:pt x="80" y="91"/>
                  </a:cubicBezTo>
                  <a:cubicBezTo>
                    <a:pt x="113" y="91"/>
                    <a:pt x="145" y="104"/>
                    <a:pt x="170" y="128"/>
                  </a:cubicBezTo>
                  <a:cubicBezTo>
                    <a:pt x="194" y="153"/>
                    <a:pt x="206" y="185"/>
                    <a:pt x="207" y="217"/>
                  </a:cubicBezTo>
                  <a:cubicBezTo>
                    <a:pt x="207" y="218"/>
                    <a:pt x="207" y="218"/>
                    <a:pt x="207" y="218"/>
                  </a:cubicBezTo>
                  <a:cubicBezTo>
                    <a:pt x="206" y="237"/>
                    <a:pt x="202" y="256"/>
                    <a:pt x="193" y="273"/>
                  </a:cubicBezTo>
                  <a:cubicBezTo>
                    <a:pt x="191" y="277"/>
                    <a:pt x="193" y="282"/>
                    <a:pt x="197" y="284"/>
                  </a:cubicBezTo>
                  <a:cubicBezTo>
                    <a:pt x="198" y="285"/>
                    <a:pt x="199" y="285"/>
                    <a:pt x="201" y="285"/>
                  </a:cubicBezTo>
                  <a:cubicBezTo>
                    <a:pt x="204" y="285"/>
                    <a:pt x="206" y="283"/>
                    <a:pt x="208" y="281"/>
                  </a:cubicBezTo>
                  <a:cubicBezTo>
                    <a:pt x="218" y="261"/>
                    <a:pt x="222" y="240"/>
                    <a:pt x="223" y="218"/>
                  </a:cubicBezTo>
                  <a:cubicBezTo>
                    <a:pt x="223" y="218"/>
                    <a:pt x="223" y="218"/>
                    <a:pt x="223" y="217"/>
                  </a:cubicBezTo>
                  <a:cubicBezTo>
                    <a:pt x="223" y="181"/>
                    <a:pt x="209" y="145"/>
                    <a:pt x="181" y="117"/>
                  </a:cubicBezTo>
                  <a:close/>
                  <a:moveTo>
                    <a:pt x="76" y="147"/>
                  </a:moveTo>
                  <a:cubicBezTo>
                    <a:pt x="34" y="147"/>
                    <a:pt x="0" y="181"/>
                    <a:pt x="0" y="222"/>
                  </a:cubicBezTo>
                  <a:cubicBezTo>
                    <a:pt x="0" y="264"/>
                    <a:pt x="34" y="298"/>
                    <a:pt x="76" y="298"/>
                  </a:cubicBezTo>
                  <a:cubicBezTo>
                    <a:pt x="117" y="298"/>
                    <a:pt x="151" y="264"/>
                    <a:pt x="151" y="222"/>
                  </a:cubicBezTo>
                  <a:cubicBezTo>
                    <a:pt x="151" y="181"/>
                    <a:pt x="117" y="147"/>
                    <a:pt x="76" y="147"/>
                  </a:cubicBezTo>
                  <a:close/>
                  <a:moveTo>
                    <a:pt x="76" y="282"/>
                  </a:moveTo>
                  <a:cubicBezTo>
                    <a:pt x="43" y="282"/>
                    <a:pt x="16" y="255"/>
                    <a:pt x="16" y="222"/>
                  </a:cubicBezTo>
                  <a:cubicBezTo>
                    <a:pt x="16" y="189"/>
                    <a:pt x="43" y="163"/>
                    <a:pt x="76" y="163"/>
                  </a:cubicBezTo>
                  <a:cubicBezTo>
                    <a:pt x="108" y="163"/>
                    <a:pt x="135" y="189"/>
                    <a:pt x="135" y="222"/>
                  </a:cubicBezTo>
                  <a:cubicBezTo>
                    <a:pt x="135" y="255"/>
                    <a:pt x="108" y="282"/>
                    <a:pt x="76" y="282"/>
                  </a:cubicBezTo>
                  <a:close/>
                  <a:moveTo>
                    <a:pt x="298" y="218"/>
                  </a:moveTo>
                  <a:cubicBezTo>
                    <a:pt x="298" y="218"/>
                    <a:pt x="298" y="218"/>
                    <a:pt x="298" y="218"/>
                  </a:cubicBezTo>
                  <a:cubicBezTo>
                    <a:pt x="298" y="170"/>
                    <a:pt x="280" y="118"/>
                    <a:pt x="245" y="75"/>
                  </a:cubicBezTo>
                  <a:cubicBezTo>
                    <a:pt x="242" y="71"/>
                    <a:pt x="237" y="71"/>
                    <a:pt x="234" y="74"/>
                  </a:cubicBezTo>
                  <a:cubicBezTo>
                    <a:pt x="230" y="77"/>
                    <a:pt x="230" y="82"/>
                    <a:pt x="233" y="85"/>
                  </a:cubicBezTo>
                  <a:cubicBezTo>
                    <a:pt x="233" y="85"/>
                    <a:pt x="233" y="85"/>
                    <a:pt x="233" y="85"/>
                  </a:cubicBezTo>
                  <a:cubicBezTo>
                    <a:pt x="266" y="125"/>
                    <a:pt x="282" y="174"/>
                    <a:pt x="282" y="218"/>
                  </a:cubicBezTo>
                  <a:cubicBezTo>
                    <a:pt x="282" y="218"/>
                    <a:pt x="282" y="218"/>
                    <a:pt x="282" y="218"/>
                  </a:cubicBezTo>
                  <a:cubicBezTo>
                    <a:pt x="282" y="238"/>
                    <a:pt x="279" y="257"/>
                    <a:pt x="274" y="276"/>
                  </a:cubicBezTo>
                  <a:cubicBezTo>
                    <a:pt x="272" y="280"/>
                    <a:pt x="275" y="284"/>
                    <a:pt x="279" y="286"/>
                  </a:cubicBezTo>
                  <a:cubicBezTo>
                    <a:pt x="280" y="286"/>
                    <a:pt x="281" y="286"/>
                    <a:pt x="281" y="286"/>
                  </a:cubicBezTo>
                  <a:cubicBezTo>
                    <a:pt x="285" y="286"/>
                    <a:pt x="288" y="284"/>
                    <a:pt x="289" y="280"/>
                  </a:cubicBezTo>
                  <a:cubicBezTo>
                    <a:pt x="295" y="260"/>
                    <a:pt x="298" y="239"/>
                    <a:pt x="298" y="218"/>
                  </a:cubicBezTo>
                  <a:close/>
                  <a:moveTo>
                    <a:pt x="222" y="51"/>
                  </a:moveTo>
                  <a:cubicBezTo>
                    <a:pt x="180" y="17"/>
                    <a:pt x="128" y="0"/>
                    <a:pt x="80" y="0"/>
                  </a:cubicBezTo>
                  <a:cubicBezTo>
                    <a:pt x="59" y="0"/>
                    <a:pt x="38" y="3"/>
                    <a:pt x="18" y="9"/>
                  </a:cubicBezTo>
                  <a:cubicBezTo>
                    <a:pt x="13" y="10"/>
                    <a:pt x="11" y="15"/>
                    <a:pt x="12" y="19"/>
                  </a:cubicBezTo>
                  <a:cubicBezTo>
                    <a:pt x="14" y="23"/>
                    <a:pt x="18" y="25"/>
                    <a:pt x="22" y="24"/>
                  </a:cubicBezTo>
                  <a:cubicBezTo>
                    <a:pt x="22" y="24"/>
                    <a:pt x="22" y="24"/>
                    <a:pt x="22" y="24"/>
                  </a:cubicBezTo>
                  <a:cubicBezTo>
                    <a:pt x="41" y="18"/>
                    <a:pt x="61" y="16"/>
                    <a:pt x="80" y="16"/>
                  </a:cubicBezTo>
                  <a:cubicBezTo>
                    <a:pt x="124" y="16"/>
                    <a:pt x="173" y="32"/>
                    <a:pt x="212" y="64"/>
                  </a:cubicBezTo>
                  <a:cubicBezTo>
                    <a:pt x="214" y="65"/>
                    <a:pt x="215" y="65"/>
                    <a:pt x="217" y="65"/>
                  </a:cubicBezTo>
                  <a:cubicBezTo>
                    <a:pt x="220" y="65"/>
                    <a:pt x="222" y="64"/>
                    <a:pt x="223" y="63"/>
                  </a:cubicBezTo>
                  <a:cubicBezTo>
                    <a:pt x="226" y="59"/>
                    <a:pt x="226" y="54"/>
                    <a:pt x="22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grpSp>
      <p:sp>
        <p:nvSpPr>
          <p:cNvPr id="15406" name="Freeform 7"/>
          <p:cNvSpPr>
            <a:spLocks noChangeAspect="1"/>
          </p:cNvSpPr>
          <p:nvPr/>
        </p:nvSpPr>
        <p:spPr bwMode="auto">
          <a:xfrm>
            <a:off x="2532063" y="5394325"/>
            <a:ext cx="7453312" cy="685800"/>
          </a:xfrm>
          <a:custGeom>
            <a:avLst/>
            <a:gdLst>
              <a:gd name="T0" fmla="*/ 2147483646 w 2234"/>
              <a:gd name="T1" fmla="*/ 2147483646 h 227"/>
              <a:gd name="T2" fmla="*/ 0 w 2234"/>
              <a:gd name="T3" fmla="*/ 2147483646 h 227"/>
              <a:gd name="T4" fmla="*/ 0 w 2234"/>
              <a:gd name="T5" fmla="*/ 2147483646 h 227"/>
              <a:gd name="T6" fmla="*/ 0 w 2234"/>
              <a:gd name="T7" fmla="*/ 2147483646 h 227"/>
              <a:gd name="T8" fmla="*/ 2147483646 w 2234"/>
              <a:gd name="T9" fmla="*/ 0 h 227"/>
              <a:gd name="T10" fmla="*/ 2147483646 w 2234"/>
              <a:gd name="T11" fmla="*/ 0 h 227"/>
              <a:gd name="T12" fmla="*/ 2147483646 w 2234"/>
              <a:gd name="T13" fmla="*/ 0 h 227"/>
              <a:gd name="T14" fmla="*/ 2147483646 w 2234"/>
              <a:gd name="T15" fmla="*/ 2147483646 h 227"/>
              <a:gd name="T16" fmla="*/ 2147483646 w 2234"/>
              <a:gd name="T17" fmla="*/ 2147483646 h 227"/>
              <a:gd name="T18" fmla="*/ 2147483646 w 2234"/>
              <a:gd name="T19" fmla="*/ 2147483646 h 227"/>
              <a:gd name="T20" fmla="*/ 2147483646 w 2234"/>
              <a:gd name="T21" fmla="*/ 2147483646 h 227"/>
              <a:gd name="T22" fmla="*/ 2147483646 w 2234"/>
              <a:gd name="T23" fmla="*/ 2147483646 h 227"/>
              <a:gd name="T24" fmla="*/ 2147483646 w 2234"/>
              <a:gd name="T25" fmla="*/ 2147483646 h 227"/>
              <a:gd name="T26" fmla="*/ 2147483646 w 2234"/>
              <a:gd name="T27" fmla="*/ 2147483646 h 227"/>
              <a:gd name="T28" fmla="*/ 2147483646 w 2234"/>
              <a:gd name="T29" fmla="*/ 2147483646 h 227"/>
              <a:gd name="T30" fmla="*/ 2147483646 w 2234"/>
              <a:gd name="T31" fmla="*/ 2147483646 h 227"/>
              <a:gd name="T32" fmla="*/ 2147483646 w 2234"/>
              <a:gd name="T33" fmla="*/ 2147483646 h 227"/>
              <a:gd name="T34" fmla="*/ 2147483646 w 2234"/>
              <a:gd name="T35" fmla="*/ 2147483646 h 227"/>
              <a:gd name="T36" fmla="*/ 2147483646 w 2234"/>
              <a:gd name="T37" fmla="*/ 2147483646 h 227"/>
              <a:gd name="T38" fmla="*/ 2147483646 w 2234"/>
              <a:gd name="T39" fmla="*/ 2147483646 h 227"/>
              <a:gd name="T40" fmla="*/ 2147483646 w 2234"/>
              <a:gd name="T41" fmla="*/ 2147483646 h 227"/>
              <a:gd name="T42" fmla="*/ 2147483646 w 2234"/>
              <a:gd name="T43" fmla="*/ 2147483646 h 227"/>
              <a:gd name="T44" fmla="*/ 2147483646 w 2234"/>
              <a:gd name="T45" fmla="*/ 2147483646 h 227"/>
              <a:gd name="T46" fmla="*/ 2147483646 w 2234"/>
              <a:gd name="T47" fmla="*/ 2147483646 h 227"/>
              <a:gd name="T48" fmla="*/ 2147483646 w 2234"/>
              <a:gd name="T49" fmla="*/ 2147483646 h 227"/>
              <a:gd name="T50" fmla="*/ 2147483646 w 2234"/>
              <a:gd name="T51" fmla="*/ 2147483646 h 227"/>
              <a:gd name="T52" fmla="*/ 2147483646 w 2234"/>
              <a:gd name="T53" fmla="*/ 2147483646 h 227"/>
              <a:gd name="T54" fmla="*/ 2147483646 w 2234"/>
              <a:gd name="T55" fmla="*/ 2147483646 h 227"/>
              <a:gd name="T56" fmla="*/ 2147483646 w 2234"/>
              <a:gd name="T57" fmla="*/ 2147483646 h 227"/>
              <a:gd name="T58" fmla="*/ 2147483646 w 2234"/>
              <a:gd name="T59" fmla="*/ 2147483646 h 227"/>
              <a:gd name="T60" fmla="*/ 2147483646 w 2234"/>
              <a:gd name="T61" fmla="*/ 2147483646 h 227"/>
              <a:gd name="T62" fmla="*/ 2147483646 w 2234"/>
              <a:gd name="T63" fmla="*/ 2147483646 h 227"/>
              <a:gd name="T64" fmla="*/ 2147483646 w 2234"/>
              <a:gd name="T65" fmla="*/ 2147483646 h 227"/>
              <a:gd name="T66" fmla="*/ 2147483646 w 2234"/>
              <a:gd name="T67" fmla="*/ 2147483646 h 227"/>
              <a:gd name="T68" fmla="*/ 2147483646 w 2234"/>
              <a:gd name="T69" fmla="*/ 2147483646 h 227"/>
              <a:gd name="T70" fmla="*/ 2147483646 w 2234"/>
              <a:gd name="T71" fmla="*/ 2147483646 h 2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34"/>
              <a:gd name="T109" fmla="*/ 0 h 227"/>
              <a:gd name="T110" fmla="*/ 2234 w 2234"/>
              <a:gd name="T111" fmla="*/ 227 h 2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34"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2203" y="0"/>
                  <a:pt x="2203" y="0"/>
                  <a:pt x="2203" y="0"/>
                </a:cubicBezTo>
                <a:cubicBezTo>
                  <a:pt x="2220" y="0"/>
                  <a:pt x="2234" y="13"/>
                  <a:pt x="2234" y="30"/>
                </a:cubicBezTo>
                <a:cubicBezTo>
                  <a:pt x="2234" y="30"/>
                  <a:pt x="2234" y="30"/>
                  <a:pt x="2234" y="30"/>
                </a:cubicBezTo>
                <a:cubicBezTo>
                  <a:pt x="2234" y="52"/>
                  <a:pt x="2234" y="52"/>
                  <a:pt x="2234" y="52"/>
                </a:cubicBezTo>
                <a:cubicBezTo>
                  <a:pt x="2234" y="57"/>
                  <a:pt x="2230" y="60"/>
                  <a:pt x="2226" y="60"/>
                </a:cubicBezTo>
                <a:cubicBezTo>
                  <a:pt x="2226" y="60"/>
                  <a:pt x="2226" y="60"/>
                  <a:pt x="2226" y="60"/>
                </a:cubicBezTo>
                <a:cubicBezTo>
                  <a:pt x="2221" y="60"/>
                  <a:pt x="2218" y="57"/>
                  <a:pt x="2218" y="52"/>
                </a:cubicBezTo>
                <a:cubicBezTo>
                  <a:pt x="2218" y="52"/>
                  <a:pt x="2218" y="52"/>
                  <a:pt x="2218" y="52"/>
                </a:cubicBezTo>
                <a:cubicBezTo>
                  <a:pt x="2218" y="30"/>
                  <a:pt x="2218" y="30"/>
                  <a:pt x="2218" y="30"/>
                </a:cubicBezTo>
                <a:cubicBezTo>
                  <a:pt x="2218" y="22"/>
                  <a:pt x="2211" y="16"/>
                  <a:pt x="2203" y="16"/>
                </a:cubicBezTo>
                <a:cubicBezTo>
                  <a:pt x="2203" y="16"/>
                  <a:pt x="2203" y="16"/>
                  <a:pt x="2203"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2203" y="211"/>
                  <a:pt x="2203" y="211"/>
                  <a:pt x="2203" y="211"/>
                </a:cubicBezTo>
                <a:cubicBezTo>
                  <a:pt x="2211" y="211"/>
                  <a:pt x="2218" y="204"/>
                  <a:pt x="2218" y="196"/>
                </a:cubicBezTo>
                <a:cubicBezTo>
                  <a:pt x="2218" y="196"/>
                  <a:pt x="2218" y="196"/>
                  <a:pt x="2218" y="196"/>
                </a:cubicBezTo>
                <a:cubicBezTo>
                  <a:pt x="2218" y="82"/>
                  <a:pt x="2218" y="82"/>
                  <a:pt x="2218" y="82"/>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196"/>
                  <a:pt x="2234" y="196"/>
                  <a:pt x="2234" y="196"/>
                </a:cubicBezTo>
                <a:cubicBezTo>
                  <a:pt x="2234" y="213"/>
                  <a:pt x="2220" y="227"/>
                  <a:pt x="2203" y="227"/>
                </a:cubicBezTo>
                <a:cubicBezTo>
                  <a:pt x="2203" y="227"/>
                  <a:pt x="2203" y="227"/>
                  <a:pt x="2203" y="227"/>
                </a:cubicBezTo>
                <a:cubicBezTo>
                  <a:pt x="31" y="227"/>
                  <a:pt x="31" y="227"/>
                  <a:pt x="31"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SE" sz="1600" b="0" i="0" u="none" strike="noStrike" kern="0" cap="none" spc="0" normalizeH="0" baseline="0" noProof="0">
                <a:ln>
                  <a:noFill/>
                </a:ln>
                <a:solidFill>
                  <a:srgbClr val="FFFFFF"/>
                </a:solidFill>
                <a:effectLst/>
                <a:uLnTx/>
                <a:uFillTx/>
                <a:latin typeface="+mn-lt"/>
                <a:ea typeface="MS PGothic" panose="020B0600070205080204" pitchFamily="34" charset="-128"/>
              </a:rPr>
              <a:t>Transport</a:t>
            </a:r>
          </a:p>
        </p:txBody>
      </p:sp>
      <p:sp>
        <p:nvSpPr>
          <p:cNvPr id="15407" name="Freeform 3"/>
          <p:cNvSpPr>
            <a:spLocks noChangeAspect="1" noEditPoints="1"/>
          </p:cNvSpPr>
          <p:nvPr/>
        </p:nvSpPr>
        <p:spPr bwMode="auto">
          <a:xfrm>
            <a:off x="3716338" y="4706938"/>
            <a:ext cx="371475" cy="441325"/>
          </a:xfrm>
          <a:custGeom>
            <a:avLst/>
            <a:gdLst>
              <a:gd name="T0" fmla="*/ 2147483646 w 294"/>
              <a:gd name="T1" fmla="*/ 2147483646 h 350"/>
              <a:gd name="T2" fmla="*/ 2147483646 w 294"/>
              <a:gd name="T3" fmla="*/ 2147483646 h 350"/>
              <a:gd name="T4" fmla="*/ 2147483646 w 294"/>
              <a:gd name="T5" fmla="*/ 2147483646 h 350"/>
              <a:gd name="T6" fmla="*/ 2147483646 w 294"/>
              <a:gd name="T7" fmla="*/ 2147483646 h 350"/>
              <a:gd name="T8" fmla="*/ 2147483646 w 294"/>
              <a:gd name="T9" fmla="*/ 2147483646 h 350"/>
              <a:gd name="T10" fmla="*/ 2147483646 w 294"/>
              <a:gd name="T11" fmla="*/ 2147483646 h 350"/>
              <a:gd name="T12" fmla="*/ 2147483646 w 294"/>
              <a:gd name="T13" fmla="*/ 2147483646 h 350"/>
              <a:gd name="T14" fmla="*/ 2147483646 w 294"/>
              <a:gd name="T15" fmla="*/ 2147483646 h 350"/>
              <a:gd name="T16" fmla="*/ 2147483646 w 294"/>
              <a:gd name="T17" fmla="*/ 2147483646 h 350"/>
              <a:gd name="T18" fmla="*/ 2147483646 w 294"/>
              <a:gd name="T19" fmla="*/ 2147483646 h 350"/>
              <a:gd name="T20" fmla="*/ 0 w 294"/>
              <a:gd name="T21" fmla="*/ 2147483646 h 350"/>
              <a:gd name="T22" fmla="*/ 2147483646 w 294"/>
              <a:gd name="T23" fmla="*/ 2147483646 h 350"/>
              <a:gd name="T24" fmla="*/ 2147483646 w 294"/>
              <a:gd name="T25" fmla="*/ 2147483646 h 350"/>
              <a:gd name="T26" fmla="*/ 2147483646 w 294"/>
              <a:gd name="T27" fmla="*/ 2147483646 h 350"/>
              <a:gd name="T28" fmla="*/ 2147483646 w 294"/>
              <a:gd name="T29" fmla="*/ 2147483646 h 350"/>
              <a:gd name="T30" fmla="*/ 2147483646 w 294"/>
              <a:gd name="T31" fmla="*/ 2147483646 h 350"/>
              <a:gd name="T32" fmla="*/ 2147483646 w 294"/>
              <a:gd name="T33" fmla="*/ 2147483646 h 350"/>
              <a:gd name="T34" fmla="*/ 2147483646 w 294"/>
              <a:gd name="T35" fmla="*/ 2147483646 h 350"/>
              <a:gd name="T36" fmla="*/ 2147483646 w 294"/>
              <a:gd name="T37" fmla="*/ 2147483646 h 350"/>
              <a:gd name="T38" fmla="*/ 2147483646 w 294"/>
              <a:gd name="T39" fmla="*/ 2147483646 h 350"/>
              <a:gd name="T40" fmla="*/ 2147483646 w 294"/>
              <a:gd name="T41" fmla="*/ 2147483646 h 350"/>
              <a:gd name="T42" fmla="*/ 2147483646 w 294"/>
              <a:gd name="T43" fmla="*/ 2147483646 h 350"/>
              <a:gd name="T44" fmla="*/ 2147483646 w 294"/>
              <a:gd name="T45" fmla="*/ 2147483646 h 350"/>
              <a:gd name="T46" fmla="*/ 2147483646 w 294"/>
              <a:gd name="T47" fmla="*/ 2147483646 h 350"/>
              <a:gd name="T48" fmla="*/ 2147483646 w 294"/>
              <a:gd name="T49" fmla="*/ 2147483646 h 350"/>
              <a:gd name="T50" fmla="*/ 2147483646 w 294"/>
              <a:gd name="T51" fmla="*/ 2147483646 h 350"/>
              <a:gd name="T52" fmla="*/ 2147483646 w 294"/>
              <a:gd name="T53" fmla="*/ 2147483646 h 350"/>
              <a:gd name="T54" fmla="*/ 2147483646 w 294"/>
              <a:gd name="T55" fmla="*/ 2147483646 h 350"/>
              <a:gd name="T56" fmla="*/ 2147483646 w 294"/>
              <a:gd name="T57" fmla="*/ 2147483646 h 350"/>
              <a:gd name="T58" fmla="*/ 2147483646 w 294"/>
              <a:gd name="T59" fmla="*/ 2147483646 h 350"/>
              <a:gd name="T60" fmla="*/ 2147483646 w 294"/>
              <a:gd name="T61" fmla="*/ 2147483646 h 350"/>
              <a:gd name="T62" fmla="*/ 2147483646 w 294"/>
              <a:gd name="T63" fmla="*/ 2147483646 h 350"/>
              <a:gd name="T64" fmla="*/ 2147483646 w 294"/>
              <a:gd name="T65" fmla="*/ 2147483646 h 350"/>
              <a:gd name="T66" fmla="*/ 2147483646 w 294"/>
              <a:gd name="T67" fmla="*/ 2147483646 h 350"/>
              <a:gd name="T68" fmla="*/ 2147483646 w 294"/>
              <a:gd name="T69" fmla="*/ 2147483646 h 350"/>
              <a:gd name="T70" fmla="*/ 2147483646 w 294"/>
              <a:gd name="T71" fmla="*/ 2147483646 h 350"/>
              <a:gd name="T72" fmla="*/ 2147483646 w 294"/>
              <a:gd name="T73" fmla="*/ 2147483646 h 350"/>
              <a:gd name="T74" fmla="*/ 2147483646 w 294"/>
              <a:gd name="T75" fmla="*/ 2147483646 h 350"/>
              <a:gd name="T76" fmla="*/ 2147483646 w 294"/>
              <a:gd name="T77" fmla="*/ 2147483646 h 350"/>
              <a:gd name="T78" fmla="*/ 2147483646 w 294"/>
              <a:gd name="T79" fmla="*/ 2147483646 h 350"/>
              <a:gd name="T80" fmla="*/ 2147483646 w 294"/>
              <a:gd name="T81" fmla="*/ 2147483646 h 350"/>
              <a:gd name="T82" fmla="*/ 2147483646 w 294"/>
              <a:gd name="T83" fmla="*/ 2147483646 h 350"/>
              <a:gd name="T84" fmla="*/ 2147483646 w 294"/>
              <a:gd name="T85" fmla="*/ 2147483646 h 350"/>
              <a:gd name="T86" fmla="*/ 2147483646 w 294"/>
              <a:gd name="T87" fmla="*/ 2147483646 h 350"/>
              <a:gd name="T88" fmla="*/ 2147483646 w 294"/>
              <a:gd name="T89" fmla="*/ 2147483646 h 350"/>
              <a:gd name="T90" fmla="*/ 2147483646 w 294"/>
              <a:gd name="T91" fmla="*/ 2147483646 h 350"/>
              <a:gd name="T92" fmla="*/ 2147483646 w 294"/>
              <a:gd name="T93" fmla="*/ 2147483646 h 350"/>
              <a:gd name="T94" fmla="*/ 2147483646 w 294"/>
              <a:gd name="T95" fmla="*/ 2147483646 h 350"/>
              <a:gd name="T96" fmla="*/ 2147483646 w 294"/>
              <a:gd name="T97" fmla="*/ 0 h 350"/>
              <a:gd name="T98" fmla="*/ 2147483646 w 294"/>
              <a:gd name="T99" fmla="*/ 2147483646 h 350"/>
              <a:gd name="T100" fmla="*/ 2147483646 w 294"/>
              <a:gd name="T101" fmla="*/ 2147483646 h 350"/>
              <a:gd name="T102" fmla="*/ 2147483646 w 294"/>
              <a:gd name="T103" fmla="*/ 2147483646 h 350"/>
              <a:gd name="T104" fmla="*/ 2147483646 w 294"/>
              <a:gd name="T105" fmla="*/ 2147483646 h 350"/>
              <a:gd name="T106" fmla="*/ 2147483646 w 294"/>
              <a:gd name="T107" fmla="*/ 2147483646 h 350"/>
              <a:gd name="T108" fmla="*/ 2147483646 w 294"/>
              <a:gd name="T109" fmla="*/ 2147483646 h 350"/>
              <a:gd name="T110" fmla="*/ 2147483646 w 294"/>
              <a:gd name="T111" fmla="*/ 2147483646 h 350"/>
              <a:gd name="T112" fmla="*/ 2147483646 w 294"/>
              <a:gd name="T113" fmla="*/ 2147483646 h 3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94" h="350">
                <a:moveTo>
                  <a:pt x="270" y="244"/>
                </a:moveTo>
                <a:cubicBezTo>
                  <a:pt x="152" y="244"/>
                  <a:pt x="152" y="244"/>
                  <a:pt x="152" y="244"/>
                </a:cubicBezTo>
                <a:cubicBezTo>
                  <a:pt x="141" y="244"/>
                  <a:pt x="132" y="252"/>
                  <a:pt x="129" y="262"/>
                </a:cubicBezTo>
                <a:cubicBezTo>
                  <a:pt x="115" y="257"/>
                  <a:pt x="103" y="249"/>
                  <a:pt x="92" y="239"/>
                </a:cubicBezTo>
                <a:cubicBezTo>
                  <a:pt x="74" y="220"/>
                  <a:pt x="63" y="195"/>
                  <a:pt x="63" y="168"/>
                </a:cubicBezTo>
                <a:cubicBezTo>
                  <a:pt x="63" y="157"/>
                  <a:pt x="65" y="146"/>
                  <a:pt x="67" y="138"/>
                </a:cubicBezTo>
                <a:cubicBezTo>
                  <a:pt x="69" y="134"/>
                  <a:pt x="70" y="131"/>
                  <a:pt x="71" y="129"/>
                </a:cubicBezTo>
                <a:cubicBezTo>
                  <a:pt x="71" y="127"/>
                  <a:pt x="72" y="126"/>
                  <a:pt x="72" y="126"/>
                </a:cubicBezTo>
                <a:cubicBezTo>
                  <a:pt x="74" y="122"/>
                  <a:pt x="72" y="117"/>
                  <a:pt x="68" y="115"/>
                </a:cubicBezTo>
                <a:cubicBezTo>
                  <a:pt x="64" y="113"/>
                  <a:pt x="59" y="115"/>
                  <a:pt x="57" y="119"/>
                </a:cubicBezTo>
                <a:cubicBezTo>
                  <a:pt x="57" y="120"/>
                  <a:pt x="47" y="141"/>
                  <a:pt x="47" y="168"/>
                </a:cubicBezTo>
                <a:cubicBezTo>
                  <a:pt x="47" y="219"/>
                  <a:pt x="81" y="264"/>
                  <a:pt x="129" y="279"/>
                </a:cubicBezTo>
                <a:cubicBezTo>
                  <a:pt x="129" y="311"/>
                  <a:pt x="129" y="311"/>
                  <a:pt x="129" y="311"/>
                </a:cubicBezTo>
                <a:cubicBezTo>
                  <a:pt x="67" y="296"/>
                  <a:pt x="20" y="244"/>
                  <a:pt x="17" y="178"/>
                </a:cubicBezTo>
                <a:cubicBezTo>
                  <a:pt x="17" y="178"/>
                  <a:pt x="17" y="178"/>
                  <a:pt x="17" y="178"/>
                </a:cubicBezTo>
                <a:cubicBezTo>
                  <a:pt x="16" y="170"/>
                  <a:pt x="16" y="170"/>
                  <a:pt x="16" y="170"/>
                </a:cubicBezTo>
                <a:cubicBezTo>
                  <a:pt x="16" y="170"/>
                  <a:pt x="16" y="170"/>
                  <a:pt x="16" y="170"/>
                </a:cubicBezTo>
                <a:cubicBezTo>
                  <a:pt x="16" y="167"/>
                  <a:pt x="17" y="126"/>
                  <a:pt x="30" y="102"/>
                </a:cubicBezTo>
                <a:cubicBezTo>
                  <a:pt x="32" y="98"/>
                  <a:pt x="31" y="94"/>
                  <a:pt x="27" y="91"/>
                </a:cubicBezTo>
                <a:cubicBezTo>
                  <a:pt x="23" y="89"/>
                  <a:pt x="18" y="91"/>
                  <a:pt x="16" y="95"/>
                </a:cubicBezTo>
                <a:cubicBezTo>
                  <a:pt x="0" y="124"/>
                  <a:pt x="1" y="166"/>
                  <a:pt x="0" y="170"/>
                </a:cubicBezTo>
                <a:cubicBezTo>
                  <a:pt x="0" y="171"/>
                  <a:pt x="0" y="171"/>
                  <a:pt x="0" y="171"/>
                </a:cubicBezTo>
                <a:cubicBezTo>
                  <a:pt x="0" y="215"/>
                  <a:pt x="19" y="256"/>
                  <a:pt x="48" y="284"/>
                </a:cubicBezTo>
                <a:cubicBezTo>
                  <a:pt x="70" y="306"/>
                  <a:pt x="98" y="321"/>
                  <a:pt x="129" y="327"/>
                </a:cubicBezTo>
                <a:cubicBezTo>
                  <a:pt x="129" y="340"/>
                  <a:pt x="140" y="350"/>
                  <a:pt x="152" y="350"/>
                </a:cubicBezTo>
                <a:cubicBezTo>
                  <a:pt x="215" y="350"/>
                  <a:pt x="215" y="350"/>
                  <a:pt x="215" y="350"/>
                </a:cubicBezTo>
                <a:cubicBezTo>
                  <a:pt x="220" y="350"/>
                  <a:pt x="223" y="346"/>
                  <a:pt x="223" y="342"/>
                </a:cubicBezTo>
                <a:cubicBezTo>
                  <a:pt x="223" y="337"/>
                  <a:pt x="220" y="334"/>
                  <a:pt x="215" y="334"/>
                </a:cubicBezTo>
                <a:cubicBezTo>
                  <a:pt x="152" y="334"/>
                  <a:pt x="152" y="334"/>
                  <a:pt x="152" y="334"/>
                </a:cubicBezTo>
                <a:cubicBezTo>
                  <a:pt x="148" y="334"/>
                  <a:pt x="145" y="330"/>
                  <a:pt x="145" y="326"/>
                </a:cubicBezTo>
                <a:cubicBezTo>
                  <a:pt x="145" y="324"/>
                  <a:pt x="145" y="324"/>
                  <a:pt x="145" y="324"/>
                </a:cubicBezTo>
                <a:cubicBezTo>
                  <a:pt x="178" y="324"/>
                  <a:pt x="178" y="324"/>
                  <a:pt x="178" y="324"/>
                </a:cubicBezTo>
                <a:cubicBezTo>
                  <a:pt x="183" y="324"/>
                  <a:pt x="186" y="321"/>
                  <a:pt x="186" y="316"/>
                </a:cubicBezTo>
                <a:cubicBezTo>
                  <a:pt x="186" y="278"/>
                  <a:pt x="186" y="278"/>
                  <a:pt x="186" y="278"/>
                </a:cubicBezTo>
                <a:cubicBezTo>
                  <a:pt x="186" y="273"/>
                  <a:pt x="183" y="270"/>
                  <a:pt x="178" y="270"/>
                </a:cubicBezTo>
                <a:cubicBezTo>
                  <a:pt x="145" y="270"/>
                  <a:pt x="145" y="270"/>
                  <a:pt x="145" y="270"/>
                </a:cubicBezTo>
                <a:cubicBezTo>
                  <a:pt x="145" y="267"/>
                  <a:pt x="145" y="267"/>
                  <a:pt x="145" y="267"/>
                </a:cubicBezTo>
                <a:cubicBezTo>
                  <a:pt x="145" y="263"/>
                  <a:pt x="148" y="260"/>
                  <a:pt x="152" y="260"/>
                </a:cubicBezTo>
                <a:cubicBezTo>
                  <a:pt x="270" y="260"/>
                  <a:pt x="270" y="260"/>
                  <a:pt x="270" y="260"/>
                </a:cubicBezTo>
                <a:cubicBezTo>
                  <a:pt x="275" y="260"/>
                  <a:pt x="278" y="263"/>
                  <a:pt x="278" y="267"/>
                </a:cubicBezTo>
                <a:cubicBezTo>
                  <a:pt x="278" y="274"/>
                  <a:pt x="278" y="274"/>
                  <a:pt x="278" y="274"/>
                </a:cubicBezTo>
                <a:cubicBezTo>
                  <a:pt x="247" y="274"/>
                  <a:pt x="247" y="274"/>
                  <a:pt x="247" y="274"/>
                </a:cubicBezTo>
                <a:cubicBezTo>
                  <a:pt x="242" y="274"/>
                  <a:pt x="239" y="278"/>
                  <a:pt x="239" y="282"/>
                </a:cubicBezTo>
                <a:cubicBezTo>
                  <a:pt x="239" y="287"/>
                  <a:pt x="242" y="290"/>
                  <a:pt x="247" y="290"/>
                </a:cubicBezTo>
                <a:cubicBezTo>
                  <a:pt x="278" y="290"/>
                  <a:pt x="278" y="290"/>
                  <a:pt x="278" y="290"/>
                </a:cubicBezTo>
                <a:cubicBezTo>
                  <a:pt x="278" y="304"/>
                  <a:pt x="278" y="304"/>
                  <a:pt x="278" y="304"/>
                </a:cubicBezTo>
                <a:cubicBezTo>
                  <a:pt x="247" y="304"/>
                  <a:pt x="247" y="304"/>
                  <a:pt x="247" y="304"/>
                </a:cubicBezTo>
                <a:cubicBezTo>
                  <a:pt x="242" y="304"/>
                  <a:pt x="239" y="307"/>
                  <a:pt x="239" y="312"/>
                </a:cubicBezTo>
                <a:cubicBezTo>
                  <a:pt x="239" y="316"/>
                  <a:pt x="242" y="320"/>
                  <a:pt x="247" y="320"/>
                </a:cubicBezTo>
                <a:cubicBezTo>
                  <a:pt x="278" y="320"/>
                  <a:pt x="278" y="320"/>
                  <a:pt x="278" y="320"/>
                </a:cubicBezTo>
                <a:cubicBezTo>
                  <a:pt x="278" y="326"/>
                  <a:pt x="278" y="326"/>
                  <a:pt x="278" y="326"/>
                </a:cubicBezTo>
                <a:cubicBezTo>
                  <a:pt x="278" y="330"/>
                  <a:pt x="275" y="334"/>
                  <a:pt x="270" y="334"/>
                </a:cubicBezTo>
                <a:cubicBezTo>
                  <a:pt x="247" y="334"/>
                  <a:pt x="247" y="334"/>
                  <a:pt x="247" y="334"/>
                </a:cubicBezTo>
                <a:cubicBezTo>
                  <a:pt x="242" y="334"/>
                  <a:pt x="239" y="337"/>
                  <a:pt x="239" y="342"/>
                </a:cubicBezTo>
                <a:cubicBezTo>
                  <a:pt x="239" y="346"/>
                  <a:pt x="242" y="350"/>
                  <a:pt x="247" y="350"/>
                </a:cubicBezTo>
                <a:cubicBezTo>
                  <a:pt x="270" y="350"/>
                  <a:pt x="270" y="350"/>
                  <a:pt x="270" y="350"/>
                </a:cubicBezTo>
                <a:cubicBezTo>
                  <a:pt x="283" y="350"/>
                  <a:pt x="294" y="339"/>
                  <a:pt x="294" y="326"/>
                </a:cubicBezTo>
                <a:cubicBezTo>
                  <a:pt x="294" y="267"/>
                  <a:pt x="294" y="267"/>
                  <a:pt x="294" y="267"/>
                </a:cubicBezTo>
                <a:cubicBezTo>
                  <a:pt x="294" y="254"/>
                  <a:pt x="283" y="244"/>
                  <a:pt x="270" y="244"/>
                </a:cubicBezTo>
                <a:close/>
                <a:moveTo>
                  <a:pt x="142" y="147"/>
                </a:moveTo>
                <a:cubicBezTo>
                  <a:pt x="131" y="158"/>
                  <a:pt x="131" y="176"/>
                  <a:pt x="142" y="186"/>
                </a:cubicBezTo>
                <a:cubicBezTo>
                  <a:pt x="147" y="192"/>
                  <a:pt x="154" y="194"/>
                  <a:pt x="161" y="194"/>
                </a:cubicBezTo>
                <a:cubicBezTo>
                  <a:pt x="169" y="194"/>
                  <a:pt x="176" y="192"/>
                  <a:pt x="181" y="186"/>
                </a:cubicBezTo>
                <a:cubicBezTo>
                  <a:pt x="192" y="176"/>
                  <a:pt x="192" y="158"/>
                  <a:pt x="181" y="147"/>
                </a:cubicBezTo>
                <a:cubicBezTo>
                  <a:pt x="176" y="142"/>
                  <a:pt x="169" y="139"/>
                  <a:pt x="161" y="139"/>
                </a:cubicBezTo>
                <a:cubicBezTo>
                  <a:pt x="154" y="139"/>
                  <a:pt x="147" y="142"/>
                  <a:pt x="142" y="147"/>
                </a:cubicBezTo>
                <a:close/>
                <a:moveTo>
                  <a:pt x="204" y="125"/>
                </a:moveTo>
                <a:cubicBezTo>
                  <a:pt x="206" y="125"/>
                  <a:pt x="208" y="124"/>
                  <a:pt x="210" y="122"/>
                </a:cubicBezTo>
                <a:cubicBezTo>
                  <a:pt x="212" y="121"/>
                  <a:pt x="212" y="119"/>
                  <a:pt x="212" y="116"/>
                </a:cubicBezTo>
                <a:cubicBezTo>
                  <a:pt x="212" y="114"/>
                  <a:pt x="212" y="112"/>
                  <a:pt x="210" y="110"/>
                </a:cubicBezTo>
                <a:cubicBezTo>
                  <a:pt x="197" y="98"/>
                  <a:pt x="180" y="90"/>
                  <a:pt x="161" y="90"/>
                </a:cubicBezTo>
                <a:cubicBezTo>
                  <a:pt x="143" y="90"/>
                  <a:pt x="126" y="98"/>
                  <a:pt x="113" y="110"/>
                </a:cubicBezTo>
                <a:cubicBezTo>
                  <a:pt x="110" y="114"/>
                  <a:pt x="110" y="119"/>
                  <a:pt x="113" y="122"/>
                </a:cubicBezTo>
                <a:cubicBezTo>
                  <a:pt x="114" y="124"/>
                  <a:pt x="117" y="125"/>
                  <a:pt x="119" y="125"/>
                </a:cubicBezTo>
                <a:cubicBezTo>
                  <a:pt x="121" y="125"/>
                  <a:pt x="123" y="124"/>
                  <a:pt x="125" y="122"/>
                </a:cubicBezTo>
                <a:cubicBezTo>
                  <a:pt x="135" y="113"/>
                  <a:pt x="148" y="107"/>
                  <a:pt x="161" y="107"/>
                </a:cubicBezTo>
                <a:cubicBezTo>
                  <a:pt x="175" y="107"/>
                  <a:pt x="188" y="113"/>
                  <a:pt x="198" y="122"/>
                </a:cubicBezTo>
                <a:cubicBezTo>
                  <a:pt x="200" y="124"/>
                  <a:pt x="202" y="125"/>
                  <a:pt x="204" y="125"/>
                </a:cubicBezTo>
                <a:close/>
                <a:moveTo>
                  <a:pt x="242" y="42"/>
                </a:moveTo>
                <a:cubicBezTo>
                  <a:pt x="244" y="43"/>
                  <a:pt x="246" y="44"/>
                  <a:pt x="248" y="45"/>
                </a:cubicBezTo>
                <a:cubicBezTo>
                  <a:pt x="253" y="49"/>
                  <a:pt x="258" y="54"/>
                  <a:pt x="262" y="58"/>
                </a:cubicBezTo>
                <a:cubicBezTo>
                  <a:pt x="264" y="60"/>
                  <a:pt x="266" y="61"/>
                  <a:pt x="268" y="61"/>
                </a:cubicBezTo>
                <a:cubicBezTo>
                  <a:pt x="270" y="61"/>
                  <a:pt x="273" y="60"/>
                  <a:pt x="274" y="58"/>
                </a:cubicBezTo>
                <a:cubicBezTo>
                  <a:pt x="276" y="57"/>
                  <a:pt x="277" y="55"/>
                  <a:pt x="277" y="52"/>
                </a:cubicBezTo>
                <a:cubicBezTo>
                  <a:pt x="277" y="50"/>
                  <a:pt x="276" y="48"/>
                  <a:pt x="274" y="46"/>
                </a:cubicBezTo>
                <a:cubicBezTo>
                  <a:pt x="269" y="41"/>
                  <a:pt x="263" y="36"/>
                  <a:pt x="258" y="32"/>
                </a:cubicBezTo>
                <a:cubicBezTo>
                  <a:pt x="256" y="31"/>
                  <a:pt x="254" y="29"/>
                  <a:pt x="252" y="28"/>
                </a:cubicBezTo>
                <a:cubicBezTo>
                  <a:pt x="250" y="27"/>
                  <a:pt x="249" y="26"/>
                  <a:pt x="247" y="26"/>
                </a:cubicBezTo>
                <a:cubicBezTo>
                  <a:pt x="244" y="26"/>
                  <a:pt x="242" y="28"/>
                  <a:pt x="240" y="30"/>
                </a:cubicBezTo>
                <a:cubicBezTo>
                  <a:pt x="237" y="34"/>
                  <a:pt x="238" y="39"/>
                  <a:pt x="242" y="42"/>
                </a:cubicBezTo>
                <a:close/>
                <a:moveTo>
                  <a:pt x="55" y="61"/>
                </a:moveTo>
                <a:cubicBezTo>
                  <a:pt x="57" y="61"/>
                  <a:pt x="59" y="60"/>
                  <a:pt x="61" y="58"/>
                </a:cubicBezTo>
                <a:cubicBezTo>
                  <a:pt x="88" y="31"/>
                  <a:pt x="123" y="16"/>
                  <a:pt x="161" y="16"/>
                </a:cubicBezTo>
                <a:cubicBezTo>
                  <a:pt x="179" y="16"/>
                  <a:pt x="197" y="20"/>
                  <a:pt x="213" y="26"/>
                </a:cubicBezTo>
                <a:cubicBezTo>
                  <a:pt x="214" y="26"/>
                  <a:pt x="215" y="27"/>
                  <a:pt x="216" y="27"/>
                </a:cubicBezTo>
                <a:cubicBezTo>
                  <a:pt x="220" y="27"/>
                  <a:pt x="223" y="25"/>
                  <a:pt x="224" y="21"/>
                </a:cubicBezTo>
                <a:cubicBezTo>
                  <a:pt x="226" y="17"/>
                  <a:pt x="223" y="12"/>
                  <a:pt x="219" y="10"/>
                </a:cubicBezTo>
                <a:cubicBezTo>
                  <a:pt x="201" y="3"/>
                  <a:pt x="181" y="0"/>
                  <a:pt x="161" y="0"/>
                </a:cubicBezTo>
                <a:cubicBezTo>
                  <a:pt x="119" y="0"/>
                  <a:pt x="79" y="16"/>
                  <a:pt x="49" y="46"/>
                </a:cubicBezTo>
                <a:cubicBezTo>
                  <a:pt x="47" y="48"/>
                  <a:pt x="46" y="50"/>
                  <a:pt x="46" y="52"/>
                </a:cubicBezTo>
                <a:cubicBezTo>
                  <a:pt x="46" y="55"/>
                  <a:pt x="47" y="57"/>
                  <a:pt x="49" y="58"/>
                </a:cubicBezTo>
                <a:cubicBezTo>
                  <a:pt x="50" y="60"/>
                  <a:pt x="52" y="61"/>
                  <a:pt x="55" y="61"/>
                </a:cubicBezTo>
                <a:close/>
                <a:moveTo>
                  <a:pt x="236" y="93"/>
                </a:moveTo>
                <a:cubicBezTo>
                  <a:pt x="238" y="93"/>
                  <a:pt x="240" y="92"/>
                  <a:pt x="242" y="91"/>
                </a:cubicBezTo>
                <a:cubicBezTo>
                  <a:pt x="245" y="87"/>
                  <a:pt x="245" y="82"/>
                  <a:pt x="242" y="79"/>
                </a:cubicBezTo>
                <a:cubicBezTo>
                  <a:pt x="220" y="57"/>
                  <a:pt x="192" y="45"/>
                  <a:pt x="161" y="45"/>
                </a:cubicBezTo>
                <a:cubicBezTo>
                  <a:pt x="131" y="45"/>
                  <a:pt x="103" y="57"/>
                  <a:pt x="81" y="79"/>
                </a:cubicBezTo>
                <a:cubicBezTo>
                  <a:pt x="79" y="80"/>
                  <a:pt x="79" y="82"/>
                  <a:pt x="79" y="85"/>
                </a:cubicBezTo>
                <a:cubicBezTo>
                  <a:pt x="79" y="87"/>
                  <a:pt x="79" y="89"/>
                  <a:pt x="81" y="90"/>
                </a:cubicBezTo>
                <a:cubicBezTo>
                  <a:pt x="83" y="92"/>
                  <a:pt x="85" y="93"/>
                  <a:pt x="87" y="93"/>
                </a:cubicBezTo>
                <a:cubicBezTo>
                  <a:pt x="89" y="93"/>
                  <a:pt x="91" y="92"/>
                  <a:pt x="93" y="91"/>
                </a:cubicBezTo>
                <a:cubicBezTo>
                  <a:pt x="93" y="90"/>
                  <a:pt x="93" y="90"/>
                  <a:pt x="93" y="90"/>
                </a:cubicBezTo>
                <a:cubicBezTo>
                  <a:pt x="111" y="72"/>
                  <a:pt x="136" y="62"/>
                  <a:pt x="161" y="62"/>
                </a:cubicBezTo>
                <a:cubicBezTo>
                  <a:pt x="187" y="62"/>
                  <a:pt x="212" y="72"/>
                  <a:pt x="230" y="90"/>
                </a:cubicBezTo>
                <a:cubicBezTo>
                  <a:pt x="232" y="92"/>
                  <a:pt x="234" y="93"/>
                  <a:pt x="23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08" name="Freeform 3"/>
          <p:cNvSpPr>
            <a:spLocks noChangeAspect="1" noEditPoints="1"/>
          </p:cNvSpPr>
          <p:nvPr/>
        </p:nvSpPr>
        <p:spPr bwMode="auto">
          <a:xfrm>
            <a:off x="4241800" y="5522913"/>
            <a:ext cx="369888" cy="392112"/>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
        <p:nvSpPr>
          <p:cNvPr id="15409" name="Freeform 3"/>
          <p:cNvSpPr>
            <a:spLocks noChangeAspect="1" noEditPoints="1"/>
          </p:cNvSpPr>
          <p:nvPr/>
        </p:nvSpPr>
        <p:spPr bwMode="auto">
          <a:xfrm>
            <a:off x="7999413" y="5556250"/>
            <a:ext cx="369887" cy="392113"/>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latin typeface="+mn-lt"/>
            </a:endParaRPr>
          </a:p>
        </p:txBody>
      </p:sp>
    </p:spTree>
    <p:extLst>
      <p:ext uri="{BB962C8B-B14F-4D97-AF65-F5344CB8AC3E}">
        <p14:creationId xmlns:p14="http://schemas.microsoft.com/office/powerpoint/2010/main" val="324503696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A4059-2C90-4DEF-8BB2-FD79CEFEB17A}"/>
              </a:ext>
            </a:extLst>
          </p:cNvPr>
          <p:cNvSpPr>
            <a:spLocks noGrp="1"/>
          </p:cNvSpPr>
          <p:nvPr>
            <p:ph type="title"/>
          </p:nvPr>
        </p:nvSpPr>
        <p:spPr/>
        <p:txBody>
          <a:bodyPr/>
          <a:lstStyle/>
          <a:p>
            <a:r>
              <a:rPr lang="en-US"/>
              <a:t>Enhanced Network Slicing in Rel-16</a:t>
            </a:r>
          </a:p>
        </p:txBody>
      </p:sp>
      <p:sp>
        <p:nvSpPr>
          <p:cNvPr id="3" name="Content Placeholder 2">
            <a:extLst>
              <a:ext uri="{FF2B5EF4-FFF2-40B4-BE49-F238E27FC236}">
                <a16:creationId xmlns:a16="http://schemas.microsoft.com/office/drawing/2014/main" id="{FAC8223F-8EF3-4A0D-92A2-73391DA384E1}"/>
              </a:ext>
            </a:extLst>
          </p:cNvPr>
          <p:cNvSpPr>
            <a:spLocks noGrp="1"/>
          </p:cNvSpPr>
          <p:nvPr>
            <p:ph sz="quarter" idx="10"/>
          </p:nvPr>
        </p:nvSpPr>
        <p:spPr/>
        <p:txBody>
          <a:bodyPr/>
          <a:lstStyle/>
          <a:p>
            <a:r>
              <a:rPr lang="en-US"/>
              <a:t>Network Slice interworking with EPS</a:t>
            </a:r>
          </a:p>
          <a:p>
            <a:pPr lvl="2"/>
            <a:r>
              <a:rPr lang="en-US"/>
              <a:t>Addressing limitations in Rel-15 including active mode mobility (back) to the correct slices in 5GC from EPC</a:t>
            </a:r>
          </a:p>
          <a:p>
            <a:pPr lvl="3"/>
            <a:endParaRPr lang="en-US"/>
          </a:p>
          <a:p>
            <a:r>
              <a:rPr lang="en-US"/>
              <a:t>Network Slice Specific Authentication and Authorization</a:t>
            </a:r>
          </a:p>
          <a:p>
            <a:pPr lvl="2"/>
            <a:r>
              <a:rPr lang="en-US"/>
              <a:t>Secondary Network Slice Access authentication and authorization specific for Network Slice Access authorization that takes place after (and separate from) the primary authentication</a:t>
            </a:r>
          </a:p>
          <a:p>
            <a:pPr lvl="2"/>
            <a:endParaRPr lang="en-US"/>
          </a:p>
          <a:p>
            <a:r>
              <a:rPr lang="en-US"/>
              <a:t>Mutual exclusive Network Slices</a:t>
            </a:r>
          </a:p>
          <a:p>
            <a:pPr lvl="2"/>
            <a:r>
              <a:rPr lang="en-US"/>
              <a:t>Not allowing certain combination of </a:t>
            </a:r>
            <a:r>
              <a:rPr lang="en-US" err="1"/>
              <a:t>Nw</a:t>
            </a:r>
            <a:r>
              <a:rPr lang="en-US"/>
              <a:t> slices for certain groups of users (e.g. avoiding security leaks)</a:t>
            </a:r>
          </a:p>
        </p:txBody>
      </p:sp>
    </p:spTree>
    <p:extLst>
      <p:ext uri="{BB962C8B-B14F-4D97-AF65-F5344CB8AC3E}">
        <p14:creationId xmlns:p14="http://schemas.microsoft.com/office/powerpoint/2010/main" val="28177674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dirty="0"/>
              <a:t>The 5G Core System</a:t>
            </a:r>
          </a:p>
          <a:p>
            <a:r>
              <a:rPr lang="en-US" b="1" dirty="0"/>
              <a:t>Core Network Architecture &amp; Technology</a:t>
            </a:r>
          </a:p>
          <a:p>
            <a:pPr lvl="1"/>
            <a:r>
              <a:rPr lang="en-US" sz="1800" dirty="0"/>
              <a:t>Overall 5G Core Network Architecture</a:t>
            </a:r>
          </a:p>
          <a:p>
            <a:pPr lvl="1"/>
            <a:r>
              <a:rPr lang="en-US" sz="1800" dirty="0"/>
              <a:t>SBA and Service Framework</a:t>
            </a:r>
          </a:p>
          <a:p>
            <a:pPr lvl="1"/>
            <a:r>
              <a:rPr lang="en-US" sz="1800" dirty="0"/>
              <a:t>Network slicing</a:t>
            </a:r>
          </a:p>
          <a:p>
            <a:pPr lvl="1"/>
            <a:r>
              <a:rPr lang="en-US" sz="1800" b="1"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26393913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5GC CP-UP split relation to CUPS</a:t>
            </a:r>
          </a:p>
        </p:txBody>
      </p:sp>
      <p:cxnSp>
        <p:nvCxnSpPr>
          <p:cNvPr id="54" name="Straight Connector 53"/>
          <p:cNvCxnSpPr/>
          <p:nvPr/>
        </p:nvCxnSpPr>
        <p:spPr bwMode="auto">
          <a:xfrm flipV="1">
            <a:off x="433740" y="4879691"/>
            <a:ext cx="3933533" cy="10225"/>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58" name="Straight Connector 57"/>
          <p:cNvCxnSpPr/>
          <p:nvPr/>
        </p:nvCxnSpPr>
        <p:spPr bwMode="auto">
          <a:xfrm>
            <a:off x="436669" y="3011305"/>
            <a:ext cx="1639087"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60" name="TextBox 59"/>
          <p:cNvSpPr txBox="1"/>
          <p:nvPr/>
        </p:nvSpPr>
        <p:spPr>
          <a:xfrm>
            <a:off x="313575" y="2765117"/>
            <a:ext cx="798617"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1-MME</a:t>
            </a:r>
          </a:p>
        </p:txBody>
      </p:sp>
      <p:sp>
        <p:nvSpPr>
          <p:cNvPr id="61" name="TextBox 60"/>
          <p:cNvSpPr txBox="1"/>
          <p:nvPr/>
        </p:nvSpPr>
        <p:spPr>
          <a:xfrm>
            <a:off x="536306" y="4602692"/>
            <a:ext cx="532518"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1-U</a:t>
            </a:r>
          </a:p>
        </p:txBody>
      </p:sp>
      <p:cxnSp>
        <p:nvCxnSpPr>
          <p:cNvPr id="62" name="Straight Connector 61"/>
          <p:cNvCxnSpPr>
            <a:cxnSpLocks/>
            <a:stCxn id="231" idx="2"/>
            <a:endCxn id="238" idx="0"/>
          </p:cNvCxnSpPr>
          <p:nvPr/>
        </p:nvCxnSpPr>
        <p:spPr bwMode="auto">
          <a:xfrm>
            <a:off x="1368245" y="3135337"/>
            <a:ext cx="5835" cy="117306"/>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63" name="TextBox 62"/>
          <p:cNvSpPr txBox="1"/>
          <p:nvPr/>
        </p:nvSpPr>
        <p:spPr>
          <a:xfrm>
            <a:off x="1562674" y="3059412"/>
            <a:ext cx="447558"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11</a:t>
            </a:r>
          </a:p>
        </p:txBody>
      </p:sp>
      <p:cxnSp>
        <p:nvCxnSpPr>
          <p:cNvPr id="66" name="Straight Connector 65"/>
          <p:cNvCxnSpPr>
            <a:cxnSpLocks/>
            <a:stCxn id="236" idx="2"/>
            <a:endCxn id="239" idx="3"/>
          </p:cNvCxnSpPr>
          <p:nvPr/>
        </p:nvCxnSpPr>
        <p:spPr bwMode="auto">
          <a:xfrm flipH="1">
            <a:off x="2809290" y="3135337"/>
            <a:ext cx="570698" cy="51411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67" name="TextBox 66"/>
          <p:cNvSpPr txBox="1"/>
          <p:nvPr/>
        </p:nvSpPr>
        <p:spPr>
          <a:xfrm>
            <a:off x="2786503" y="3010920"/>
            <a:ext cx="389850" cy="276999"/>
          </a:xfrm>
          <a:prstGeom prst="rect">
            <a:avLst/>
          </a:prstGeom>
          <a:noFill/>
        </p:spPr>
        <p:txBody>
          <a:bodyPr wrap="none" rtlCol="0">
            <a:spAutoFit/>
          </a:bodyPr>
          <a:lstStyle/>
          <a:p>
            <a:r>
              <a:rPr lang="en-US" sz="1200" b="1" err="1">
                <a:latin typeface="+mn-lt"/>
                <a:ea typeface="Segoe UI" panose="020B0502040204020203" pitchFamily="34" charset="0"/>
                <a:cs typeface="Segoe UI" panose="020B0502040204020203" pitchFamily="34" charset="0"/>
              </a:rPr>
              <a:t>Gx</a:t>
            </a:r>
            <a:endParaRPr lang="en-US" sz="1200" b="1">
              <a:latin typeface="+mn-lt"/>
              <a:ea typeface="Segoe UI" panose="020B0502040204020203" pitchFamily="34" charset="0"/>
              <a:cs typeface="Segoe UI" panose="020B0502040204020203" pitchFamily="34" charset="0"/>
            </a:endParaRPr>
          </a:p>
        </p:txBody>
      </p:sp>
      <p:sp>
        <p:nvSpPr>
          <p:cNvPr id="68" name="TextBox 67"/>
          <p:cNvSpPr txBox="1"/>
          <p:nvPr/>
        </p:nvSpPr>
        <p:spPr>
          <a:xfrm>
            <a:off x="1679299" y="2724077"/>
            <a:ext cx="457176"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6a</a:t>
            </a:r>
          </a:p>
        </p:txBody>
      </p:sp>
      <p:sp>
        <p:nvSpPr>
          <p:cNvPr id="69" name="TextBox 68"/>
          <p:cNvSpPr txBox="1"/>
          <p:nvPr/>
        </p:nvSpPr>
        <p:spPr>
          <a:xfrm>
            <a:off x="3647305" y="4584995"/>
            <a:ext cx="450764" cy="276999"/>
          </a:xfrm>
          <a:prstGeom prst="rect">
            <a:avLst/>
          </a:prstGeom>
          <a:noFill/>
        </p:spPr>
        <p:txBody>
          <a:bodyPr wrap="none" rtlCol="0">
            <a:spAutoFit/>
          </a:bodyPr>
          <a:lstStyle/>
          <a:p>
            <a:r>
              <a:rPr lang="en-US" sz="1200" b="1" err="1">
                <a:latin typeface="+mn-lt"/>
                <a:ea typeface="Segoe UI" panose="020B0502040204020203" pitchFamily="34" charset="0"/>
                <a:cs typeface="Segoe UI" panose="020B0502040204020203" pitchFamily="34" charset="0"/>
              </a:rPr>
              <a:t>SGi</a:t>
            </a:r>
            <a:endParaRPr lang="en-US" sz="1200" b="1">
              <a:latin typeface="+mn-lt"/>
              <a:ea typeface="Segoe UI" panose="020B0502040204020203" pitchFamily="34" charset="0"/>
              <a:cs typeface="Segoe UI" panose="020B0502040204020203" pitchFamily="34" charset="0"/>
            </a:endParaRPr>
          </a:p>
        </p:txBody>
      </p:sp>
      <p:sp>
        <p:nvSpPr>
          <p:cNvPr id="70" name="TextBox 69"/>
          <p:cNvSpPr txBox="1"/>
          <p:nvPr/>
        </p:nvSpPr>
        <p:spPr>
          <a:xfrm>
            <a:off x="1019358" y="1222238"/>
            <a:ext cx="2762295" cy="830997"/>
          </a:xfrm>
          <a:prstGeom prst="rect">
            <a:avLst/>
          </a:prstGeom>
          <a:noFill/>
        </p:spPr>
        <p:txBody>
          <a:bodyPr wrap="none" rtlCol="0">
            <a:spAutoFit/>
          </a:bodyPr>
          <a:lstStyle/>
          <a:p>
            <a:pPr algn="ctr"/>
            <a:r>
              <a:rPr lang="en-US" sz="2400" b="1">
                <a:latin typeface="+mn-lt"/>
                <a:ea typeface="Segoe UI" panose="020B0502040204020203" pitchFamily="34" charset="0"/>
                <a:cs typeface="Segoe UI" panose="020B0502040204020203" pitchFamily="34" charset="0"/>
              </a:rPr>
              <a:t>EPC after CUPS </a:t>
            </a:r>
            <a:br>
              <a:rPr lang="en-US" sz="2400" b="1">
                <a:latin typeface="+mn-lt"/>
                <a:ea typeface="Segoe UI" panose="020B0502040204020203" pitchFamily="34" charset="0"/>
                <a:cs typeface="Segoe UI" panose="020B0502040204020203" pitchFamily="34" charset="0"/>
              </a:rPr>
            </a:br>
            <a:r>
              <a:rPr lang="en-US" sz="2400" b="1">
                <a:latin typeface="+mn-lt"/>
                <a:ea typeface="Segoe UI" panose="020B0502040204020203" pitchFamily="34" charset="0"/>
                <a:cs typeface="Segoe UI" panose="020B0502040204020203" pitchFamily="34" charset="0"/>
              </a:rPr>
              <a:t>(with CP-UP split)</a:t>
            </a:r>
          </a:p>
        </p:txBody>
      </p:sp>
      <p:cxnSp>
        <p:nvCxnSpPr>
          <p:cNvPr id="76" name="Straight Connector 75"/>
          <p:cNvCxnSpPr>
            <a:stCxn id="96" idx="3"/>
            <a:endCxn id="91" idx="1"/>
          </p:cNvCxnSpPr>
          <p:nvPr/>
        </p:nvCxnSpPr>
        <p:spPr bwMode="auto">
          <a:xfrm flipV="1">
            <a:off x="1643256" y="3850327"/>
            <a:ext cx="622996" cy="153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7" name="Straight Connector 76"/>
          <p:cNvCxnSpPr>
            <a:cxnSpLocks/>
            <a:stCxn id="239" idx="2"/>
            <a:endCxn id="240" idx="0"/>
          </p:cNvCxnSpPr>
          <p:nvPr/>
        </p:nvCxnSpPr>
        <p:spPr bwMode="auto">
          <a:xfrm>
            <a:off x="2518800" y="4055072"/>
            <a:ext cx="2161" cy="137199"/>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8" name="Straight Connector 77"/>
          <p:cNvCxnSpPr>
            <a:cxnSpLocks/>
            <a:stCxn id="238" idx="2"/>
            <a:endCxn id="234" idx="0"/>
          </p:cNvCxnSpPr>
          <p:nvPr/>
        </p:nvCxnSpPr>
        <p:spPr bwMode="auto">
          <a:xfrm flipH="1">
            <a:off x="1372907" y="4063879"/>
            <a:ext cx="1173" cy="12839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21" name="Straight Connector 120"/>
          <p:cNvCxnSpPr>
            <a:cxnSpLocks/>
            <a:stCxn id="236" idx="2"/>
            <a:endCxn id="241" idx="0"/>
          </p:cNvCxnSpPr>
          <p:nvPr/>
        </p:nvCxnSpPr>
        <p:spPr bwMode="auto">
          <a:xfrm flipH="1">
            <a:off x="3373258" y="3135337"/>
            <a:ext cx="6730" cy="1054356"/>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22" name="TextBox 121"/>
          <p:cNvSpPr txBox="1"/>
          <p:nvPr/>
        </p:nvSpPr>
        <p:spPr>
          <a:xfrm>
            <a:off x="3353537" y="3163320"/>
            <a:ext cx="381836" cy="276999"/>
          </a:xfrm>
          <a:prstGeom prst="rect">
            <a:avLst/>
          </a:prstGeom>
          <a:noFill/>
        </p:spPr>
        <p:txBody>
          <a:bodyPr wrap="none" rtlCol="0">
            <a:spAutoFit/>
          </a:bodyPr>
          <a:lstStyle/>
          <a:p>
            <a:r>
              <a:rPr lang="en-US" sz="1200" b="1" err="1">
                <a:latin typeface="+mn-lt"/>
                <a:ea typeface="Segoe UI" panose="020B0502040204020203" pitchFamily="34" charset="0"/>
                <a:cs typeface="Segoe UI" panose="020B0502040204020203" pitchFamily="34" charset="0"/>
              </a:rPr>
              <a:t>Sd</a:t>
            </a:r>
            <a:endParaRPr lang="en-US" sz="1200" b="1">
              <a:latin typeface="+mn-lt"/>
              <a:ea typeface="Segoe UI" panose="020B0502040204020203" pitchFamily="34" charset="0"/>
              <a:cs typeface="Segoe UI" panose="020B0502040204020203" pitchFamily="34" charset="0"/>
            </a:endParaRPr>
          </a:p>
        </p:txBody>
      </p:sp>
      <p:sp>
        <p:nvSpPr>
          <p:cNvPr id="183" name="TextBox 182">
            <a:extLst>
              <a:ext uri="{FF2B5EF4-FFF2-40B4-BE49-F238E27FC236}">
                <a16:creationId xmlns:a16="http://schemas.microsoft.com/office/drawing/2014/main" id="{75A61108-2284-467B-A613-982F1E3913F2}"/>
              </a:ext>
            </a:extLst>
          </p:cNvPr>
          <p:cNvSpPr txBox="1"/>
          <p:nvPr/>
        </p:nvSpPr>
        <p:spPr>
          <a:xfrm>
            <a:off x="1596897" y="3977394"/>
            <a:ext cx="457176" cy="276999"/>
          </a:xfrm>
          <a:prstGeom prst="rect">
            <a:avLst/>
          </a:prstGeom>
          <a:noFill/>
        </p:spPr>
        <p:txBody>
          <a:bodyPr wrap="none" rtlCol="0">
            <a:spAutoFit/>
          </a:bodyPr>
          <a:lstStyle/>
          <a:p>
            <a:r>
              <a:rPr lang="en-US" sz="1200" b="1" err="1">
                <a:latin typeface="+mn-lt"/>
                <a:ea typeface="Segoe UI" panose="020B0502040204020203" pitchFamily="34" charset="0"/>
                <a:cs typeface="Segoe UI" panose="020B0502040204020203" pitchFamily="34" charset="0"/>
              </a:rPr>
              <a:t>Sxa</a:t>
            </a:r>
            <a:endParaRPr lang="en-US" sz="1100" b="1">
              <a:latin typeface="+mn-lt"/>
              <a:ea typeface="Segoe UI" panose="020B0502040204020203" pitchFamily="34" charset="0"/>
              <a:cs typeface="Segoe UI" panose="020B0502040204020203" pitchFamily="34" charset="0"/>
            </a:endParaRPr>
          </a:p>
        </p:txBody>
      </p:sp>
      <p:sp>
        <p:nvSpPr>
          <p:cNvPr id="211" name="TextBox 210">
            <a:extLst>
              <a:ext uri="{FF2B5EF4-FFF2-40B4-BE49-F238E27FC236}">
                <a16:creationId xmlns:a16="http://schemas.microsoft.com/office/drawing/2014/main" id="{4F38E60C-2261-474F-9F6C-503CF39F0A1C}"/>
              </a:ext>
            </a:extLst>
          </p:cNvPr>
          <p:cNvSpPr txBox="1"/>
          <p:nvPr/>
        </p:nvSpPr>
        <p:spPr>
          <a:xfrm>
            <a:off x="2704225" y="3981088"/>
            <a:ext cx="466794" cy="276999"/>
          </a:xfrm>
          <a:prstGeom prst="rect">
            <a:avLst/>
          </a:prstGeom>
          <a:noFill/>
        </p:spPr>
        <p:txBody>
          <a:bodyPr wrap="none" rtlCol="0">
            <a:spAutoFit/>
          </a:bodyPr>
          <a:lstStyle/>
          <a:p>
            <a:r>
              <a:rPr lang="en-US" sz="1200" b="1" err="1">
                <a:latin typeface="+mn-lt"/>
                <a:ea typeface="Segoe UI" panose="020B0502040204020203" pitchFamily="34" charset="0"/>
                <a:cs typeface="Segoe UI" panose="020B0502040204020203" pitchFamily="34" charset="0"/>
              </a:rPr>
              <a:t>Sxb</a:t>
            </a:r>
            <a:endParaRPr lang="en-US" sz="1100" b="1">
              <a:latin typeface="+mn-lt"/>
              <a:ea typeface="Segoe UI" panose="020B0502040204020203" pitchFamily="34" charset="0"/>
              <a:cs typeface="Segoe UI" panose="020B0502040204020203" pitchFamily="34" charset="0"/>
            </a:endParaRPr>
          </a:p>
        </p:txBody>
      </p:sp>
      <p:sp>
        <p:nvSpPr>
          <p:cNvPr id="234" name="TextBox 233">
            <a:extLst>
              <a:ext uri="{FF2B5EF4-FFF2-40B4-BE49-F238E27FC236}">
                <a16:creationId xmlns:a16="http://schemas.microsoft.com/office/drawing/2014/main" id="{E1E42E31-6C71-459E-AEF1-8E6F46630204}"/>
              </a:ext>
            </a:extLst>
          </p:cNvPr>
          <p:cNvSpPr txBox="1"/>
          <p:nvPr/>
        </p:nvSpPr>
        <p:spPr bwMode="auto">
          <a:xfrm>
            <a:off x="1081791" y="4192271"/>
            <a:ext cx="582231" cy="829254"/>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SGW UP</a:t>
            </a:r>
          </a:p>
        </p:txBody>
      </p:sp>
      <p:sp>
        <p:nvSpPr>
          <p:cNvPr id="231" name="TextBox 230">
            <a:extLst>
              <a:ext uri="{FF2B5EF4-FFF2-40B4-BE49-F238E27FC236}">
                <a16:creationId xmlns:a16="http://schemas.microsoft.com/office/drawing/2014/main" id="{61076AE6-3D84-4B7D-9920-F5384A842A16}"/>
              </a:ext>
            </a:extLst>
          </p:cNvPr>
          <p:cNvSpPr txBox="1"/>
          <p:nvPr/>
        </p:nvSpPr>
        <p:spPr bwMode="auto">
          <a:xfrm>
            <a:off x="1077754" y="2324101"/>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MME</a:t>
            </a:r>
          </a:p>
        </p:txBody>
      </p:sp>
      <p:sp>
        <p:nvSpPr>
          <p:cNvPr id="236" name="TextBox 235">
            <a:extLst>
              <a:ext uri="{FF2B5EF4-FFF2-40B4-BE49-F238E27FC236}">
                <a16:creationId xmlns:a16="http://schemas.microsoft.com/office/drawing/2014/main" id="{37504923-4A06-409C-9DA6-947DB223DE66}"/>
              </a:ext>
            </a:extLst>
          </p:cNvPr>
          <p:cNvSpPr txBox="1"/>
          <p:nvPr/>
        </p:nvSpPr>
        <p:spPr bwMode="auto">
          <a:xfrm>
            <a:off x="3089497" y="2324101"/>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PCRF</a:t>
            </a:r>
          </a:p>
        </p:txBody>
      </p:sp>
      <p:sp>
        <p:nvSpPr>
          <p:cNvPr id="237" name="TextBox 236">
            <a:extLst>
              <a:ext uri="{FF2B5EF4-FFF2-40B4-BE49-F238E27FC236}">
                <a16:creationId xmlns:a16="http://schemas.microsoft.com/office/drawing/2014/main" id="{86E164B2-9796-4086-8ADC-192E1B33C5ED}"/>
              </a:ext>
            </a:extLst>
          </p:cNvPr>
          <p:cNvSpPr txBox="1"/>
          <p:nvPr/>
        </p:nvSpPr>
        <p:spPr bwMode="auto">
          <a:xfrm>
            <a:off x="2062045" y="2320457"/>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b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b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HSS</a:t>
            </a:r>
          </a:p>
        </p:txBody>
      </p:sp>
      <p:sp>
        <p:nvSpPr>
          <p:cNvPr id="238" name="TextBox 237">
            <a:extLst>
              <a:ext uri="{FF2B5EF4-FFF2-40B4-BE49-F238E27FC236}">
                <a16:creationId xmlns:a16="http://schemas.microsoft.com/office/drawing/2014/main" id="{0983EB05-2D0F-48C3-9712-48FEE3871D69}"/>
              </a:ext>
            </a:extLst>
          </p:cNvPr>
          <p:cNvSpPr txBox="1"/>
          <p:nvPr/>
        </p:nvSpPr>
        <p:spPr bwMode="auto">
          <a:xfrm>
            <a:off x="1083589" y="3252643"/>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SGW-C</a:t>
            </a:r>
          </a:p>
        </p:txBody>
      </p:sp>
      <p:sp>
        <p:nvSpPr>
          <p:cNvPr id="239" name="TextBox 238">
            <a:extLst>
              <a:ext uri="{FF2B5EF4-FFF2-40B4-BE49-F238E27FC236}">
                <a16:creationId xmlns:a16="http://schemas.microsoft.com/office/drawing/2014/main" id="{33BC119F-4116-4F4B-8CF1-403237C4BBCF}"/>
              </a:ext>
            </a:extLst>
          </p:cNvPr>
          <p:cNvSpPr txBox="1"/>
          <p:nvPr/>
        </p:nvSpPr>
        <p:spPr bwMode="auto">
          <a:xfrm>
            <a:off x="2228309" y="3243836"/>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1400">
                <a:solidFill>
                  <a:schemeClr val="accent3">
                    <a:lumMod val="75000"/>
                  </a:schemeClr>
                </a:solidFill>
                <a:latin typeface="Ericsson Hilda"/>
              </a:rPr>
              <a:t>P</a:t>
            </a: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GW-C</a:t>
            </a:r>
          </a:p>
        </p:txBody>
      </p:sp>
      <p:sp>
        <p:nvSpPr>
          <p:cNvPr id="240" name="TextBox 239">
            <a:extLst>
              <a:ext uri="{FF2B5EF4-FFF2-40B4-BE49-F238E27FC236}">
                <a16:creationId xmlns:a16="http://schemas.microsoft.com/office/drawing/2014/main" id="{C7B72F00-EDFF-4FFC-A809-0673CBE6C98B}"/>
              </a:ext>
            </a:extLst>
          </p:cNvPr>
          <p:cNvSpPr txBox="1"/>
          <p:nvPr/>
        </p:nvSpPr>
        <p:spPr bwMode="auto">
          <a:xfrm>
            <a:off x="2229845" y="4192271"/>
            <a:ext cx="582231" cy="829254"/>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1600">
                <a:solidFill>
                  <a:schemeClr val="accent3">
                    <a:lumMod val="75000"/>
                  </a:schemeClr>
                </a:solidFill>
                <a:latin typeface="Ericsson Hilda"/>
              </a:rPr>
              <a:t>P</a:t>
            </a: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GW UP</a:t>
            </a:r>
          </a:p>
        </p:txBody>
      </p:sp>
      <p:sp>
        <p:nvSpPr>
          <p:cNvPr id="241" name="TextBox 240">
            <a:extLst>
              <a:ext uri="{FF2B5EF4-FFF2-40B4-BE49-F238E27FC236}">
                <a16:creationId xmlns:a16="http://schemas.microsoft.com/office/drawing/2014/main" id="{C645B352-6949-4DF8-B3D1-6E16B327C15A}"/>
              </a:ext>
            </a:extLst>
          </p:cNvPr>
          <p:cNvSpPr txBox="1"/>
          <p:nvPr/>
        </p:nvSpPr>
        <p:spPr bwMode="auto">
          <a:xfrm>
            <a:off x="3082142" y="4189693"/>
            <a:ext cx="582231" cy="829254"/>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TDF</a:t>
            </a:r>
          </a:p>
        </p:txBody>
      </p:sp>
      <p:sp>
        <p:nvSpPr>
          <p:cNvPr id="242" name="TextBox 241">
            <a:extLst>
              <a:ext uri="{FF2B5EF4-FFF2-40B4-BE49-F238E27FC236}">
                <a16:creationId xmlns:a16="http://schemas.microsoft.com/office/drawing/2014/main" id="{20825CFD-CE1F-491A-9CBE-71A53A06F236}"/>
              </a:ext>
            </a:extLst>
          </p:cNvPr>
          <p:cNvSpPr txBox="1"/>
          <p:nvPr/>
        </p:nvSpPr>
        <p:spPr>
          <a:xfrm>
            <a:off x="1705611" y="3633473"/>
            <a:ext cx="511679"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5-C</a:t>
            </a:r>
            <a:endParaRPr lang="en-US" sz="1100" b="1">
              <a:latin typeface="+mn-lt"/>
              <a:ea typeface="Segoe UI" panose="020B0502040204020203" pitchFamily="34" charset="0"/>
              <a:cs typeface="Segoe UI" panose="020B0502040204020203" pitchFamily="34" charset="0"/>
            </a:endParaRPr>
          </a:p>
        </p:txBody>
      </p:sp>
      <p:sp>
        <p:nvSpPr>
          <p:cNvPr id="243" name="TextBox 242">
            <a:extLst>
              <a:ext uri="{FF2B5EF4-FFF2-40B4-BE49-F238E27FC236}">
                <a16:creationId xmlns:a16="http://schemas.microsoft.com/office/drawing/2014/main" id="{516A4328-E3A8-4151-8A80-9A848ED7D706}"/>
              </a:ext>
            </a:extLst>
          </p:cNvPr>
          <p:cNvSpPr txBox="1"/>
          <p:nvPr/>
        </p:nvSpPr>
        <p:spPr>
          <a:xfrm>
            <a:off x="1692398" y="4609065"/>
            <a:ext cx="522900" cy="276999"/>
          </a:xfrm>
          <a:prstGeom prst="rect">
            <a:avLst/>
          </a:prstGeom>
          <a:noFill/>
        </p:spPr>
        <p:txBody>
          <a:bodyPr wrap="none" rtlCol="0">
            <a:spAutoFit/>
          </a:bodyPr>
          <a:lstStyle/>
          <a:p>
            <a:r>
              <a:rPr lang="en-US" sz="1200" b="1">
                <a:latin typeface="+mn-lt"/>
                <a:ea typeface="Segoe UI" panose="020B0502040204020203" pitchFamily="34" charset="0"/>
                <a:cs typeface="Segoe UI" panose="020B0502040204020203" pitchFamily="34" charset="0"/>
              </a:rPr>
              <a:t>S5-U</a:t>
            </a:r>
          </a:p>
        </p:txBody>
      </p:sp>
      <p:grpSp>
        <p:nvGrpSpPr>
          <p:cNvPr id="40" name="Group 39">
            <a:extLst>
              <a:ext uri="{FF2B5EF4-FFF2-40B4-BE49-F238E27FC236}">
                <a16:creationId xmlns:a16="http://schemas.microsoft.com/office/drawing/2014/main" id="{5C90A7E2-90A9-4E38-8E65-7E00833ED748}"/>
              </a:ext>
            </a:extLst>
          </p:cNvPr>
          <p:cNvGrpSpPr/>
          <p:nvPr/>
        </p:nvGrpSpPr>
        <p:grpSpPr>
          <a:xfrm>
            <a:off x="5801255" y="1250761"/>
            <a:ext cx="6033952" cy="4921655"/>
            <a:chOff x="5801255" y="1250761"/>
            <a:chExt cx="6033952" cy="4921655"/>
          </a:xfrm>
        </p:grpSpPr>
        <p:sp>
          <p:nvSpPr>
            <p:cNvPr id="4" name="Rectangle 3"/>
            <p:cNvSpPr/>
            <p:nvPr/>
          </p:nvSpPr>
          <p:spPr>
            <a:xfrm>
              <a:off x="6630038" y="1250761"/>
              <a:ext cx="4814811" cy="830997"/>
            </a:xfrm>
            <a:prstGeom prst="rect">
              <a:avLst/>
            </a:prstGeom>
          </p:spPr>
          <p:txBody>
            <a:bodyPr wrap="square">
              <a:spAutoFit/>
            </a:bodyPr>
            <a:lstStyle/>
            <a:p>
              <a:pPr algn="ctr"/>
              <a:r>
                <a:rPr lang="en-US" sz="2400" b="1">
                  <a:latin typeface="+mn-lt"/>
                  <a:ea typeface="Segoe UI" panose="020B0502040204020203" pitchFamily="34" charset="0"/>
                  <a:cs typeface="Segoe UI" panose="020B0502040204020203" pitchFamily="34" charset="0"/>
                </a:rPr>
                <a:t>5G Core Reference </a:t>
              </a:r>
              <a:br>
                <a:rPr lang="en-US" sz="2400" b="1">
                  <a:latin typeface="+mn-lt"/>
                  <a:ea typeface="Segoe UI" panose="020B0502040204020203" pitchFamily="34" charset="0"/>
                  <a:cs typeface="Segoe UI" panose="020B0502040204020203" pitchFamily="34" charset="0"/>
                </a:rPr>
              </a:br>
              <a:r>
                <a:rPr lang="en-US" sz="2400" b="1">
                  <a:latin typeface="+mn-lt"/>
                  <a:ea typeface="Segoe UI" panose="020B0502040204020203" pitchFamily="34" charset="0"/>
                  <a:cs typeface="Segoe UI" panose="020B0502040204020203" pitchFamily="34" charset="0"/>
                </a:rPr>
                <a:t>Architecture MBB (baseline)</a:t>
              </a:r>
            </a:p>
          </p:txBody>
        </p:sp>
        <p:cxnSp>
          <p:nvCxnSpPr>
            <p:cNvPr id="140" name="Straight Connector 203">
              <a:extLst>
                <a:ext uri="{FF2B5EF4-FFF2-40B4-BE49-F238E27FC236}">
                  <a16:creationId xmlns:a16="http://schemas.microsoft.com/office/drawing/2014/main" id="{4884B7CB-F9B8-42ED-91D2-787675D88133}"/>
                </a:ext>
              </a:extLst>
            </p:cNvPr>
            <p:cNvCxnSpPr>
              <a:cxnSpLocks noChangeShapeType="1"/>
              <a:stCxn id="257" idx="2"/>
            </p:cNvCxnSpPr>
            <p:nvPr/>
          </p:nvCxnSpPr>
          <p:spPr bwMode="auto">
            <a:xfrm rot="16200000" flipH="1">
              <a:off x="7097028" y="3719606"/>
              <a:ext cx="963784" cy="2986584"/>
            </a:xfrm>
            <a:prstGeom prst="bentConnector2">
              <a:avLst/>
            </a:prstGeom>
            <a:noFill/>
            <a:ln w="12700" cap="flat" cmpd="sng" algn="ctr">
              <a:solidFill>
                <a:schemeClr val="tx1"/>
              </a:solidFill>
              <a:prstDash val="solid"/>
              <a:round/>
              <a:headEnd type="none" w="med" len="med"/>
              <a:tailEnd type="none" w="med" len="med"/>
            </a:ln>
            <a:extLst>
              <a:ext uri="{909E8E84-426E-40DD-AFC4-6F175D3DCCD1}">
                <a14:hiddenFill xmlns:a14="http://schemas.microsoft.com/office/drawing/2010/main">
                  <a:noFill/>
                </a14:hiddenFill>
              </a:ext>
            </a:extLst>
          </p:spPr>
        </p:cxnSp>
        <p:cxnSp>
          <p:nvCxnSpPr>
            <p:cNvPr id="141" name="Straight Connector 203">
              <a:extLst>
                <a:ext uri="{FF2B5EF4-FFF2-40B4-BE49-F238E27FC236}">
                  <a16:creationId xmlns:a16="http://schemas.microsoft.com/office/drawing/2014/main" id="{035EABA3-81A5-4397-B0CC-18FE1D875D73}"/>
                </a:ext>
              </a:extLst>
            </p:cNvPr>
            <p:cNvCxnSpPr>
              <a:cxnSpLocks noChangeShapeType="1"/>
              <a:stCxn id="155" idx="3"/>
            </p:cNvCxnSpPr>
            <p:nvPr/>
          </p:nvCxnSpPr>
          <p:spPr bwMode="auto">
            <a:xfrm flipV="1">
              <a:off x="9741014" y="5691775"/>
              <a:ext cx="863326" cy="3015"/>
            </a:xfrm>
            <a:prstGeom prst="straightConnector1">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142" name="Straight Connector 203">
              <a:extLst>
                <a:ext uri="{FF2B5EF4-FFF2-40B4-BE49-F238E27FC236}">
                  <a16:creationId xmlns:a16="http://schemas.microsoft.com/office/drawing/2014/main" id="{41C83FD3-56C7-40D8-B7F3-34585B9D7856}"/>
                </a:ext>
              </a:extLst>
            </p:cNvPr>
            <p:cNvCxnSpPr>
              <a:cxnSpLocks noChangeShapeType="1"/>
              <a:stCxn id="246" idx="2"/>
              <a:endCxn id="254" idx="0"/>
            </p:cNvCxnSpPr>
            <p:nvPr/>
          </p:nvCxnSpPr>
          <p:spPr bwMode="auto">
            <a:xfrm rot="16200000" flipH="1">
              <a:off x="9080946" y="4724570"/>
              <a:ext cx="643919" cy="1496"/>
            </a:xfrm>
            <a:prstGeom prst="bentConnector3">
              <a:avLst>
                <a:gd name="adj1" fmla="val 50000"/>
              </a:avLst>
            </a:prstGeom>
            <a:noFill/>
            <a:ln w="12700">
              <a:solidFill>
                <a:schemeClr val="accent1"/>
              </a:solidFill>
              <a:prstDash val="dash"/>
              <a:round/>
              <a:headEnd/>
              <a:tailEnd/>
            </a:ln>
            <a:extLst>
              <a:ext uri="{909E8E84-426E-40DD-AFC4-6F175D3DCCD1}">
                <a14:hiddenFill xmlns:a14="http://schemas.microsoft.com/office/drawing/2010/main">
                  <a:noFill/>
                </a14:hiddenFill>
              </a:ext>
            </a:extLst>
          </p:spPr>
        </p:cxnSp>
        <p:sp>
          <p:nvSpPr>
            <p:cNvPr id="143" name="TextBox 142">
              <a:extLst>
                <a:ext uri="{FF2B5EF4-FFF2-40B4-BE49-F238E27FC236}">
                  <a16:creationId xmlns:a16="http://schemas.microsoft.com/office/drawing/2014/main" id="{5275822F-5E35-4BF7-9FF1-2F618D279BE3}"/>
                </a:ext>
              </a:extLst>
            </p:cNvPr>
            <p:cNvSpPr txBox="1"/>
            <p:nvPr/>
          </p:nvSpPr>
          <p:spPr>
            <a:xfrm>
              <a:off x="8133030" y="4458955"/>
              <a:ext cx="415498" cy="307777"/>
            </a:xfrm>
            <a:prstGeom prst="rect">
              <a:avLst/>
            </a:prstGeom>
            <a:noFill/>
          </p:spPr>
          <p:txBody>
            <a:bodyPr wrap="square" rtlCol="0">
              <a:spAutoFit/>
            </a:bodyPr>
            <a:lstStyle/>
            <a:p>
              <a:r>
                <a:rPr lang="en-US" sz="1400">
                  <a:latin typeface="+mn-lt"/>
                  <a:ea typeface="Segoe UI" panose="020B0502040204020203" pitchFamily="34" charset="0"/>
                  <a:cs typeface="Segoe UI" panose="020B0502040204020203" pitchFamily="34" charset="0"/>
                </a:rPr>
                <a:t>N2</a:t>
              </a:r>
              <a:endParaRPr lang="en-US" sz="1600">
                <a:latin typeface="+mn-lt"/>
                <a:ea typeface="Segoe UI" panose="020B0502040204020203" pitchFamily="34" charset="0"/>
                <a:cs typeface="Segoe UI" panose="020B0502040204020203" pitchFamily="34" charset="0"/>
              </a:endParaRPr>
            </a:p>
          </p:txBody>
        </p:sp>
        <p:sp>
          <p:nvSpPr>
            <p:cNvPr id="144" name="TextBox 143">
              <a:extLst>
                <a:ext uri="{FF2B5EF4-FFF2-40B4-BE49-F238E27FC236}">
                  <a16:creationId xmlns:a16="http://schemas.microsoft.com/office/drawing/2014/main" id="{ECF23B1D-C2CB-4259-BB97-7B83D902EB26}"/>
                </a:ext>
              </a:extLst>
            </p:cNvPr>
            <p:cNvSpPr txBox="1"/>
            <p:nvPr/>
          </p:nvSpPr>
          <p:spPr>
            <a:xfrm>
              <a:off x="8632997" y="5421100"/>
              <a:ext cx="428322" cy="307777"/>
            </a:xfrm>
            <a:prstGeom prst="rect">
              <a:avLst/>
            </a:prstGeom>
            <a:noFill/>
            <a:ln w="12700" cap="flat" cmpd="sng" algn="ctr">
              <a:noFill/>
              <a:prstDash val="solid"/>
              <a:round/>
              <a:headEnd type="none" w="med" len="med"/>
              <a:tailEnd type="none" w="med" len="med"/>
            </a:ln>
          </p:spPr>
          <p:txBody>
            <a:bodyPr wrap="none" rtlCol="0">
              <a:spAutoFit/>
            </a:bodyPr>
            <a:lstStyle/>
            <a:p>
              <a:r>
                <a:rPr lang="en-US" sz="1400">
                  <a:latin typeface="+mn-lt"/>
                  <a:ea typeface="Segoe UI" panose="020B0502040204020203" pitchFamily="34" charset="0"/>
                  <a:cs typeface="Segoe UI" panose="020B0502040204020203" pitchFamily="34" charset="0"/>
                </a:rPr>
                <a:t>N3</a:t>
              </a:r>
              <a:endParaRPr lang="en-US" sz="1600">
                <a:latin typeface="+mn-lt"/>
                <a:ea typeface="Segoe UI" panose="020B0502040204020203" pitchFamily="34" charset="0"/>
                <a:cs typeface="Segoe UI" panose="020B0502040204020203" pitchFamily="34" charset="0"/>
              </a:endParaRPr>
            </a:p>
          </p:txBody>
        </p:sp>
        <p:sp>
          <p:nvSpPr>
            <p:cNvPr id="145" name="TextBox 144">
              <a:extLst>
                <a:ext uri="{FF2B5EF4-FFF2-40B4-BE49-F238E27FC236}">
                  <a16:creationId xmlns:a16="http://schemas.microsoft.com/office/drawing/2014/main" id="{1EF0E76F-E318-4F7E-9C19-E200A38B6E63}"/>
                </a:ext>
              </a:extLst>
            </p:cNvPr>
            <p:cNvSpPr txBox="1"/>
            <p:nvPr/>
          </p:nvSpPr>
          <p:spPr>
            <a:xfrm>
              <a:off x="9884764" y="5418545"/>
              <a:ext cx="415498" cy="307777"/>
            </a:xfrm>
            <a:prstGeom prst="rect">
              <a:avLst/>
            </a:prstGeom>
            <a:noFill/>
          </p:spPr>
          <p:txBody>
            <a:bodyPr wrap="none" rtlCol="0">
              <a:spAutoFit/>
            </a:bodyPr>
            <a:lstStyle/>
            <a:p>
              <a:r>
                <a:rPr lang="en-US" sz="1400">
                  <a:latin typeface="+mn-lt"/>
                  <a:ea typeface="Segoe UI" panose="020B0502040204020203" pitchFamily="34" charset="0"/>
                  <a:cs typeface="Segoe UI" panose="020B0502040204020203" pitchFamily="34" charset="0"/>
                </a:rPr>
                <a:t>N6</a:t>
              </a:r>
              <a:endParaRPr lang="en-US" sz="1200">
                <a:latin typeface="+mn-lt"/>
                <a:ea typeface="Segoe UI" panose="020B0502040204020203" pitchFamily="34" charset="0"/>
                <a:cs typeface="Segoe UI" panose="020B0502040204020203" pitchFamily="34" charset="0"/>
              </a:endParaRPr>
            </a:p>
          </p:txBody>
        </p:sp>
        <p:cxnSp>
          <p:nvCxnSpPr>
            <p:cNvPr id="164" name="Straight Connector 203">
              <a:extLst>
                <a:ext uri="{FF2B5EF4-FFF2-40B4-BE49-F238E27FC236}">
                  <a16:creationId xmlns:a16="http://schemas.microsoft.com/office/drawing/2014/main" id="{254D7FC1-F35B-488A-A49D-EE0836E65B01}"/>
                </a:ext>
              </a:extLst>
            </p:cNvPr>
            <p:cNvCxnSpPr>
              <a:cxnSpLocks noChangeShapeType="1"/>
              <a:stCxn id="245" idx="0"/>
              <a:endCxn id="252" idx="2"/>
            </p:cNvCxnSpPr>
            <p:nvPr/>
          </p:nvCxnSpPr>
          <p:spPr bwMode="auto">
            <a:xfrm rot="5400000" flipH="1" flipV="1">
              <a:off x="7788473" y="2863593"/>
              <a:ext cx="532710" cy="924349"/>
            </a:xfrm>
            <a:prstGeom prst="bentConnector3">
              <a:avLst>
                <a:gd name="adj1" fmla="val 50000"/>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65" name="Straight Connector 203">
              <a:extLst>
                <a:ext uri="{FF2B5EF4-FFF2-40B4-BE49-F238E27FC236}">
                  <a16:creationId xmlns:a16="http://schemas.microsoft.com/office/drawing/2014/main" id="{AEED28AA-BD30-4646-8D40-3C9395884453}"/>
                </a:ext>
              </a:extLst>
            </p:cNvPr>
            <p:cNvCxnSpPr>
              <a:cxnSpLocks noChangeShapeType="1"/>
              <a:stCxn id="246" idx="0"/>
              <a:endCxn id="253" idx="2"/>
            </p:cNvCxnSpPr>
            <p:nvPr/>
          </p:nvCxnSpPr>
          <p:spPr bwMode="auto">
            <a:xfrm rot="5400000" flipH="1" flipV="1">
              <a:off x="9630666" y="2821436"/>
              <a:ext cx="542178" cy="99919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72" name="Straight Connector 203">
              <a:extLst>
                <a:ext uri="{FF2B5EF4-FFF2-40B4-BE49-F238E27FC236}">
                  <a16:creationId xmlns:a16="http://schemas.microsoft.com/office/drawing/2014/main" id="{01022E62-628B-43AB-B7D2-5C9DD1C604F2}"/>
                </a:ext>
              </a:extLst>
            </p:cNvPr>
            <p:cNvCxnSpPr>
              <a:cxnSpLocks noChangeShapeType="1"/>
              <a:stCxn id="244" idx="2"/>
              <a:endCxn id="149" idx="3"/>
            </p:cNvCxnSpPr>
            <p:nvPr/>
          </p:nvCxnSpPr>
          <p:spPr bwMode="auto">
            <a:xfrm rot="5400000">
              <a:off x="7420671" y="3401792"/>
              <a:ext cx="93005" cy="2104070"/>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79" name="TextBox 178">
              <a:extLst>
                <a:ext uri="{FF2B5EF4-FFF2-40B4-BE49-F238E27FC236}">
                  <a16:creationId xmlns:a16="http://schemas.microsoft.com/office/drawing/2014/main" id="{18AC9750-92F7-464F-92D3-B0FBF01B6BD7}"/>
                </a:ext>
              </a:extLst>
            </p:cNvPr>
            <p:cNvSpPr txBox="1"/>
            <p:nvPr/>
          </p:nvSpPr>
          <p:spPr>
            <a:xfrm>
              <a:off x="9385215" y="4523648"/>
              <a:ext cx="428322" cy="307777"/>
            </a:xfrm>
            <a:prstGeom prst="rect">
              <a:avLst/>
            </a:prstGeom>
            <a:noFill/>
          </p:spPr>
          <p:txBody>
            <a:bodyPr wrap="none" rtlCol="0">
              <a:spAutoFit/>
            </a:bodyPr>
            <a:lstStyle/>
            <a:p>
              <a:r>
                <a:rPr lang="en-US" sz="1400" b="1">
                  <a:solidFill>
                    <a:schemeClr val="accent1"/>
                  </a:solidFill>
                  <a:latin typeface="+mn-lt"/>
                  <a:ea typeface="Segoe UI" panose="020B0502040204020203" pitchFamily="34" charset="0"/>
                  <a:cs typeface="Segoe UI" panose="020B0502040204020203" pitchFamily="34" charset="0"/>
                </a:rPr>
                <a:t>N4</a:t>
              </a:r>
              <a:endParaRPr lang="en-US" sz="1200" b="1">
                <a:solidFill>
                  <a:schemeClr val="accent1"/>
                </a:solidFill>
                <a:latin typeface="+mn-lt"/>
                <a:ea typeface="Segoe UI" panose="020B0502040204020203" pitchFamily="34" charset="0"/>
                <a:cs typeface="Segoe UI" panose="020B0502040204020203" pitchFamily="34" charset="0"/>
              </a:endParaRPr>
            </a:p>
          </p:txBody>
        </p:sp>
        <p:grpSp>
          <p:nvGrpSpPr>
            <p:cNvPr id="180" name="Group 179">
              <a:extLst>
                <a:ext uri="{FF2B5EF4-FFF2-40B4-BE49-F238E27FC236}">
                  <a16:creationId xmlns:a16="http://schemas.microsoft.com/office/drawing/2014/main" id="{45C13D2A-29EF-40A1-9149-0CA85BFF75D9}"/>
                </a:ext>
              </a:extLst>
            </p:cNvPr>
            <p:cNvGrpSpPr/>
            <p:nvPr/>
          </p:nvGrpSpPr>
          <p:grpSpPr>
            <a:xfrm>
              <a:off x="10591714" y="5175276"/>
              <a:ext cx="1243493" cy="997140"/>
              <a:chOff x="9315422" y="5130211"/>
              <a:chExt cx="2250397" cy="1719278"/>
            </a:xfrm>
          </p:grpSpPr>
          <p:sp>
            <p:nvSpPr>
              <p:cNvPr id="181" name="Freeform 34">
                <a:extLst>
                  <a:ext uri="{FF2B5EF4-FFF2-40B4-BE49-F238E27FC236}">
                    <a16:creationId xmlns:a16="http://schemas.microsoft.com/office/drawing/2014/main" id="{BDE34BAF-4E23-4B38-8DA1-D6F2DC0A4232}"/>
                  </a:ext>
                </a:extLst>
              </p:cNvPr>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ndParaRPr>
              </a:p>
            </p:txBody>
          </p:sp>
          <p:sp>
            <p:nvSpPr>
              <p:cNvPr id="182" name="Text Box 35">
                <a:extLst>
                  <a:ext uri="{FF2B5EF4-FFF2-40B4-BE49-F238E27FC236}">
                    <a16:creationId xmlns:a16="http://schemas.microsoft.com/office/drawing/2014/main" id="{9D0BD89D-E37E-46BA-BDA5-19785964ADFB}"/>
                  </a:ext>
                </a:extLst>
              </p:cNvPr>
              <p:cNvSpPr txBox="1">
                <a:spLocks noChangeAspect="1" noChangeArrowheads="1"/>
              </p:cNvSpPr>
              <p:nvPr/>
            </p:nvSpPr>
            <p:spPr bwMode="auto">
              <a:xfrm>
                <a:off x="9508327" y="5624419"/>
                <a:ext cx="1808285" cy="88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a:ln>
                      <a:noFill/>
                    </a:ln>
                    <a:solidFill>
                      <a:schemeClr val="tx1"/>
                    </a:solidFill>
                    <a:effectLst/>
                    <a:uLnTx/>
                    <a:uFillTx/>
                    <a:latin typeface="+mn-lt"/>
                    <a:ea typeface="MS PGothic" pitchFamily="34" charset="-128"/>
                  </a:rPr>
                  <a:t>Data Network </a:t>
                </a:r>
                <a:endParaRPr kumimoji="0" lang="en-US" altLang="en-US" sz="1400" b="0" i="0" u="none" strike="noStrike" kern="0" cap="none" spc="0" normalizeH="0" baseline="0" noProof="0">
                  <a:ln>
                    <a:noFill/>
                  </a:ln>
                  <a:solidFill>
                    <a:schemeClr val="tx1"/>
                  </a:solidFill>
                  <a:effectLst/>
                  <a:uLnTx/>
                  <a:uFillTx/>
                  <a:latin typeface="+mn-lt"/>
                  <a:ea typeface="MS PGothic" pitchFamily="34" charset="-128"/>
                </a:endParaRP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a:ln>
                      <a:noFill/>
                    </a:ln>
                    <a:solidFill>
                      <a:schemeClr val="tx1"/>
                    </a:solidFill>
                    <a:effectLst/>
                    <a:uLnTx/>
                    <a:uFillTx/>
                    <a:latin typeface="+mn-lt"/>
                    <a:ea typeface="MS PGothic" pitchFamily="34" charset="-128"/>
                  </a:rPr>
                  <a:t>(e.g. operator </a:t>
                </a: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a:ln>
                      <a:noFill/>
                    </a:ln>
                    <a:solidFill>
                      <a:schemeClr val="tx1"/>
                    </a:solidFill>
                    <a:effectLst/>
                    <a:uLnTx/>
                    <a:uFillTx/>
                    <a:latin typeface="+mn-lt"/>
                    <a:ea typeface="MS PGothic" pitchFamily="34" charset="-128"/>
                  </a:rPr>
                  <a:t>or Internet)</a:t>
                </a:r>
              </a:p>
            </p:txBody>
          </p:sp>
        </p:grpSp>
        <p:sp>
          <p:nvSpPr>
            <p:cNvPr id="185" name="Text Box 144">
              <a:extLst>
                <a:ext uri="{FF2B5EF4-FFF2-40B4-BE49-F238E27FC236}">
                  <a16:creationId xmlns:a16="http://schemas.microsoft.com/office/drawing/2014/main" id="{08AD8981-8922-4A73-B6CF-0507986C7C1A}"/>
                </a:ext>
              </a:extLst>
            </p:cNvPr>
            <p:cNvSpPr txBox="1">
              <a:spLocks noChangeAspect="1" noChangeArrowheads="1"/>
            </p:cNvSpPr>
            <p:nvPr/>
          </p:nvSpPr>
          <p:spPr bwMode="auto">
            <a:xfrm>
              <a:off x="10121896" y="3095609"/>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nrf</a:t>
              </a:r>
              <a:endParaRPr lang="en-US" altLang="en-US" sz="1100">
                <a:latin typeface="+mn-lt"/>
              </a:endParaRPr>
            </a:p>
          </p:txBody>
        </p:sp>
        <p:sp>
          <p:nvSpPr>
            <p:cNvPr id="186" name="Text Box 144">
              <a:extLst>
                <a:ext uri="{FF2B5EF4-FFF2-40B4-BE49-F238E27FC236}">
                  <a16:creationId xmlns:a16="http://schemas.microsoft.com/office/drawing/2014/main" id="{90A99DB1-71DB-47B1-B3F0-4E78EE94FDD2}"/>
                </a:ext>
              </a:extLst>
            </p:cNvPr>
            <p:cNvSpPr txBox="1">
              <a:spLocks noChangeAspect="1" noChangeArrowheads="1"/>
            </p:cNvSpPr>
            <p:nvPr/>
          </p:nvSpPr>
          <p:spPr bwMode="auto">
            <a:xfrm>
              <a:off x="8672708" y="3088438"/>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pcf</a:t>
              </a:r>
              <a:endParaRPr lang="en-US" altLang="en-US" sz="1100">
                <a:latin typeface="+mn-lt"/>
              </a:endParaRPr>
            </a:p>
          </p:txBody>
        </p:sp>
        <p:sp>
          <p:nvSpPr>
            <p:cNvPr id="187" name="Text Box 144">
              <a:extLst>
                <a:ext uri="{FF2B5EF4-FFF2-40B4-BE49-F238E27FC236}">
                  <a16:creationId xmlns:a16="http://schemas.microsoft.com/office/drawing/2014/main" id="{A85DBF82-B077-450C-A783-78D7EF5E66CE}"/>
                </a:ext>
              </a:extLst>
            </p:cNvPr>
            <p:cNvSpPr txBox="1">
              <a:spLocks noChangeAspect="1" noChangeArrowheads="1"/>
            </p:cNvSpPr>
            <p:nvPr/>
          </p:nvSpPr>
          <p:spPr bwMode="auto">
            <a:xfrm>
              <a:off x="7776052" y="3086956"/>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udm</a:t>
              </a:r>
              <a:endParaRPr lang="en-US" altLang="en-US" sz="1100">
                <a:latin typeface="+mn-lt"/>
              </a:endParaRPr>
            </a:p>
          </p:txBody>
        </p:sp>
        <p:sp>
          <p:nvSpPr>
            <p:cNvPr id="188" name="Text Box 144">
              <a:extLst>
                <a:ext uri="{FF2B5EF4-FFF2-40B4-BE49-F238E27FC236}">
                  <a16:creationId xmlns:a16="http://schemas.microsoft.com/office/drawing/2014/main" id="{2165720E-160B-485E-A3AC-ACEEEA6F2C7A}"/>
                </a:ext>
              </a:extLst>
            </p:cNvPr>
            <p:cNvSpPr txBox="1">
              <a:spLocks noChangeAspect="1" noChangeArrowheads="1"/>
            </p:cNvSpPr>
            <p:nvPr/>
          </p:nvSpPr>
          <p:spPr bwMode="auto">
            <a:xfrm>
              <a:off x="7776052" y="3427009"/>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mf</a:t>
              </a:r>
              <a:endParaRPr lang="en-US" altLang="en-US" sz="1100">
                <a:latin typeface="+mn-lt"/>
              </a:endParaRPr>
            </a:p>
          </p:txBody>
        </p:sp>
        <p:sp>
          <p:nvSpPr>
            <p:cNvPr id="189" name="Text Box 144">
              <a:extLst>
                <a:ext uri="{FF2B5EF4-FFF2-40B4-BE49-F238E27FC236}">
                  <a16:creationId xmlns:a16="http://schemas.microsoft.com/office/drawing/2014/main" id="{642A2556-7208-496A-AEC6-BAB2EF8E3FBF}"/>
                </a:ext>
              </a:extLst>
            </p:cNvPr>
            <p:cNvSpPr txBox="1">
              <a:spLocks noChangeAspect="1" noChangeArrowheads="1"/>
            </p:cNvSpPr>
            <p:nvPr/>
          </p:nvSpPr>
          <p:spPr bwMode="auto">
            <a:xfrm>
              <a:off x="8687377" y="3426580"/>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smf</a:t>
              </a:r>
              <a:endParaRPr lang="en-US" altLang="en-US" sz="1100">
                <a:latin typeface="+mn-lt"/>
              </a:endParaRPr>
            </a:p>
          </p:txBody>
        </p:sp>
        <p:sp>
          <p:nvSpPr>
            <p:cNvPr id="190" name="Text Box 144">
              <a:extLst>
                <a:ext uri="{FF2B5EF4-FFF2-40B4-BE49-F238E27FC236}">
                  <a16:creationId xmlns:a16="http://schemas.microsoft.com/office/drawing/2014/main" id="{73158770-0E26-4F01-B316-E54818EC3B7C}"/>
                </a:ext>
              </a:extLst>
            </p:cNvPr>
            <p:cNvSpPr txBox="1">
              <a:spLocks noChangeAspect="1" noChangeArrowheads="1"/>
            </p:cNvSpPr>
            <p:nvPr/>
          </p:nvSpPr>
          <p:spPr bwMode="auto">
            <a:xfrm>
              <a:off x="6885438" y="3096385"/>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usf</a:t>
              </a:r>
              <a:endParaRPr lang="en-US" altLang="en-US" sz="1100">
                <a:latin typeface="+mn-lt"/>
              </a:endParaRPr>
            </a:p>
          </p:txBody>
        </p:sp>
        <p:sp>
          <p:nvSpPr>
            <p:cNvPr id="191" name="Text Box 144">
              <a:extLst>
                <a:ext uri="{FF2B5EF4-FFF2-40B4-BE49-F238E27FC236}">
                  <a16:creationId xmlns:a16="http://schemas.microsoft.com/office/drawing/2014/main" id="{D721E18D-FC28-4FC7-ABEB-DC67E265A63D}"/>
                </a:ext>
              </a:extLst>
            </p:cNvPr>
            <p:cNvSpPr txBox="1">
              <a:spLocks noChangeAspect="1" noChangeArrowheads="1"/>
            </p:cNvSpPr>
            <p:nvPr/>
          </p:nvSpPr>
          <p:spPr bwMode="auto">
            <a:xfrm>
              <a:off x="6884201" y="3435982"/>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nssf</a:t>
              </a:r>
              <a:endParaRPr lang="en-US" altLang="en-US" sz="1100">
                <a:latin typeface="+mn-lt"/>
              </a:endParaRPr>
            </a:p>
          </p:txBody>
        </p:sp>
        <p:cxnSp>
          <p:nvCxnSpPr>
            <p:cNvPr id="192" name="Straight Connector 10">
              <a:extLst>
                <a:ext uri="{FF2B5EF4-FFF2-40B4-BE49-F238E27FC236}">
                  <a16:creationId xmlns:a16="http://schemas.microsoft.com/office/drawing/2014/main" id="{DEB46E95-5352-4E1D-81C4-A892ADAD58AB}"/>
                </a:ext>
              </a:extLst>
            </p:cNvPr>
            <p:cNvCxnSpPr>
              <a:cxnSpLocks/>
              <a:stCxn id="248" idx="2"/>
              <a:endCxn id="244" idx="0"/>
            </p:cNvCxnSpPr>
            <p:nvPr/>
          </p:nvCxnSpPr>
          <p:spPr bwMode="auto">
            <a:xfrm rot="5400000">
              <a:off x="8684735" y="2884419"/>
              <a:ext cx="546144" cy="877197"/>
            </a:xfrm>
            <a:prstGeom prst="bentConnector3">
              <a:avLst>
                <a:gd name="adj1" fmla="val 50000"/>
              </a:avLst>
            </a:prstGeom>
            <a:solidFill>
              <a:schemeClr val="accent1"/>
            </a:solidFill>
            <a:ln w="9525" cap="flat" cmpd="sng" algn="ctr">
              <a:solidFill>
                <a:schemeClr val="tx1"/>
              </a:solidFill>
              <a:prstDash val="dash"/>
              <a:round/>
              <a:headEnd type="none" w="med" len="med"/>
              <a:tailEnd type="none" w="med" len="med"/>
            </a:ln>
            <a:effectLst/>
          </p:spPr>
        </p:cxnSp>
        <p:sp>
          <p:nvSpPr>
            <p:cNvPr id="244" name="TextBox 243">
              <a:extLst>
                <a:ext uri="{FF2B5EF4-FFF2-40B4-BE49-F238E27FC236}">
                  <a16:creationId xmlns:a16="http://schemas.microsoft.com/office/drawing/2014/main" id="{B98DAAB1-51B5-4C95-B509-20CCD2846E66}"/>
                </a:ext>
              </a:extLst>
            </p:cNvPr>
            <p:cNvSpPr txBox="1"/>
            <p:nvPr/>
          </p:nvSpPr>
          <p:spPr bwMode="auto">
            <a:xfrm>
              <a:off x="8228717" y="3596089"/>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AMF</a:t>
              </a:r>
            </a:p>
          </p:txBody>
        </p:sp>
        <p:sp>
          <p:nvSpPr>
            <p:cNvPr id="245" name="TextBox 244">
              <a:extLst>
                <a:ext uri="{FF2B5EF4-FFF2-40B4-BE49-F238E27FC236}">
                  <a16:creationId xmlns:a16="http://schemas.microsoft.com/office/drawing/2014/main" id="{12780599-347E-45E9-B5FC-0987A628FF6A}"/>
                </a:ext>
              </a:extLst>
            </p:cNvPr>
            <p:cNvSpPr txBox="1"/>
            <p:nvPr/>
          </p:nvSpPr>
          <p:spPr bwMode="auto">
            <a:xfrm>
              <a:off x="7302163" y="3592122"/>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NSSF</a:t>
              </a:r>
            </a:p>
          </p:txBody>
        </p:sp>
        <p:sp>
          <p:nvSpPr>
            <p:cNvPr id="246" name="TextBox 245">
              <a:extLst>
                <a:ext uri="{FF2B5EF4-FFF2-40B4-BE49-F238E27FC236}">
                  <a16:creationId xmlns:a16="http://schemas.microsoft.com/office/drawing/2014/main" id="{79DCE992-0FF8-4928-8DB4-A1B4587BCFF2}"/>
                </a:ext>
              </a:extLst>
            </p:cNvPr>
            <p:cNvSpPr txBox="1"/>
            <p:nvPr/>
          </p:nvSpPr>
          <p:spPr bwMode="auto">
            <a:xfrm>
              <a:off x="9111666" y="3592123"/>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SMF</a:t>
              </a:r>
            </a:p>
          </p:txBody>
        </p:sp>
        <p:sp>
          <p:nvSpPr>
            <p:cNvPr id="248" name="TextBox 247">
              <a:extLst>
                <a:ext uri="{FF2B5EF4-FFF2-40B4-BE49-F238E27FC236}">
                  <a16:creationId xmlns:a16="http://schemas.microsoft.com/office/drawing/2014/main" id="{3EBA964B-B339-42B8-8187-2355C159155C}"/>
                </a:ext>
              </a:extLst>
            </p:cNvPr>
            <p:cNvSpPr txBox="1"/>
            <p:nvPr/>
          </p:nvSpPr>
          <p:spPr bwMode="auto">
            <a:xfrm>
              <a:off x="9105914" y="2238709"/>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PCF</a:t>
              </a:r>
            </a:p>
          </p:txBody>
        </p:sp>
        <p:sp>
          <p:nvSpPr>
            <p:cNvPr id="250" name="TextBox 249">
              <a:extLst>
                <a:ext uri="{FF2B5EF4-FFF2-40B4-BE49-F238E27FC236}">
                  <a16:creationId xmlns:a16="http://schemas.microsoft.com/office/drawing/2014/main" id="{BDA27694-072A-4EB3-A814-89E87719D207}"/>
                </a:ext>
              </a:extLst>
            </p:cNvPr>
            <p:cNvSpPr txBox="1"/>
            <p:nvPr/>
          </p:nvSpPr>
          <p:spPr bwMode="auto">
            <a:xfrm>
              <a:off x="6377483" y="222223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UDR</a:t>
              </a:r>
            </a:p>
          </p:txBody>
        </p:sp>
        <p:sp>
          <p:nvSpPr>
            <p:cNvPr id="251" name="TextBox 250">
              <a:extLst>
                <a:ext uri="{FF2B5EF4-FFF2-40B4-BE49-F238E27FC236}">
                  <a16:creationId xmlns:a16="http://schemas.microsoft.com/office/drawing/2014/main" id="{A7F30CAE-B9D5-4DF7-91B4-2CA1366CBBD4}"/>
                </a:ext>
              </a:extLst>
            </p:cNvPr>
            <p:cNvSpPr txBox="1"/>
            <p:nvPr/>
          </p:nvSpPr>
          <p:spPr bwMode="auto">
            <a:xfrm>
              <a:off x="7302962" y="223884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AUSF</a:t>
              </a:r>
            </a:p>
          </p:txBody>
        </p:sp>
        <p:sp>
          <p:nvSpPr>
            <p:cNvPr id="252" name="TextBox 251">
              <a:extLst>
                <a:ext uri="{FF2B5EF4-FFF2-40B4-BE49-F238E27FC236}">
                  <a16:creationId xmlns:a16="http://schemas.microsoft.com/office/drawing/2014/main" id="{4D1805A0-03AD-4306-A1DC-0D3ABEEA8EDA}"/>
                </a:ext>
              </a:extLst>
            </p:cNvPr>
            <p:cNvSpPr txBox="1"/>
            <p:nvPr/>
          </p:nvSpPr>
          <p:spPr bwMode="auto">
            <a:xfrm>
              <a:off x="8226244" y="223438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UDM</a:t>
              </a:r>
            </a:p>
          </p:txBody>
        </p:sp>
        <p:sp>
          <p:nvSpPr>
            <p:cNvPr id="253" name="TextBox 252">
              <a:extLst>
                <a:ext uri="{FF2B5EF4-FFF2-40B4-BE49-F238E27FC236}">
                  <a16:creationId xmlns:a16="http://schemas.microsoft.com/office/drawing/2014/main" id="{3C710A74-3D5D-4078-9504-8207327CFDCF}"/>
                </a:ext>
              </a:extLst>
            </p:cNvPr>
            <p:cNvSpPr txBox="1"/>
            <p:nvPr/>
          </p:nvSpPr>
          <p:spPr bwMode="auto">
            <a:xfrm>
              <a:off x="10110594" y="2224922"/>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NRF</a:t>
              </a:r>
            </a:p>
          </p:txBody>
        </p:sp>
        <p:sp>
          <p:nvSpPr>
            <p:cNvPr id="254" name="TextBox 253">
              <a:extLst>
                <a:ext uri="{FF2B5EF4-FFF2-40B4-BE49-F238E27FC236}">
                  <a16:creationId xmlns:a16="http://schemas.microsoft.com/office/drawing/2014/main" id="{C873B7B3-08E8-433C-9E04-83DD4A94FC1F}"/>
                </a:ext>
              </a:extLst>
            </p:cNvPr>
            <p:cNvSpPr txBox="1"/>
            <p:nvPr/>
          </p:nvSpPr>
          <p:spPr bwMode="auto">
            <a:xfrm>
              <a:off x="9112537" y="5047278"/>
              <a:ext cx="582231" cy="829254"/>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lang="en-US" sz="1200">
                <a:solidFill>
                  <a:schemeClr val="accent3">
                    <a:lumMod val="75000"/>
                  </a:schemeClr>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rPr>
                <a:t>UPF</a:t>
              </a:r>
              <a:endPar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cxnSp>
          <p:nvCxnSpPr>
            <p:cNvPr id="255" name="Straight Connector 10">
              <a:extLst>
                <a:ext uri="{FF2B5EF4-FFF2-40B4-BE49-F238E27FC236}">
                  <a16:creationId xmlns:a16="http://schemas.microsoft.com/office/drawing/2014/main" id="{C92B6E86-E2C9-44F8-B61E-98E2CB62E2BB}"/>
                </a:ext>
              </a:extLst>
            </p:cNvPr>
            <p:cNvCxnSpPr>
              <a:cxnSpLocks/>
              <a:stCxn id="251" idx="2"/>
              <a:endCxn id="250" idx="2"/>
            </p:cNvCxnSpPr>
            <p:nvPr/>
          </p:nvCxnSpPr>
          <p:spPr bwMode="auto">
            <a:xfrm rot="5400000" flipH="1">
              <a:off x="7122677" y="2592828"/>
              <a:ext cx="16610" cy="925479"/>
            </a:xfrm>
            <a:prstGeom prst="bentConnector3">
              <a:avLst>
                <a:gd name="adj1" fmla="val -1582366"/>
              </a:avLst>
            </a:prstGeom>
            <a:solidFill>
              <a:schemeClr val="accent1"/>
            </a:solidFill>
            <a:ln w="9525" cap="flat" cmpd="sng" algn="ctr">
              <a:solidFill>
                <a:schemeClr val="tx1"/>
              </a:solidFill>
              <a:prstDash val="dash"/>
              <a:round/>
              <a:headEnd type="none" w="med" len="med"/>
              <a:tailEnd type="none" w="med" len="med"/>
            </a:ln>
            <a:effectLst/>
          </p:spPr>
        </p:cxnSp>
        <p:sp>
          <p:nvSpPr>
            <p:cNvPr id="256" name="Text Box 144">
              <a:extLst>
                <a:ext uri="{FF2B5EF4-FFF2-40B4-BE49-F238E27FC236}">
                  <a16:creationId xmlns:a16="http://schemas.microsoft.com/office/drawing/2014/main" id="{857CAEB3-86B8-4A47-ADE3-B834B1BD1430}"/>
                </a:ext>
              </a:extLst>
            </p:cNvPr>
            <p:cNvSpPr txBox="1">
              <a:spLocks noChangeAspect="1" noChangeArrowheads="1"/>
            </p:cNvSpPr>
            <p:nvPr/>
          </p:nvSpPr>
          <p:spPr bwMode="auto">
            <a:xfrm>
              <a:off x="5936087" y="3088844"/>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udm</a:t>
              </a:r>
              <a:endParaRPr lang="en-US" altLang="en-US" sz="1100">
                <a:latin typeface="+mn-lt"/>
              </a:endParaRPr>
            </a:p>
          </p:txBody>
        </p:sp>
        <p:sp>
          <p:nvSpPr>
            <p:cNvPr id="257" name="TextBox 256">
              <a:extLst>
                <a:ext uri="{FF2B5EF4-FFF2-40B4-BE49-F238E27FC236}">
                  <a16:creationId xmlns:a16="http://schemas.microsoft.com/office/drawing/2014/main" id="{C1B4754E-DA19-4447-B666-246EC4BDAB9D}"/>
                </a:ext>
              </a:extLst>
            </p:cNvPr>
            <p:cNvSpPr txBox="1"/>
            <p:nvPr/>
          </p:nvSpPr>
          <p:spPr bwMode="auto">
            <a:xfrm>
              <a:off x="5801255" y="3919828"/>
              <a:ext cx="568745" cy="811178"/>
            </a:xfrm>
            <a:prstGeom prst="rect">
              <a:avLst/>
            </a:prstGeom>
            <a:solidFill>
              <a:schemeClr val="bg1"/>
            </a:solidFill>
            <a:ln w="1905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NG-RAN</a:t>
              </a:r>
            </a:p>
          </p:txBody>
        </p:sp>
      </p:grpSp>
      <p:sp>
        <p:nvSpPr>
          <p:cNvPr id="71" name="Arc 70"/>
          <p:cNvSpPr/>
          <p:nvPr/>
        </p:nvSpPr>
        <p:spPr bwMode="auto">
          <a:xfrm flipV="1">
            <a:off x="3838105" y="4022410"/>
            <a:ext cx="5975432" cy="866061"/>
          </a:xfrm>
          <a:prstGeom prst="arc">
            <a:avLst>
              <a:gd name="adj1" fmla="val 10838117"/>
              <a:gd name="adj2" fmla="val 21271354"/>
            </a:avLst>
          </a:prstGeom>
          <a:noFill/>
          <a:ln w="76200" cap="flat" cmpd="sng" algn="ctr">
            <a:solidFill>
              <a:srgbClr val="89BA17"/>
            </a:solidFill>
            <a:prstDash val="solid"/>
            <a:round/>
            <a:headEnd type="none" w="med" len="med"/>
            <a:tailEnd type="triangle" w="med" len="med"/>
          </a:ln>
          <a:effectLst/>
          <a:extLst>
            <a:ext uri="{909E8E84-426E-40DD-AFC4-6F175D3DCCD1}">
              <a14:hiddenFill xmlns:a14="http://schemas.microsoft.com/office/drawing/2010/main">
                <a:blipFill>
                  <a:blip r:embed="rId3"/>
                  <a:stretch>
                    <a:fillRect/>
                  </a:stretch>
                </a:blip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sp>
        <p:nvSpPr>
          <p:cNvPr id="125" name="TextBox 124"/>
          <p:cNvSpPr txBox="1"/>
          <p:nvPr/>
        </p:nvSpPr>
        <p:spPr>
          <a:xfrm>
            <a:off x="3363464" y="5037993"/>
            <a:ext cx="5267488" cy="1569660"/>
          </a:xfrm>
          <a:prstGeom prst="rect">
            <a:avLst/>
          </a:prstGeom>
          <a:solidFill>
            <a:schemeClr val="bg1"/>
          </a:solidFill>
        </p:spPr>
        <p:txBody>
          <a:bodyPr wrap="square" rtlCol="0">
            <a:spAutoFit/>
          </a:bodyPr>
          <a:lstStyle/>
          <a:p>
            <a:pPr algn="ctr"/>
            <a:r>
              <a:rPr lang="en-US" sz="2400" b="1">
                <a:solidFill>
                  <a:schemeClr val="accent1">
                    <a:lumMod val="75000"/>
                  </a:schemeClr>
                </a:solidFill>
                <a:latin typeface="+mn-lt"/>
              </a:rPr>
              <a:t>The 5G CP-UP interface is based on the EPC CUPS CP-UP interface, with enhancements for 5G as needed</a:t>
            </a:r>
          </a:p>
        </p:txBody>
      </p:sp>
    </p:spTree>
    <p:extLst>
      <p:ext uri="{BB962C8B-B14F-4D97-AF65-F5344CB8AC3E}">
        <p14:creationId xmlns:p14="http://schemas.microsoft.com/office/powerpoint/2010/main" val="490436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3" presetClass="emph" presetSubtype="2" fill="hold" grpId="0" nodeType="withEffect">
                                  <p:stCondLst>
                                    <p:cond delay="0"/>
                                  </p:stCondLst>
                                  <p:childTnLst>
                                    <p:animClr clrSpc="rgb" dir="cw">
                                      <p:cBhvr override="childStyle">
                                        <p:cTn id="8" dur="2000" fill="hold"/>
                                        <p:tgtEl>
                                          <p:spTgt spid="211"/>
                                        </p:tgtEl>
                                        <p:attrNameLst>
                                          <p:attrName>style.color</p:attrName>
                                        </p:attrNameLst>
                                      </p:cBhvr>
                                      <p:to>
                                        <a:srgbClr val="89BA17"/>
                                      </p:to>
                                    </p:animClr>
                                  </p:childTnLst>
                                </p:cTn>
                              </p:par>
                              <p:par>
                                <p:cTn id="9" presetID="3" presetClass="emph" presetSubtype="2" fill="hold" grpId="0" nodeType="withEffect">
                                  <p:stCondLst>
                                    <p:cond delay="0"/>
                                  </p:stCondLst>
                                  <p:childTnLst>
                                    <p:animClr clrSpc="rgb" dir="cw">
                                      <p:cBhvr override="childStyle">
                                        <p:cTn id="10" dur="2000" fill="hold"/>
                                        <p:tgtEl>
                                          <p:spTgt spid="183"/>
                                        </p:tgtEl>
                                        <p:attrNameLst>
                                          <p:attrName>style.color</p:attrName>
                                        </p:attrNameLst>
                                      </p:cBhvr>
                                      <p:to>
                                        <a:srgbClr val="89BA17"/>
                                      </p:to>
                                    </p:animClr>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25"/>
                                        </p:tgtEl>
                                        <p:attrNameLst>
                                          <p:attrName>style.visibility</p:attrName>
                                        </p:attrNameLst>
                                      </p:cBhvr>
                                      <p:to>
                                        <p:strVal val="visible"/>
                                      </p:to>
                                    </p:set>
                                    <p:animEffect transition="in" filter="fade">
                                      <p:cBhvr>
                                        <p:cTn id="14" dur="500"/>
                                        <p:tgtEl>
                                          <p:spTgt spid="12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Effect transition="in" filter="fade">
                                      <p:cBhvr>
                                        <p:cTn id="1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p:bldP spid="211" grpId="0"/>
      <p:bldP spid="71" grpId="0" animBg="1"/>
      <p:bldP spid="12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lstStyle/>
          <a:p>
            <a:r>
              <a:rPr lang="en-US" sz="2000"/>
              <a:t>UP tunneling between RAN and UPF will be used, to handle mobility, different PDU types, </a:t>
            </a:r>
            <a:r>
              <a:rPr lang="en-US" sz="2000" err="1"/>
              <a:t>etc</a:t>
            </a:r>
            <a:endParaRPr lang="en-US" sz="2000"/>
          </a:p>
          <a:p>
            <a:pPr lvl="1"/>
            <a:r>
              <a:rPr lang="en-US"/>
              <a:t>Per-PDU-Session tunneling agreed (i.e. per-bearer tunneling not supported)</a:t>
            </a:r>
          </a:p>
          <a:p>
            <a:pPr lvl="1"/>
            <a:r>
              <a:rPr lang="en-US"/>
              <a:t>GTP-U used as UP tunneling protocol on N3 and N9</a:t>
            </a:r>
          </a:p>
          <a:p>
            <a:pPr lvl="1"/>
            <a:endParaRPr lang="en-US" sz="2000"/>
          </a:p>
        </p:txBody>
      </p:sp>
      <p:sp>
        <p:nvSpPr>
          <p:cNvPr id="6" name="Title 5"/>
          <p:cNvSpPr>
            <a:spLocks noGrp="1"/>
          </p:cNvSpPr>
          <p:nvPr>
            <p:ph type="title"/>
          </p:nvPr>
        </p:nvSpPr>
        <p:spPr/>
        <p:txBody>
          <a:bodyPr/>
          <a:lstStyle/>
          <a:p>
            <a:r>
              <a:rPr lang="en-US"/>
              <a:t>5GC User plane handling</a:t>
            </a:r>
          </a:p>
        </p:txBody>
      </p:sp>
      <p:sp>
        <p:nvSpPr>
          <p:cNvPr id="20" name="TextBox 19"/>
          <p:cNvSpPr txBox="1"/>
          <p:nvPr/>
        </p:nvSpPr>
        <p:spPr>
          <a:xfrm>
            <a:off x="7815798" y="5226608"/>
            <a:ext cx="428322" cy="307777"/>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txBody>
          <a:bodyPr wrap="none" rtlCol="0">
            <a:spAutoFit/>
          </a:bodyPr>
          <a:lstStyle/>
          <a:p>
            <a:r>
              <a:rPr lang="en-US" sz="1400">
                <a:solidFill>
                  <a:schemeClr val="accent1"/>
                </a:solidFill>
                <a:latin typeface="+mn-lt"/>
                <a:ea typeface="Segoe UI" panose="020B0502040204020203" pitchFamily="34" charset="0"/>
                <a:cs typeface="Segoe UI" panose="020B0502040204020203" pitchFamily="34" charset="0"/>
              </a:rPr>
              <a:t>N3</a:t>
            </a:r>
            <a:endParaRPr lang="en-US" sz="1600">
              <a:solidFill>
                <a:schemeClr val="accent1"/>
              </a:solidFill>
              <a:latin typeface="+mn-lt"/>
              <a:ea typeface="Segoe UI" panose="020B0502040204020203" pitchFamily="34" charset="0"/>
              <a:cs typeface="Segoe UI" panose="020B0502040204020203" pitchFamily="34" charset="0"/>
            </a:endParaRPr>
          </a:p>
        </p:txBody>
      </p:sp>
      <p:sp>
        <p:nvSpPr>
          <p:cNvPr id="67" name="Cylinder 66"/>
          <p:cNvSpPr/>
          <p:nvPr/>
        </p:nvSpPr>
        <p:spPr bwMode="auto">
          <a:xfrm rot="16200000">
            <a:off x="7876538" y="4615820"/>
            <a:ext cx="306843" cy="2151908"/>
          </a:xfrm>
          <a:prstGeom prst="can">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cxnSp>
        <p:nvCxnSpPr>
          <p:cNvPr id="84" name="Straight Connector 203">
            <a:extLst>
              <a:ext uri="{FF2B5EF4-FFF2-40B4-BE49-F238E27FC236}">
                <a16:creationId xmlns:a16="http://schemas.microsoft.com/office/drawing/2014/main" id="{185E65B9-9C75-4520-A90A-B8811B66718D}"/>
              </a:ext>
            </a:extLst>
          </p:cNvPr>
          <p:cNvCxnSpPr>
            <a:cxnSpLocks noChangeShapeType="1"/>
          </p:cNvCxnSpPr>
          <p:nvPr/>
        </p:nvCxnSpPr>
        <p:spPr bwMode="auto">
          <a:xfrm>
            <a:off x="6959000" y="5691775"/>
            <a:ext cx="3645340" cy="1"/>
          </a:xfrm>
          <a:prstGeom prst="straightConnector1">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85" name="Straight Connector 203">
            <a:extLst>
              <a:ext uri="{FF2B5EF4-FFF2-40B4-BE49-F238E27FC236}">
                <a16:creationId xmlns:a16="http://schemas.microsoft.com/office/drawing/2014/main" id="{E6D54F09-C1CD-41A2-AD9C-1725C26FE759}"/>
              </a:ext>
            </a:extLst>
          </p:cNvPr>
          <p:cNvCxnSpPr>
            <a:cxnSpLocks noChangeShapeType="1"/>
            <a:stCxn id="110" idx="2"/>
            <a:endCxn id="116" idx="0"/>
          </p:cNvCxnSpPr>
          <p:nvPr/>
        </p:nvCxnSpPr>
        <p:spPr bwMode="auto">
          <a:xfrm rot="16200000" flipH="1">
            <a:off x="9080946" y="4724570"/>
            <a:ext cx="643919" cy="149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6" name="TextBox 85">
            <a:extLst>
              <a:ext uri="{FF2B5EF4-FFF2-40B4-BE49-F238E27FC236}">
                <a16:creationId xmlns:a16="http://schemas.microsoft.com/office/drawing/2014/main" id="{5DEB97D7-EBF1-454A-808F-B90F45198005}"/>
              </a:ext>
            </a:extLst>
          </p:cNvPr>
          <p:cNvSpPr txBox="1"/>
          <p:nvPr/>
        </p:nvSpPr>
        <p:spPr>
          <a:xfrm>
            <a:off x="8133030" y="4458955"/>
            <a:ext cx="415498" cy="307777"/>
          </a:xfrm>
          <a:prstGeom prst="rect">
            <a:avLst/>
          </a:prstGeom>
          <a:noFill/>
        </p:spPr>
        <p:txBody>
          <a:bodyPr wrap="square" rtlCol="0">
            <a:spAutoFit/>
          </a:bodyPr>
          <a:lstStyle/>
          <a:p>
            <a:r>
              <a:rPr lang="en-US" sz="1400">
                <a:latin typeface="+mn-lt"/>
                <a:ea typeface="Segoe UI" panose="020B0502040204020203" pitchFamily="34" charset="0"/>
                <a:cs typeface="Segoe UI" panose="020B0502040204020203" pitchFamily="34" charset="0"/>
              </a:rPr>
              <a:t>N2</a:t>
            </a:r>
            <a:endParaRPr lang="en-US" sz="1600">
              <a:latin typeface="+mn-lt"/>
              <a:ea typeface="Segoe UI" panose="020B0502040204020203" pitchFamily="34" charset="0"/>
              <a:cs typeface="Segoe UI" panose="020B0502040204020203" pitchFamily="34" charset="0"/>
            </a:endParaRPr>
          </a:p>
        </p:txBody>
      </p:sp>
      <p:sp>
        <p:nvSpPr>
          <p:cNvPr id="88" name="TextBox 87">
            <a:extLst>
              <a:ext uri="{FF2B5EF4-FFF2-40B4-BE49-F238E27FC236}">
                <a16:creationId xmlns:a16="http://schemas.microsoft.com/office/drawing/2014/main" id="{0B3007CB-2B3D-4CD0-B9AA-6CF3BF372EC0}"/>
              </a:ext>
            </a:extLst>
          </p:cNvPr>
          <p:cNvSpPr txBox="1"/>
          <p:nvPr/>
        </p:nvSpPr>
        <p:spPr>
          <a:xfrm>
            <a:off x="9884764" y="5418545"/>
            <a:ext cx="415498" cy="307777"/>
          </a:xfrm>
          <a:prstGeom prst="rect">
            <a:avLst/>
          </a:prstGeom>
          <a:noFill/>
        </p:spPr>
        <p:txBody>
          <a:bodyPr wrap="none" rtlCol="0">
            <a:spAutoFit/>
          </a:bodyPr>
          <a:lstStyle/>
          <a:p>
            <a:r>
              <a:rPr lang="en-US" sz="1400">
                <a:latin typeface="+mn-lt"/>
                <a:ea typeface="Segoe UI" panose="020B0502040204020203" pitchFamily="34" charset="0"/>
                <a:cs typeface="Segoe UI" panose="020B0502040204020203" pitchFamily="34" charset="0"/>
              </a:rPr>
              <a:t>N6</a:t>
            </a:r>
            <a:endParaRPr lang="en-US" sz="1200">
              <a:latin typeface="+mn-lt"/>
              <a:ea typeface="Segoe UI" panose="020B0502040204020203" pitchFamily="34" charset="0"/>
              <a:cs typeface="Segoe UI" panose="020B0502040204020203" pitchFamily="34" charset="0"/>
            </a:endParaRPr>
          </a:p>
        </p:txBody>
      </p:sp>
      <p:cxnSp>
        <p:nvCxnSpPr>
          <p:cNvPr id="89" name="Straight Connector 203">
            <a:extLst>
              <a:ext uri="{FF2B5EF4-FFF2-40B4-BE49-F238E27FC236}">
                <a16:creationId xmlns:a16="http://schemas.microsoft.com/office/drawing/2014/main" id="{4601F140-4E0F-49F7-B7C5-11608870D0AF}"/>
              </a:ext>
            </a:extLst>
          </p:cNvPr>
          <p:cNvCxnSpPr>
            <a:cxnSpLocks noChangeShapeType="1"/>
            <a:stCxn id="109" idx="0"/>
            <a:endCxn id="114" idx="2"/>
          </p:cNvCxnSpPr>
          <p:nvPr/>
        </p:nvCxnSpPr>
        <p:spPr bwMode="auto">
          <a:xfrm rot="5400000" flipH="1" flipV="1">
            <a:off x="7788473" y="2863593"/>
            <a:ext cx="532710" cy="924349"/>
          </a:xfrm>
          <a:prstGeom prst="bentConnector3">
            <a:avLst>
              <a:gd name="adj1" fmla="val 50000"/>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90" name="Straight Connector 203">
            <a:extLst>
              <a:ext uri="{FF2B5EF4-FFF2-40B4-BE49-F238E27FC236}">
                <a16:creationId xmlns:a16="http://schemas.microsoft.com/office/drawing/2014/main" id="{83FCE503-2D97-4B71-88E2-9F83732CB3FF}"/>
              </a:ext>
            </a:extLst>
          </p:cNvPr>
          <p:cNvCxnSpPr>
            <a:cxnSpLocks noChangeShapeType="1"/>
            <a:stCxn id="110" idx="0"/>
            <a:endCxn id="115" idx="2"/>
          </p:cNvCxnSpPr>
          <p:nvPr/>
        </p:nvCxnSpPr>
        <p:spPr bwMode="auto">
          <a:xfrm rot="5400000" flipH="1" flipV="1">
            <a:off x="9630666" y="2821436"/>
            <a:ext cx="542178" cy="99919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91" name="Straight Connector 203">
            <a:extLst>
              <a:ext uri="{FF2B5EF4-FFF2-40B4-BE49-F238E27FC236}">
                <a16:creationId xmlns:a16="http://schemas.microsoft.com/office/drawing/2014/main" id="{A96E2261-0FA8-401B-B6CD-610A0E4CBCC4}"/>
              </a:ext>
            </a:extLst>
          </p:cNvPr>
          <p:cNvCxnSpPr>
            <a:cxnSpLocks noChangeShapeType="1"/>
            <a:stCxn id="108" idx="2"/>
            <a:endCxn id="119" idx="0"/>
          </p:cNvCxnSpPr>
          <p:nvPr/>
        </p:nvCxnSpPr>
        <p:spPr bwMode="auto">
          <a:xfrm rot="5400000">
            <a:off x="7261518" y="3807663"/>
            <a:ext cx="658029" cy="1857352"/>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92" name="TextBox 91">
            <a:extLst>
              <a:ext uri="{FF2B5EF4-FFF2-40B4-BE49-F238E27FC236}">
                <a16:creationId xmlns:a16="http://schemas.microsoft.com/office/drawing/2014/main" id="{040422EF-65B7-4414-BC26-71B5D0192ECD}"/>
              </a:ext>
            </a:extLst>
          </p:cNvPr>
          <p:cNvSpPr txBox="1"/>
          <p:nvPr/>
        </p:nvSpPr>
        <p:spPr>
          <a:xfrm>
            <a:off x="9385215" y="4523648"/>
            <a:ext cx="428322" cy="307777"/>
          </a:xfrm>
          <a:prstGeom prst="rect">
            <a:avLst/>
          </a:prstGeom>
          <a:noFill/>
        </p:spPr>
        <p:txBody>
          <a:bodyPr wrap="none" rtlCol="0">
            <a:spAutoFit/>
          </a:bodyPr>
          <a:lstStyle/>
          <a:p>
            <a:r>
              <a:rPr lang="en-US" sz="1400" b="1">
                <a:latin typeface="+mn-lt"/>
                <a:ea typeface="Segoe UI" panose="020B0502040204020203" pitchFamily="34" charset="0"/>
                <a:cs typeface="Segoe UI" panose="020B0502040204020203" pitchFamily="34" charset="0"/>
              </a:rPr>
              <a:t>N4</a:t>
            </a:r>
            <a:endParaRPr lang="en-US" sz="1200" b="1">
              <a:latin typeface="+mn-lt"/>
              <a:ea typeface="Segoe UI" panose="020B0502040204020203" pitchFamily="34" charset="0"/>
              <a:cs typeface="Segoe UI" panose="020B0502040204020203" pitchFamily="34" charset="0"/>
            </a:endParaRPr>
          </a:p>
        </p:txBody>
      </p:sp>
      <p:grpSp>
        <p:nvGrpSpPr>
          <p:cNvPr id="93" name="Group 92">
            <a:extLst>
              <a:ext uri="{FF2B5EF4-FFF2-40B4-BE49-F238E27FC236}">
                <a16:creationId xmlns:a16="http://schemas.microsoft.com/office/drawing/2014/main" id="{E3AAA75C-D99B-4222-8ECE-B25C5C1FDF50}"/>
              </a:ext>
            </a:extLst>
          </p:cNvPr>
          <p:cNvGrpSpPr/>
          <p:nvPr/>
        </p:nvGrpSpPr>
        <p:grpSpPr>
          <a:xfrm>
            <a:off x="10591714" y="5175276"/>
            <a:ext cx="1243493" cy="997140"/>
            <a:chOff x="9315422" y="5130211"/>
            <a:chExt cx="2250397" cy="1719278"/>
          </a:xfrm>
        </p:grpSpPr>
        <p:sp>
          <p:nvSpPr>
            <p:cNvPr id="120" name="Freeform 34">
              <a:extLst>
                <a:ext uri="{FF2B5EF4-FFF2-40B4-BE49-F238E27FC236}">
                  <a16:creationId xmlns:a16="http://schemas.microsoft.com/office/drawing/2014/main" id="{12A55768-D768-419E-81AD-626EF273DACB}"/>
                </a:ext>
              </a:extLst>
            </p:cNvPr>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ndParaRPr>
            </a:p>
          </p:txBody>
        </p:sp>
        <p:sp>
          <p:nvSpPr>
            <p:cNvPr id="121" name="Text Box 35">
              <a:extLst>
                <a:ext uri="{FF2B5EF4-FFF2-40B4-BE49-F238E27FC236}">
                  <a16:creationId xmlns:a16="http://schemas.microsoft.com/office/drawing/2014/main" id="{78F6F6D8-4AB7-4503-BD1A-BAB3332AA481}"/>
                </a:ext>
              </a:extLst>
            </p:cNvPr>
            <p:cNvSpPr txBox="1">
              <a:spLocks noChangeAspect="1" noChangeArrowheads="1"/>
            </p:cNvSpPr>
            <p:nvPr/>
          </p:nvSpPr>
          <p:spPr bwMode="auto">
            <a:xfrm>
              <a:off x="9508327" y="5624419"/>
              <a:ext cx="1808285" cy="88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a:ln>
                    <a:noFill/>
                  </a:ln>
                  <a:solidFill>
                    <a:schemeClr val="tx1"/>
                  </a:solidFill>
                  <a:effectLst/>
                  <a:uLnTx/>
                  <a:uFillTx/>
                  <a:latin typeface="+mn-lt"/>
                  <a:ea typeface="MS PGothic" pitchFamily="34" charset="-128"/>
                </a:rPr>
                <a:t>Data Network </a:t>
              </a:r>
              <a:endParaRPr kumimoji="0" lang="en-US" altLang="en-US" sz="1400" b="0" i="0" u="none" strike="noStrike" kern="0" cap="none" spc="0" normalizeH="0" baseline="0" noProof="0">
                <a:ln>
                  <a:noFill/>
                </a:ln>
                <a:solidFill>
                  <a:schemeClr val="tx1"/>
                </a:solidFill>
                <a:effectLst/>
                <a:uLnTx/>
                <a:uFillTx/>
                <a:latin typeface="+mn-lt"/>
                <a:ea typeface="MS PGothic" pitchFamily="34" charset="-128"/>
              </a:endParaRP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a:ln>
                    <a:noFill/>
                  </a:ln>
                  <a:solidFill>
                    <a:schemeClr val="tx1"/>
                  </a:solidFill>
                  <a:effectLst/>
                  <a:uLnTx/>
                  <a:uFillTx/>
                  <a:latin typeface="+mn-lt"/>
                  <a:ea typeface="MS PGothic" pitchFamily="34" charset="-128"/>
                </a:rPr>
                <a:t>(e.g. operator </a:t>
              </a: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a:ln>
                    <a:noFill/>
                  </a:ln>
                  <a:solidFill>
                    <a:schemeClr val="tx1"/>
                  </a:solidFill>
                  <a:effectLst/>
                  <a:uLnTx/>
                  <a:uFillTx/>
                  <a:latin typeface="+mn-lt"/>
                  <a:ea typeface="MS PGothic" pitchFamily="34" charset="-128"/>
                </a:rPr>
                <a:t>or Internet)</a:t>
              </a:r>
            </a:p>
          </p:txBody>
        </p:sp>
      </p:grpSp>
      <p:sp>
        <p:nvSpPr>
          <p:cNvPr id="94" name="Text Box 144">
            <a:extLst>
              <a:ext uri="{FF2B5EF4-FFF2-40B4-BE49-F238E27FC236}">
                <a16:creationId xmlns:a16="http://schemas.microsoft.com/office/drawing/2014/main" id="{B82D0795-F50C-4920-9A5A-FE70F10FA686}"/>
              </a:ext>
            </a:extLst>
          </p:cNvPr>
          <p:cNvSpPr txBox="1">
            <a:spLocks noChangeAspect="1" noChangeArrowheads="1"/>
          </p:cNvSpPr>
          <p:nvPr/>
        </p:nvSpPr>
        <p:spPr bwMode="auto">
          <a:xfrm>
            <a:off x="10121896" y="3095609"/>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nrf</a:t>
            </a:r>
            <a:endParaRPr lang="en-US" altLang="en-US" sz="1100">
              <a:latin typeface="+mn-lt"/>
            </a:endParaRPr>
          </a:p>
        </p:txBody>
      </p:sp>
      <p:sp>
        <p:nvSpPr>
          <p:cNvPr id="95" name="Text Box 144">
            <a:extLst>
              <a:ext uri="{FF2B5EF4-FFF2-40B4-BE49-F238E27FC236}">
                <a16:creationId xmlns:a16="http://schemas.microsoft.com/office/drawing/2014/main" id="{3AFE2B81-5995-4C6C-B18C-4DCD302813DD}"/>
              </a:ext>
            </a:extLst>
          </p:cNvPr>
          <p:cNvSpPr txBox="1">
            <a:spLocks noChangeAspect="1" noChangeArrowheads="1"/>
          </p:cNvSpPr>
          <p:nvPr/>
        </p:nvSpPr>
        <p:spPr bwMode="auto">
          <a:xfrm>
            <a:off x="8672708" y="3088438"/>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pcf</a:t>
            </a:r>
            <a:endParaRPr lang="en-US" altLang="en-US" sz="1100">
              <a:latin typeface="+mn-lt"/>
            </a:endParaRPr>
          </a:p>
        </p:txBody>
      </p:sp>
      <p:sp>
        <p:nvSpPr>
          <p:cNvPr id="96" name="Text Box 144">
            <a:extLst>
              <a:ext uri="{FF2B5EF4-FFF2-40B4-BE49-F238E27FC236}">
                <a16:creationId xmlns:a16="http://schemas.microsoft.com/office/drawing/2014/main" id="{D666E506-728E-4A1A-B112-070A6B5807A8}"/>
              </a:ext>
            </a:extLst>
          </p:cNvPr>
          <p:cNvSpPr txBox="1">
            <a:spLocks noChangeAspect="1" noChangeArrowheads="1"/>
          </p:cNvSpPr>
          <p:nvPr/>
        </p:nvSpPr>
        <p:spPr bwMode="auto">
          <a:xfrm>
            <a:off x="7776052" y="3086956"/>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udm</a:t>
            </a:r>
            <a:endParaRPr lang="en-US" altLang="en-US" sz="1100">
              <a:latin typeface="+mn-lt"/>
            </a:endParaRPr>
          </a:p>
        </p:txBody>
      </p:sp>
      <p:sp>
        <p:nvSpPr>
          <p:cNvPr id="97" name="Text Box 144">
            <a:extLst>
              <a:ext uri="{FF2B5EF4-FFF2-40B4-BE49-F238E27FC236}">
                <a16:creationId xmlns:a16="http://schemas.microsoft.com/office/drawing/2014/main" id="{2685F713-F0FB-4A9B-9649-52915B36F3EC}"/>
              </a:ext>
            </a:extLst>
          </p:cNvPr>
          <p:cNvSpPr txBox="1">
            <a:spLocks noChangeAspect="1" noChangeArrowheads="1"/>
          </p:cNvSpPr>
          <p:nvPr/>
        </p:nvSpPr>
        <p:spPr bwMode="auto">
          <a:xfrm>
            <a:off x="7776052" y="3427009"/>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mf</a:t>
            </a:r>
            <a:endParaRPr lang="en-US" altLang="en-US" sz="1100">
              <a:latin typeface="+mn-lt"/>
            </a:endParaRPr>
          </a:p>
        </p:txBody>
      </p:sp>
      <p:sp>
        <p:nvSpPr>
          <p:cNvPr id="98" name="Text Box 144">
            <a:extLst>
              <a:ext uri="{FF2B5EF4-FFF2-40B4-BE49-F238E27FC236}">
                <a16:creationId xmlns:a16="http://schemas.microsoft.com/office/drawing/2014/main" id="{C99A3F63-2DC9-4EBD-90FE-AF2B8297FA63}"/>
              </a:ext>
            </a:extLst>
          </p:cNvPr>
          <p:cNvSpPr txBox="1">
            <a:spLocks noChangeAspect="1" noChangeArrowheads="1"/>
          </p:cNvSpPr>
          <p:nvPr/>
        </p:nvSpPr>
        <p:spPr bwMode="auto">
          <a:xfrm>
            <a:off x="8687377" y="3426580"/>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smf</a:t>
            </a:r>
            <a:endParaRPr lang="en-US" altLang="en-US" sz="1100">
              <a:latin typeface="+mn-lt"/>
            </a:endParaRPr>
          </a:p>
        </p:txBody>
      </p:sp>
      <p:sp>
        <p:nvSpPr>
          <p:cNvPr id="99" name="Text Box 144">
            <a:extLst>
              <a:ext uri="{FF2B5EF4-FFF2-40B4-BE49-F238E27FC236}">
                <a16:creationId xmlns:a16="http://schemas.microsoft.com/office/drawing/2014/main" id="{452BEE45-861D-4E9D-95E6-FFDC141AFFA4}"/>
              </a:ext>
            </a:extLst>
          </p:cNvPr>
          <p:cNvSpPr txBox="1">
            <a:spLocks noChangeAspect="1" noChangeArrowheads="1"/>
          </p:cNvSpPr>
          <p:nvPr/>
        </p:nvSpPr>
        <p:spPr bwMode="auto">
          <a:xfrm>
            <a:off x="6885438" y="3096385"/>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usf</a:t>
            </a:r>
            <a:endParaRPr lang="en-US" altLang="en-US" sz="1100">
              <a:latin typeface="+mn-lt"/>
            </a:endParaRPr>
          </a:p>
        </p:txBody>
      </p:sp>
      <p:sp>
        <p:nvSpPr>
          <p:cNvPr id="100" name="Text Box 144">
            <a:extLst>
              <a:ext uri="{FF2B5EF4-FFF2-40B4-BE49-F238E27FC236}">
                <a16:creationId xmlns:a16="http://schemas.microsoft.com/office/drawing/2014/main" id="{CD3FA754-BFD6-4497-BAAD-EBB85DECE8D1}"/>
              </a:ext>
            </a:extLst>
          </p:cNvPr>
          <p:cNvSpPr txBox="1">
            <a:spLocks noChangeAspect="1" noChangeArrowheads="1"/>
          </p:cNvSpPr>
          <p:nvPr/>
        </p:nvSpPr>
        <p:spPr bwMode="auto">
          <a:xfrm>
            <a:off x="6884201" y="3435982"/>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nssf</a:t>
            </a:r>
            <a:endParaRPr lang="en-US" altLang="en-US" sz="1100">
              <a:latin typeface="+mn-lt"/>
            </a:endParaRPr>
          </a:p>
        </p:txBody>
      </p:sp>
      <p:cxnSp>
        <p:nvCxnSpPr>
          <p:cNvPr id="101" name="Straight Connector 10">
            <a:extLst>
              <a:ext uri="{FF2B5EF4-FFF2-40B4-BE49-F238E27FC236}">
                <a16:creationId xmlns:a16="http://schemas.microsoft.com/office/drawing/2014/main" id="{517F4197-0258-4297-B22D-4E217A9C8A09}"/>
              </a:ext>
            </a:extLst>
          </p:cNvPr>
          <p:cNvCxnSpPr>
            <a:cxnSpLocks/>
            <a:stCxn id="111" idx="2"/>
            <a:endCxn id="108" idx="0"/>
          </p:cNvCxnSpPr>
          <p:nvPr/>
        </p:nvCxnSpPr>
        <p:spPr bwMode="auto">
          <a:xfrm rot="5400000">
            <a:off x="8684735" y="2884419"/>
            <a:ext cx="546144" cy="877197"/>
          </a:xfrm>
          <a:prstGeom prst="bentConnector3">
            <a:avLst>
              <a:gd name="adj1" fmla="val 50000"/>
            </a:avLst>
          </a:prstGeom>
          <a:solidFill>
            <a:schemeClr val="accent1"/>
          </a:solidFill>
          <a:ln w="9525" cap="flat" cmpd="sng" algn="ctr">
            <a:solidFill>
              <a:schemeClr val="tx1"/>
            </a:solidFill>
            <a:prstDash val="dash"/>
            <a:round/>
            <a:headEnd type="none" w="med" len="med"/>
            <a:tailEnd type="none" w="med" len="med"/>
          </a:ln>
          <a:effectLst/>
        </p:spPr>
      </p:cxnSp>
      <p:sp>
        <p:nvSpPr>
          <p:cNvPr id="108" name="TextBox 107">
            <a:extLst>
              <a:ext uri="{FF2B5EF4-FFF2-40B4-BE49-F238E27FC236}">
                <a16:creationId xmlns:a16="http://schemas.microsoft.com/office/drawing/2014/main" id="{C4D3D615-E73F-439C-8CF6-8C4C2DD0B43E}"/>
              </a:ext>
            </a:extLst>
          </p:cNvPr>
          <p:cNvSpPr txBox="1"/>
          <p:nvPr/>
        </p:nvSpPr>
        <p:spPr bwMode="auto">
          <a:xfrm>
            <a:off x="8228717" y="3596089"/>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AMF</a:t>
            </a:r>
          </a:p>
        </p:txBody>
      </p:sp>
      <p:sp>
        <p:nvSpPr>
          <p:cNvPr id="109" name="TextBox 108">
            <a:extLst>
              <a:ext uri="{FF2B5EF4-FFF2-40B4-BE49-F238E27FC236}">
                <a16:creationId xmlns:a16="http://schemas.microsoft.com/office/drawing/2014/main" id="{CDEB1C2C-1B5E-47E8-A5C8-A27E43DD52F4}"/>
              </a:ext>
            </a:extLst>
          </p:cNvPr>
          <p:cNvSpPr txBox="1"/>
          <p:nvPr/>
        </p:nvSpPr>
        <p:spPr bwMode="auto">
          <a:xfrm>
            <a:off x="7302163" y="3592122"/>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NSSF</a:t>
            </a:r>
          </a:p>
        </p:txBody>
      </p:sp>
      <p:sp>
        <p:nvSpPr>
          <p:cNvPr id="110" name="TextBox 109">
            <a:extLst>
              <a:ext uri="{FF2B5EF4-FFF2-40B4-BE49-F238E27FC236}">
                <a16:creationId xmlns:a16="http://schemas.microsoft.com/office/drawing/2014/main" id="{F20B4F62-F886-46BC-A8FA-9E1FEB996C35}"/>
              </a:ext>
            </a:extLst>
          </p:cNvPr>
          <p:cNvSpPr txBox="1"/>
          <p:nvPr/>
        </p:nvSpPr>
        <p:spPr bwMode="auto">
          <a:xfrm>
            <a:off x="9111666" y="3592123"/>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SMF</a:t>
            </a:r>
          </a:p>
        </p:txBody>
      </p:sp>
      <p:sp>
        <p:nvSpPr>
          <p:cNvPr id="111" name="TextBox 110">
            <a:extLst>
              <a:ext uri="{FF2B5EF4-FFF2-40B4-BE49-F238E27FC236}">
                <a16:creationId xmlns:a16="http://schemas.microsoft.com/office/drawing/2014/main" id="{79229A65-26B9-4297-938E-0147BF4BCD24}"/>
              </a:ext>
            </a:extLst>
          </p:cNvPr>
          <p:cNvSpPr txBox="1"/>
          <p:nvPr/>
        </p:nvSpPr>
        <p:spPr bwMode="auto">
          <a:xfrm>
            <a:off x="9105914" y="2238709"/>
            <a:ext cx="580981" cy="81123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PCF</a:t>
            </a:r>
          </a:p>
        </p:txBody>
      </p:sp>
      <p:sp>
        <p:nvSpPr>
          <p:cNvPr id="112" name="TextBox 111">
            <a:extLst>
              <a:ext uri="{FF2B5EF4-FFF2-40B4-BE49-F238E27FC236}">
                <a16:creationId xmlns:a16="http://schemas.microsoft.com/office/drawing/2014/main" id="{AE80CE01-8D12-4D29-8D9A-6F8819F43415}"/>
              </a:ext>
            </a:extLst>
          </p:cNvPr>
          <p:cNvSpPr txBox="1"/>
          <p:nvPr/>
        </p:nvSpPr>
        <p:spPr bwMode="auto">
          <a:xfrm>
            <a:off x="6377483" y="222223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UDR</a:t>
            </a:r>
          </a:p>
        </p:txBody>
      </p:sp>
      <p:sp>
        <p:nvSpPr>
          <p:cNvPr id="113" name="TextBox 112">
            <a:extLst>
              <a:ext uri="{FF2B5EF4-FFF2-40B4-BE49-F238E27FC236}">
                <a16:creationId xmlns:a16="http://schemas.microsoft.com/office/drawing/2014/main" id="{3E8C2BBF-C63D-4407-8B30-C6F0F2E5DE0D}"/>
              </a:ext>
            </a:extLst>
          </p:cNvPr>
          <p:cNvSpPr txBox="1"/>
          <p:nvPr/>
        </p:nvSpPr>
        <p:spPr bwMode="auto">
          <a:xfrm>
            <a:off x="7302962" y="223884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AUSF</a:t>
            </a:r>
          </a:p>
        </p:txBody>
      </p:sp>
      <p:sp>
        <p:nvSpPr>
          <p:cNvPr id="114" name="TextBox 113">
            <a:extLst>
              <a:ext uri="{FF2B5EF4-FFF2-40B4-BE49-F238E27FC236}">
                <a16:creationId xmlns:a16="http://schemas.microsoft.com/office/drawing/2014/main" id="{A25B3AA7-9E2F-49A1-829C-70FDA8F68C0C}"/>
              </a:ext>
            </a:extLst>
          </p:cNvPr>
          <p:cNvSpPr txBox="1"/>
          <p:nvPr/>
        </p:nvSpPr>
        <p:spPr bwMode="auto">
          <a:xfrm>
            <a:off x="8226244" y="2234389"/>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UDM</a:t>
            </a:r>
          </a:p>
        </p:txBody>
      </p:sp>
      <p:sp>
        <p:nvSpPr>
          <p:cNvPr id="115" name="TextBox 114">
            <a:extLst>
              <a:ext uri="{FF2B5EF4-FFF2-40B4-BE49-F238E27FC236}">
                <a16:creationId xmlns:a16="http://schemas.microsoft.com/office/drawing/2014/main" id="{0CB926EA-5897-44CA-B079-39E731F8C8CC}"/>
              </a:ext>
            </a:extLst>
          </p:cNvPr>
          <p:cNvSpPr txBox="1"/>
          <p:nvPr/>
        </p:nvSpPr>
        <p:spPr bwMode="auto">
          <a:xfrm>
            <a:off x="10110594" y="2224922"/>
            <a:ext cx="581517" cy="825023"/>
          </a:xfrm>
          <a:prstGeom prst="rect">
            <a:avLst/>
          </a:prstGeom>
          <a:solidFill>
            <a:schemeClr val="bg1"/>
          </a:solidFill>
          <a:ln w="12700">
            <a:solidFill>
              <a:schemeClr val="accent1">
                <a:lumMod val="60000"/>
                <a:lumOff val="40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1">
                    <a:lumMod val="60000"/>
                    <a:lumOff val="40000"/>
                  </a:schemeClr>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1">
                    <a:lumMod val="60000"/>
                    <a:lumOff val="40000"/>
                  </a:schemeClr>
                </a:solidFill>
                <a:effectLst/>
                <a:uLnTx/>
                <a:uFillTx/>
                <a:latin typeface="Ericsson Hilda"/>
                <a:ea typeface="+mn-ea"/>
                <a:cs typeface="+mn-cs"/>
              </a:rPr>
              <a:t>NRF</a:t>
            </a:r>
          </a:p>
        </p:txBody>
      </p:sp>
      <p:sp>
        <p:nvSpPr>
          <p:cNvPr id="116" name="TextBox 115">
            <a:extLst>
              <a:ext uri="{FF2B5EF4-FFF2-40B4-BE49-F238E27FC236}">
                <a16:creationId xmlns:a16="http://schemas.microsoft.com/office/drawing/2014/main" id="{D5063FDD-3F3B-44C7-AA67-A34568D3946B}"/>
              </a:ext>
            </a:extLst>
          </p:cNvPr>
          <p:cNvSpPr txBox="1"/>
          <p:nvPr/>
        </p:nvSpPr>
        <p:spPr bwMode="auto">
          <a:xfrm>
            <a:off x="9112537" y="5047278"/>
            <a:ext cx="582231" cy="829254"/>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lang="en-US" sz="1200">
              <a:solidFill>
                <a:schemeClr val="accent3">
                  <a:lumMod val="75000"/>
                </a:schemeClr>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rPr>
              <a:t>UPF</a:t>
            </a:r>
            <a:endPar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cxnSp>
        <p:nvCxnSpPr>
          <p:cNvPr id="117" name="Straight Connector 10">
            <a:extLst>
              <a:ext uri="{FF2B5EF4-FFF2-40B4-BE49-F238E27FC236}">
                <a16:creationId xmlns:a16="http://schemas.microsoft.com/office/drawing/2014/main" id="{AA92C346-6BEC-43F6-AB15-E7DC552F61A4}"/>
              </a:ext>
            </a:extLst>
          </p:cNvPr>
          <p:cNvCxnSpPr>
            <a:cxnSpLocks/>
            <a:stCxn id="113" idx="2"/>
            <a:endCxn id="112" idx="2"/>
          </p:cNvCxnSpPr>
          <p:nvPr/>
        </p:nvCxnSpPr>
        <p:spPr bwMode="auto">
          <a:xfrm rot="5400000" flipH="1">
            <a:off x="7122677" y="2592828"/>
            <a:ext cx="16610" cy="925479"/>
          </a:xfrm>
          <a:prstGeom prst="bentConnector3">
            <a:avLst>
              <a:gd name="adj1" fmla="val -1582366"/>
            </a:avLst>
          </a:prstGeom>
          <a:solidFill>
            <a:schemeClr val="accent1"/>
          </a:solidFill>
          <a:ln w="9525" cap="flat" cmpd="sng" algn="ctr">
            <a:solidFill>
              <a:schemeClr val="tx1"/>
            </a:solidFill>
            <a:prstDash val="dash"/>
            <a:round/>
            <a:headEnd type="none" w="med" len="med"/>
            <a:tailEnd type="none" w="med" len="med"/>
          </a:ln>
          <a:effectLst/>
        </p:spPr>
      </p:cxnSp>
      <p:sp>
        <p:nvSpPr>
          <p:cNvPr id="118" name="Text Box 144">
            <a:extLst>
              <a:ext uri="{FF2B5EF4-FFF2-40B4-BE49-F238E27FC236}">
                <a16:creationId xmlns:a16="http://schemas.microsoft.com/office/drawing/2014/main" id="{657BC8EA-E1AD-439A-BB8E-20C4470D9137}"/>
              </a:ext>
            </a:extLst>
          </p:cNvPr>
          <p:cNvSpPr txBox="1">
            <a:spLocks noChangeAspect="1" noChangeArrowheads="1"/>
          </p:cNvSpPr>
          <p:nvPr/>
        </p:nvSpPr>
        <p:spPr bwMode="auto">
          <a:xfrm>
            <a:off x="5936087" y="3088844"/>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udm</a:t>
            </a:r>
            <a:endParaRPr lang="en-US" altLang="en-US" sz="1100">
              <a:latin typeface="+mn-lt"/>
            </a:endParaRPr>
          </a:p>
        </p:txBody>
      </p:sp>
      <p:sp>
        <p:nvSpPr>
          <p:cNvPr id="119" name="TextBox 118">
            <a:extLst>
              <a:ext uri="{FF2B5EF4-FFF2-40B4-BE49-F238E27FC236}">
                <a16:creationId xmlns:a16="http://schemas.microsoft.com/office/drawing/2014/main" id="{71EDA90B-66F5-4B7C-AE22-ABA545ACBBDC}"/>
              </a:ext>
            </a:extLst>
          </p:cNvPr>
          <p:cNvSpPr txBox="1"/>
          <p:nvPr/>
        </p:nvSpPr>
        <p:spPr bwMode="auto">
          <a:xfrm>
            <a:off x="6377483" y="5065354"/>
            <a:ext cx="568745" cy="811178"/>
          </a:xfrm>
          <a:prstGeom prst="rect">
            <a:avLst/>
          </a:prstGeom>
          <a:solidFill>
            <a:schemeClr val="bg1"/>
          </a:solidFill>
          <a:ln w="1905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NG-RAN</a:t>
            </a:r>
          </a:p>
        </p:txBody>
      </p:sp>
    </p:spTree>
    <p:extLst>
      <p:ext uri="{BB962C8B-B14F-4D97-AF65-F5344CB8AC3E}">
        <p14:creationId xmlns:p14="http://schemas.microsoft.com/office/powerpoint/2010/main" val="19843311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25">
            <a:extLst>
              <a:ext uri="{FF2B5EF4-FFF2-40B4-BE49-F238E27FC236}">
                <a16:creationId xmlns:a16="http://schemas.microsoft.com/office/drawing/2014/main" id="{8F1CD23E-6708-4ADF-B226-61C6FD2746B9}"/>
              </a:ext>
            </a:extLst>
          </p:cNvPr>
          <p:cNvSpPr>
            <a:spLocks noGrp="1"/>
          </p:cNvSpPr>
          <p:nvPr>
            <p:ph sz="quarter" idx="10"/>
          </p:nvPr>
        </p:nvSpPr>
        <p:spPr>
          <a:xfrm>
            <a:off x="6470050" y="1844675"/>
            <a:ext cx="5589870" cy="4392613"/>
          </a:xfrm>
        </p:spPr>
        <p:txBody>
          <a:bodyPr/>
          <a:lstStyle/>
          <a:p>
            <a:pPr marL="457200" lvl="0" indent="-457200" fontAlgn="auto">
              <a:spcBef>
                <a:spcPts val="0"/>
              </a:spcBef>
              <a:spcAft>
                <a:spcPts val="0"/>
              </a:spcAft>
              <a:buClrTx/>
              <a:buFontTx/>
              <a:buAutoNum type="alphaUcPeriod"/>
              <a:defRPr/>
            </a:pPr>
            <a:r>
              <a:rPr lang="en-US" sz="2400" kern="1200" spc="0">
                <a:solidFill>
                  <a:srgbClr val="181818"/>
                </a:solidFill>
              </a:rPr>
              <a:t>Local breakout via a dedicated DNN is existing technology that is suitable for some edge computing use cases (in combination with e.g. SSC mode 2). </a:t>
            </a:r>
            <a:br>
              <a:rPr lang="en-US" sz="2400" kern="1200" spc="0">
                <a:solidFill>
                  <a:srgbClr val="181818"/>
                </a:solidFill>
              </a:rPr>
            </a:br>
            <a:endParaRPr lang="en-US" sz="2400" kern="1200" spc="0">
              <a:solidFill>
                <a:srgbClr val="181818"/>
              </a:solidFill>
            </a:endParaRPr>
          </a:p>
          <a:p>
            <a:pPr marL="457200" lvl="0" indent="-457200" fontAlgn="auto">
              <a:spcBef>
                <a:spcPts val="0"/>
              </a:spcBef>
              <a:spcAft>
                <a:spcPts val="0"/>
              </a:spcAft>
              <a:buClrTx/>
              <a:buFontTx/>
              <a:buAutoNum type="alphaUcPeriod"/>
              <a:defRPr/>
            </a:pPr>
            <a:r>
              <a:rPr lang="en-US" sz="2400" kern="1200" spc="0">
                <a:solidFill>
                  <a:srgbClr val="181818"/>
                </a:solidFill>
              </a:rPr>
              <a:t>Local breakout through per flow selection and with AF influence is new in 5GC. </a:t>
            </a:r>
            <a:br>
              <a:rPr lang="en-US" sz="2400" kern="1200" spc="0">
                <a:solidFill>
                  <a:srgbClr val="181818"/>
                </a:solidFill>
              </a:rPr>
            </a:br>
            <a:endParaRPr lang="en-US"/>
          </a:p>
          <a:p>
            <a:pPr lvl="1"/>
            <a:endParaRPr lang="en-US" sz="1600"/>
          </a:p>
        </p:txBody>
      </p:sp>
      <p:sp>
        <p:nvSpPr>
          <p:cNvPr id="4" name="Title 3"/>
          <p:cNvSpPr>
            <a:spLocks noGrp="1"/>
          </p:cNvSpPr>
          <p:nvPr>
            <p:ph type="title"/>
          </p:nvPr>
        </p:nvSpPr>
        <p:spPr/>
        <p:txBody>
          <a:bodyPr>
            <a:normAutofit/>
          </a:bodyPr>
          <a:lstStyle/>
          <a:p>
            <a:r>
              <a:rPr lang="en-US"/>
              <a:t>5GC Support for Edge Computing</a:t>
            </a:r>
            <a:endParaRPr lang="en-US" sz="2800">
              <a:latin typeface="+mn-lt"/>
            </a:endParaRPr>
          </a:p>
        </p:txBody>
      </p:sp>
      <p:sp>
        <p:nvSpPr>
          <p:cNvPr id="30" name="Freeform 54" descr="Full Blend"/>
          <p:cNvSpPr>
            <a:spLocks noChangeAspect="1"/>
          </p:cNvSpPr>
          <p:nvPr/>
        </p:nvSpPr>
        <p:spPr bwMode="auto">
          <a:xfrm>
            <a:off x="1758468" y="2820405"/>
            <a:ext cx="4680000" cy="16911"/>
          </a:xfrm>
          <a:custGeom>
            <a:avLst/>
            <a:gdLst>
              <a:gd name="T0" fmla="*/ 2147483647 w 2226"/>
              <a:gd name="T1" fmla="*/ 2147483647 h 8"/>
              <a:gd name="T2" fmla="*/ 0 w 2226"/>
              <a:gd name="T3" fmla="*/ 2147483647 h 8"/>
              <a:gd name="T4" fmla="*/ 0 w 2226"/>
              <a:gd name="T5" fmla="*/ 2147483647 h 8"/>
              <a:gd name="T6" fmla="*/ 2147483647 w 2226"/>
              <a:gd name="T7" fmla="*/ 0 h 8"/>
              <a:gd name="T8" fmla="*/ 2147483647 w 2226"/>
              <a:gd name="T9" fmla="*/ 0 h 8"/>
              <a:gd name="T10" fmla="*/ 2147483647 w 2226"/>
              <a:gd name="T11" fmla="*/ 0 h 8"/>
              <a:gd name="T12" fmla="*/ 2147483647 w 2226"/>
              <a:gd name="T13" fmla="*/ 2147483647 h 8"/>
              <a:gd name="T14" fmla="*/ 2147483647 w 2226"/>
              <a:gd name="T15" fmla="*/ 2147483647 h 8"/>
              <a:gd name="T16" fmla="*/ 2147483647 w 2226"/>
              <a:gd name="T17" fmla="*/ 2147483647 h 8"/>
              <a:gd name="T18" fmla="*/ 2147483647 w 2226"/>
              <a:gd name="T19" fmla="*/ 2147483647 h 8"/>
              <a:gd name="T20" fmla="*/ 2147483647 w 222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26"/>
              <a:gd name="T34" fmla="*/ 0 h 8"/>
              <a:gd name="T35" fmla="*/ 2226 w 222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26" h="8">
                <a:moveTo>
                  <a:pt x="4" y="8"/>
                </a:moveTo>
                <a:cubicBezTo>
                  <a:pt x="2" y="8"/>
                  <a:pt x="0" y="6"/>
                  <a:pt x="0" y="4"/>
                </a:cubicBezTo>
                <a:cubicBezTo>
                  <a:pt x="0" y="4"/>
                  <a:pt x="0" y="4"/>
                  <a:pt x="0" y="4"/>
                </a:cubicBezTo>
                <a:cubicBezTo>
                  <a:pt x="0" y="2"/>
                  <a:pt x="2" y="0"/>
                  <a:pt x="4" y="0"/>
                </a:cubicBezTo>
                <a:cubicBezTo>
                  <a:pt x="4" y="0"/>
                  <a:pt x="4" y="0"/>
                  <a:pt x="4" y="0"/>
                </a:cubicBezTo>
                <a:cubicBezTo>
                  <a:pt x="2222" y="0"/>
                  <a:pt x="2222" y="0"/>
                  <a:pt x="2222" y="0"/>
                </a:cubicBezTo>
                <a:cubicBezTo>
                  <a:pt x="2224" y="0"/>
                  <a:pt x="2226" y="2"/>
                  <a:pt x="2226" y="4"/>
                </a:cubicBezTo>
                <a:cubicBezTo>
                  <a:pt x="2226" y="4"/>
                  <a:pt x="2226" y="4"/>
                  <a:pt x="2226" y="4"/>
                </a:cubicBezTo>
                <a:cubicBezTo>
                  <a:pt x="2226" y="6"/>
                  <a:pt x="2224" y="8"/>
                  <a:pt x="2222" y="8"/>
                </a:cubicBezTo>
                <a:cubicBezTo>
                  <a:pt x="2222" y="8"/>
                  <a:pt x="2222" y="8"/>
                  <a:pt x="2222" y="8"/>
                </a:cubicBezTo>
                <a:cubicBezTo>
                  <a:pt x="4" y="8"/>
                  <a:pt x="4" y="8"/>
                  <a:pt x="4" y="8"/>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35" name="Freeform 54" descr="Full Blend"/>
          <p:cNvSpPr>
            <a:spLocks noChangeAspect="1"/>
          </p:cNvSpPr>
          <p:nvPr/>
        </p:nvSpPr>
        <p:spPr bwMode="auto">
          <a:xfrm>
            <a:off x="1758467" y="3598113"/>
            <a:ext cx="4680000" cy="16911"/>
          </a:xfrm>
          <a:custGeom>
            <a:avLst/>
            <a:gdLst>
              <a:gd name="T0" fmla="*/ 2147483647 w 2226"/>
              <a:gd name="T1" fmla="*/ 2147483647 h 8"/>
              <a:gd name="T2" fmla="*/ 0 w 2226"/>
              <a:gd name="T3" fmla="*/ 2147483647 h 8"/>
              <a:gd name="T4" fmla="*/ 0 w 2226"/>
              <a:gd name="T5" fmla="*/ 2147483647 h 8"/>
              <a:gd name="T6" fmla="*/ 2147483647 w 2226"/>
              <a:gd name="T7" fmla="*/ 0 h 8"/>
              <a:gd name="T8" fmla="*/ 2147483647 w 2226"/>
              <a:gd name="T9" fmla="*/ 0 h 8"/>
              <a:gd name="T10" fmla="*/ 2147483647 w 2226"/>
              <a:gd name="T11" fmla="*/ 0 h 8"/>
              <a:gd name="T12" fmla="*/ 2147483647 w 2226"/>
              <a:gd name="T13" fmla="*/ 2147483647 h 8"/>
              <a:gd name="T14" fmla="*/ 2147483647 w 2226"/>
              <a:gd name="T15" fmla="*/ 2147483647 h 8"/>
              <a:gd name="T16" fmla="*/ 2147483647 w 2226"/>
              <a:gd name="T17" fmla="*/ 2147483647 h 8"/>
              <a:gd name="T18" fmla="*/ 2147483647 w 2226"/>
              <a:gd name="T19" fmla="*/ 2147483647 h 8"/>
              <a:gd name="T20" fmla="*/ 2147483647 w 222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26"/>
              <a:gd name="T34" fmla="*/ 0 h 8"/>
              <a:gd name="T35" fmla="*/ 2226 w 222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26" h="8">
                <a:moveTo>
                  <a:pt x="4" y="8"/>
                </a:moveTo>
                <a:cubicBezTo>
                  <a:pt x="2" y="8"/>
                  <a:pt x="0" y="6"/>
                  <a:pt x="0" y="4"/>
                </a:cubicBezTo>
                <a:cubicBezTo>
                  <a:pt x="0" y="4"/>
                  <a:pt x="0" y="4"/>
                  <a:pt x="0" y="4"/>
                </a:cubicBezTo>
                <a:cubicBezTo>
                  <a:pt x="0" y="2"/>
                  <a:pt x="2" y="0"/>
                  <a:pt x="4" y="0"/>
                </a:cubicBezTo>
                <a:cubicBezTo>
                  <a:pt x="4" y="0"/>
                  <a:pt x="4" y="0"/>
                  <a:pt x="4" y="0"/>
                </a:cubicBezTo>
                <a:cubicBezTo>
                  <a:pt x="2222" y="0"/>
                  <a:pt x="2222" y="0"/>
                  <a:pt x="2222" y="0"/>
                </a:cubicBezTo>
                <a:cubicBezTo>
                  <a:pt x="2224" y="0"/>
                  <a:pt x="2226" y="2"/>
                  <a:pt x="2226" y="4"/>
                </a:cubicBezTo>
                <a:cubicBezTo>
                  <a:pt x="2226" y="4"/>
                  <a:pt x="2226" y="4"/>
                  <a:pt x="2226" y="4"/>
                </a:cubicBezTo>
                <a:cubicBezTo>
                  <a:pt x="2226" y="6"/>
                  <a:pt x="2224" y="8"/>
                  <a:pt x="2222" y="8"/>
                </a:cubicBezTo>
                <a:cubicBezTo>
                  <a:pt x="2222" y="8"/>
                  <a:pt x="2222" y="8"/>
                  <a:pt x="2222" y="8"/>
                </a:cubicBezTo>
                <a:cubicBezTo>
                  <a:pt x="4" y="8"/>
                  <a:pt x="4" y="8"/>
                  <a:pt x="4" y="8"/>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36" name="Freeform 54" descr="Full Blend"/>
          <p:cNvSpPr>
            <a:spLocks noChangeAspect="1"/>
          </p:cNvSpPr>
          <p:nvPr/>
        </p:nvSpPr>
        <p:spPr bwMode="auto">
          <a:xfrm>
            <a:off x="1758466" y="4367808"/>
            <a:ext cx="4680000" cy="16911"/>
          </a:xfrm>
          <a:custGeom>
            <a:avLst/>
            <a:gdLst>
              <a:gd name="T0" fmla="*/ 2147483647 w 2226"/>
              <a:gd name="T1" fmla="*/ 2147483647 h 8"/>
              <a:gd name="T2" fmla="*/ 0 w 2226"/>
              <a:gd name="T3" fmla="*/ 2147483647 h 8"/>
              <a:gd name="T4" fmla="*/ 0 w 2226"/>
              <a:gd name="T5" fmla="*/ 2147483647 h 8"/>
              <a:gd name="T6" fmla="*/ 2147483647 w 2226"/>
              <a:gd name="T7" fmla="*/ 0 h 8"/>
              <a:gd name="T8" fmla="*/ 2147483647 w 2226"/>
              <a:gd name="T9" fmla="*/ 0 h 8"/>
              <a:gd name="T10" fmla="*/ 2147483647 w 2226"/>
              <a:gd name="T11" fmla="*/ 0 h 8"/>
              <a:gd name="T12" fmla="*/ 2147483647 w 2226"/>
              <a:gd name="T13" fmla="*/ 2147483647 h 8"/>
              <a:gd name="T14" fmla="*/ 2147483647 w 2226"/>
              <a:gd name="T15" fmla="*/ 2147483647 h 8"/>
              <a:gd name="T16" fmla="*/ 2147483647 w 2226"/>
              <a:gd name="T17" fmla="*/ 2147483647 h 8"/>
              <a:gd name="T18" fmla="*/ 2147483647 w 2226"/>
              <a:gd name="T19" fmla="*/ 2147483647 h 8"/>
              <a:gd name="T20" fmla="*/ 2147483647 w 222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26"/>
              <a:gd name="T34" fmla="*/ 0 h 8"/>
              <a:gd name="T35" fmla="*/ 2226 w 222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26" h="8">
                <a:moveTo>
                  <a:pt x="4" y="8"/>
                </a:moveTo>
                <a:cubicBezTo>
                  <a:pt x="2" y="8"/>
                  <a:pt x="0" y="6"/>
                  <a:pt x="0" y="4"/>
                </a:cubicBezTo>
                <a:cubicBezTo>
                  <a:pt x="0" y="4"/>
                  <a:pt x="0" y="4"/>
                  <a:pt x="0" y="4"/>
                </a:cubicBezTo>
                <a:cubicBezTo>
                  <a:pt x="0" y="2"/>
                  <a:pt x="2" y="0"/>
                  <a:pt x="4" y="0"/>
                </a:cubicBezTo>
                <a:cubicBezTo>
                  <a:pt x="4" y="0"/>
                  <a:pt x="4" y="0"/>
                  <a:pt x="4" y="0"/>
                </a:cubicBezTo>
                <a:cubicBezTo>
                  <a:pt x="2222" y="0"/>
                  <a:pt x="2222" y="0"/>
                  <a:pt x="2222" y="0"/>
                </a:cubicBezTo>
                <a:cubicBezTo>
                  <a:pt x="2224" y="0"/>
                  <a:pt x="2226" y="2"/>
                  <a:pt x="2226" y="4"/>
                </a:cubicBezTo>
                <a:cubicBezTo>
                  <a:pt x="2226" y="4"/>
                  <a:pt x="2226" y="4"/>
                  <a:pt x="2226" y="4"/>
                </a:cubicBezTo>
                <a:cubicBezTo>
                  <a:pt x="2226" y="6"/>
                  <a:pt x="2224" y="8"/>
                  <a:pt x="2222" y="8"/>
                </a:cubicBezTo>
                <a:cubicBezTo>
                  <a:pt x="2222" y="8"/>
                  <a:pt x="2222" y="8"/>
                  <a:pt x="2222" y="8"/>
                </a:cubicBezTo>
                <a:cubicBezTo>
                  <a:pt x="4" y="8"/>
                  <a:pt x="4" y="8"/>
                  <a:pt x="4" y="8"/>
                </a:cubicBezTo>
                <a:close/>
              </a:path>
            </a:pathLst>
          </a:cu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grpSp>
        <p:nvGrpSpPr>
          <p:cNvPr id="2" name="Group 1">
            <a:extLst>
              <a:ext uri="{FF2B5EF4-FFF2-40B4-BE49-F238E27FC236}">
                <a16:creationId xmlns:a16="http://schemas.microsoft.com/office/drawing/2014/main" id="{3B87299F-9173-423E-A827-BFB4EC3A2F43}"/>
              </a:ext>
            </a:extLst>
          </p:cNvPr>
          <p:cNvGrpSpPr/>
          <p:nvPr/>
        </p:nvGrpSpPr>
        <p:grpSpPr>
          <a:xfrm>
            <a:off x="676387" y="1285393"/>
            <a:ext cx="3007023" cy="5357446"/>
            <a:chOff x="676387" y="1285393"/>
            <a:chExt cx="3007023" cy="5357446"/>
          </a:xfrm>
        </p:grpSpPr>
        <p:sp>
          <p:nvSpPr>
            <p:cNvPr id="135" name="Subtitle 7">
              <a:extLst>
                <a:ext uri="{FF2B5EF4-FFF2-40B4-BE49-F238E27FC236}">
                  <a16:creationId xmlns:a16="http://schemas.microsoft.com/office/drawing/2014/main" id="{8349E269-5D40-45B9-BD4D-A7D16D2C02B4}"/>
                </a:ext>
              </a:extLst>
            </p:cNvPr>
            <p:cNvSpPr txBox="1">
              <a:spLocks noChangeAspect="1"/>
            </p:cNvSpPr>
            <p:nvPr/>
          </p:nvSpPr>
          <p:spPr>
            <a:xfrm>
              <a:off x="2063206" y="2888160"/>
              <a:ext cx="470512" cy="667123"/>
            </a:xfrm>
            <a:prstGeom prst="rect">
              <a:avLst/>
            </a:prstGeom>
            <a:solidFill>
              <a:schemeClr val="bg1"/>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indent="0" algn="ctr">
                <a:lnSpc>
                  <a:spcPct val="100000"/>
                </a:lnSpc>
                <a:buClr>
                  <a:schemeClr val="tx1"/>
                </a:buClr>
                <a:buNone/>
              </a:pPr>
              <a:r>
                <a:rPr lang="en-US" sz="1200">
                  <a:latin typeface="Ericsson Technical Icons" panose="00000500000000000000" pitchFamily="2" charset="0"/>
                </a:rPr>
                <a:t>r</a:t>
              </a:r>
              <a:br>
                <a:rPr lang="en-US" sz="1200">
                  <a:latin typeface="Ericsson Technical Icons" panose="00000500000000000000" pitchFamily="2" charset="0"/>
                </a:rPr>
              </a:br>
              <a:r>
                <a:rPr lang="en-US" sz="1200">
                  <a:latin typeface="Ericsson Technical Icons" panose="00000500000000000000" pitchFamily="2" charset="0"/>
                </a:rPr>
                <a:t>o</a:t>
              </a:r>
            </a:p>
            <a:p>
              <a:pPr marL="0" indent="0" algn="ctr">
                <a:lnSpc>
                  <a:spcPct val="100000"/>
                </a:lnSpc>
                <a:buClr>
                  <a:schemeClr val="tx1"/>
                </a:buClr>
                <a:buNone/>
              </a:pPr>
              <a:r>
                <a:rPr lang="en-US" sz="1200">
                  <a:latin typeface="Ericsson Hilda" panose="00000500000000000000" pitchFamily="2" charset="0"/>
                </a:rPr>
                <a:t>TN BH</a:t>
              </a:r>
              <a:endParaRPr lang="en-US" sz="800">
                <a:latin typeface="Ericsson Hilda" pitchFamily="2" charset="0"/>
              </a:endParaRPr>
            </a:p>
          </p:txBody>
        </p:sp>
        <p:sp>
          <p:nvSpPr>
            <p:cNvPr id="126" name="TextBox 125">
              <a:extLst>
                <a:ext uri="{FF2B5EF4-FFF2-40B4-BE49-F238E27FC236}">
                  <a16:creationId xmlns:a16="http://schemas.microsoft.com/office/drawing/2014/main" id="{C07A4A5B-26BA-4FB8-965F-79742D87F843}"/>
                </a:ext>
              </a:extLst>
            </p:cNvPr>
            <p:cNvSpPr txBox="1"/>
            <p:nvPr/>
          </p:nvSpPr>
          <p:spPr bwMode="auto">
            <a:xfrm>
              <a:off x="2342429" y="3677906"/>
              <a:ext cx="427989" cy="61846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900">
                  <a:solidFill>
                    <a:schemeClr val="accent3">
                      <a:lumMod val="75000"/>
                    </a:schemeClr>
                  </a:solidFill>
                  <a:latin typeface="Ericsson Hilda"/>
                </a:rPr>
                <a:t>SGW/</a:t>
              </a:r>
              <a:br>
                <a:rPr lang="en-US" sz="900">
                  <a:solidFill>
                    <a:schemeClr val="accent3">
                      <a:lumMod val="75000"/>
                    </a:schemeClr>
                  </a:solidFill>
                  <a:latin typeface="Ericsson Hilda"/>
                </a:rPr>
              </a:br>
              <a:r>
                <a:rPr lang="en-US" sz="900">
                  <a:solidFill>
                    <a:schemeClr val="accent3">
                      <a:lumMod val="75000"/>
                    </a:schemeClr>
                  </a:solidFill>
                  <a:latin typeface="Ericsson Hilda"/>
                </a:rPr>
                <a:t>PGW-U</a:t>
              </a:r>
              <a:endParaRPr kumimoji="0" lang="en-US" sz="105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sp>
          <p:nvSpPr>
            <p:cNvPr id="123" name="TextBox 122">
              <a:extLst>
                <a:ext uri="{FF2B5EF4-FFF2-40B4-BE49-F238E27FC236}">
                  <a16:creationId xmlns:a16="http://schemas.microsoft.com/office/drawing/2014/main" id="{1CFFD38E-83A9-4ABF-A93B-FDE041331C2F}"/>
                </a:ext>
              </a:extLst>
            </p:cNvPr>
            <p:cNvSpPr txBox="1"/>
            <p:nvPr/>
          </p:nvSpPr>
          <p:spPr bwMode="auto">
            <a:xfrm>
              <a:off x="2001372" y="4459836"/>
              <a:ext cx="538799" cy="775300"/>
            </a:xfrm>
            <a:prstGeom prst="rect">
              <a:avLst/>
            </a:prstGeom>
            <a:solidFill>
              <a:schemeClr val="bg1"/>
            </a:solidFill>
            <a:ln w="1905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NG-RAN</a:t>
              </a:r>
            </a:p>
          </p:txBody>
        </p:sp>
        <p:sp>
          <p:nvSpPr>
            <p:cNvPr id="114" name="TextBox 113">
              <a:extLst>
                <a:ext uri="{FF2B5EF4-FFF2-40B4-BE49-F238E27FC236}">
                  <a16:creationId xmlns:a16="http://schemas.microsoft.com/office/drawing/2014/main" id="{999647CE-299F-4EFE-AB3C-DF6D2057302A}"/>
                </a:ext>
              </a:extLst>
            </p:cNvPr>
            <p:cNvSpPr txBox="1"/>
            <p:nvPr/>
          </p:nvSpPr>
          <p:spPr bwMode="auto">
            <a:xfrm>
              <a:off x="2086167" y="2105577"/>
              <a:ext cx="427989" cy="61846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900">
                  <a:solidFill>
                    <a:schemeClr val="accent3">
                      <a:lumMod val="75000"/>
                    </a:schemeClr>
                  </a:solidFill>
                  <a:latin typeface="Ericsson Hilda"/>
                </a:rPr>
                <a:t>SGW/</a:t>
              </a:r>
              <a:br>
                <a:rPr lang="en-US" sz="900">
                  <a:solidFill>
                    <a:schemeClr val="accent3">
                      <a:lumMod val="75000"/>
                    </a:schemeClr>
                  </a:solidFill>
                  <a:latin typeface="Ericsson Hilda"/>
                </a:rPr>
              </a:br>
              <a:r>
                <a:rPr lang="en-US" sz="900">
                  <a:solidFill>
                    <a:schemeClr val="accent3">
                      <a:lumMod val="75000"/>
                    </a:schemeClr>
                  </a:solidFill>
                  <a:latin typeface="Ericsson Hilda"/>
                </a:rPr>
                <a:t>PGW-U</a:t>
              </a:r>
              <a:endParaRPr kumimoji="0" lang="en-US" sz="105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sp>
          <p:nvSpPr>
            <p:cNvPr id="31" name="Text Box 35"/>
            <p:cNvSpPr txBox="1">
              <a:spLocks noChangeArrowheads="1"/>
            </p:cNvSpPr>
            <p:nvPr/>
          </p:nvSpPr>
          <p:spPr bwMode="auto">
            <a:xfrm>
              <a:off x="676391" y="2344257"/>
              <a:ext cx="10820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2000">
                  <a:latin typeface="+mn-lt"/>
                  <a:ea typeface="MS PGothic" pitchFamily="34" charset="-128"/>
                </a:rPr>
                <a:t>Core</a:t>
              </a:r>
              <a:endParaRPr lang="en-US" altLang="en-US" sz="1400">
                <a:latin typeface="+mn-lt"/>
                <a:ea typeface="MS PGothic" pitchFamily="34" charset="-128"/>
              </a:endParaRPr>
            </a:p>
          </p:txBody>
        </p:sp>
        <p:sp>
          <p:nvSpPr>
            <p:cNvPr id="32" name="Text Box 35"/>
            <p:cNvSpPr txBox="1">
              <a:spLocks noChangeArrowheads="1"/>
            </p:cNvSpPr>
            <p:nvPr/>
          </p:nvSpPr>
          <p:spPr bwMode="auto">
            <a:xfrm>
              <a:off x="676391" y="3015030"/>
              <a:ext cx="10820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2000">
                  <a:latin typeface="+mn-lt"/>
                  <a:ea typeface="MS PGothic" pitchFamily="34" charset="-128"/>
                </a:rPr>
                <a:t>Backhaul</a:t>
              </a:r>
              <a:endParaRPr lang="en-US" altLang="en-US" sz="1400">
                <a:latin typeface="+mn-lt"/>
                <a:ea typeface="MS PGothic" pitchFamily="34" charset="-128"/>
              </a:endParaRPr>
            </a:p>
          </p:txBody>
        </p:sp>
        <p:sp>
          <p:nvSpPr>
            <p:cNvPr id="33" name="Text Box 35"/>
            <p:cNvSpPr txBox="1">
              <a:spLocks noChangeArrowheads="1"/>
            </p:cNvSpPr>
            <p:nvPr/>
          </p:nvSpPr>
          <p:spPr bwMode="auto">
            <a:xfrm>
              <a:off x="676387" y="3845752"/>
              <a:ext cx="10820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2000">
                  <a:latin typeface="+mn-lt"/>
                  <a:ea typeface="MS PGothic" pitchFamily="34" charset="-128"/>
                </a:rPr>
                <a:t>Edge</a:t>
              </a:r>
              <a:endParaRPr lang="en-US" altLang="en-US" sz="1400">
                <a:latin typeface="+mn-lt"/>
                <a:ea typeface="MS PGothic" pitchFamily="34" charset="-128"/>
              </a:endParaRPr>
            </a:p>
          </p:txBody>
        </p:sp>
        <p:sp>
          <p:nvSpPr>
            <p:cNvPr id="34" name="Text Box 35"/>
            <p:cNvSpPr txBox="1">
              <a:spLocks noChangeArrowheads="1"/>
            </p:cNvSpPr>
            <p:nvPr/>
          </p:nvSpPr>
          <p:spPr bwMode="auto">
            <a:xfrm>
              <a:off x="676391" y="4710075"/>
              <a:ext cx="10820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2000">
                  <a:latin typeface="+mn-lt"/>
                  <a:ea typeface="MS PGothic" pitchFamily="34" charset="-128"/>
                </a:rPr>
                <a:t>RAN</a:t>
              </a:r>
              <a:endParaRPr lang="en-US" altLang="en-US" sz="1400">
                <a:latin typeface="+mn-lt"/>
                <a:ea typeface="MS PGothic" pitchFamily="34" charset="-128"/>
              </a:endParaRPr>
            </a:p>
          </p:txBody>
        </p:sp>
        <p:sp>
          <p:nvSpPr>
            <p:cNvPr id="45" name="Freeform 28"/>
            <p:cNvSpPr>
              <a:spLocks noChangeAspect="1" noEditPoints="1"/>
            </p:cNvSpPr>
            <p:nvPr/>
          </p:nvSpPr>
          <p:spPr bwMode="auto">
            <a:xfrm>
              <a:off x="2122145" y="5565092"/>
              <a:ext cx="352634" cy="610584"/>
            </a:xfrm>
            <a:custGeom>
              <a:avLst/>
              <a:gdLst>
                <a:gd name="T0" fmla="*/ 312618 w 275"/>
                <a:gd name="T1" fmla="*/ 84713 h 503"/>
                <a:gd name="T2" fmla="*/ 303345 w 275"/>
                <a:gd name="T3" fmla="*/ 80742 h 503"/>
                <a:gd name="T4" fmla="*/ 60934 w 275"/>
                <a:gd name="T5" fmla="*/ 80742 h 503"/>
                <a:gd name="T6" fmla="*/ 50337 w 275"/>
                <a:gd name="T7" fmla="*/ 84713 h 503"/>
                <a:gd name="T8" fmla="*/ 39740 w 275"/>
                <a:gd name="T9" fmla="*/ 529455 h 503"/>
                <a:gd name="T10" fmla="*/ 64908 w 275"/>
                <a:gd name="T11" fmla="*/ 555928 h 503"/>
                <a:gd name="T12" fmla="*/ 298046 w 275"/>
                <a:gd name="T13" fmla="*/ 555928 h 503"/>
                <a:gd name="T14" fmla="*/ 323215 w 275"/>
                <a:gd name="T15" fmla="*/ 529455 h 503"/>
                <a:gd name="T16" fmla="*/ 302020 w 275"/>
                <a:gd name="T17" fmla="*/ 529455 h 503"/>
                <a:gd name="T18" fmla="*/ 298046 w 275"/>
                <a:gd name="T19" fmla="*/ 534750 h 503"/>
                <a:gd name="T20" fmla="*/ 181477 w 275"/>
                <a:gd name="T21" fmla="*/ 536073 h 503"/>
                <a:gd name="T22" fmla="*/ 62259 w 275"/>
                <a:gd name="T23" fmla="*/ 533426 h 503"/>
                <a:gd name="T24" fmla="*/ 60934 w 275"/>
                <a:gd name="T25" fmla="*/ 103244 h 503"/>
                <a:gd name="T26" fmla="*/ 63583 w 275"/>
                <a:gd name="T27" fmla="*/ 101920 h 503"/>
                <a:gd name="T28" fmla="*/ 260956 w 275"/>
                <a:gd name="T29" fmla="*/ 99273 h 503"/>
                <a:gd name="T30" fmla="*/ 302020 w 275"/>
                <a:gd name="T31" fmla="*/ 103244 h 503"/>
                <a:gd name="T32" fmla="*/ 302020 w 275"/>
                <a:gd name="T33" fmla="*/ 529455 h 503"/>
                <a:gd name="T34" fmla="*/ 136439 w 275"/>
                <a:gd name="T35" fmla="*/ 615492 h 503"/>
                <a:gd name="T36" fmla="*/ 217243 w 275"/>
                <a:gd name="T37" fmla="*/ 626081 h 503"/>
                <a:gd name="T38" fmla="*/ 217243 w 275"/>
                <a:gd name="T39" fmla="*/ 604903 h 503"/>
                <a:gd name="T40" fmla="*/ 311293 w 275"/>
                <a:gd name="T41" fmla="*/ 592990 h 503"/>
                <a:gd name="T42" fmla="*/ 241086 w 275"/>
                <a:gd name="T43" fmla="*/ 615492 h 503"/>
                <a:gd name="T44" fmla="*/ 253008 w 275"/>
                <a:gd name="T45" fmla="*/ 623434 h 503"/>
                <a:gd name="T46" fmla="*/ 323215 w 275"/>
                <a:gd name="T47" fmla="*/ 600932 h 503"/>
                <a:gd name="T48" fmla="*/ 51661 w 275"/>
                <a:gd name="T49" fmla="*/ 592990 h 503"/>
                <a:gd name="T50" fmla="*/ 49012 w 275"/>
                <a:gd name="T51" fmla="*/ 612844 h 503"/>
                <a:gd name="T52" fmla="*/ 111271 w 275"/>
                <a:gd name="T53" fmla="*/ 623434 h 503"/>
                <a:gd name="T54" fmla="*/ 113920 w 275"/>
                <a:gd name="T55" fmla="*/ 602255 h 503"/>
                <a:gd name="T56" fmla="*/ 352357 w 275"/>
                <a:gd name="T57" fmla="*/ 131040 h 503"/>
                <a:gd name="T58" fmla="*/ 341760 w 275"/>
                <a:gd name="T59" fmla="*/ 631375 h 503"/>
                <a:gd name="T60" fmla="*/ 333812 w 275"/>
                <a:gd name="T61" fmla="*/ 640641 h 503"/>
                <a:gd name="T62" fmla="*/ 332487 w 275"/>
                <a:gd name="T63" fmla="*/ 641965 h 503"/>
                <a:gd name="T64" fmla="*/ 30467 w 275"/>
                <a:gd name="T65" fmla="*/ 641965 h 503"/>
                <a:gd name="T66" fmla="*/ 21194 w 275"/>
                <a:gd name="T67" fmla="*/ 631375 h 503"/>
                <a:gd name="T68" fmla="*/ 23844 w 275"/>
                <a:gd name="T69" fmla="*/ 30444 h 503"/>
                <a:gd name="T70" fmla="*/ 26493 w 275"/>
                <a:gd name="T71" fmla="*/ 29120 h 503"/>
                <a:gd name="T72" fmla="*/ 116569 w 275"/>
                <a:gd name="T73" fmla="*/ 23825 h 503"/>
                <a:gd name="T74" fmla="*/ 246385 w 275"/>
                <a:gd name="T75" fmla="*/ 23825 h 503"/>
                <a:gd name="T76" fmla="*/ 340435 w 275"/>
                <a:gd name="T77" fmla="*/ 30444 h 503"/>
                <a:gd name="T78" fmla="*/ 341760 w 275"/>
                <a:gd name="T79" fmla="*/ 91331 h 503"/>
                <a:gd name="T80" fmla="*/ 362954 w 275"/>
                <a:gd name="T81" fmla="*/ 91331 h 503"/>
                <a:gd name="T82" fmla="*/ 362954 w 275"/>
                <a:gd name="T83" fmla="*/ 33091 h 503"/>
                <a:gd name="T84" fmla="*/ 340435 w 275"/>
                <a:gd name="T85" fmla="*/ 7942 h 503"/>
                <a:gd name="T86" fmla="*/ 181477 w 275"/>
                <a:gd name="T87" fmla="*/ 0 h 503"/>
                <a:gd name="T88" fmla="*/ 22519 w 275"/>
                <a:gd name="T89" fmla="*/ 7942 h 503"/>
                <a:gd name="T90" fmla="*/ 0 w 275"/>
                <a:gd name="T91" fmla="*/ 33091 h 503"/>
                <a:gd name="T92" fmla="*/ 15896 w 275"/>
                <a:gd name="T93" fmla="*/ 659172 h 503"/>
                <a:gd name="T94" fmla="*/ 181477 w 275"/>
                <a:gd name="T95" fmla="*/ 665790 h 503"/>
                <a:gd name="T96" fmla="*/ 347059 w 275"/>
                <a:gd name="T97" fmla="*/ 659172 h 503"/>
                <a:gd name="T98" fmla="*/ 362954 w 275"/>
                <a:gd name="T99" fmla="*/ 141629 h 503"/>
                <a:gd name="T100" fmla="*/ 181477 w 275"/>
                <a:gd name="T101" fmla="*/ 21178 h 503"/>
                <a:gd name="T102" fmla="*/ 181477 w 275"/>
                <a:gd name="T103" fmla="*/ 35738 h 503"/>
                <a:gd name="T104" fmla="*/ 181477 w 275"/>
                <a:gd name="T105" fmla="*/ 21178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1"/>
            </a:solidFill>
            <a:ln w="12700">
              <a:noFill/>
              <a:round/>
              <a:headEnd/>
              <a:tailEnd/>
            </a:ln>
          </p:spPr>
          <p:txBody>
            <a:bodyPr/>
            <a:lstStyle/>
            <a:p>
              <a:pPr algn="ctr">
                <a:spcBef>
                  <a:spcPts val="0"/>
                </a:spcBef>
              </a:pPr>
              <a:endParaRPr lang="en-US" sz="1200">
                <a:latin typeface="+mn-lt"/>
              </a:endParaRPr>
            </a:p>
          </p:txBody>
        </p:sp>
        <p:sp>
          <p:nvSpPr>
            <p:cNvPr id="46" name="Freeform 3"/>
            <p:cNvSpPr>
              <a:spLocks noChangeAspect="1"/>
            </p:cNvSpPr>
            <p:nvPr/>
          </p:nvSpPr>
          <p:spPr bwMode="auto">
            <a:xfrm>
              <a:off x="2736098" y="2241603"/>
              <a:ext cx="611196" cy="38787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105" name="Freeform 14335"/>
            <p:cNvSpPr>
              <a:spLocks/>
            </p:cNvSpPr>
            <p:nvPr/>
          </p:nvSpPr>
          <p:spPr bwMode="auto">
            <a:xfrm>
              <a:off x="2187147" y="2283210"/>
              <a:ext cx="1496263" cy="3628514"/>
            </a:xfrm>
            <a:custGeom>
              <a:avLst/>
              <a:gdLst>
                <a:gd name="T0" fmla="*/ 0 w 4776951"/>
                <a:gd name="T1" fmla="*/ 345649 h 394152"/>
                <a:gd name="T2" fmla="*/ 1702502 w 4776951"/>
                <a:gd name="T3" fmla="*/ 329937 h 394152"/>
                <a:gd name="T4" fmla="*/ 2270000 w 4776951"/>
                <a:gd name="T5" fmla="*/ 0 h 394152"/>
                <a:gd name="T6" fmla="*/ 3546875 w 4776951"/>
                <a:gd name="T7" fmla="*/ 0 h 394152"/>
                <a:gd name="T8" fmla="*/ 3988265 w 4776951"/>
                <a:gd name="T9" fmla="*/ 329937 h 394152"/>
                <a:gd name="T10" fmla="*/ 4776459 w 4776951"/>
                <a:gd name="T11" fmla="*/ 392784 h 394152"/>
                <a:gd name="T12" fmla="*/ 4776459 w 4776951"/>
                <a:gd name="T13" fmla="*/ 392784 h 394152"/>
                <a:gd name="T14" fmla="*/ 0 60000 65536"/>
                <a:gd name="T15" fmla="*/ 0 60000 65536"/>
                <a:gd name="T16" fmla="*/ 0 60000 65536"/>
                <a:gd name="T17" fmla="*/ 0 60000 65536"/>
                <a:gd name="T18" fmla="*/ 0 60000 65536"/>
                <a:gd name="T19" fmla="*/ 0 60000 65536"/>
                <a:gd name="T20" fmla="*/ 0 60000 65536"/>
                <a:gd name="connsiteX0" fmla="*/ 0 w 4776951"/>
                <a:gd name="connsiteY0" fmla="*/ 492499 h 539810"/>
                <a:gd name="connsiteX1" fmla="*/ 1125882 w 4776951"/>
                <a:gd name="connsiteY1" fmla="*/ 11966 h 539810"/>
                <a:gd name="connsiteX2" fmla="*/ 2270234 w 4776951"/>
                <a:gd name="connsiteY2" fmla="*/ 145658 h 539810"/>
                <a:gd name="connsiteX3" fmla="*/ 3547241 w 4776951"/>
                <a:gd name="connsiteY3" fmla="*/ 145658 h 539810"/>
                <a:gd name="connsiteX4" fmla="*/ 3988676 w 4776951"/>
                <a:gd name="connsiteY4" fmla="*/ 476733 h 539810"/>
                <a:gd name="connsiteX5" fmla="*/ 4776951 w 4776951"/>
                <a:gd name="connsiteY5" fmla="*/ 539796 h 539810"/>
                <a:gd name="connsiteX0" fmla="*/ 0 w 4776951"/>
                <a:gd name="connsiteY0" fmla="*/ 606173 h 653484"/>
                <a:gd name="connsiteX1" fmla="*/ 1125882 w 4776951"/>
                <a:gd name="connsiteY1" fmla="*/ 125640 h 653484"/>
                <a:gd name="connsiteX2" fmla="*/ 2326507 w 4776951"/>
                <a:gd name="connsiteY2" fmla="*/ 5822 h 653484"/>
                <a:gd name="connsiteX3" fmla="*/ 3547241 w 4776951"/>
                <a:gd name="connsiteY3" fmla="*/ 259332 h 653484"/>
                <a:gd name="connsiteX4" fmla="*/ 3988676 w 4776951"/>
                <a:gd name="connsiteY4" fmla="*/ 590407 h 653484"/>
                <a:gd name="connsiteX5" fmla="*/ 4776951 w 4776951"/>
                <a:gd name="connsiteY5" fmla="*/ 653470 h 653484"/>
                <a:gd name="connsiteX0" fmla="*/ 0 w 4776951"/>
                <a:gd name="connsiteY0" fmla="*/ 600508 h 647819"/>
                <a:gd name="connsiteX1" fmla="*/ 1125882 w 4776951"/>
                <a:gd name="connsiteY1" fmla="*/ 119975 h 647819"/>
                <a:gd name="connsiteX2" fmla="*/ 2326507 w 4776951"/>
                <a:gd name="connsiteY2" fmla="*/ 157 h 647819"/>
                <a:gd name="connsiteX3" fmla="*/ 3547241 w 4776951"/>
                <a:gd name="connsiteY3" fmla="*/ 253667 h 647819"/>
                <a:gd name="connsiteX4" fmla="*/ 3988676 w 4776951"/>
                <a:gd name="connsiteY4" fmla="*/ 584742 h 647819"/>
                <a:gd name="connsiteX5" fmla="*/ 4776951 w 4776951"/>
                <a:gd name="connsiteY5" fmla="*/ 647805 h 647819"/>
                <a:gd name="connsiteX0" fmla="*/ 0 w 4776951"/>
                <a:gd name="connsiteY0" fmla="*/ 611326 h 658637"/>
                <a:gd name="connsiteX1" fmla="*/ 1125882 w 4776951"/>
                <a:gd name="connsiteY1" fmla="*/ 130793 h 658637"/>
                <a:gd name="connsiteX2" fmla="*/ 2326507 w 4776951"/>
                <a:gd name="connsiteY2" fmla="*/ 10975 h 658637"/>
                <a:gd name="connsiteX3" fmla="*/ 3547241 w 4776951"/>
                <a:gd name="connsiteY3" fmla="*/ 264485 h 658637"/>
                <a:gd name="connsiteX4" fmla="*/ 3988676 w 4776951"/>
                <a:gd name="connsiteY4" fmla="*/ 595560 h 658637"/>
                <a:gd name="connsiteX5" fmla="*/ 4776951 w 4776951"/>
                <a:gd name="connsiteY5" fmla="*/ 658623 h 658637"/>
                <a:gd name="connsiteX0" fmla="*/ 0 w 4776951"/>
                <a:gd name="connsiteY0" fmla="*/ 2210706 h 2258017"/>
                <a:gd name="connsiteX1" fmla="*/ 1125882 w 4776951"/>
                <a:gd name="connsiteY1" fmla="*/ 1730173 h 2258017"/>
                <a:gd name="connsiteX2" fmla="*/ 2326507 w 4776951"/>
                <a:gd name="connsiteY2" fmla="*/ 1610355 h 2258017"/>
                <a:gd name="connsiteX3" fmla="*/ 4011491 w 4776951"/>
                <a:gd name="connsiteY3" fmla="*/ 4798 h 2258017"/>
                <a:gd name="connsiteX4" fmla="*/ 3988676 w 4776951"/>
                <a:gd name="connsiteY4" fmla="*/ 2194940 h 2258017"/>
                <a:gd name="connsiteX5" fmla="*/ 4776951 w 4776951"/>
                <a:gd name="connsiteY5" fmla="*/ 2258003 h 2258017"/>
                <a:gd name="connsiteX0" fmla="*/ 0 w 5320051"/>
                <a:gd name="connsiteY0" fmla="*/ 2264214 h 2311511"/>
                <a:gd name="connsiteX1" fmla="*/ 1125882 w 5320051"/>
                <a:gd name="connsiteY1" fmla="*/ 1783681 h 2311511"/>
                <a:gd name="connsiteX2" fmla="*/ 2326507 w 5320051"/>
                <a:gd name="connsiteY2" fmla="*/ 1663863 h 2311511"/>
                <a:gd name="connsiteX3" fmla="*/ 4011491 w 5320051"/>
                <a:gd name="connsiteY3" fmla="*/ 58306 h 2311511"/>
                <a:gd name="connsiteX4" fmla="*/ 5282948 w 5320051"/>
                <a:gd name="connsiteY4" fmla="*/ 361214 h 2311511"/>
                <a:gd name="connsiteX5" fmla="*/ 4776951 w 5320051"/>
                <a:gd name="connsiteY5" fmla="*/ 2311511 h 2311511"/>
                <a:gd name="connsiteX0" fmla="*/ 0 w 8364336"/>
                <a:gd name="connsiteY0" fmla="*/ 2318787 h 2319581"/>
                <a:gd name="connsiteX1" fmla="*/ 1125882 w 8364336"/>
                <a:gd name="connsiteY1" fmla="*/ 1838254 h 2319581"/>
                <a:gd name="connsiteX2" fmla="*/ 2326507 w 8364336"/>
                <a:gd name="connsiteY2" fmla="*/ 1718436 h 2319581"/>
                <a:gd name="connsiteX3" fmla="*/ 4011491 w 8364336"/>
                <a:gd name="connsiteY3" fmla="*/ 112879 h 2319581"/>
                <a:gd name="connsiteX4" fmla="*/ 5282948 w 8364336"/>
                <a:gd name="connsiteY4" fmla="*/ 415787 h 2319581"/>
                <a:gd name="connsiteX5" fmla="*/ 8364336 w 8364336"/>
                <a:gd name="connsiteY5" fmla="*/ 0 h 2319581"/>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8364336 w 8364336"/>
                <a:gd name="connsiteY6" fmla="*/ 0 h 2319582"/>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7812193 w 8364336"/>
                <a:gd name="connsiteY6" fmla="*/ 102676 h 2319582"/>
                <a:gd name="connsiteX7" fmla="*/ 8364336 w 8364336"/>
                <a:gd name="connsiteY7" fmla="*/ 0 h 2319582"/>
                <a:gd name="connsiteX0" fmla="*/ 0 w 8462813"/>
                <a:gd name="connsiteY0" fmla="*/ 2262662 h 2263457"/>
                <a:gd name="connsiteX1" fmla="*/ 1125882 w 8462813"/>
                <a:gd name="connsiteY1" fmla="*/ 1782129 h 2263457"/>
                <a:gd name="connsiteX2" fmla="*/ 2326507 w 8462813"/>
                <a:gd name="connsiteY2" fmla="*/ 1662311 h 2263457"/>
                <a:gd name="connsiteX3" fmla="*/ 4011491 w 8462813"/>
                <a:gd name="connsiteY3" fmla="*/ 56754 h 2263457"/>
                <a:gd name="connsiteX4" fmla="*/ 5282948 w 8462813"/>
                <a:gd name="connsiteY4" fmla="*/ 359662 h 2263457"/>
                <a:gd name="connsiteX5" fmla="*/ 7193194 w 8462813"/>
                <a:gd name="connsiteY5" fmla="*/ 497234 h 2263457"/>
                <a:gd name="connsiteX6" fmla="*/ 7812193 w 8462813"/>
                <a:gd name="connsiteY6" fmla="*/ 46551 h 2263457"/>
                <a:gd name="connsiteX7" fmla="*/ 8462813 w 8462813"/>
                <a:gd name="connsiteY7" fmla="*/ 211 h 2263457"/>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32353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75487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063793 w 8462813"/>
                <a:gd name="connsiteY5" fmla="*/ 518460 h 2267410"/>
                <a:gd name="connsiteX6" fmla="*/ 7475487 w 8462813"/>
                <a:gd name="connsiteY6" fmla="*/ 36420 h 2267410"/>
                <a:gd name="connsiteX7" fmla="*/ 8462813 w 8462813"/>
                <a:gd name="connsiteY7" fmla="*/ 4164 h 2267410"/>
                <a:gd name="connsiteX0" fmla="*/ 0 w 9067745"/>
                <a:gd name="connsiteY0" fmla="*/ 2351118 h 2351798"/>
                <a:gd name="connsiteX1" fmla="*/ 1730814 w 9067745"/>
                <a:gd name="connsiteY1" fmla="*/ 1786082 h 2351798"/>
                <a:gd name="connsiteX2" fmla="*/ 2931439 w 9067745"/>
                <a:gd name="connsiteY2" fmla="*/ 1666264 h 2351798"/>
                <a:gd name="connsiteX3" fmla="*/ 4616423 w 9067745"/>
                <a:gd name="connsiteY3" fmla="*/ 60707 h 2351798"/>
                <a:gd name="connsiteX4" fmla="*/ 5887880 w 9067745"/>
                <a:gd name="connsiteY4" fmla="*/ 363615 h 2351798"/>
                <a:gd name="connsiteX5" fmla="*/ 7668725 w 9067745"/>
                <a:gd name="connsiteY5" fmla="*/ 518460 h 2351798"/>
                <a:gd name="connsiteX6" fmla="*/ 8080419 w 9067745"/>
                <a:gd name="connsiteY6" fmla="*/ 36420 h 2351798"/>
                <a:gd name="connsiteX7" fmla="*/ 9067745 w 9067745"/>
                <a:gd name="connsiteY7" fmla="*/ 4164 h 2351798"/>
                <a:gd name="connsiteX0" fmla="*/ 0 w 8709924"/>
                <a:gd name="connsiteY0" fmla="*/ 2360222 h 2360902"/>
                <a:gd name="connsiteX1" fmla="*/ 1730814 w 8709924"/>
                <a:gd name="connsiteY1" fmla="*/ 1795186 h 2360902"/>
                <a:gd name="connsiteX2" fmla="*/ 2931439 w 8709924"/>
                <a:gd name="connsiteY2" fmla="*/ 1675368 h 2360902"/>
                <a:gd name="connsiteX3" fmla="*/ 4616423 w 8709924"/>
                <a:gd name="connsiteY3" fmla="*/ 69811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4938683 w 8709924"/>
                <a:gd name="connsiteY5" fmla="*/ 2318660 h 2360902"/>
                <a:gd name="connsiteX6" fmla="*/ 8080419 w 8709924"/>
                <a:gd name="connsiteY6" fmla="*/ 45524 h 2360902"/>
                <a:gd name="connsiteX7" fmla="*/ 8709924 w 8709924"/>
                <a:gd name="connsiteY7" fmla="*/ 0 h 2360902"/>
                <a:gd name="connsiteX0" fmla="*/ 0 w 8709924"/>
                <a:gd name="connsiteY0" fmla="*/ 2360222 h 2833593"/>
                <a:gd name="connsiteX1" fmla="*/ 1730814 w 8709924"/>
                <a:gd name="connsiteY1" fmla="*/ 1795186 h 2833593"/>
                <a:gd name="connsiteX2" fmla="*/ 2931439 w 8709924"/>
                <a:gd name="connsiteY2" fmla="*/ 1675368 h 2833593"/>
                <a:gd name="connsiteX3" fmla="*/ 4059812 w 8709924"/>
                <a:gd name="connsiteY3" fmla="*/ 1184270 h 2833593"/>
                <a:gd name="connsiteX4" fmla="*/ 5052964 w 8709924"/>
                <a:gd name="connsiteY4" fmla="*/ 1354505 h 2833593"/>
                <a:gd name="connsiteX5" fmla="*/ 4938683 w 8709924"/>
                <a:gd name="connsiteY5" fmla="*/ 2318660 h 2833593"/>
                <a:gd name="connsiteX6" fmla="*/ 4807020 w 8709924"/>
                <a:gd name="connsiteY6" fmla="*/ 2818407 h 2833593"/>
                <a:gd name="connsiteX7" fmla="*/ 8709924 w 8709924"/>
                <a:gd name="connsiteY7" fmla="*/ 0 h 2833593"/>
                <a:gd name="connsiteX0" fmla="*/ 0 w 5102688"/>
                <a:gd name="connsiteY0" fmla="*/ 1198699 h 2489596"/>
                <a:gd name="connsiteX1" fmla="*/ 1730814 w 5102688"/>
                <a:gd name="connsiteY1" fmla="*/ 633663 h 2489596"/>
                <a:gd name="connsiteX2" fmla="*/ 2931439 w 5102688"/>
                <a:gd name="connsiteY2" fmla="*/ 513845 h 2489596"/>
                <a:gd name="connsiteX3" fmla="*/ 4059812 w 5102688"/>
                <a:gd name="connsiteY3" fmla="*/ 22747 h 2489596"/>
                <a:gd name="connsiteX4" fmla="*/ 5052964 w 5102688"/>
                <a:gd name="connsiteY4" fmla="*/ 192982 h 2489596"/>
                <a:gd name="connsiteX5" fmla="*/ 4938683 w 5102688"/>
                <a:gd name="connsiteY5" fmla="*/ 1157137 h 2489596"/>
                <a:gd name="connsiteX6" fmla="*/ 4807020 w 5102688"/>
                <a:gd name="connsiteY6" fmla="*/ 1656884 h 2489596"/>
                <a:gd name="connsiteX7" fmla="*/ 4495587 w 5102688"/>
                <a:gd name="connsiteY7" fmla="*/ 2487006 h 2489596"/>
                <a:gd name="connsiteX0" fmla="*/ 0 w 5102688"/>
                <a:gd name="connsiteY0" fmla="*/ 1412095 h 2702992"/>
                <a:gd name="connsiteX1" fmla="*/ 1730814 w 5102688"/>
                <a:gd name="connsiteY1" fmla="*/ 847059 h 2702992"/>
                <a:gd name="connsiteX2" fmla="*/ 2719397 w 5102688"/>
                <a:gd name="connsiteY2" fmla="*/ 24070 h 2702992"/>
                <a:gd name="connsiteX3" fmla="*/ 4059812 w 5102688"/>
                <a:gd name="connsiteY3" fmla="*/ 236143 h 2702992"/>
                <a:gd name="connsiteX4" fmla="*/ 5052964 w 5102688"/>
                <a:gd name="connsiteY4" fmla="*/ 406378 h 2702992"/>
                <a:gd name="connsiteX5" fmla="*/ 4938683 w 5102688"/>
                <a:gd name="connsiteY5" fmla="*/ 1370533 h 2702992"/>
                <a:gd name="connsiteX6" fmla="*/ 4807020 w 5102688"/>
                <a:gd name="connsiteY6" fmla="*/ 1870280 h 2702992"/>
                <a:gd name="connsiteX7" fmla="*/ 4495587 w 5102688"/>
                <a:gd name="connsiteY7" fmla="*/ 2700402 h 2702992"/>
                <a:gd name="connsiteX0" fmla="*/ 0 w 5102688"/>
                <a:gd name="connsiteY0" fmla="*/ 1428194 h 2719091"/>
                <a:gd name="connsiteX1" fmla="*/ 1730814 w 5102688"/>
                <a:gd name="connsiteY1" fmla="*/ 863158 h 2719091"/>
                <a:gd name="connsiteX2" fmla="*/ 2719397 w 5102688"/>
                <a:gd name="connsiteY2" fmla="*/ 40169 h 2719091"/>
                <a:gd name="connsiteX3" fmla="*/ 4059812 w 5102688"/>
                <a:gd name="connsiteY3" fmla="*/ 252242 h 2719091"/>
                <a:gd name="connsiteX4" fmla="*/ 5052964 w 5102688"/>
                <a:gd name="connsiteY4" fmla="*/ 422477 h 2719091"/>
                <a:gd name="connsiteX5" fmla="*/ 4938683 w 5102688"/>
                <a:gd name="connsiteY5" fmla="*/ 1386632 h 2719091"/>
                <a:gd name="connsiteX6" fmla="*/ 4807020 w 5102688"/>
                <a:gd name="connsiteY6" fmla="*/ 1886379 h 2719091"/>
                <a:gd name="connsiteX7" fmla="*/ 4495587 w 5102688"/>
                <a:gd name="connsiteY7" fmla="*/ 2716501 h 2719091"/>
                <a:gd name="connsiteX0" fmla="*/ 0 w 5102688"/>
                <a:gd name="connsiteY0" fmla="*/ 1401181 h 2692078"/>
                <a:gd name="connsiteX1" fmla="*/ 1730814 w 5102688"/>
                <a:gd name="connsiteY1" fmla="*/ 836145 h 2692078"/>
                <a:gd name="connsiteX2" fmla="*/ 2719397 w 5102688"/>
                <a:gd name="connsiteY2" fmla="*/ 13156 h 2692078"/>
                <a:gd name="connsiteX3" fmla="*/ 3974330 w 5102688"/>
                <a:gd name="connsiteY3" fmla="*/ 322184 h 2692078"/>
                <a:gd name="connsiteX4" fmla="*/ 4059812 w 5102688"/>
                <a:gd name="connsiteY4" fmla="*/ 225229 h 2692078"/>
                <a:gd name="connsiteX5" fmla="*/ 5052964 w 5102688"/>
                <a:gd name="connsiteY5" fmla="*/ 395464 h 2692078"/>
                <a:gd name="connsiteX6" fmla="*/ 4938683 w 5102688"/>
                <a:gd name="connsiteY6" fmla="*/ 1359619 h 2692078"/>
                <a:gd name="connsiteX7" fmla="*/ 4807020 w 5102688"/>
                <a:gd name="connsiteY7" fmla="*/ 1859366 h 2692078"/>
                <a:gd name="connsiteX8" fmla="*/ 4495587 w 5102688"/>
                <a:gd name="connsiteY8" fmla="*/ 2689488 h 2692078"/>
                <a:gd name="connsiteX0" fmla="*/ 0 w 5102688"/>
                <a:gd name="connsiteY0" fmla="*/ 1398091 h 2688988"/>
                <a:gd name="connsiteX1" fmla="*/ 1730814 w 5102688"/>
                <a:gd name="connsiteY1" fmla="*/ 833055 h 2688988"/>
                <a:gd name="connsiteX2" fmla="*/ 2719397 w 5102688"/>
                <a:gd name="connsiteY2" fmla="*/ 10066 h 2688988"/>
                <a:gd name="connsiteX3" fmla="*/ 3974330 w 5102688"/>
                <a:gd name="connsiteY3" fmla="*/ 319094 h 2688988"/>
                <a:gd name="connsiteX4" fmla="*/ 4059812 w 5102688"/>
                <a:gd name="connsiteY4" fmla="*/ 222139 h 2688988"/>
                <a:gd name="connsiteX5" fmla="*/ 5052964 w 5102688"/>
                <a:gd name="connsiteY5" fmla="*/ 392374 h 2688988"/>
                <a:gd name="connsiteX6" fmla="*/ 4938683 w 5102688"/>
                <a:gd name="connsiteY6" fmla="*/ 1356529 h 2688988"/>
                <a:gd name="connsiteX7" fmla="*/ 4807020 w 5102688"/>
                <a:gd name="connsiteY7" fmla="*/ 1856276 h 2688988"/>
                <a:gd name="connsiteX8" fmla="*/ 4495587 w 5102688"/>
                <a:gd name="connsiteY8" fmla="*/ 2686398 h 2688988"/>
                <a:gd name="connsiteX0" fmla="*/ 0 w 5108678"/>
                <a:gd name="connsiteY0" fmla="*/ 1398091 h 2688988"/>
                <a:gd name="connsiteX1" fmla="*/ 1730814 w 5108678"/>
                <a:gd name="connsiteY1" fmla="*/ 833055 h 2688988"/>
                <a:gd name="connsiteX2" fmla="*/ 2719397 w 5108678"/>
                <a:gd name="connsiteY2" fmla="*/ 10066 h 2688988"/>
                <a:gd name="connsiteX3" fmla="*/ 3974330 w 5108678"/>
                <a:gd name="connsiteY3" fmla="*/ 319094 h 2688988"/>
                <a:gd name="connsiteX4" fmla="*/ 5052964 w 5108678"/>
                <a:gd name="connsiteY4" fmla="*/ 392374 h 2688988"/>
                <a:gd name="connsiteX5" fmla="*/ 4938683 w 5108678"/>
                <a:gd name="connsiteY5" fmla="*/ 1356529 h 2688988"/>
                <a:gd name="connsiteX6" fmla="*/ 4807020 w 5108678"/>
                <a:gd name="connsiteY6" fmla="*/ 1856276 h 2688988"/>
                <a:gd name="connsiteX7" fmla="*/ 4495587 w 5108678"/>
                <a:gd name="connsiteY7" fmla="*/ 2686398 h 2688988"/>
                <a:gd name="connsiteX0" fmla="*/ 0 w 4975097"/>
                <a:gd name="connsiteY0" fmla="*/ 1398091 h 2688988"/>
                <a:gd name="connsiteX1" fmla="*/ 1730814 w 4975097"/>
                <a:gd name="connsiteY1" fmla="*/ 833055 h 2688988"/>
                <a:gd name="connsiteX2" fmla="*/ 2719397 w 4975097"/>
                <a:gd name="connsiteY2" fmla="*/ 10066 h 2688988"/>
                <a:gd name="connsiteX3" fmla="*/ 3974330 w 4975097"/>
                <a:gd name="connsiteY3" fmla="*/ 319094 h 2688988"/>
                <a:gd name="connsiteX4" fmla="*/ 4880680 w 4975097"/>
                <a:gd name="connsiteY4" fmla="*/ 392374 h 2688988"/>
                <a:gd name="connsiteX5" fmla="*/ 4938683 w 4975097"/>
                <a:gd name="connsiteY5" fmla="*/ 1356529 h 2688988"/>
                <a:gd name="connsiteX6" fmla="*/ 4807020 w 4975097"/>
                <a:gd name="connsiteY6" fmla="*/ 1856276 h 2688988"/>
                <a:gd name="connsiteX7" fmla="*/ 4495587 w 4975097"/>
                <a:gd name="connsiteY7" fmla="*/ 2686398 h 2688988"/>
                <a:gd name="connsiteX0" fmla="*/ 0 w 4994181"/>
                <a:gd name="connsiteY0" fmla="*/ 1398091 h 2686398"/>
                <a:gd name="connsiteX1" fmla="*/ 1730814 w 4994181"/>
                <a:gd name="connsiteY1" fmla="*/ 833055 h 2686398"/>
                <a:gd name="connsiteX2" fmla="*/ 2719397 w 4994181"/>
                <a:gd name="connsiteY2" fmla="*/ 10066 h 2686398"/>
                <a:gd name="connsiteX3" fmla="*/ 3974330 w 4994181"/>
                <a:gd name="connsiteY3" fmla="*/ 319094 h 2686398"/>
                <a:gd name="connsiteX4" fmla="*/ 4880680 w 4994181"/>
                <a:gd name="connsiteY4" fmla="*/ 392374 h 2686398"/>
                <a:gd name="connsiteX5" fmla="*/ 4938683 w 4994181"/>
                <a:gd name="connsiteY5" fmla="*/ 1356529 h 2686398"/>
                <a:gd name="connsiteX6" fmla="*/ 4495587 w 4994181"/>
                <a:gd name="connsiteY6" fmla="*/ 2686398 h 2686398"/>
                <a:gd name="connsiteX0" fmla="*/ 0 w 4930746"/>
                <a:gd name="connsiteY0" fmla="*/ 1398091 h 2686398"/>
                <a:gd name="connsiteX1" fmla="*/ 1730814 w 4930746"/>
                <a:gd name="connsiteY1" fmla="*/ 833055 h 2686398"/>
                <a:gd name="connsiteX2" fmla="*/ 2719397 w 4930746"/>
                <a:gd name="connsiteY2" fmla="*/ 10066 h 2686398"/>
                <a:gd name="connsiteX3" fmla="*/ 3974330 w 4930746"/>
                <a:gd name="connsiteY3" fmla="*/ 319094 h 2686398"/>
                <a:gd name="connsiteX4" fmla="*/ 4880680 w 4930746"/>
                <a:gd name="connsiteY4" fmla="*/ 392374 h 2686398"/>
                <a:gd name="connsiteX5" fmla="*/ 4779652 w 4930746"/>
                <a:gd name="connsiteY5" fmla="*/ 1369796 h 2686398"/>
                <a:gd name="connsiteX6" fmla="*/ 4495587 w 4930746"/>
                <a:gd name="connsiteY6" fmla="*/ 2686398 h 2686398"/>
                <a:gd name="connsiteX0" fmla="*/ 0 w 5212110"/>
                <a:gd name="connsiteY0" fmla="*/ 1764271 h 2686398"/>
                <a:gd name="connsiteX1" fmla="*/ 2012178 w 5212110"/>
                <a:gd name="connsiteY1" fmla="*/ 833055 h 2686398"/>
                <a:gd name="connsiteX2" fmla="*/ 3000761 w 5212110"/>
                <a:gd name="connsiteY2" fmla="*/ 10066 h 2686398"/>
                <a:gd name="connsiteX3" fmla="*/ 4255694 w 5212110"/>
                <a:gd name="connsiteY3" fmla="*/ 319094 h 2686398"/>
                <a:gd name="connsiteX4" fmla="*/ 5162044 w 5212110"/>
                <a:gd name="connsiteY4" fmla="*/ 392374 h 2686398"/>
                <a:gd name="connsiteX5" fmla="*/ 5061016 w 5212110"/>
                <a:gd name="connsiteY5" fmla="*/ 1369796 h 2686398"/>
                <a:gd name="connsiteX6" fmla="*/ 4776951 w 5212110"/>
                <a:gd name="connsiteY6" fmla="*/ 2686398 h 2686398"/>
                <a:gd name="connsiteX0" fmla="*/ 39895 w 5252005"/>
                <a:gd name="connsiteY0" fmla="*/ 2161861 h 3083988"/>
                <a:gd name="connsiteX1" fmla="*/ 138801 w 5252005"/>
                <a:gd name="connsiteY1" fmla="*/ 89854 h 3083988"/>
                <a:gd name="connsiteX2" fmla="*/ 3040656 w 5252005"/>
                <a:gd name="connsiteY2" fmla="*/ 407656 h 3083988"/>
                <a:gd name="connsiteX3" fmla="*/ 4295589 w 5252005"/>
                <a:gd name="connsiteY3" fmla="*/ 716684 h 3083988"/>
                <a:gd name="connsiteX4" fmla="*/ 5201939 w 5252005"/>
                <a:gd name="connsiteY4" fmla="*/ 789964 h 3083988"/>
                <a:gd name="connsiteX5" fmla="*/ 5100911 w 5252005"/>
                <a:gd name="connsiteY5" fmla="*/ 1767386 h 3083988"/>
                <a:gd name="connsiteX6" fmla="*/ 4816846 w 5252005"/>
                <a:gd name="connsiteY6" fmla="*/ 3083988 h 3083988"/>
                <a:gd name="connsiteX0" fmla="*/ 65807 w 5277917"/>
                <a:gd name="connsiteY0" fmla="*/ 3508547 h 4430674"/>
                <a:gd name="connsiteX1" fmla="*/ 164713 w 5277917"/>
                <a:gd name="connsiteY1" fmla="*/ 1436540 h 4430674"/>
                <a:gd name="connsiteX2" fmla="*/ 351409 w 5277917"/>
                <a:gd name="connsiteY2" fmla="*/ 7947 h 4430674"/>
                <a:gd name="connsiteX3" fmla="*/ 4321501 w 5277917"/>
                <a:gd name="connsiteY3" fmla="*/ 2063370 h 4430674"/>
                <a:gd name="connsiteX4" fmla="*/ 5227851 w 5277917"/>
                <a:gd name="connsiteY4" fmla="*/ 2136650 h 4430674"/>
                <a:gd name="connsiteX5" fmla="*/ 5126823 w 5277917"/>
                <a:gd name="connsiteY5" fmla="*/ 3114072 h 4430674"/>
                <a:gd name="connsiteX6" fmla="*/ 4842758 w 5277917"/>
                <a:gd name="connsiteY6" fmla="*/ 4430674 h 4430674"/>
                <a:gd name="connsiteX0" fmla="*/ 131793 w 5343903"/>
                <a:gd name="connsiteY0" fmla="*/ 3510312 h 4432439"/>
                <a:gd name="connsiteX1" fmla="*/ 230699 w 5343903"/>
                <a:gd name="connsiteY1" fmla="*/ 1438305 h 4432439"/>
                <a:gd name="connsiteX2" fmla="*/ 417395 w 5343903"/>
                <a:gd name="connsiteY2" fmla="*/ 9712 h 4432439"/>
                <a:gd name="connsiteX3" fmla="*/ 5293837 w 5343903"/>
                <a:gd name="connsiteY3" fmla="*/ 2138415 h 4432439"/>
                <a:gd name="connsiteX4" fmla="*/ 5192809 w 5343903"/>
                <a:gd name="connsiteY4" fmla="*/ 3115837 h 4432439"/>
                <a:gd name="connsiteX5" fmla="*/ 4908744 w 5343903"/>
                <a:gd name="connsiteY5" fmla="*/ 4432439 h 4432439"/>
                <a:gd name="connsiteX0" fmla="*/ 131793 w 5343903"/>
                <a:gd name="connsiteY0" fmla="*/ 3510312 h 3510529"/>
                <a:gd name="connsiteX1" fmla="*/ 230699 w 5343903"/>
                <a:gd name="connsiteY1" fmla="*/ 1438305 h 3510529"/>
                <a:gd name="connsiteX2" fmla="*/ 417395 w 5343903"/>
                <a:gd name="connsiteY2" fmla="*/ 9712 h 3510529"/>
                <a:gd name="connsiteX3" fmla="*/ 5293837 w 5343903"/>
                <a:gd name="connsiteY3" fmla="*/ 2138415 h 3510529"/>
                <a:gd name="connsiteX4" fmla="*/ 5192809 w 5343903"/>
                <a:gd name="connsiteY4" fmla="*/ 3115837 h 3510529"/>
                <a:gd name="connsiteX0" fmla="*/ 131793 w 5293837"/>
                <a:gd name="connsiteY0" fmla="*/ 3510312 h 3510529"/>
                <a:gd name="connsiteX1" fmla="*/ 230699 w 5293837"/>
                <a:gd name="connsiteY1" fmla="*/ 1438305 h 3510529"/>
                <a:gd name="connsiteX2" fmla="*/ 417395 w 5293837"/>
                <a:gd name="connsiteY2" fmla="*/ 9712 h 3510529"/>
                <a:gd name="connsiteX3" fmla="*/ 5293837 w 5293837"/>
                <a:gd name="connsiteY3" fmla="*/ 2138415 h 3510529"/>
                <a:gd name="connsiteX0" fmla="*/ 0 w 1166682"/>
                <a:gd name="connsiteY0" fmla="*/ 3728540 h 3728757"/>
                <a:gd name="connsiteX1" fmla="*/ 98906 w 1166682"/>
                <a:gd name="connsiteY1" fmla="*/ 1656533 h 3728757"/>
                <a:gd name="connsiteX2" fmla="*/ 285602 w 1166682"/>
                <a:gd name="connsiteY2" fmla="*/ 227940 h 3728757"/>
                <a:gd name="connsiteX3" fmla="*/ 1166682 w 1166682"/>
                <a:gd name="connsiteY3" fmla="*/ 328571 h 3728757"/>
                <a:gd name="connsiteX0" fmla="*/ 0 w 1166682"/>
                <a:gd name="connsiteY0" fmla="*/ 3620869 h 3621086"/>
                <a:gd name="connsiteX1" fmla="*/ 98906 w 1166682"/>
                <a:gd name="connsiteY1" fmla="*/ 1548862 h 3621086"/>
                <a:gd name="connsiteX2" fmla="*/ 285602 w 1166682"/>
                <a:gd name="connsiteY2" fmla="*/ 120269 h 3621086"/>
                <a:gd name="connsiteX3" fmla="*/ 1166682 w 1166682"/>
                <a:gd name="connsiteY3" fmla="*/ 220900 h 3621086"/>
                <a:gd name="connsiteX0" fmla="*/ 55964 w 1222646"/>
                <a:gd name="connsiteY0" fmla="*/ 3630477 h 3630694"/>
                <a:gd name="connsiteX1" fmla="*/ 154870 w 1222646"/>
                <a:gd name="connsiteY1" fmla="*/ 1558470 h 3630694"/>
                <a:gd name="connsiteX2" fmla="*/ 60202 w 1222646"/>
                <a:gd name="connsiteY2" fmla="*/ 115793 h 3630694"/>
                <a:gd name="connsiteX3" fmla="*/ 1222646 w 1222646"/>
                <a:gd name="connsiteY3" fmla="*/ 230508 h 3630694"/>
                <a:gd name="connsiteX0" fmla="*/ 110183 w 1276865"/>
                <a:gd name="connsiteY0" fmla="*/ 3593378 h 3593595"/>
                <a:gd name="connsiteX1" fmla="*/ 209089 w 1276865"/>
                <a:gd name="connsiteY1" fmla="*/ 1521371 h 3593595"/>
                <a:gd name="connsiteX2" fmla="*/ 114421 w 1276865"/>
                <a:gd name="connsiteY2" fmla="*/ 78694 h 3593595"/>
                <a:gd name="connsiteX3" fmla="*/ 1276865 w 1276865"/>
                <a:gd name="connsiteY3" fmla="*/ 193409 h 3593595"/>
                <a:gd name="connsiteX0" fmla="*/ 128545 w 1295227"/>
                <a:gd name="connsiteY0" fmla="*/ 3581115 h 3581332"/>
                <a:gd name="connsiteX1" fmla="*/ 227451 w 1295227"/>
                <a:gd name="connsiteY1" fmla="*/ 1509108 h 3581332"/>
                <a:gd name="connsiteX2" fmla="*/ 132783 w 1295227"/>
                <a:gd name="connsiteY2" fmla="*/ 66431 h 3581332"/>
                <a:gd name="connsiteX3" fmla="*/ 1295227 w 1295227"/>
                <a:gd name="connsiteY3" fmla="*/ 181146 h 3581332"/>
                <a:gd name="connsiteX0" fmla="*/ 71828 w 1463601"/>
                <a:gd name="connsiteY0" fmla="*/ 3667419 h 3667636"/>
                <a:gd name="connsiteX1" fmla="*/ 170734 w 1463601"/>
                <a:gd name="connsiteY1" fmla="*/ 1595412 h 3667636"/>
                <a:gd name="connsiteX2" fmla="*/ 76066 w 1463601"/>
                <a:gd name="connsiteY2" fmla="*/ 152735 h 3667636"/>
                <a:gd name="connsiteX3" fmla="*/ 1463601 w 1463601"/>
                <a:gd name="connsiteY3" fmla="*/ 182947 h 3667636"/>
                <a:gd name="connsiteX0" fmla="*/ 71828 w 1463601"/>
                <a:gd name="connsiteY0" fmla="*/ 3623294 h 3623511"/>
                <a:gd name="connsiteX1" fmla="*/ 170734 w 1463601"/>
                <a:gd name="connsiteY1" fmla="*/ 1551287 h 3623511"/>
                <a:gd name="connsiteX2" fmla="*/ 76066 w 1463601"/>
                <a:gd name="connsiteY2" fmla="*/ 108610 h 3623511"/>
                <a:gd name="connsiteX3" fmla="*/ 1463601 w 1463601"/>
                <a:gd name="connsiteY3" fmla="*/ 138822 h 3623511"/>
                <a:gd name="connsiteX0" fmla="*/ 54001 w 1445774"/>
                <a:gd name="connsiteY0" fmla="*/ 3579514 h 3579731"/>
                <a:gd name="connsiteX1" fmla="*/ 152907 w 1445774"/>
                <a:gd name="connsiteY1" fmla="*/ 1507507 h 3579731"/>
                <a:gd name="connsiteX2" fmla="*/ 58239 w 1445774"/>
                <a:gd name="connsiteY2" fmla="*/ 64830 h 3579731"/>
                <a:gd name="connsiteX3" fmla="*/ 1445774 w 1445774"/>
                <a:gd name="connsiteY3" fmla="*/ 95042 h 3579731"/>
                <a:gd name="connsiteX0" fmla="*/ 104542 w 1496315"/>
                <a:gd name="connsiteY0" fmla="*/ 3632678 h 3632915"/>
                <a:gd name="connsiteX1" fmla="*/ 90903 w 1496315"/>
                <a:gd name="connsiteY1" fmla="*/ 1687425 h 3632915"/>
                <a:gd name="connsiteX2" fmla="*/ 108780 w 1496315"/>
                <a:gd name="connsiteY2" fmla="*/ 117994 h 3632915"/>
                <a:gd name="connsiteX3" fmla="*/ 1496315 w 1496315"/>
                <a:gd name="connsiteY3" fmla="*/ 148206 h 3632915"/>
                <a:gd name="connsiteX0" fmla="*/ 104542 w 1496315"/>
                <a:gd name="connsiteY0" fmla="*/ 3632678 h 3632971"/>
                <a:gd name="connsiteX1" fmla="*/ 90903 w 1496315"/>
                <a:gd name="connsiteY1" fmla="*/ 1687425 h 3632971"/>
                <a:gd name="connsiteX2" fmla="*/ 108780 w 1496315"/>
                <a:gd name="connsiteY2" fmla="*/ 117994 h 3632971"/>
                <a:gd name="connsiteX3" fmla="*/ 1496315 w 1496315"/>
                <a:gd name="connsiteY3" fmla="*/ 148206 h 3632971"/>
                <a:gd name="connsiteX0" fmla="*/ 104542 w 1496315"/>
                <a:gd name="connsiteY0" fmla="*/ 3632678 h 3632678"/>
                <a:gd name="connsiteX1" fmla="*/ 90903 w 1496315"/>
                <a:gd name="connsiteY1" fmla="*/ 1687425 h 3632678"/>
                <a:gd name="connsiteX2" fmla="*/ 108780 w 1496315"/>
                <a:gd name="connsiteY2" fmla="*/ 117994 h 3632678"/>
                <a:gd name="connsiteX3" fmla="*/ 1496315 w 1496315"/>
                <a:gd name="connsiteY3" fmla="*/ 148206 h 3632678"/>
              </a:gdLst>
              <a:ahLst/>
              <a:cxnLst>
                <a:cxn ang="0">
                  <a:pos x="connsiteX0" y="connsiteY0"/>
                </a:cxn>
                <a:cxn ang="0">
                  <a:pos x="connsiteX1" y="connsiteY1"/>
                </a:cxn>
                <a:cxn ang="0">
                  <a:pos x="connsiteX2" y="connsiteY2"/>
                </a:cxn>
                <a:cxn ang="0">
                  <a:pos x="connsiteX3" y="connsiteY3"/>
                </a:cxn>
              </a:cxnLst>
              <a:rect l="l" t="t" r="r" b="b"/>
              <a:pathLst>
                <a:path w="1496315" h="3632678">
                  <a:moveTo>
                    <a:pt x="104542" y="3632678"/>
                  </a:moveTo>
                  <a:cubicBezTo>
                    <a:pt x="119557" y="2484740"/>
                    <a:pt x="90197" y="2540799"/>
                    <a:pt x="90903" y="1687425"/>
                  </a:cubicBezTo>
                  <a:cubicBezTo>
                    <a:pt x="91609" y="834051"/>
                    <a:pt x="-125455" y="374531"/>
                    <a:pt x="108780" y="117994"/>
                  </a:cubicBezTo>
                  <a:cubicBezTo>
                    <a:pt x="343015" y="-138543"/>
                    <a:pt x="587866" y="95284"/>
                    <a:pt x="1496315" y="148206"/>
                  </a:cubicBezTo>
                </a:path>
              </a:pathLst>
            </a:custGeom>
            <a:noFill/>
            <a:ln w="571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solidFill>
                  <a:schemeClr val="tx2">
                    <a:lumMod val="50000"/>
                    <a:lumOff val="50000"/>
                  </a:schemeClr>
                </a:solidFill>
                <a:latin typeface="+mn-lt"/>
              </a:endParaRPr>
            </a:p>
          </p:txBody>
        </p:sp>
        <p:sp>
          <p:nvSpPr>
            <p:cNvPr id="75" name="Freeform 3"/>
            <p:cNvSpPr>
              <a:spLocks noChangeAspect="1"/>
            </p:cNvSpPr>
            <p:nvPr/>
          </p:nvSpPr>
          <p:spPr bwMode="auto">
            <a:xfrm>
              <a:off x="2776994" y="3810291"/>
              <a:ext cx="611196" cy="38787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106" name="Freeform 14335"/>
            <p:cNvSpPr>
              <a:spLocks/>
            </p:cNvSpPr>
            <p:nvPr/>
          </p:nvSpPr>
          <p:spPr bwMode="auto">
            <a:xfrm>
              <a:off x="2397398" y="3926941"/>
              <a:ext cx="1206654" cy="1987456"/>
            </a:xfrm>
            <a:custGeom>
              <a:avLst/>
              <a:gdLst>
                <a:gd name="T0" fmla="*/ 0 w 4776951"/>
                <a:gd name="T1" fmla="*/ 345649 h 394152"/>
                <a:gd name="T2" fmla="*/ 1702502 w 4776951"/>
                <a:gd name="T3" fmla="*/ 329937 h 394152"/>
                <a:gd name="T4" fmla="*/ 2270000 w 4776951"/>
                <a:gd name="T5" fmla="*/ 0 h 394152"/>
                <a:gd name="T6" fmla="*/ 3546875 w 4776951"/>
                <a:gd name="T7" fmla="*/ 0 h 394152"/>
                <a:gd name="T8" fmla="*/ 3988265 w 4776951"/>
                <a:gd name="T9" fmla="*/ 329937 h 394152"/>
                <a:gd name="T10" fmla="*/ 4776459 w 4776951"/>
                <a:gd name="T11" fmla="*/ 392784 h 394152"/>
                <a:gd name="T12" fmla="*/ 4776459 w 4776951"/>
                <a:gd name="T13" fmla="*/ 392784 h 394152"/>
                <a:gd name="T14" fmla="*/ 0 60000 65536"/>
                <a:gd name="T15" fmla="*/ 0 60000 65536"/>
                <a:gd name="T16" fmla="*/ 0 60000 65536"/>
                <a:gd name="T17" fmla="*/ 0 60000 65536"/>
                <a:gd name="T18" fmla="*/ 0 60000 65536"/>
                <a:gd name="T19" fmla="*/ 0 60000 65536"/>
                <a:gd name="T20" fmla="*/ 0 60000 65536"/>
                <a:gd name="connsiteX0" fmla="*/ 0 w 4776951"/>
                <a:gd name="connsiteY0" fmla="*/ 619729 h 667040"/>
                <a:gd name="connsiteX1" fmla="*/ 1830272 w 4776951"/>
                <a:gd name="connsiteY1" fmla="*/ 7856 h 667040"/>
                <a:gd name="connsiteX2" fmla="*/ 2270234 w 4776951"/>
                <a:gd name="connsiteY2" fmla="*/ 272888 h 667040"/>
                <a:gd name="connsiteX3" fmla="*/ 3547241 w 4776951"/>
                <a:gd name="connsiteY3" fmla="*/ 272888 h 667040"/>
                <a:gd name="connsiteX4" fmla="*/ 3988676 w 4776951"/>
                <a:gd name="connsiteY4" fmla="*/ 603963 h 667040"/>
                <a:gd name="connsiteX5" fmla="*/ 4776951 w 4776951"/>
                <a:gd name="connsiteY5" fmla="*/ 667026 h 667040"/>
                <a:gd name="connsiteX0" fmla="*/ 0 w 4776951"/>
                <a:gd name="connsiteY0" fmla="*/ 644523 h 691834"/>
                <a:gd name="connsiteX1" fmla="*/ 1830272 w 4776951"/>
                <a:gd name="connsiteY1" fmla="*/ 32650 h 691834"/>
                <a:gd name="connsiteX2" fmla="*/ 2461627 w 4776951"/>
                <a:gd name="connsiteY2" fmla="*/ 106076 h 691834"/>
                <a:gd name="connsiteX3" fmla="*/ 3547241 w 4776951"/>
                <a:gd name="connsiteY3" fmla="*/ 297682 h 691834"/>
                <a:gd name="connsiteX4" fmla="*/ 3988676 w 4776951"/>
                <a:gd name="connsiteY4" fmla="*/ 628757 h 691834"/>
                <a:gd name="connsiteX5" fmla="*/ 4776951 w 4776951"/>
                <a:gd name="connsiteY5" fmla="*/ 691820 h 691834"/>
                <a:gd name="connsiteX0" fmla="*/ 0 w 4776951"/>
                <a:gd name="connsiteY0" fmla="*/ 618509 h 665820"/>
                <a:gd name="connsiteX1" fmla="*/ 1830272 w 4776951"/>
                <a:gd name="connsiteY1" fmla="*/ 6636 h 665820"/>
                <a:gd name="connsiteX2" fmla="*/ 2461627 w 4776951"/>
                <a:gd name="connsiteY2" fmla="*/ 80062 h 665820"/>
                <a:gd name="connsiteX3" fmla="*/ 3547241 w 4776951"/>
                <a:gd name="connsiteY3" fmla="*/ 271668 h 665820"/>
                <a:gd name="connsiteX4" fmla="*/ 3988676 w 4776951"/>
                <a:gd name="connsiteY4" fmla="*/ 602743 h 665820"/>
                <a:gd name="connsiteX5" fmla="*/ 4776951 w 4776951"/>
                <a:gd name="connsiteY5" fmla="*/ 665806 h 665820"/>
                <a:gd name="connsiteX0" fmla="*/ 0 w 4776951"/>
                <a:gd name="connsiteY0" fmla="*/ 660518 h 707829"/>
                <a:gd name="connsiteX1" fmla="*/ 1830272 w 4776951"/>
                <a:gd name="connsiteY1" fmla="*/ 48645 h 707829"/>
                <a:gd name="connsiteX2" fmla="*/ 2663653 w 4776951"/>
                <a:gd name="connsiteY2" fmla="*/ 68847 h 707829"/>
                <a:gd name="connsiteX3" fmla="*/ 3547241 w 4776951"/>
                <a:gd name="connsiteY3" fmla="*/ 313677 h 707829"/>
                <a:gd name="connsiteX4" fmla="*/ 3988676 w 4776951"/>
                <a:gd name="connsiteY4" fmla="*/ 644752 h 707829"/>
                <a:gd name="connsiteX5" fmla="*/ 4776951 w 4776951"/>
                <a:gd name="connsiteY5" fmla="*/ 707815 h 707829"/>
                <a:gd name="connsiteX0" fmla="*/ 0 w 4776951"/>
                <a:gd name="connsiteY0" fmla="*/ 643802 h 691113"/>
                <a:gd name="connsiteX1" fmla="*/ 1830272 w 4776951"/>
                <a:gd name="connsiteY1" fmla="*/ 31929 h 691113"/>
                <a:gd name="connsiteX2" fmla="*/ 2462057 w 4776951"/>
                <a:gd name="connsiteY2" fmla="*/ 82993 h 691113"/>
                <a:gd name="connsiteX3" fmla="*/ 2663653 w 4776951"/>
                <a:gd name="connsiteY3" fmla="*/ 52131 h 691113"/>
                <a:gd name="connsiteX4" fmla="*/ 3547241 w 4776951"/>
                <a:gd name="connsiteY4" fmla="*/ 296961 h 691113"/>
                <a:gd name="connsiteX5" fmla="*/ 3988676 w 4776951"/>
                <a:gd name="connsiteY5" fmla="*/ 628036 h 691113"/>
                <a:gd name="connsiteX6" fmla="*/ 4776951 w 4776951"/>
                <a:gd name="connsiteY6" fmla="*/ 691099 h 691113"/>
                <a:gd name="connsiteX0" fmla="*/ 0 w 4776951"/>
                <a:gd name="connsiteY0" fmla="*/ 660518 h 707829"/>
                <a:gd name="connsiteX1" fmla="*/ 1830272 w 4776951"/>
                <a:gd name="connsiteY1" fmla="*/ 48645 h 707829"/>
                <a:gd name="connsiteX2" fmla="*/ 2663653 w 4776951"/>
                <a:gd name="connsiteY2" fmla="*/ 68847 h 707829"/>
                <a:gd name="connsiteX3" fmla="*/ 3547241 w 4776951"/>
                <a:gd name="connsiteY3" fmla="*/ 313677 h 707829"/>
                <a:gd name="connsiteX4" fmla="*/ 3988676 w 4776951"/>
                <a:gd name="connsiteY4" fmla="*/ 644752 h 707829"/>
                <a:gd name="connsiteX5" fmla="*/ 4776951 w 4776951"/>
                <a:gd name="connsiteY5" fmla="*/ 707815 h 707829"/>
                <a:gd name="connsiteX0" fmla="*/ 0 w 4776951"/>
                <a:gd name="connsiteY0" fmla="*/ 644574 h 691885"/>
                <a:gd name="connsiteX1" fmla="*/ 1830272 w 4776951"/>
                <a:gd name="connsiteY1" fmla="*/ 32701 h 691885"/>
                <a:gd name="connsiteX2" fmla="*/ 2663653 w 4776951"/>
                <a:gd name="connsiteY2" fmla="*/ 52903 h 691885"/>
                <a:gd name="connsiteX3" fmla="*/ 3547241 w 4776951"/>
                <a:gd name="connsiteY3" fmla="*/ 297733 h 691885"/>
                <a:gd name="connsiteX4" fmla="*/ 3988676 w 4776951"/>
                <a:gd name="connsiteY4" fmla="*/ 628808 h 691885"/>
                <a:gd name="connsiteX5" fmla="*/ 4776951 w 4776951"/>
                <a:gd name="connsiteY5" fmla="*/ 691871 h 691885"/>
                <a:gd name="connsiteX0" fmla="*/ 0 w 4776951"/>
                <a:gd name="connsiteY0" fmla="*/ 633378 h 680689"/>
                <a:gd name="connsiteX1" fmla="*/ 1830272 w 4776951"/>
                <a:gd name="connsiteY1" fmla="*/ 21505 h 680689"/>
                <a:gd name="connsiteX2" fmla="*/ 2663653 w 4776951"/>
                <a:gd name="connsiteY2" fmla="*/ 105575 h 680689"/>
                <a:gd name="connsiteX3" fmla="*/ 3547241 w 4776951"/>
                <a:gd name="connsiteY3" fmla="*/ 286537 h 680689"/>
                <a:gd name="connsiteX4" fmla="*/ 3988676 w 4776951"/>
                <a:gd name="connsiteY4" fmla="*/ 617612 h 680689"/>
                <a:gd name="connsiteX5" fmla="*/ 4776951 w 4776951"/>
                <a:gd name="connsiteY5" fmla="*/ 680675 h 680689"/>
                <a:gd name="connsiteX0" fmla="*/ 0 w 4776951"/>
                <a:gd name="connsiteY0" fmla="*/ 589353 h 636664"/>
                <a:gd name="connsiteX1" fmla="*/ 1851539 w 4776951"/>
                <a:gd name="connsiteY1" fmla="*/ 41348 h 636664"/>
                <a:gd name="connsiteX2" fmla="*/ 2663653 w 4776951"/>
                <a:gd name="connsiteY2" fmla="*/ 61550 h 636664"/>
                <a:gd name="connsiteX3" fmla="*/ 3547241 w 4776951"/>
                <a:gd name="connsiteY3" fmla="*/ 242512 h 636664"/>
                <a:gd name="connsiteX4" fmla="*/ 3988676 w 4776951"/>
                <a:gd name="connsiteY4" fmla="*/ 573587 h 636664"/>
                <a:gd name="connsiteX5" fmla="*/ 4776951 w 4776951"/>
                <a:gd name="connsiteY5" fmla="*/ 636650 h 636664"/>
                <a:gd name="connsiteX0" fmla="*/ 0 w 4776951"/>
                <a:gd name="connsiteY0" fmla="*/ 574645 h 621956"/>
                <a:gd name="connsiteX1" fmla="*/ 1851539 w 4776951"/>
                <a:gd name="connsiteY1" fmla="*/ 26640 h 621956"/>
                <a:gd name="connsiteX2" fmla="*/ 2653020 w 4776951"/>
                <a:gd name="connsiteY2" fmla="*/ 100066 h 621956"/>
                <a:gd name="connsiteX3" fmla="*/ 3547241 w 4776951"/>
                <a:gd name="connsiteY3" fmla="*/ 227804 h 621956"/>
                <a:gd name="connsiteX4" fmla="*/ 3988676 w 4776951"/>
                <a:gd name="connsiteY4" fmla="*/ 558879 h 621956"/>
                <a:gd name="connsiteX5" fmla="*/ 4776951 w 4776951"/>
                <a:gd name="connsiteY5" fmla="*/ 621942 h 621956"/>
                <a:gd name="connsiteX0" fmla="*/ 0 w 4776951"/>
                <a:gd name="connsiteY0" fmla="*/ 566445 h 613756"/>
                <a:gd name="connsiteX1" fmla="*/ 1851539 w 4776951"/>
                <a:gd name="connsiteY1" fmla="*/ 18440 h 613756"/>
                <a:gd name="connsiteX2" fmla="*/ 2653020 w 4776951"/>
                <a:gd name="connsiteY2" fmla="*/ 91866 h 613756"/>
                <a:gd name="connsiteX3" fmla="*/ 3547241 w 4776951"/>
                <a:gd name="connsiteY3" fmla="*/ 219604 h 613756"/>
                <a:gd name="connsiteX4" fmla="*/ 3988676 w 4776951"/>
                <a:gd name="connsiteY4" fmla="*/ 550679 h 613756"/>
                <a:gd name="connsiteX5" fmla="*/ 4776951 w 4776951"/>
                <a:gd name="connsiteY5" fmla="*/ 613742 h 613756"/>
                <a:gd name="connsiteX0" fmla="*/ 0 w 4776951"/>
                <a:gd name="connsiteY0" fmla="*/ 1532708 h 1580019"/>
                <a:gd name="connsiteX1" fmla="*/ 1851539 w 4776951"/>
                <a:gd name="connsiteY1" fmla="*/ 984703 h 1580019"/>
                <a:gd name="connsiteX2" fmla="*/ 2653020 w 4776951"/>
                <a:gd name="connsiteY2" fmla="*/ 1058129 h 1580019"/>
                <a:gd name="connsiteX3" fmla="*/ 4121418 w 4776951"/>
                <a:gd name="connsiteY3" fmla="*/ 4298 h 1580019"/>
                <a:gd name="connsiteX4" fmla="*/ 3988676 w 4776951"/>
                <a:gd name="connsiteY4" fmla="*/ 1516942 h 1580019"/>
                <a:gd name="connsiteX5" fmla="*/ 4776951 w 4776951"/>
                <a:gd name="connsiteY5" fmla="*/ 1580005 h 1580019"/>
                <a:gd name="connsiteX0" fmla="*/ 0 w 4776951"/>
                <a:gd name="connsiteY0" fmla="*/ 1532202 h 1579513"/>
                <a:gd name="connsiteX1" fmla="*/ 1851539 w 4776951"/>
                <a:gd name="connsiteY1" fmla="*/ 984197 h 1579513"/>
                <a:gd name="connsiteX2" fmla="*/ 2653020 w 4776951"/>
                <a:gd name="connsiteY2" fmla="*/ 1057623 h 1579513"/>
                <a:gd name="connsiteX3" fmla="*/ 4121418 w 4776951"/>
                <a:gd name="connsiteY3" fmla="*/ 3792 h 1579513"/>
                <a:gd name="connsiteX4" fmla="*/ 3988676 w 4776951"/>
                <a:gd name="connsiteY4" fmla="*/ 1516436 h 1579513"/>
                <a:gd name="connsiteX5" fmla="*/ 4776951 w 4776951"/>
                <a:gd name="connsiteY5" fmla="*/ 1579499 h 1579513"/>
                <a:gd name="connsiteX0" fmla="*/ 0 w 4776951"/>
                <a:gd name="connsiteY0" fmla="*/ 1533061 h 1580372"/>
                <a:gd name="connsiteX1" fmla="*/ 1851539 w 4776951"/>
                <a:gd name="connsiteY1" fmla="*/ 985056 h 1580372"/>
                <a:gd name="connsiteX2" fmla="*/ 2653020 w 4776951"/>
                <a:gd name="connsiteY2" fmla="*/ 1015902 h 1580372"/>
                <a:gd name="connsiteX3" fmla="*/ 4121418 w 4776951"/>
                <a:gd name="connsiteY3" fmla="*/ 4651 h 1580372"/>
                <a:gd name="connsiteX4" fmla="*/ 3988676 w 4776951"/>
                <a:gd name="connsiteY4" fmla="*/ 1517295 h 1580372"/>
                <a:gd name="connsiteX5" fmla="*/ 4776951 w 4776951"/>
                <a:gd name="connsiteY5" fmla="*/ 1580358 h 1580372"/>
                <a:gd name="connsiteX0" fmla="*/ 0 w 4776951"/>
                <a:gd name="connsiteY0" fmla="*/ 1523104 h 1570415"/>
                <a:gd name="connsiteX1" fmla="*/ 1851539 w 4776951"/>
                <a:gd name="connsiteY1" fmla="*/ 975099 h 1570415"/>
                <a:gd name="connsiteX2" fmla="*/ 2653020 w 4776951"/>
                <a:gd name="connsiteY2" fmla="*/ 1005945 h 1570415"/>
                <a:gd name="connsiteX3" fmla="*/ 4121418 w 4776951"/>
                <a:gd name="connsiteY3" fmla="*/ 5340 h 1570415"/>
                <a:gd name="connsiteX4" fmla="*/ 3988676 w 4776951"/>
                <a:gd name="connsiteY4" fmla="*/ 1507338 h 1570415"/>
                <a:gd name="connsiteX5" fmla="*/ 4776951 w 4776951"/>
                <a:gd name="connsiteY5" fmla="*/ 1570401 h 1570415"/>
                <a:gd name="connsiteX0" fmla="*/ 0 w 4776951"/>
                <a:gd name="connsiteY0" fmla="*/ 1520365 h 1567662"/>
                <a:gd name="connsiteX1" fmla="*/ 1851539 w 4776951"/>
                <a:gd name="connsiteY1" fmla="*/ 972360 h 1567662"/>
                <a:gd name="connsiteX2" fmla="*/ 2653020 w 4776951"/>
                <a:gd name="connsiteY2" fmla="*/ 1003206 h 1567662"/>
                <a:gd name="connsiteX3" fmla="*/ 4121418 w 4776951"/>
                <a:gd name="connsiteY3" fmla="*/ 2601 h 1567662"/>
                <a:gd name="connsiteX4" fmla="*/ 3659055 w 4776951"/>
                <a:gd name="connsiteY4" fmla="*/ 1344928 h 1567662"/>
                <a:gd name="connsiteX5" fmla="*/ 4776951 w 4776951"/>
                <a:gd name="connsiteY5" fmla="*/ 1567662 h 1567662"/>
                <a:gd name="connsiteX0" fmla="*/ 0 w 4143826"/>
                <a:gd name="connsiteY0" fmla="*/ 1520365 h 1631530"/>
                <a:gd name="connsiteX1" fmla="*/ 1851539 w 4143826"/>
                <a:gd name="connsiteY1" fmla="*/ 972360 h 1631530"/>
                <a:gd name="connsiteX2" fmla="*/ 2653020 w 4143826"/>
                <a:gd name="connsiteY2" fmla="*/ 1003206 h 1631530"/>
                <a:gd name="connsiteX3" fmla="*/ 4121418 w 4143826"/>
                <a:gd name="connsiteY3" fmla="*/ 2601 h 1631530"/>
                <a:gd name="connsiteX4" fmla="*/ 3659055 w 4143826"/>
                <a:gd name="connsiteY4" fmla="*/ 1344928 h 1631530"/>
                <a:gd name="connsiteX5" fmla="*/ 3809355 w 4143826"/>
                <a:gd name="connsiteY5" fmla="*/ 1631530 h 1631530"/>
                <a:gd name="connsiteX0" fmla="*/ 0 w 4169892"/>
                <a:gd name="connsiteY0" fmla="*/ 1525853 h 1637018"/>
                <a:gd name="connsiteX1" fmla="*/ 1851539 w 4169892"/>
                <a:gd name="connsiteY1" fmla="*/ 977848 h 1637018"/>
                <a:gd name="connsiteX2" fmla="*/ 2653020 w 4169892"/>
                <a:gd name="connsiteY2" fmla="*/ 1008694 h 1637018"/>
                <a:gd name="connsiteX3" fmla="*/ 4121418 w 4169892"/>
                <a:gd name="connsiteY3" fmla="*/ 8089 h 1637018"/>
                <a:gd name="connsiteX4" fmla="*/ 3809355 w 4169892"/>
                <a:gd name="connsiteY4" fmla="*/ 1637018 h 1637018"/>
                <a:gd name="connsiteX0" fmla="*/ 0 w 4135605"/>
                <a:gd name="connsiteY0" fmla="*/ 1527142 h 1691531"/>
                <a:gd name="connsiteX1" fmla="*/ 1851539 w 4135605"/>
                <a:gd name="connsiteY1" fmla="*/ 979137 h 1691531"/>
                <a:gd name="connsiteX2" fmla="*/ 2653020 w 4135605"/>
                <a:gd name="connsiteY2" fmla="*/ 1009983 h 1691531"/>
                <a:gd name="connsiteX3" fmla="*/ 4121418 w 4135605"/>
                <a:gd name="connsiteY3" fmla="*/ 9378 h 1691531"/>
                <a:gd name="connsiteX4" fmla="*/ 3415938 w 4135605"/>
                <a:gd name="connsiteY4" fmla="*/ 1691530 h 1691531"/>
                <a:gd name="connsiteX0" fmla="*/ 0 w 4134352"/>
                <a:gd name="connsiteY0" fmla="*/ 1527142 h 1691530"/>
                <a:gd name="connsiteX1" fmla="*/ 1851539 w 4134352"/>
                <a:gd name="connsiteY1" fmla="*/ 979137 h 1691530"/>
                <a:gd name="connsiteX2" fmla="*/ 2653020 w 4134352"/>
                <a:gd name="connsiteY2" fmla="*/ 1009983 h 1691530"/>
                <a:gd name="connsiteX3" fmla="*/ 4121418 w 4134352"/>
                <a:gd name="connsiteY3" fmla="*/ 9378 h 1691530"/>
                <a:gd name="connsiteX4" fmla="*/ 3415938 w 4134352"/>
                <a:gd name="connsiteY4" fmla="*/ 1691530 h 1691530"/>
                <a:gd name="connsiteX0" fmla="*/ 0 w 3415938"/>
                <a:gd name="connsiteY0" fmla="*/ 1225063 h 1389451"/>
                <a:gd name="connsiteX1" fmla="*/ 1851539 w 3415938"/>
                <a:gd name="connsiteY1" fmla="*/ 677058 h 1389451"/>
                <a:gd name="connsiteX2" fmla="*/ 2653020 w 3415938"/>
                <a:gd name="connsiteY2" fmla="*/ 707904 h 1389451"/>
                <a:gd name="connsiteX3" fmla="*/ 2928682 w 3415938"/>
                <a:gd name="connsiteY3" fmla="*/ 12449 h 1389451"/>
                <a:gd name="connsiteX4" fmla="*/ 3415938 w 3415938"/>
                <a:gd name="connsiteY4" fmla="*/ 1389451 h 1389451"/>
                <a:gd name="connsiteX0" fmla="*/ 0 w 3415938"/>
                <a:gd name="connsiteY0" fmla="*/ 1393827 h 1558215"/>
                <a:gd name="connsiteX1" fmla="*/ 1851539 w 3415938"/>
                <a:gd name="connsiteY1" fmla="*/ 845822 h 1558215"/>
                <a:gd name="connsiteX2" fmla="*/ 2480736 w 3415938"/>
                <a:gd name="connsiteY2" fmla="*/ 40822 h 1558215"/>
                <a:gd name="connsiteX3" fmla="*/ 2928682 w 3415938"/>
                <a:gd name="connsiteY3" fmla="*/ 181213 h 1558215"/>
                <a:gd name="connsiteX4" fmla="*/ 3415938 w 3415938"/>
                <a:gd name="connsiteY4" fmla="*/ 1558215 h 1558215"/>
                <a:gd name="connsiteX0" fmla="*/ 0 w 3415938"/>
                <a:gd name="connsiteY0" fmla="*/ 1360465 h 1524853"/>
                <a:gd name="connsiteX1" fmla="*/ 1851539 w 3415938"/>
                <a:gd name="connsiteY1" fmla="*/ 812460 h 1524853"/>
                <a:gd name="connsiteX2" fmla="*/ 2480736 w 3415938"/>
                <a:gd name="connsiteY2" fmla="*/ 7460 h 1524853"/>
                <a:gd name="connsiteX3" fmla="*/ 2835914 w 3415938"/>
                <a:gd name="connsiteY3" fmla="*/ 426467 h 1524853"/>
                <a:gd name="connsiteX4" fmla="*/ 3415938 w 3415938"/>
                <a:gd name="connsiteY4" fmla="*/ 1524853 h 1524853"/>
                <a:gd name="connsiteX0" fmla="*/ 0 w 3415938"/>
                <a:gd name="connsiteY0" fmla="*/ 1360465 h 1524853"/>
                <a:gd name="connsiteX1" fmla="*/ 1851539 w 3415938"/>
                <a:gd name="connsiteY1" fmla="*/ 812460 h 1524853"/>
                <a:gd name="connsiteX2" fmla="*/ 2480736 w 3415938"/>
                <a:gd name="connsiteY2" fmla="*/ 7460 h 1524853"/>
                <a:gd name="connsiteX3" fmla="*/ 2835914 w 3415938"/>
                <a:gd name="connsiteY3" fmla="*/ 426467 h 1524853"/>
                <a:gd name="connsiteX4" fmla="*/ 3415938 w 3415938"/>
                <a:gd name="connsiteY4" fmla="*/ 1524853 h 1524853"/>
                <a:gd name="connsiteX0" fmla="*/ 0 w 3256907"/>
                <a:gd name="connsiteY0" fmla="*/ 1360465 h 2082085"/>
                <a:gd name="connsiteX1" fmla="*/ 1851539 w 3256907"/>
                <a:gd name="connsiteY1" fmla="*/ 812460 h 2082085"/>
                <a:gd name="connsiteX2" fmla="*/ 2480736 w 3256907"/>
                <a:gd name="connsiteY2" fmla="*/ 7460 h 2082085"/>
                <a:gd name="connsiteX3" fmla="*/ 2835914 w 3256907"/>
                <a:gd name="connsiteY3" fmla="*/ 426467 h 2082085"/>
                <a:gd name="connsiteX4" fmla="*/ 3256907 w 3256907"/>
                <a:gd name="connsiteY4" fmla="*/ 2082085 h 2082085"/>
                <a:gd name="connsiteX0" fmla="*/ 0 w 3111128"/>
                <a:gd name="connsiteY0" fmla="*/ 1360465 h 1471784"/>
                <a:gd name="connsiteX1" fmla="*/ 1851539 w 3111128"/>
                <a:gd name="connsiteY1" fmla="*/ 812460 h 1471784"/>
                <a:gd name="connsiteX2" fmla="*/ 2480736 w 3111128"/>
                <a:gd name="connsiteY2" fmla="*/ 7460 h 1471784"/>
                <a:gd name="connsiteX3" fmla="*/ 2835914 w 3111128"/>
                <a:gd name="connsiteY3" fmla="*/ 426467 h 1471784"/>
                <a:gd name="connsiteX4" fmla="*/ 3111128 w 3111128"/>
                <a:gd name="connsiteY4" fmla="*/ 1471784 h 1471784"/>
                <a:gd name="connsiteX0" fmla="*/ 0 w 3058117"/>
                <a:gd name="connsiteY0" fmla="*/ 1360465 h 1361385"/>
                <a:gd name="connsiteX1" fmla="*/ 1851539 w 3058117"/>
                <a:gd name="connsiteY1" fmla="*/ 812460 h 1361385"/>
                <a:gd name="connsiteX2" fmla="*/ 2480736 w 3058117"/>
                <a:gd name="connsiteY2" fmla="*/ 7460 h 1361385"/>
                <a:gd name="connsiteX3" fmla="*/ 2835914 w 3058117"/>
                <a:gd name="connsiteY3" fmla="*/ 426467 h 1361385"/>
                <a:gd name="connsiteX4" fmla="*/ 3058117 w 3058117"/>
                <a:gd name="connsiteY4" fmla="*/ 1259505 h 1361385"/>
                <a:gd name="connsiteX0" fmla="*/ 0 w 3058117"/>
                <a:gd name="connsiteY0" fmla="*/ 1360465 h 1361385"/>
                <a:gd name="connsiteX1" fmla="*/ 1851539 w 3058117"/>
                <a:gd name="connsiteY1" fmla="*/ 812460 h 1361385"/>
                <a:gd name="connsiteX2" fmla="*/ 2480736 w 3058117"/>
                <a:gd name="connsiteY2" fmla="*/ 7460 h 1361385"/>
                <a:gd name="connsiteX3" fmla="*/ 2835914 w 3058117"/>
                <a:gd name="connsiteY3" fmla="*/ 426467 h 1361385"/>
                <a:gd name="connsiteX4" fmla="*/ 3058117 w 3058117"/>
                <a:gd name="connsiteY4" fmla="*/ 1259505 h 1361385"/>
                <a:gd name="connsiteX0" fmla="*/ 0 w 3137633"/>
                <a:gd name="connsiteY0" fmla="*/ 1360465 h 1445248"/>
                <a:gd name="connsiteX1" fmla="*/ 1851539 w 3137633"/>
                <a:gd name="connsiteY1" fmla="*/ 812460 h 1445248"/>
                <a:gd name="connsiteX2" fmla="*/ 2480736 w 3137633"/>
                <a:gd name="connsiteY2" fmla="*/ 7460 h 1445248"/>
                <a:gd name="connsiteX3" fmla="*/ 2835914 w 3137633"/>
                <a:gd name="connsiteY3" fmla="*/ 426467 h 1445248"/>
                <a:gd name="connsiteX4" fmla="*/ 3137633 w 3137633"/>
                <a:gd name="connsiteY4" fmla="*/ 1445248 h 1445248"/>
                <a:gd name="connsiteX0" fmla="*/ 25176 w 3162809"/>
                <a:gd name="connsiteY0" fmla="*/ 1949387 h 2034170"/>
                <a:gd name="connsiteX1" fmla="*/ 104125 w 3162809"/>
                <a:gd name="connsiteY1" fmla="*/ 49333 h 2034170"/>
                <a:gd name="connsiteX2" fmla="*/ 2505912 w 3162809"/>
                <a:gd name="connsiteY2" fmla="*/ 596382 h 2034170"/>
                <a:gd name="connsiteX3" fmla="*/ 2861090 w 3162809"/>
                <a:gd name="connsiteY3" fmla="*/ 1015389 h 2034170"/>
                <a:gd name="connsiteX4" fmla="*/ 3162809 w 3162809"/>
                <a:gd name="connsiteY4" fmla="*/ 2034170 h 2034170"/>
                <a:gd name="connsiteX0" fmla="*/ 47260 w 3184893"/>
                <a:gd name="connsiteY0" fmla="*/ 1920118 h 2004901"/>
                <a:gd name="connsiteX1" fmla="*/ 126209 w 3184893"/>
                <a:gd name="connsiteY1" fmla="*/ 20064 h 2004901"/>
                <a:gd name="connsiteX2" fmla="*/ 2883174 w 3184893"/>
                <a:gd name="connsiteY2" fmla="*/ 986120 h 2004901"/>
                <a:gd name="connsiteX3" fmla="*/ 3184893 w 3184893"/>
                <a:gd name="connsiteY3" fmla="*/ 2004901 h 2004901"/>
                <a:gd name="connsiteX0" fmla="*/ 66544 w 3204177"/>
                <a:gd name="connsiteY0" fmla="*/ 1900132 h 1984915"/>
                <a:gd name="connsiteX1" fmla="*/ 145493 w 3204177"/>
                <a:gd name="connsiteY1" fmla="*/ 78 h 1984915"/>
                <a:gd name="connsiteX2" fmla="*/ 3204177 w 3204177"/>
                <a:gd name="connsiteY2" fmla="*/ 1984915 h 1984915"/>
                <a:gd name="connsiteX0" fmla="*/ 0 w 1083679"/>
                <a:gd name="connsiteY0" fmla="*/ 2158867 h 2159071"/>
                <a:gd name="connsiteX1" fmla="*/ 78949 w 1083679"/>
                <a:gd name="connsiteY1" fmla="*/ 258813 h 2159071"/>
                <a:gd name="connsiteX2" fmla="*/ 1083679 w 1083679"/>
                <a:gd name="connsiteY2" fmla="*/ 285995 h 2159071"/>
                <a:gd name="connsiteX0" fmla="*/ 0 w 1083679"/>
                <a:gd name="connsiteY0" fmla="*/ 2071414 h 2071618"/>
                <a:gd name="connsiteX1" fmla="*/ 78949 w 1083679"/>
                <a:gd name="connsiteY1" fmla="*/ 171360 h 2071618"/>
                <a:gd name="connsiteX2" fmla="*/ 1083679 w 1083679"/>
                <a:gd name="connsiteY2" fmla="*/ 198542 h 2071618"/>
                <a:gd name="connsiteX0" fmla="*/ 0 w 1083679"/>
                <a:gd name="connsiteY0" fmla="*/ 1979147 h 1979326"/>
                <a:gd name="connsiteX1" fmla="*/ 78949 w 1083679"/>
                <a:gd name="connsiteY1" fmla="*/ 79093 h 1979326"/>
                <a:gd name="connsiteX2" fmla="*/ 1083679 w 1083679"/>
                <a:gd name="connsiteY2" fmla="*/ 106275 h 1979326"/>
                <a:gd name="connsiteX0" fmla="*/ 0 w 1196225"/>
                <a:gd name="connsiteY0" fmla="*/ 2097218 h 2097424"/>
                <a:gd name="connsiteX1" fmla="*/ 78949 w 1196225"/>
                <a:gd name="connsiteY1" fmla="*/ 197164 h 2097424"/>
                <a:gd name="connsiteX2" fmla="*/ 1196225 w 1196225"/>
                <a:gd name="connsiteY2" fmla="*/ 168011 h 2097424"/>
                <a:gd name="connsiteX0" fmla="*/ 0 w 1196225"/>
                <a:gd name="connsiteY0" fmla="*/ 2066974 h 2067179"/>
                <a:gd name="connsiteX1" fmla="*/ 78949 w 1196225"/>
                <a:gd name="connsiteY1" fmla="*/ 166920 h 2067179"/>
                <a:gd name="connsiteX2" fmla="*/ 1196225 w 1196225"/>
                <a:gd name="connsiteY2" fmla="*/ 137767 h 2067179"/>
                <a:gd name="connsiteX0" fmla="*/ 0 w 1196225"/>
                <a:gd name="connsiteY0" fmla="*/ 1989739 h 1989923"/>
                <a:gd name="connsiteX1" fmla="*/ 78949 w 1196225"/>
                <a:gd name="connsiteY1" fmla="*/ 89685 h 1989923"/>
                <a:gd name="connsiteX2" fmla="*/ 1196225 w 1196225"/>
                <a:gd name="connsiteY2" fmla="*/ 60532 h 1989923"/>
                <a:gd name="connsiteX0" fmla="*/ 10471 w 1206696"/>
                <a:gd name="connsiteY0" fmla="*/ 1989739 h 1989739"/>
                <a:gd name="connsiteX1" fmla="*/ 89420 w 1206696"/>
                <a:gd name="connsiteY1" fmla="*/ 89685 h 1989739"/>
                <a:gd name="connsiteX2" fmla="*/ 1206696 w 1206696"/>
                <a:gd name="connsiteY2" fmla="*/ 60532 h 1989739"/>
              </a:gdLst>
              <a:ahLst/>
              <a:cxnLst>
                <a:cxn ang="0">
                  <a:pos x="connsiteX0" y="connsiteY0"/>
                </a:cxn>
                <a:cxn ang="0">
                  <a:pos x="connsiteX1" y="connsiteY1"/>
                </a:cxn>
                <a:cxn ang="0">
                  <a:pos x="connsiteX2" y="connsiteY2"/>
                </a:cxn>
              </a:cxnLst>
              <a:rect l="l" t="t" r="r" b="b"/>
              <a:pathLst>
                <a:path w="1206696" h="1989739">
                  <a:moveTo>
                    <a:pt x="10471" y="1989739"/>
                  </a:moveTo>
                  <a:cubicBezTo>
                    <a:pt x="53623" y="799547"/>
                    <a:pt x="-81814" y="228129"/>
                    <a:pt x="89420" y="89685"/>
                  </a:cubicBezTo>
                  <a:cubicBezTo>
                    <a:pt x="260654" y="-48759"/>
                    <a:pt x="245901" y="-879"/>
                    <a:pt x="1206696" y="60532"/>
                  </a:cubicBezTo>
                </a:path>
              </a:pathLst>
            </a:custGeom>
            <a:noFill/>
            <a:ln w="57150" cap="flat" cmpd="sng" algn="ctr">
              <a:solidFill>
                <a:srgbClr val="00B05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latin typeface="+mn-lt"/>
              </a:endParaRPr>
            </a:p>
          </p:txBody>
        </p:sp>
        <p:sp>
          <p:nvSpPr>
            <p:cNvPr id="111" name="Text Box 35"/>
            <p:cNvSpPr txBox="1">
              <a:spLocks noChangeArrowheads="1"/>
            </p:cNvSpPr>
            <p:nvPr/>
          </p:nvSpPr>
          <p:spPr bwMode="auto">
            <a:xfrm>
              <a:off x="676387" y="6156552"/>
              <a:ext cx="2927665" cy="4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lvl="0" algn="ctr" defTabSz="685800" eaLnBrk="1" fontAlgn="auto" hangingPunct="1">
                <a:lnSpc>
                  <a:spcPct val="80000"/>
                </a:lnSpc>
                <a:spcBef>
                  <a:spcPct val="0"/>
                </a:spcBef>
                <a:spcAft>
                  <a:spcPts val="0"/>
                </a:spcAft>
                <a:buClrTx/>
                <a:buNone/>
                <a:defRPr/>
              </a:pPr>
              <a:r>
                <a:rPr lang="en-US" altLang="en-US" sz="1600">
                  <a:solidFill>
                    <a:srgbClr val="58585A"/>
                  </a:solidFill>
                  <a:ea typeface="MS PGothic" pitchFamily="34" charset="-128"/>
                </a:rPr>
                <a:t>A) Central and LBO through separate sessions (Existing)</a:t>
              </a:r>
              <a:endParaRPr lang="en-US" altLang="en-US" sz="1050">
                <a:solidFill>
                  <a:srgbClr val="58585A"/>
                </a:solidFill>
                <a:ea typeface="MS PGothic" pitchFamily="34" charset="-128"/>
              </a:endParaRPr>
            </a:p>
          </p:txBody>
        </p:sp>
        <p:sp>
          <p:nvSpPr>
            <p:cNvPr id="110" name="TextBox 109">
              <a:extLst>
                <a:ext uri="{FF2B5EF4-FFF2-40B4-BE49-F238E27FC236}">
                  <a16:creationId xmlns:a16="http://schemas.microsoft.com/office/drawing/2014/main" id="{A8DB637B-DB30-4C7D-90CB-2D90E06A1834}"/>
                </a:ext>
              </a:extLst>
            </p:cNvPr>
            <p:cNvSpPr txBox="1"/>
            <p:nvPr/>
          </p:nvSpPr>
          <p:spPr bwMode="auto">
            <a:xfrm>
              <a:off x="2049138" y="1285393"/>
              <a:ext cx="504070" cy="727490"/>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1200">
                  <a:solidFill>
                    <a:schemeClr val="accent3">
                      <a:lumMod val="75000"/>
                    </a:schemeClr>
                  </a:solidFill>
                  <a:latin typeface="Ericsson Hilda"/>
                </a:rPr>
                <a:t>SGW/</a:t>
              </a:r>
              <a:br>
                <a:rPr lang="en-US" sz="1200">
                  <a:solidFill>
                    <a:schemeClr val="accent3">
                      <a:lumMod val="75000"/>
                    </a:schemeClr>
                  </a:solidFill>
                  <a:latin typeface="Ericsson Hilda"/>
                </a:rPr>
              </a:br>
              <a:r>
                <a:rPr lang="en-US" sz="1200">
                  <a:solidFill>
                    <a:schemeClr val="accent3">
                      <a:lumMod val="75000"/>
                    </a:schemeClr>
                  </a:solidFill>
                  <a:latin typeface="Ericsson Hilda"/>
                </a:rPr>
                <a:t>PGW-C</a:t>
              </a:r>
              <a:endParaRPr kumimoji="0" lang="en-US" sz="105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grpSp>
      <p:grpSp>
        <p:nvGrpSpPr>
          <p:cNvPr id="27" name="Group 26">
            <a:extLst>
              <a:ext uri="{FF2B5EF4-FFF2-40B4-BE49-F238E27FC236}">
                <a16:creationId xmlns:a16="http://schemas.microsoft.com/office/drawing/2014/main" id="{97037490-95F7-4EAE-B83D-50CC55A07EB2}"/>
              </a:ext>
            </a:extLst>
          </p:cNvPr>
          <p:cNvGrpSpPr/>
          <p:nvPr/>
        </p:nvGrpSpPr>
        <p:grpSpPr>
          <a:xfrm>
            <a:off x="3537285" y="1283877"/>
            <a:ext cx="4848726" cy="5363099"/>
            <a:chOff x="3537285" y="1283877"/>
            <a:chExt cx="4848726" cy="5363099"/>
          </a:xfrm>
        </p:grpSpPr>
        <p:sp>
          <p:nvSpPr>
            <p:cNvPr id="112" name="Text Box 35"/>
            <p:cNvSpPr txBox="1">
              <a:spLocks noChangeArrowheads="1"/>
            </p:cNvSpPr>
            <p:nvPr/>
          </p:nvSpPr>
          <p:spPr bwMode="auto">
            <a:xfrm>
              <a:off x="3537285" y="6160689"/>
              <a:ext cx="4848726" cy="4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lvl="0" defTabSz="685800" eaLnBrk="1" fontAlgn="auto" hangingPunct="1">
                <a:lnSpc>
                  <a:spcPct val="80000"/>
                </a:lnSpc>
                <a:spcBef>
                  <a:spcPct val="0"/>
                </a:spcBef>
                <a:spcAft>
                  <a:spcPts val="0"/>
                </a:spcAft>
                <a:buClrTx/>
                <a:buNone/>
                <a:defRPr/>
              </a:pPr>
              <a:r>
                <a:rPr lang="en-US" altLang="en-US" sz="1600">
                  <a:solidFill>
                    <a:srgbClr val="58585A"/>
                  </a:solidFill>
                  <a:ea typeface="MS PGothic" pitchFamily="34" charset="-128"/>
                </a:rPr>
                <a:t>B) LBO through per flow selection.</a:t>
              </a:r>
              <a:br>
                <a:rPr lang="en-US" altLang="en-US" sz="1600">
                  <a:solidFill>
                    <a:srgbClr val="58585A"/>
                  </a:solidFill>
                  <a:ea typeface="MS PGothic" pitchFamily="34" charset="-128"/>
                </a:rPr>
              </a:br>
              <a:r>
                <a:rPr lang="en-US" altLang="en-US" sz="1600">
                  <a:solidFill>
                    <a:srgbClr val="58585A"/>
                  </a:solidFill>
                  <a:ea typeface="MS PGothic" pitchFamily="34" charset="-128"/>
                </a:rPr>
                <a:t>A combination of central anchoring and local offload.</a:t>
              </a:r>
              <a:endParaRPr lang="en-US" altLang="en-US" sz="1050">
                <a:solidFill>
                  <a:srgbClr val="58585A"/>
                </a:solidFill>
                <a:ea typeface="MS PGothic" pitchFamily="34" charset="-128"/>
              </a:endParaRPr>
            </a:p>
          </p:txBody>
        </p:sp>
        <p:grpSp>
          <p:nvGrpSpPr>
            <p:cNvPr id="5" name="Group 4">
              <a:extLst>
                <a:ext uri="{FF2B5EF4-FFF2-40B4-BE49-F238E27FC236}">
                  <a16:creationId xmlns:a16="http://schemas.microsoft.com/office/drawing/2014/main" id="{852ECFD8-5ADA-4DFF-BCC2-966228485CDC}"/>
                </a:ext>
              </a:extLst>
            </p:cNvPr>
            <p:cNvGrpSpPr/>
            <p:nvPr/>
          </p:nvGrpSpPr>
          <p:grpSpPr>
            <a:xfrm>
              <a:off x="4405686" y="1283877"/>
              <a:ext cx="2231074" cy="4881312"/>
              <a:chOff x="4405686" y="1283877"/>
              <a:chExt cx="2231074" cy="4881312"/>
            </a:xfrm>
          </p:grpSpPr>
          <p:sp>
            <p:nvSpPr>
              <p:cNvPr id="134" name="Subtitle 7">
                <a:extLst>
                  <a:ext uri="{FF2B5EF4-FFF2-40B4-BE49-F238E27FC236}">
                    <a16:creationId xmlns:a16="http://schemas.microsoft.com/office/drawing/2014/main" id="{C8A0B576-B26A-4817-8CC4-0596D5A37201}"/>
                  </a:ext>
                </a:extLst>
              </p:cNvPr>
              <p:cNvSpPr txBox="1">
                <a:spLocks noChangeAspect="1"/>
              </p:cNvSpPr>
              <p:nvPr/>
            </p:nvSpPr>
            <p:spPr>
              <a:xfrm>
                <a:off x="4433499" y="2888160"/>
                <a:ext cx="470512" cy="667123"/>
              </a:xfrm>
              <a:prstGeom prst="rect">
                <a:avLst/>
              </a:prstGeom>
              <a:solidFill>
                <a:schemeClr val="bg1"/>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indent="0" algn="ctr">
                  <a:lnSpc>
                    <a:spcPct val="100000"/>
                  </a:lnSpc>
                  <a:buClr>
                    <a:schemeClr val="tx1"/>
                  </a:buClr>
                  <a:buNone/>
                </a:pPr>
                <a:r>
                  <a:rPr lang="en-US" sz="1200">
                    <a:latin typeface="Ericsson Technical Icons" panose="00000500000000000000" pitchFamily="2" charset="0"/>
                  </a:rPr>
                  <a:t>r</a:t>
                </a:r>
                <a:br>
                  <a:rPr lang="en-US" sz="1200">
                    <a:latin typeface="Ericsson Technical Icons" panose="00000500000000000000" pitchFamily="2" charset="0"/>
                  </a:rPr>
                </a:br>
                <a:r>
                  <a:rPr lang="en-US" sz="1200">
                    <a:latin typeface="Ericsson Technical Icons" panose="00000500000000000000" pitchFamily="2" charset="0"/>
                  </a:rPr>
                  <a:t>o</a:t>
                </a:r>
              </a:p>
              <a:p>
                <a:pPr marL="0" indent="0" algn="ctr">
                  <a:lnSpc>
                    <a:spcPct val="100000"/>
                  </a:lnSpc>
                  <a:buClr>
                    <a:schemeClr val="tx1"/>
                  </a:buClr>
                  <a:buNone/>
                </a:pPr>
                <a:r>
                  <a:rPr lang="en-US" sz="1200">
                    <a:latin typeface="Ericsson Hilda" panose="00000500000000000000" pitchFamily="2" charset="0"/>
                  </a:rPr>
                  <a:t>TN BH</a:t>
                </a:r>
                <a:endParaRPr lang="en-US" sz="800">
                  <a:latin typeface="Ericsson Hilda" pitchFamily="2" charset="0"/>
                </a:endParaRPr>
              </a:p>
            </p:txBody>
          </p:sp>
          <p:sp>
            <p:nvSpPr>
              <p:cNvPr id="125" name="TextBox 124">
                <a:extLst>
                  <a:ext uri="{FF2B5EF4-FFF2-40B4-BE49-F238E27FC236}">
                    <a16:creationId xmlns:a16="http://schemas.microsoft.com/office/drawing/2014/main" id="{31E031AE-1478-4A59-A5E1-3192604CB3FA}"/>
                  </a:ext>
                </a:extLst>
              </p:cNvPr>
              <p:cNvSpPr txBox="1"/>
              <p:nvPr/>
            </p:nvSpPr>
            <p:spPr bwMode="auto">
              <a:xfrm>
                <a:off x="4453029" y="3684577"/>
                <a:ext cx="427989" cy="61846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lang="en-US" sz="900">
                  <a:solidFill>
                    <a:schemeClr val="accent3">
                      <a:lumMod val="75000"/>
                    </a:schemeClr>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chemeClr val="accent3">
                        <a:lumMod val="75000"/>
                      </a:schemeClr>
                    </a:solidFill>
                    <a:effectLst/>
                    <a:uLnTx/>
                    <a:uFillTx/>
                    <a:latin typeface="Ericsson Hilda"/>
                    <a:ea typeface="+mn-ea"/>
                    <a:cs typeface="+mn-cs"/>
                  </a:rPr>
                  <a:t>UPF</a:t>
                </a:r>
                <a:endParaRPr kumimoji="0" lang="en-US" sz="105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sp>
            <p:nvSpPr>
              <p:cNvPr id="124" name="TextBox 123">
                <a:extLst>
                  <a:ext uri="{FF2B5EF4-FFF2-40B4-BE49-F238E27FC236}">
                    <a16:creationId xmlns:a16="http://schemas.microsoft.com/office/drawing/2014/main" id="{FC45A51D-2BCE-45CF-885E-6DC110B03822}"/>
                  </a:ext>
                </a:extLst>
              </p:cNvPr>
              <p:cNvSpPr txBox="1"/>
              <p:nvPr/>
            </p:nvSpPr>
            <p:spPr bwMode="auto">
              <a:xfrm>
                <a:off x="4405686" y="4469646"/>
                <a:ext cx="538798" cy="775300"/>
              </a:xfrm>
              <a:prstGeom prst="rect">
                <a:avLst/>
              </a:prstGeom>
              <a:solidFill>
                <a:schemeClr val="bg1"/>
              </a:solidFill>
              <a:ln w="1905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chemeClr val="accent3">
                        <a:lumMod val="75000"/>
                      </a:schemeClr>
                    </a:solidFill>
                    <a:effectLst/>
                    <a:uLnTx/>
                    <a:uFillTx/>
                    <a:latin typeface="Ericsson Hilda"/>
                    <a:ea typeface="+mn-ea"/>
                    <a:cs typeface="+mn-cs"/>
                  </a:rPr>
                  <a:t>NG-RAN</a:t>
                </a:r>
              </a:p>
            </p:txBody>
          </p:sp>
          <p:sp>
            <p:nvSpPr>
              <p:cNvPr id="122" name="TextBox 121">
                <a:extLst>
                  <a:ext uri="{FF2B5EF4-FFF2-40B4-BE49-F238E27FC236}">
                    <a16:creationId xmlns:a16="http://schemas.microsoft.com/office/drawing/2014/main" id="{FE0065C6-185B-4C43-A66E-65625B98A8FC}"/>
                  </a:ext>
                </a:extLst>
              </p:cNvPr>
              <p:cNvSpPr txBox="1"/>
              <p:nvPr/>
            </p:nvSpPr>
            <p:spPr bwMode="auto">
              <a:xfrm>
                <a:off x="4453029" y="2102718"/>
                <a:ext cx="427989" cy="618466"/>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G</a:t>
                </a:r>
                <a:endParaRPr kumimoji="0" lang="en-US" sz="18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lang="en-US" sz="900">
                  <a:solidFill>
                    <a:schemeClr val="accent3">
                      <a:lumMod val="75000"/>
                    </a:schemeClr>
                  </a:solidFill>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solidFill>
                      <a:schemeClr val="accent3">
                        <a:lumMod val="75000"/>
                      </a:schemeClr>
                    </a:solidFill>
                    <a:effectLst/>
                    <a:uLnTx/>
                    <a:uFillTx/>
                    <a:latin typeface="Ericsson Hilda"/>
                    <a:ea typeface="+mn-ea"/>
                    <a:cs typeface="+mn-cs"/>
                  </a:rPr>
                  <a:t>UPF</a:t>
                </a:r>
                <a:endParaRPr kumimoji="0" lang="en-US" sz="1050" b="0" i="0" u="none" strike="noStrike" kern="1200" cap="none" spc="0" normalizeH="0" baseline="0" noProof="0">
                  <a:ln>
                    <a:noFill/>
                  </a:ln>
                  <a:solidFill>
                    <a:schemeClr val="accent3">
                      <a:lumMod val="75000"/>
                    </a:schemeClr>
                  </a:solidFill>
                  <a:effectLst/>
                  <a:uLnTx/>
                  <a:uFillTx/>
                  <a:latin typeface="Ericsson Hilda"/>
                  <a:ea typeface="+mn-ea"/>
                  <a:cs typeface="+mn-cs"/>
                </a:endParaRPr>
              </a:p>
            </p:txBody>
          </p:sp>
          <p:sp>
            <p:nvSpPr>
              <p:cNvPr id="101" name="Freeform 28"/>
              <p:cNvSpPr>
                <a:spLocks noChangeAspect="1" noEditPoints="1"/>
              </p:cNvSpPr>
              <p:nvPr/>
            </p:nvSpPr>
            <p:spPr bwMode="auto">
              <a:xfrm>
                <a:off x="4519405" y="5554605"/>
                <a:ext cx="352634" cy="610584"/>
              </a:xfrm>
              <a:custGeom>
                <a:avLst/>
                <a:gdLst>
                  <a:gd name="T0" fmla="*/ 312618 w 275"/>
                  <a:gd name="T1" fmla="*/ 84713 h 503"/>
                  <a:gd name="T2" fmla="*/ 303345 w 275"/>
                  <a:gd name="T3" fmla="*/ 80742 h 503"/>
                  <a:gd name="T4" fmla="*/ 60934 w 275"/>
                  <a:gd name="T5" fmla="*/ 80742 h 503"/>
                  <a:gd name="T6" fmla="*/ 50337 w 275"/>
                  <a:gd name="T7" fmla="*/ 84713 h 503"/>
                  <a:gd name="T8" fmla="*/ 39740 w 275"/>
                  <a:gd name="T9" fmla="*/ 529455 h 503"/>
                  <a:gd name="T10" fmla="*/ 64908 w 275"/>
                  <a:gd name="T11" fmla="*/ 555928 h 503"/>
                  <a:gd name="T12" fmla="*/ 298046 w 275"/>
                  <a:gd name="T13" fmla="*/ 555928 h 503"/>
                  <a:gd name="T14" fmla="*/ 323215 w 275"/>
                  <a:gd name="T15" fmla="*/ 529455 h 503"/>
                  <a:gd name="T16" fmla="*/ 302020 w 275"/>
                  <a:gd name="T17" fmla="*/ 529455 h 503"/>
                  <a:gd name="T18" fmla="*/ 298046 w 275"/>
                  <a:gd name="T19" fmla="*/ 534750 h 503"/>
                  <a:gd name="T20" fmla="*/ 181477 w 275"/>
                  <a:gd name="T21" fmla="*/ 536073 h 503"/>
                  <a:gd name="T22" fmla="*/ 62259 w 275"/>
                  <a:gd name="T23" fmla="*/ 533426 h 503"/>
                  <a:gd name="T24" fmla="*/ 60934 w 275"/>
                  <a:gd name="T25" fmla="*/ 103244 h 503"/>
                  <a:gd name="T26" fmla="*/ 63583 w 275"/>
                  <a:gd name="T27" fmla="*/ 101920 h 503"/>
                  <a:gd name="T28" fmla="*/ 260956 w 275"/>
                  <a:gd name="T29" fmla="*/ 99273 h 503"/>
                  <a:gd name="T30" fmla="*/ 302020 w 275"/>
                  <a:gd name="T31" fmla="*/ 103244 h 503"/>
                  <a:gd name="T32" fmla="*/ 302020 w 275"/>
                  <a:gd name="T33" fmla="*/ 529455 h 503"/>
                  <a:gd name="T34" fmla="*/ 136439 w 275"/>
                  <a:gd name="T35" fmla="*/ 615492 h 503"/>
                  <a:gd name="T36" fmla="*/ 217243 w 275"/>
                  <a:gd name="T37" fmla="*/ 626081 h 503"/>
                  <a:gd name="T38" fmla="*/ 217243 w 275"/>
                  <a:gd name="T39" fmla="*/ 604903 h 503"/>
                  <a:gd name="T40" fmla="*/ 311293 w 275"/>
                  <a:gd name="T41" fmla="*/ 592990 h 503"/>
                  <a:gd name="T42" fmla="*/ 241086 w 275"/>
                  <a:gd name="T43" fmla="*/ 615492 h 503"/>
                  <a:gd name="T44" fmla="*/ 253008 w 275"/>
                  <a:gd name="T45" fmla="*/ 623434 h 503"/>
                  <a:gd name="T46" fmla="*/ 323215 w 275"/>
                  <a:gd name="T47" fmla="*/ 600932 h 503"/>
                  <a:gd name="T48" fmla="*/ 51661 w 275"/>
                  <a:gd name="T49" fmla="*/ 592990 h 503"/>
                  <a:gd name="T50" fmla="*/ 49012 w 275"/>
                  <a:gd name="T51" fmla="*/ 612844 h 503"/>
                  <a:gd name="T52" fmla="*/ 111271 w 275"/>
                  <a:gd name="T53" fmla="*/ 623434 h 503"/>
                  <a:gd name="T54" fmla="*/ 113920 w 275"/>
                  <a:gd name="T55" fmla="*/ 602255 h 503"/>
                  <a:gd name="T56" fmla="*/ 352357 w 275"/>
                  <a:gd name="T57" fmla="*/ 131040 h 503"/>
                  <a:gd name="T58" fmla="*/ 341760 w 275"/>
                  <a:gd name="T59" fmla="*/ 631375 h 503"/>
                  <a:gd name="T60" fmla="*/ 333812 w 275"/>
                  <a:gd name="T61" fmla="*/ 640641 h 503"/>
                  <a:gd name="T62" fmla="*/ 332487 w 275"/>
                  <a:gd name="T63" fmla="*/ 641965 h 503"/>
                  <a:gd name="T64" fmla="*/ 30467 w 275"/>
                  <a:gd name="T65" fmla="*/ 641965 h 503"/>
                  <a:gd name="T66" fmla="*/ 21194 w 275"/>
                  <a:gd name="T67" fmla="*/ 631375 h 503"/>
                  <a:gd name="T68" fmla="*/ 23844 w 275"/>
                  <a:gd name="T69" fmla="*/ 30444 h 503"/>
                  <a:gd name="T70" fmla="*/ 26493 w 275"/>
                  <a:gd name="T71" fmla="*/ 29120 h 503"/>
                  <a:gd name="T72" fmla="*/ 116569 w 275"/>
                  <a:gd name="T73" fmla="*/ 23825 h 503"/>
                  <a:gd name="T74" fmla="*/ 246385 w 275"/>
                  <a:gd name="T75" fmla="*/ 23825 h 503"/>
                  <a:gd name="T76" fmla="*/ 340435 w 275"/>
                  <a:gd name="T77" fmla="*/ 30444 h 503"/>
                  <a:gd name="T78" fmla="*/ 341760 w 275"/>
                  <a:gd name="T79" fmla="*/ 91331 h 503"/>
                  <a:gd name="T80" fmla="*/ 362954 w 275"/>
                  <a:gd name="T81" fmla="*/ 91331 h 503"/>
                  <a:gd name="T82" fmla="*/ 362954 w 275"/>
                  <a:gd name="T83" fmla="*/ 33091 h 503"/>
                  <a:gd name="T84" fmla="*/ 340435 w 275"/>
                  <a:gd name="T85" fmla="*/ 7942 h 503"/>
                  <a:gd name="T86" fmla="*/ 181477 w 275"/>
                  <a:gd name="T87" fmla="*/ 0 h 503"/>
                  <a:gd name="T88" fmla="*/ 22519 w 275"/>
                  <a:gd name="T89" fmla="*/ 7942 h 503"/>
                  <a:gd name="T90" fmla="*/ 0 w 275"/>
                  <a:gd name="T91" fmla="*/ 33091 h 503"/>
                  <a:gd name="T92" fmla="*/ 15896 w 275"/>
                  <a:gd name="T93" fmla="*/ 659172 h 503"/>
                  <a:gd name="T94" fmla="*/ 181477 w 275"/>
                  <a:gd name="T95" fmla="*/ 665790 h 503"/>
                  <a:gd name="T96" fmla="*/ 347059 w 275"/>
                  <a:gd name="T97" fmla="*/ 659172 h 503"/>
                  <a:gd name="T98" fmla="*/ 362954 w 275"/>
                  <a:gd name="T99" fmla="*/ 141629 h 503"/>
                  <a:gd name="T100" fmla="*/ 181477 w 275"/>
                  <a:gd name="T101" fmla="*/ 21178 h 503"/>
                  <a:gd name="T102" fmla="*/ 181477 w 275"/>
                  <a:gd name="T103" fmla="*/ 35738 h 503"/>
                  <a:gd name="T104" fmla="*/ 181477 w 275"/>
                  <a:gd name="T105" fmla="*/ 21178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1"/>
              </a:solidFill>
              <a:ln w="12700">
                <a:noFill/>
                <a:round/>
                <a:headEnd/>
                <a:tailEnd/>
              </a:ln>
            </p:spPr>
            <p:txBody>
              <a:bodyPr/>
              <a:lstStyle/>
              <a:p>
                <a:pPr algn="ctr">
                  <a:spcBef>
                    <a:spcPts val="0"/>
                  </a:spcBef>
                </a:pPr>
                <a:endParaRPr lang="en-US" sz="1200">
                  <a:latin typeface="+mn-lt"/>
                </a:endParaRPr>
              </a:p>
            </p:txBody>
          </p:sp>
          <p:sp>
            <p:nvSpPr>
              <p:cNvPr id="102" name="Freeform 3"/>
              <p:cNvSpPr>
                <a:spLocks noChangeAspect="1"/>
              </p:cNvSpPr>
              <p:nvPr/>
            </p:nvSpPr>
            <p:spPr bwMode="auto">
              <a:xfrm>
                <a:off x="5133358" y="2201136"/>
                <a:ext cx="611196" cy="38787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103" name="Freeform 3"/>
              <p:cNvSpPr>
                <a:spLocks noChangeAspect="1"/>
              </p:cNvSpPr>
              <p:nvPr/>
            </p:nvSpPr>
            <p:spPr bwMode="auto">
              <a:xfrm>
                <a:off x="5133358" y="3763688"/>
                <a:ext cx="611196" cy="38787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108" name="Freeform 14335"/>
              <p:cNvSpPr>
                <a:spLocks/>
              </p:cNvSpPr>
              <p:nvPr/>
            </p:nvSpPr>
            <p:spPr bwMode="auto">
              <a:xfrm>
                <a:off x="4572258" y="2270635"/>
                <a:ext cx="1496263" cy="3628514"/>
              </a:xfrm>
              <a:custGeom>
                <a:avLst/>
                <a:gdLst>
                  <a:gd name="T0" fmla="*/ 0 w 4776951"/>
                  <a:gd name="T1" fmla="*/ 345649 h 394152"/>
                  <a:gd name="T2" fmla="*/ 1702502 w 4776951"/>
                  <a:gd name="T3" fmla="*/ 329937 h 394152"/>
                  <a:gd name="T4" fmla="*/ 2270000 w 4776951"/>
                  <a:gd name="T5" fmla="*/ 0 h 394152"/>
                  <a:gd name="T6" fmla="*/ 3546875 w 4776951"/>
                  <a:gd name="T7" fmla="*/ 0 h 394152"/>
                  <a:gd name="T8" fmla="*/ 3988265 w 4776951"/>
                  <a:gd name="T9" fmla="*/ 329937 h 394152"/>
                  <a:gd name="T10" fmla="*/ 4776459 w 4776951"/>
                  <a:gd name="T11" fmla="*/ 392784 h 394152"/>
                  <a:gd name="T12" fmla="*/ 4776459 w 4776951"/>
                  <a:gd name="T13" fmla="*/ 392784 h 394152"/>
                  <a:gd name="T14" fmla="*/ 0 60000 65536"/>
                  <a:gd name="T15" fmla="*/ 0 60000 65536"/>
                  <a:gd name="T16" fmla="*/ 0 60000 65536"/>
                  <a:gd name="T17" fmla="*/ 0 60000 65536"/>
                  <a:gd name="T18" fmla="*/ 0 60000 65536"/>
                  <a:gd name="T19" fmla="*/ 0 60000 65536"/>
                  <a:gd name="T20" fmla="*/ 0 60000 65536"/>
                  <a:gd name="connsiteX0" fmla="*/ 0 w 4776951"/>
                  <a:gd name="connsiteY0" fmla="*/ 492499 h 539810"/>
                  <a:gd name="connsiteX1" fmla="*/ 1125882 w 4776951"/>
                  <a:gd name="connsiteY1" fmla="*/ 11966 h 539810"/>
                  <a:gd name="connsiteX2" fmla="*/ 2270234 w 4776951"/>
                  <a:gd name="connsiteY2" fmla="*/ 145658 h 539810"/>
                  <a:gd name="connsiteX3" fmla="*/ 3547241 w 4776951"/>
                  <a:gd name="connsiteY3" fmla="*/ 145658 h 539810"/>
                  <a:gd name="connsiteX4" fmla="*/ 3988676 w 4776951"/>
                  <a:gd name="connsiteY4" fmla="*/ 476733 h 539810"/>
                  <a:gd name="connsiteX5" fmla="*/ 4776951 w 4776951"/>
                  <a:gd name="connsiteY5" fmla="*/ 539796 h 539810"/>
                  <a:gd name="connsiteX0" fmla="*/ 0 w 4776951"/>
                  <a:gd name="connsiteY0" fmla="*/ 606173 h 653484"/>
                  <a:gd name="connsiteX1" fmla="*/ 1125882 w 4776951"/>
                  <a:gd name="connsiteY1" fmla="*/ 125640 h 653484"/>
                  <a:gd name="connsiteX2" fmla="*/ 2326507 w 4776951"/>
                  <a:gd name="connsiteY2" fmla="*/ 5822 h 653484"/>
                  <a:gd name="connsiteX3" fmla="*/ 3547241 w 4776951"/>
                  <a:gd name="connsiteY3" fmla="*/ 259332 h 653484"/>
                  <a:gd name="connsiteX4" fmla="*/ 3988676 w 4776951"/>
                  <a:gd name="connsiteY4" fmla="*/ 590407 h 653484"/>
                  <a:gd name="connsiteX5" fmla="*/ 4776951 w 4776951"/>
                  <a:gd name="connsiteY5" fmla="*/ 653470 h 653484"/>
                  <a:gd name="connsiteX0" fmla="*/ 0 w 4776951"/>
                  <a:gd name="connsiteY0" fmla="*/ 600508 h 647819"/>
                  <a:gd name="connsiteX1" fmla="*/ 1125882 w 4776951"/>
                  <a:gd name="connsiteY1" fmla="*/ 119975 h 647819"/>
                  <a:gd name="connsiteX2" fmla="*/ 2326507 w 4776951"/>
                  <a:gd name="connsiteY2" fmla="*/ 157 h 647819"/>
                  <a:gd name="connsiteX3" fmla="*/ 3547241 w 4776951"/>
                  <a:gd name="connsiteY3" fmla="*/ 253667 h 647819"/>
                  <a:gd name="connsiteX4" fmla="*/ 3988676 w 4776951"/>
                  <a:gd name="connsiteY4" fmla="*/ 584742 h 647819"/>
                  <a:gd name="connsiteX5" fmla="*/ 4776951 w 4776951"/>
                  <a:gd name="connsiteY5" fmla="*/ 647805 h 647819"/>
                  <a:gd name="connsiteX0" fmla="*/ 0 w 4776951"/>
                  <a:gd name="connsiteY0" fmla="*/ 611326 h 658637"/>
                  <a:gd name="connsiteX1" fmla="*/ 1125882 w 4776951"/>
                  <a:gd name="connsiteY1" fmla="*/ 130793 h 658637"/>
                  <a:gd name="connsiteX2" fmla="*/ 2326507 w 4776951"/>
                  <a:gd name="connsiteY2" fmla="*/ 10975 h 658637"/>
                  <a:gd name="connsiteX3" fmla="*/ 3547241 w 4776951"/>
                  <a:gd name="connsiteY3" fmla="*/ 264485 h 658637"/>
                  <a:gd name="connsiteX4" fmla="*/ 3988676 w 4776951"/>
                  <a:gd name="connsiteY4" fmla="*/ 595560 h 658637"/>
                  <a:gd name="connsiteX5" fmla="*/ 4776951 w 4776951"/>
                  <a:gd name="connsiteY5" fmla="*/ 658623 h 658637"/>
                  <a:gd name="connsiteX0" fmla="*/ 0 w 4776951"/>
                  <a:gd name="connsiteY0" fmla="*/ 2210706 h 2258017"/>
                  <a:gd name="connsiteX1" fmla="*/ 1125882 w 4776951"/>
                  <a:gd name="connsiteY1" fmla="*/ 1730173 h 2258017"/>
                  <a:gd name="connsiteX2" fmla="*/ 2326507 w 4776951"/>
                  <a:gd name="connsiteY2" fmla="*/ 1610355 h 2258017"/>
                  <a:gd name="connsiteX3" fmla="*/ 4011491 w 4776951"/>
                  <a:gd name="connsiteY3" fmla="*/ 4798 h 2258017"/>
                  <a:gd name="connsiteX4" fmla="*/ 3988676 w 4776951"/>
                  <a:gd name="connsiteY4" fmla="*/ 2194940 h 2258017"/>
                  <a:gd name="connsiteX5" fmla="*/ 4776951 w 4776951"/>
                  <a:gd name="connsiteY5" fmla="*/ 2258003 h 2258017"/>
                  <a:gd name="connsiteX0" fmla="*/ 0 w 5320051"/>
                  <a:gd name="connsiteY0" fmla="*/ 2264214 h 2311511"/>
                  <a:gd name="connsiteX1" fmla="*/ 1125882 w 5320051"/>
                  <a:gd name="connsiteY1" fmla="*/ 1783681 h 2311511"/>
                  <a:gd name="connsiteX2" fmla="*/ 2326507 w 5320051"/>
                  <a:gd name="connsiteY2" fmla="*/ 1663863 h 2311511"/>
                  <a:gd name="connsiteX3" fmla="*/ 4011491 w 5320051"/>
                  <a:gd name="connsiteY3" fmla="*/ 58306 h 2311511"/>
                  <a:gd name="connsiteX4" fmla="*/ 5282948 w 5320051"/>
                  <a:gd name="connsiteY4" fmla="*/ 361214 h 2311511"/>
                  <a:gd name="connsiteX5" fmla="*/ 4776951 w 5320051"/>
                  <a:gd name="connsiteY5" fmla="*/ 2311511 h 2311511"/>
                  <a:gd name="connsiteX0" fmla="*/ 0 w 8364336"/>
                  <a:gd name="connsiteY0" fmla="*/ 2318787 h 2319581"/>
                  <a:gd name="connsiteX1" fmla="*/ 1125882 w 8364336"/>
                  <a:gd name="connsiteY1" fmla="*/ 1838254 h 2319581"/>
                  <a:gd name="connsiteX2" fmla="*/ 2326507 w 8364336"/>
                  <a:gd name="connsiteY2" fmla="*/ 1718436 h 2319581"/>
                  <a:gd name="connsiteX3" fmla="*/ 4011491 w 8364336"/>
                  <a:gd name="connsiteY3" fmla="*/ 112879 h 2319581"/>
                  <a:gd name="connsiteX4" fmla="*/ 5282948 w 8364336"/>
                  <a:gd name="connsiteY4" fmla="*/ 415787 h 2319581"/>
                  <a:gd name="connsiteX5" fmla="*/ 8364336 w 8364336"/>
                  <a:gd name="connsiteY5" fmla="*/ 0 h 2319581"/>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8364336 w 8364336"/>
                  <a:gd name="connsiteY6" fmla="*/ 0 h 2319582"/>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7812193 w 8364336"/>
                  <a:gd name="connsiteY6" fmla="*/ 102676 h 2319582"/>
                  <a:gd name="connsiteX7" fmla="*/ 8364336 w 8364336"/>
                  <a:gd name="connsiteY7" fmla="*/ 0 h 2319582"/>
                  <a:gd name="connsiteX0" fmla="*/ 0 w 8462813"/>
                  <a:gd name="connsiteY0" fmla="*/ 2262662 h 2263457"/>
                  <a:gd name="connsiteX1" fmla="*/ 1125882 w 8462813"/>
                  <a:gd name="connsiteY1" fmla="*/ 1782129 h 2263457"/>
                  <a:gd name="connsiteX2" fmla="*/ 2326507 w 8462813"/>
                  <a:gd name="connsiteY2" fmla="*/ 1662311 h 2263457"/>
                  <a:gd name="connsiteX3" fmla="*/ 4011491 w 8462813"/>
                  <a:gd name="connsiteY3" fmla="*/ 56754 h 2263457"/>
                  <a:gd name="connsiteX4" fmla="*/ 5282948 w 8462813"/>
                  <a:gd name="connsiteY4" fmla="*/ 359662 h 2263457"/>
                  <a:gd name="connsiteX5" fmla="*/ 7193194 w 8462813"/>
                  <a:gd name="connsiteY5" fmla="*/ 497234 h 2263457"/>
                  <a:gd name="connsiteX6" fmla="*/ 7812193 w 8462813"/>
                  <a:gd name="connsiteY6" fmla="*/ 46551 h 2263457"/>
                  <a:gd name="connsiteX7" fmla="*/ 8462813 w 8462813"/>
                  <a:gd name="connsiteY7" fmla="*/ 211 h 2263457"/>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32353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75487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063793 w 8462813"/>
                  <a:gd name="connsiteY5" fmla="*/ 518460 h 2267410"/>
                  <a:gd name="connsiteX6" fmla="*/ 7475487 w 8462813"/>
                  <a:gd name="connsiteY6" fmla="*/ 36420 h 2267410"/>
                  <a:gd name="connsiteX7" fmla="*/ 8462813 w 8462813"/>
                  <a:gd name="connsiteY7" fmla="*/ 4164 h 2267410"/>
                  <a:gd name="connsiteX0" fmla="*/ 0 w 9067745"/>
                  <a:gd name="connsiteY0" fmla="*/ 2351118 h 2351798"/>
                  <a:gd name="connsiteX1" fmla="*/ 1730814 w 9067745"/>
                  <a:gd name="connsiteY1" fmla="*/ 1786082 h 2351798"/>
                  <a:gd name="connsiteX2" fmla="*/ 2931439 w 9067745"/>
                  <a:gd name="connsiteY2" fmla="*/ 1666264 h 2351798"/>
                  <a:gd name="connsiteX3" fmla="*/ 4616423 w 9067745"/>
                  <a:gd name="connsiteY3" fmla="*/ 60707 h 2351798"/>
                  <a:gd name="connsiteX4" fmla="*/ 5887880 w 9067745"/>
                  <a:gd name="connsiteY4" fmla="*/ 363615 h 2351798"/>
                  <a:gd name="connsiteX5" fmla="*/ 7668725 w 9067745"/>
                  <a:gd name="connsiteY5" fmla="*/ 518460 h 2351798"/>
                  <a:gd name="connsiteX6" fmla="*/ 8080419 w 9067745"/>
                  <a:gd name="connsiteY6" fmla="*/ 36420 h 2351798"/>
                  <a:gd name="connsiteX7" fmla="*/ 9067745 w 9067745"/>
                  <a:gd name="connsiteY7" fmla="*/ 4164 h 2351798"/>
                  <a:gd name="connsiteX0" fmla="*/ 0 w 8709924"/>
                  <a:gd name="connsiteY0" fmla="*/ 2360222 h 2360902"/>
                  <a:gd name="connsiteX1" fmla="*/ 1730814 w 8709924"/>
                  <a:gd name="connsiteY1" fmla="*/ 1795186 h 2360902"/>
                  <a:gd name="connsiteX2" fmla="*/ 2931439 w 8709924"/>
                  <a:gd name="connsiteY2" fmla="*/ 1675368 h 2360902"/>
                  <a:gd name="connsiteX3" fmla="*/ 4616423 w 8709924"/>
                  <a:gd name="connsiteY3" fmla="*/ 69811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4938683 w 8709924"/>
                  <a:gd name="connsiteY5" fmla="*/ 2318660 h 2360902"/>
                  <a:gd name="connsiteX6" fmla="*/ 8080419 w 8709924"/>
                  <a:gd name="connsiteY6" fmla="*/ 45524 h 2360902"/>
                  <a:gd name="connsiteX7" fmla="*/ 8709924 w 8709924"/>
                  <a:gd name="connsiteY7" fmla="*/ 0 h 2360902"/>
                  <a:gd name="connsiteX0" fmla="*/ 0 w 8709924"/>
                  <a:gd name="connsiteY0" fmla="*/ 2360222 h 2833593"/>
                  <a:gd name="connsiteX1" fmla="*/ 1730814 w 8709924"/>
                  <a:gd name="connsiteY1" fmla="*/ 1795186 h 2833593"/>
                  <a:gd name="connsiteX2" fmla="*/ 2931439 w 8709924"/>
                  <a:gd name="connsiteY2" fmla="*/ 1675368 h 2833593"/>
                  <a:gd name="connsiteX3" fmla="*/ 4059812 w 8709924"/>
                  <a:gd name="connsiteY3" fmla="*/ 1184270 h 2833593"/>
                  <a:gd name="connsiteX4" fmla="*/ 5052964 w 8709924"/>
                  <a:gd name="connsiteY4" fmla="*/ 1354505 h 2833593"/>
                  <a:gd name="connsiteX5" fmla="*/ 4938683 w 8709924"/>
                  <a:gd name="connsiteY5" fmla="*/ 2318660 h 2833593"/>
                  <a:gd name="connsiteX6" fmla="*/ 4807020 w 8709924"/>
                  <a:gd name="connsiteY6" fmla="*/ 2818407 h 2833593"/>
                  <a:gd name="connsiteX7" fmla="*/ 8709924 w 8709924"/>
                  <a:gd name="connsiteY7" fmla="*/ 0 h 2833593"/>
                  <a:gd name="connsiteX0" fmla="*/ 0 w 5102688"/>
                  <a:gd name="connsiteY0" fmla="*/ 1198699 h 2489596"/>
                  <a:gd name="connsiteX1" fmla="*/ 1730814 w 5102688"/>
                  <a:gd name="connsiteY1" fmla="*/ 633663 h 2489596"/>
                  <a:gd name="connsiteX2" fmla="*/ 2931439 w 5102688"/>
                  <a:gd name="connsiteY2" fmla="*/ 513845 h 2489596"/>
                  <a:gd name="connsiteX3" fmla="*/ 4059812 w 5102688"/>
                  <a:gd name="connsiteY3" fmla="*/ 22747 h 2489596"/>
                  <a:gd name="connsiteX4" fmla="*/ 5052964 w 5102688"/>
                  <a:gd name="connsiteY4" fmla="*/ 192982 h 2489596"/>
                  <a:gd name="connsiteX5" fmla="*/ 4938683 w 5102688"/>
                  <a:gd name="connsiteY5" fmla="*/ 1157137 h 2489596"/>
                  <a:gd name="connsiteX6" fmla="*/ 4807020 w 5102688"/>
                  <a:gd name="connsiteY6" fmla="*/ 1656884 h 2489596"/>
                  <a:gd name="connsiteX7" fmla="*/ 4495587 w 5102688"/>
                  <a:gd name="connsiteY7" fmla="*/ 2487006 h 2489596"/>
                  <a:gd name="connsiteX0" fmla="*/ 0 w 5102688"/>
                  <a:gd name="connsiteY0" fmla="*/ 1412095 h 2702992"/>
                  <a:gd name="connsiteX1" fmla="*/ 1730814 w 5102688"/>
                  <a:gd name="connsiteY1" fmla="*/ 847059 h 2702992"/>
                  <a:gd name="connsiteX2" fmla="*/ 2719397 w 5102688"/>
                  <a:gd name="connsiteY2" fmla="*/ 24070 h 2702992"/>
                  <a:gd name="connsiteX3" fmla="*/ 4059812 w 5102688"/>
                  <a:gd name="connsiteY3" fmla="*/ 236143 h 2702992"/>
                  <a:gd name="connsiteX4" fmla="*/ 5052964 w 5102688"/>
                  <a:gd name="connsiteY4" fmla="*/ 406378 h 2702992"/>
                  <a:gd name="connsiteX5" fmla="*/ 4938683 w 5102688"/>
                  <a:gd name="connsiteY5" fmla="*/ 1370533 h 2702992"/>
                  <a:gd name="connsiteX6" fmla="*/ 4807020 w 5102688"/>
                  <a:gd name="connsiteY6" fmla="*/ 1870280 h 2702992"/>
                  <a:gd name="connsiteX7" fmla="*/ 4495587 w 5102688"/>
                  <a:gd name="connsiteY7" fmla="*/ 2700402 h 2702992"/>
                  <a:gd name="connsiteX0" fmla="*/ 0 w 5102688"/>
                  <a:gd name="connsiteY0" fmla="*/ 1428194 h 2719091"/>
                  <a:gd name="connsiteX1" fmla="*/ 1730814 w 5102688"/>
                  <a:gd name="connsiteY1" fmla="*/ 863158 h 2719091"/>
                  <a:gd name="connsiteX2" fmla="*/ 2719397 w 5102688"/>
                  <a:gd name="connsiteY2" fmla="*/ 40169 h 2719091"/>
                  <a:gd name="connsiteX3" fmla="*/ 4059812 w 5102688"/>
                  <a:gd name="connsiteY3" fmla="*/ 252242 h 2719091"/>
                  <a:gd name="connsiteX4" fmla="*/ 5052964 w 5102688"/>
                  <a:gd name="connsiteY4" fmla="*/ 422477 h 2719091"/>
                  <a:gd name="connsiteX5" fmla="*/ 4938683 w 5102688"/>
                  <a:gd name="connsiteY5" fmla="*/ 1386632 h 2719091"/>
                  <a:gd name="connsiteX6" fmla="*/ 4807020 w 5102688"/>
                  <a:gd name="connsiteY6" fmla="*/ 1886379 h 2719091"/>
                  <a:gd name="connsiteX7" fmla="*/ 4495587 w 5102688"/>
                  <a:gd name="connsiteY7" fmla="*/ 2716501 h 2719091"/>
                  <a:gd name="connsiteX0" fmla="*/ 0 w 5102688"/>
                  <a:gd name="connsiteY0" fmla="*/ 1401181 h 2692078"/>
                  <a:gd name="connsiteX1" fmla="*/ 1730814 w 5102688"/>
                  <a:gd name="connsiteY1" fmla="*/ 836145 h 2692078"/>
                  <a:gd name="connsiteX2" fmla="*/ 2719397 w 5102688"/>
                  <a:gd name="connsiteY2" fmla="*/ 13156 h 2692078"/>
                  <a:gd name="connsiteX3" fmla="*/ 3974330 w 5102688"/>
                  <a:gd name="connsiteY3" fmla="*/ 322184 h 2692078"/>
                  <a:gd name="connsiteX4" fmla="*/ 4059812 w 5102688"/>
                  <a:gd name="connsiteY4" fmla="*/ 225229 h 2692078"/>
                  <a:gd name="connsiteX5" fmla="*/ 5052964 w 5102688"/>
                  <a:gd name="connsiteY5" fmla="*/ 395464 h 2692078"/>
                  <a:gd name="connsiteX6" fmla="*/ 4938683 w 5102688"/>
                  <a:gd name="connsiteY6" fmla="*/ 1359619 h 2692078"/>
                  <a:gd name="connsiteX7" fmla="*/ 4807020 w 5102688"/>
                  <a:gd name="connsiteY7" fmla="*/ 1859366 h 2692078"/>
                  <a:gd name="connsiteX8" fmla="*/ 4495587 w 5102688"/>
                  <a:gd name="connsiteY8" fmla="*/ 2689488 h 2692078"/>
                  <a:gd name="connsiteX0" fmla="*/ 0 w 5102688"/>
                  <a:gd name="connsiteY0" fmla="*/ 1398091 h 2688988"/>
                  <a:gd name="connsiteX1" fmla="*/ 1730814 w 5102688"/>
                  <a:gd name="connsiteY1" fmla="*/ 833055 h 2688988"/>
                  <a:gd name="connsiteX2" fmla="*/ 2719397 w 5102688"/>
                  <a:gd name="connsiteY2" fmla="*/ 10066 h 2688988"/>
                  <a:gd name="connsiteX3" fmla="*/ 3974330 w 5102688"/>
                  <a:gd name="connsiteY3" fmla="*/ 319094 h 2688988"/>
                  <a:gd name="connsiteX4" fmla="*/ 4059812 w 5102688"/>
                  <a:gd name="connsiteY4" fmla="*/ 222139 h 2688988"/>
                  <a:gd name="connsiteX5" fmla="*/ 5052964 w 5102688"/>
                  <a:gd name="connsiteY5" fmla="*/ 392374 h 2688988"/>
                  <a:gd name="connsiteX6" fmla="*/ 4938683 w 5102688"/>
                  <a:gd name="connsiteY6" fmla="*/ 1356529 h 2688988"/>
                  <a:gd name="connsiteX7" fmla="*/ 4807020 w 5102688"/>
                  <a:gd name="connsiteY7" fmla="*/ 1856276 h 2688988"/>
                  <a:gd name="connsiteX8" fmla="*/ 4495587 w 5102688"/>
                  <a:gd name="connsiteY8" fmla="*/ 2686398 h 2688988"/>
                  <a:gd name="connsiteX0" fmla="*/ 0 w 5108678"/>
                  <a:gd name="connsiteY0" fmla="*/ 1398091 h 2688988"/>
                  <a:gd name="connsiteX1" fmla="*/ 1730814 w 5108678"/>
                  <a:gd name="connsiteY1" fmla="*/ 833055 h 2688988"/>
                  <a:gd name="connsiteX2" fmla="*/ 2719397 w 5108678"/>
                  <a:gd name="connsiteY2" fmla="*/ 10066 h 2688988"/>
                  <a:gd name="connsiteX3" fmla="*/ 3974330 w 5108678"/>
                  <a:gd name="connsiteY3" fmla="*/ 319094 h 2688988"/>
                  <a:gd name="connsiteX4" fmla="*/ 5052964 w 5108678"/>
                  <a:gd name="connsiteY4" fmla="*/ 392374 h 2688988"/>
                  <a:gd name="connsiteX5" fmla="*/ 4938683 w 5108678"/>
                  <a:gd name="connsiteY5" fmla="*/ 1356529 h 2688988"/>
                  <a:gd name="connsiteX6" fmla="*/ 4807020 w 5108678"/>
                  <a:gd name="connsiteY6" fmla="*/ 1856276 h 2688988"/>
                  <a:gd name="connsiteX7" fmla="*/ 4495587 w 5108678"/>
                  <a:gd name="connsiteY7" fmla="*/ 2686398 h 2688988"/>
                  <a:gd name="connsiteX0" fmla="*/ 0 w 4975097"/>
                  <a:gd name="connsiteY0" fmla="*/ 1398091 h 2688988"/>
                  <a:gd name="connsiteX1" fmla="*/ 1730814 w 4975097"/>
                  <a:gd name="connsiteY1" fmla="*/ 833055 h 2688988"/>
                  <a:gd name="connsiteX2" fmla="*/ 2719397 w 4975097"/>
                  <a:gd name="connsiteY2" fmla="*/ 10066 h 2688988"/>
                  <a:gd name="connsiteX3" fmla="*/ 3974330 w 4975097"/>
                  <a:gd name="connsiteY3" fmla="*/ 319094 h 2688988"/>
                  <a:gd name="connsiteX4" fmla="*/ 4880680 w 4975097"/>
                  <a:gd name="connsiteY4" fmla="*/ 392374 h 2688988"/>
                  <a:gd name="connsiteX5" fmla="*/ 4938683 w 4975097"/>
                  <a:gd name="connsiteY5" fmla="*/ 1356529 h 2688988"/>
                  <a:gd name="connsiteX6" fmla="*/ 4807020 w 4975097"/>
                  <a:gd name="connsiteY6" fmla="*/ 1856276 h 2688988"/>
                  <a:gd name="connsiteX7" fmla="*/ 4495587 w 4975097"/>
                  <a:gd name="connsiteY7" fmla="*/ 2686398 h 2688988"/>
                  <a:gd name="connsiteX0" fmla="*/ 0 w 4994181"/>
                  <a:gd name="connsiteY0" fmla="*/ 1398091 h 2686398"/>
                  <a:gd name="connsiteX1" fmla="*/ 1730814 w 4994181"/>
                  <a:gd name="connsiteY1" fmla="*/ 833055 h 2686398"/>
                  <a:gd name="connsiteX2" fmla="*/ 2719397 w 4994181"/>
                  <a:gd name="connsiteY2" fmla="*/ 10066 h 2686398"/>
                  <a:gd name="connsiteX3" fmla="*/ 3974330 w 4994181"/>
                  <a:gd name="connsiteY3" fmla="*/ 319094 h 2686398"/>
                  <a:gd name="connsiteX4" fmla="*/ 4880680 w 4994181"/>
                  <a:gd name="connsiteY4" fmla="*/ 392374 h 2686398"/>
                  <a:gd name="connsiteX5" fmla="*/ 4938683 w 4994181"/>
                  <a:gd name="connsiteY5" fmla="*/ 1356529 h 2686398"/>
                  <a:gd name="connsiteX6" fmla="*/ 4495587 w 4994181"/>
                  <a:gd name="connsiteY6" fmla="*/ 2686398 h 2686398"/>
                  <a:gd name="connsiteX0" fmla="*/ 0 w 4930746"/>
                  <a:gd name="connsiteY0" fmla="*/ 1398091 h 2686398"/>
                  <a:gd name="connsiteX1" fmla="*/ 1730814 w 4930746"/>
                  <a:gd name="connsiteY1" fmla="*/ 833055 h 2686398"/>
                  <a:gd name="connsiteX2" fmla="*/ 2719397 w 4930746"/>
                  <a:gd name="connsiteY2" fmla="*/ 10066 h 2686398"/>
                  <a:gd name="connsiteX3" fmla="*/ 3974330 w 4930746"/>
                  <a:gd name="connsiteY3" fmla="*/ 319094 h 2686398"/>
                  <a:gd name="connsiteX4" fmla="*/ 4880680 w 4930746"/>
                  <a:gd name="connsiteY4" fmla="*/ 392374 h 2686398"/>
                  <a:gd name="connsiteX5" fmla="*/ 4779652 w 4930746"/>
                  <a:gd name="connsiteY5" fmla="*/ 1369796 h 2686398"/>
                  <a:gd name="connsiteX6" fmla="*/ 4495587 w 4930746"/>
                  <a:gd name="connsiteY6" fmla="*/ 2686398 h 2686398"/>
                  <a:gd name="connsiteX0" fmla="*/ 0 w 5212110"/>
                  <a:gd name="connsiteY0" fmla="*/ 1764271 h 2686398"/>
                  <a:gd name="connsiteX1" fmla="*/ 2012178 w 5212110"/>
                  <a:gd name="connsiteY1" fmla="*/ 833055 h 2686398"/>
                  <a:gd name="connsiteX2" fmla="*/ 3000761 w 5212110"/>
                  <a:gd name="connsiteY2" fmla="*/ 10066 h 2686398"/>
                  <a:gd name="connsiteX3" fmla="*/ 4255694 w 5212110"/>
                  <a:gd name="connsiteY3" fmla="*/ 319094 h 2686398"/>
                  <a:gd name="connsiteX4" fmla="*/ 5162044 w 5212110"/>
                  <a:gd name="connsiteY4" fmla="*/ 392374 h 2686398"/>
                  <a:gd name="connsiteX5" fmla="*/ 5061016 w 5212110"/>
                  <a:gd name="connsiteY5" fmla="*/ 1369796 h 2686398"/>
                  <a:gd name="connsiteX6" fmla="*/ 4776951 w 5212110"/>
                  <a:gd name="connsiteY6" fmla="*/ 2686398 h 2686398"/>
                  <a:gd name="connsiteX0" fmla="*/ 39895 w 5252005"/>
                  <a:gd name="connsiteY0" fmla="*/ 2161861 h 3083988"/>
                  <a:gd name="connsiteX1" fmla="*/ 138801 w 5252005"/>
                  <a:gd name="connsiteY1" fmla="*/ 89854 h 3083988"/>
                  <a:gd name="connsiteX2" fmla="*/ 3040656 w 5252005"/>
                  <a:gd name="connsiteY2" fmla="*/ 407656 h 3083988"/>
                  <a:gd name="connsiteX3" fmla="*/ 4295589 w 5252005"/>
                  <a:gd name="connsiteY3" fmla="*/ 716684 h 3083988"/>
                  <a:gd name="connsiteX4" fmla="*/ 5201939 w 5252005"/>
                  <a:gd name="connsiteY4" fmla="*/ 789964 h 3083988"/>
                  <a:gd name="connsiteX5" fmla="*/ 5100911 w 5252005"/>
                  <a:gd name="connsiteY5" fmla="*/ 1767386 h 3083988"/>
                  <a:gd name="connsiteX6" fmla="*/ 4816846 w 5252005"/>
                  <a:gd name="connsiteY6" fmla="*/ 3083988 h 3083988"/>
                  <a:gd name="connsiteX0" fmla="*/ 65807 w 5277917"/>
                  <a:gd name="connsiteY0" fmla="*/ 3508547 h 4430674"/>
                  <a:gd name="connsiteX1" fmla="*/ 164713 w 5277917"/>
                  <a:gd name="connsiteY1" fmla="*/ 1436540 h 4430674"/>
                  <a:gd name="connsiteX2" fmla="*/ 351409 w 5277917"/>
                  <a:gd name="connsiteY2" fmla="*/ 7947 h 4430674"/>
                  <a:gd name="connsiteX3" fmla="*/ 4321501 w 5277917"/>
                  <a:gd name="connsiteY3" fmla="*/ 2063370 h 4430674"/>
                  <a:gd name="connsiteX4" fmla="*/ 5227851 w 5277917"/>
                  <a:gd name="connsiteY4" fmla="*/ 2136650 h 4430674"/>
                  <a:gd name="connsiteX5" fmla="*/ 5126823 w 5277917"/>
                  <a:gd name="connsiteY5" fmla="*/ 3114072 h 4430674"/>
                  <a:gd name="connsiteX6" fmla="*/ 4842758 w 5277917"/>
                  <a:gd name="connsiteY6" fmla="*/ 4430674 h 4430674"/>
                  <a:gd name="connsiteX0" fmla="*/ 131793 w 5343903"/>
                  <a:gd name="connsiteY0" fmla="*/ 3510312 h 4432439"/>
                  <a:gd name="connsiteX1" fmla="*/ 230699 w 5343903"/>
                  <a:gd name="connsiteY1" fmla="*/ 1438305 h 4432439"/>
                  <a:gd name="connsiteX2" fmla="*/ 417395 w 5343903"/>
                  <a:gd name="connsiteY2" fmla="*/ 9712 h 4432439"/>
                  <a:gd name="connsiteX3" fmla="*/ 5293837 w 5343903"/>
                  <a:gd name="connsiteY3" fmla="*/ 2138415 h 4432439"/>
                  <a:gd name="connsiteX4" fmla="*/ 5192809 w 5343903"/>
                  <a:gd name="connsiteY4" fmla="*/ 3115837 h 4432439"/>
                  <a:gd name="connsiteX5" fmla="*/ 4908744 w 5343903"/>
                  <a:gd name="connsiteY5" fmla="*/ 4432439 h 4432439"/>
                  <a:gd name="connsiteX0" fmla="*/ 131793 w 5343903"/>
                  <a:gd name="connsiteY0" fmla="*/ 3510312 h 3510529"/>
                  <a:gd name="connsiteX1" fmla="*/ 230699 w 5343903"/>
                  <a:gd name="connsiteY1" fmla="*/ 1438305 h 3510529"/>
                  <a:gd name="connsiteX2" fmla="*/ 417395 w 5343903"/>
                  <a:gd name="connsiteY2" fmla="*/ 9712 h 3510529"/>
                  <a:gd name="connsiteX3" fmla="*/ 5293837 w 5343903"/>
                  <a:gd name="connsiteY3" fmla="*/ 2138415 h 3510529"/>
                  <a:gd name="connsiteX4" fmla="*/ 5192809 w 5343903"/>
                  <a:gd name="connsiteY4" fmla="*/ 3115837 h 3510529"/>
                  <a:gd name="connsiteX0" fmla="*/ 131793 w 5293837"/>
                  <a:gd name="connsiteY0" fmla="*/ 3510312 h 3510529"/>
                  <a:gd name="connsiteX1" fmla="*/ 230699 w 5293837"/>
                  <a:gd name="connsiteY1" fmla="*/ 1438305 h 3510529"/>
                  <a:gd name="connsiteX2" fmla="*/ 417395 w 5293837"/>
                  <a:gd name="connsiteY2" fmla="*/ 9712 h 3510529"/>
                  <a:gd name="connsiteX3" fmla="*/ 5293837 w 5293837"/>
                  <a:gd name="connsiteY3" fmla="*/ 2138415 h 3510529"/>
                  <a:gd name="connsiteX0" fmla="*/ 0 w 1166682"/>
                  <a:gd name="connsiteY0" fmla="*/ 3728540 h 3728757"/>
                  <a:gd name="connsiteX1" fmla="*/ 98906 w 1166682"/>
                  <a:gd name="connsiteY1" fmla="*/ 1656533 h 3728757"/>
                  <a:gd name="connsiteX2" fmla="*/ 285602 w 1166682"/>
                  <a:gd name="connsiteY2" fmla="*/ 227940 h 3728757"/>
                  <a:gd name="connsiteX3" fmla="*/ 1166682 w 1166682"/>
                  <a:gd name="connsiteY3" fmla="*/ 328571 h 3728757"/>
                  <a:gd name="connsiteX0" fmla="*/ 0 w 1166682"/>
                  <a:gd name="connsiteY0" fmla="*/ 3620869 h 3621086"/>
                  <a:gd name="connsiteX1" fmla="*/ 98906 w 1166682"/>
                  <a:gd name="connsiteY1" fmla="*/ 1548862 h 3621086"/>
                  <a:gd name="connsiteX2" fmla="*/ 285602 w 1166682"/>
                  <a:gd name="connsiteY2" fmla="*/ 120269 h 3621086"/>
                  <a:gd name="connsiteX3" fmla="*/ 1166682 w 1166682"/>
                  <a:gd name="connsiteY3" fmla="*/ 220900 h 3621086"/>
                  <a:gd name="connsiteX0" fmla="*/ 55964 w 1222646"/>
                  <a:gd name="connsiteY0" fmla="*/ 3630477 h 3630694"/>
                  <a:gd name="connsiteX1" fmla="*/ 154870 w 1222646"/>
                  <a:gd name="connsiteY1" fmla="*/ 1558470 h 3630694"/>
                  <a:gd name="connsiteX2" fmla="*/ 60202 w 1222646"/>
                  <a:gd name="connsiteY2" fmla="*/ 115793 h 3630694"/>
                  <a:gd name="connsiteX3" fmla="*/ 1222646 w 1222646"/>
                  <a:gd name="connsiteY3" fmla="*/ 230508 h 3630694"/>
                  <a:gd name="connsiteX0" fmla="*/ 110183 w 1276865"/>
                  <a:gd name="connsiteY0" fmla="*/ 3593378 h 3593595"/>
                  <a:gd name="connsiteX1" fmla="*/ 209089 w 1276865"/>
                  <a:gd name="connsiteY1" fmla="*/ 1521371 h 3593595"/>
                  <a:gd name="connsiteX2" fmla="*/ 114421 w 1276865"/>
                  <a:gd name="connsiteY2" fmla="*/ 78694 h 3593595"/>
                  <a:gd name="connsiteX3" fmla="*/ 1276865 w 1276865"/>
                  <a:gd name="connsiteY3" fmla="*/ 193409 h 3593595"/>
                  <a:gd name="connsiteX0" fmla="*/ 128545 w 1295227"/>
                  <a:gd name="connsiteY0" fmla="*/ 3581115 h 3581332"/>
                  <a:gd name="connsiteX1" fmla="*/ 227451 w 1295227"/>
                  <a:gd name="connsiteY1" fmla="*/ 1509108 h 3581332"/>
                  <a:gd name="connsiteX2" fmla="*/ 132783 w 1295227"/>
                  <a:gd name="connsiteY2" fmla="*/ 66431 h 3581332"/>
                  <a:gd name="connsiteX3" fmla="*/ 1295227 w 1295227"/>
                  <a:gd name="connsiteY3" fmla="*/ 181146 h 3581332"/>
                  <a:gd name="connsiteX0" fmla="*/ 71828 w 1463601"/>
                  <a:gd name="connsiteY0" fmla="*/ 3667419 h 3667636"/>
                  <a:gd name="connsiteX1" fmla="*/ 170734 w 1463601"/>
                  <a:gd name="connsiteY1" fmla="*/ 1595412 h 3667636"/>
                  <a:gd name="connsiteX2" fmla="*/ 76066 w 1463601"/>
                  <a:gd name="connsiteY2" fmla="*/ 152735 h 3667636"/>
                  <a:gd name="connsiteX3" fmla="*/ 1463601 w 1463601"/>
                  <a:gd name="connsiteY3" fmla="*/ 182947 h 3667636"/>
                  <a:gd name="connsiteX0" fmla="*/ 71828 w 1463601"/>
                  <a:gd name="connsiteY0" fmla="*/ 3623294 h 3623511"/>
                  <a:gd name="connsiteX1" fmla="*/ 170734 w 1463601"/>
                  <a:gd name="connsiteY1" fmla="*/ 1551287 h 3623511"/>
                  <a:gd name="connsiteX2" fmla="*/ 76066 w 1463601"/>
                  <a:gd name="connsiteY2" fmla="*/ 108610 h 3623511"/>
                  <a:gd name="connsiteX3" fmla="*/ 1463601 w 1463601"/>
                  <a:gd name="connsiteY3" fmla="*/ 138822 h 3623511"/>
                  <a:gd name="connsiteX0" fmla="*/ 54001 w 1445774"/>
                  <a:gd name="connsiteY0" fmla="*/ 3579514 h 3579731"/>
                  <a:gd name="connsiteX1" fmla="*/ 152907 w 1445774"/>
                  <a:gd name="connsiteY1" fmla="*/ 1507507 h 3579731"/>
                  <a:gd name="connsiteX2" fmla="*/ 58239 w 1445774"/>
                  <a:gd name="connsiteY2" fmla="*/ 64830 h 3579731"/>
                  <a:gd name="connsiteX3" fmla="*/ 1445774 w 1445774"/>
                  <a:gd name="connsiteY3" fmla="*/ 95042 h 3579731"/>
                  <a:gd name="connsiteX0" fmla="*/ 104542 w 1496315"/>
                  <a:gd name="connsiteY0" fmla="*/ 3632678 h 3632915"/>
                  <a:gd name="connsiteX1" fmla="*/ 90903 w 1496315"/>
                  <a:gd name="connsiteY1" fmla="*/ 1687425 h 3632915"/>
                  <a:gd name="connsiteX2" fmla="*/ 108780 w 1496315"/>
                  <a:gd name="connsiteY2" fmla="*/ 117994 h 3632915"/>
                  <a:gd name="connsiteX3" fmla="*/ 1496315 w 1496315"/>
                  <a:gd name="connsiteY3" fmla="*/ 148206 h 3632915"/>
                  <a:gd name="connsiteX0" fmla="*/ 104542 w 1496315"/>
                  <a:gd name="connsiteY0" fmla="*/ 3632678 h 3632971"/>
                  <a:gd name="connsiteX1" fmla="*/ 90903 w 1496315"/>
                  <a:gd name="connsiteY1" fmla="*/ 1687425 h 3632971"/>
                  <a:gd name="connsiteX2" fmla="*/ 108780 w 1496315"/>
                  <a:gd name="connsiteY2" fmla="*/ 117994 h 3632971"/>
                  <a:gd name="connsiteX3" fmla="*/ 1496315 w 1496315"/>
                  <a:gd name="connsiteY3" fmla="*/ 148206 h 3632971"/>
                  <a:gd name="connsiteX0" fmla="*/ 104542 w 1496315"/>
                  <a:gd name="connsiteY0" fmla="*/ 3632678 h 3632678"/>
                  <a:gd name="connsiteX1" fmla="*/ 90903 w 1496315"/>
                  <a:gd name="connsiteY1" fmla="*/ 1687425 h 3632678"/>
                  <a:gd name="connsiteX2" fmla="*/ 108780 w 1496315"/>
                  <a:gd name="connsiteY2" fmla="*/ 117994 h 3632678"/>
                  <a:gd name="connsiteX3" fmla="*/ 1496315 w 1496315"/>
                  <a:gd name="connsiteY3" fmla="*/ 148206 h 3632678"/>
                </a:gdLst>
                <a:ahLst/>
                <a:cxnLst>
                  <a:cxn ang="0">
                    <a:pos x="connsiteX0" y="connsiteY0"/>
                  </a:cxn>
                  <a:cxn ang="0">
                    <a:pos x="connsiteX1" y="connsiteY1"/>
                  </a:cxn>
                  <a:cxn ang="0">
                    <a:pos x="connsiteX2" y="connsiteY2"/>
                  </a:cxn>
                  <a:cxn ang="0">
                    <a:pos x="connsiteX3" y="connsiteY3"/>
                  </a:cxn>
                </a:cxnLst>
                <a:rect l="l" t="t" r="r" b="b"/>
                <a:pathLst>
                  <a:path w="1496315" h="3632678">
                    <a:moveTo>
                      <a:pt x="104542" y="3632678"/>
                    </a:moveTo>
                    <a:cubicBezTo>
                      <a:pt x="119557" y="2484740"/>
                      <a:pt x="90197" y="2540799"/>
                      <a:pt x="90903" y="1687425"/>
                    </a:cubicBezTo>
                    <a:cubicBezTo>
                      <a:pt x="91609" y="834051"/>
                      <a:pt x="-125455" y="374531"/>
                      <a:pt x="108780" y="117994"/>
                    </a:cubicBezTo>
                    <a:cubicBezTo>
                      <a:pt x="343015" y="-138543"/>
                      <a:pt x="587866" y="95284"/>
                      <a:pt x="1496315" y="148206"/>
                    </a:cubicBezTo>
                  </a:path>
                </a:pathLst>
              </a:custGeom>
              <a:noFill/>
              <a:ln w="571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solidFill>
                    <a:schemeClr val="tx2">
                      <a:lumMod val="50000"/>
                      <a:lumOff val="50000"/>
                    </a:schemeClr>
                  </a:solidFill>
                  <a:latin typeface="+mn-lt"/>
                </a:endParaRPr>
              </a:p>
            </p:txBody>
          </p:sp>
          <p:sp>
            <p:nvSpPr>
              <p:cNvPr id="109" name="Freeform 14335"/>
              <p:cNvSpPr>
                <a:spLocks/>
              </p:cNvSpPr>
              <p:nvPr/>
            </p:nvSpPr>
            <p:spPr bwMode="auto">
              <a:xfrm>
                <a:off x="4647674" y="3931296"/>
                <a:ext cx="1237967" cy="1979646"/>
              </a:xfrm>
              <a:custGeom>
                <a:avLst/>
                <a:gdLst>
                  <a:gd name="T0" fmla="*/ 0 w 4776951"/>
                  <a:gd name="T1" fmla="*/ 345649 h 394152"/>
                  <a:gd name="T2" fmla="*/ 1702502 w 4776951"/>
                  <a:gd name="T3" fmla="*/ 329937 h 394152"/>
                  <a:gd name="T4" fmla="*/ 2270000 w 4776951"/>
                  <a:gd name="T5" fmla="*/ 0 h 394152"/>
                  <a:gd name="T6" fmla="*/ 3546875 w 4776951"/>
                  <a:gd name="T7" fmla="*/ 0 h 394152"/>
                  <a:gd name="T8" fmla="*/ 3988265 w 4776951"/>
                  <a:gd name="T9" fmla="*/ 329937 h 394152"/>
                  <a:gd name="T10" fmla="*/ 4776459 w 4776951"/>
                  <a:gd name="T11" fmla="*/ 392784 h 394152"/>
                  <a:gd name="T12" fmla="*/ 4776459 w 4776951"/>
                  <a:gd name="T13" fmla="*/ 392784 h 394152"/>
                  <a:gd name="T14" fmla="*/ 0 60000 65536"/>
                  <a:gd name="T15" fmla="*/ 0 60000 65536"/>
                  <a:gd name="T16" fmla="*/ 0 60000 65536"/>
                  <a:gd name="T17" fmla="*/ 0 60000 65536"/>
                  <a:gd name="T18" fmla="*/ 0 60000 65536"/>
                  <a:gd name="T19" fmla="*/ 0 60000 65536"/>
                  <a:gd name="T20" fmla="*/ 0 60000 65536"/>
                  <a:gd name="connsiteX0" fmla="*/ 0 w 4776951"/>
                  <a:gd name="connsiteY0" fmla="*/ 492499 h 539810"/>
                  <a:gd name="connsiteX1" fmla="*/ 1125882 w 4776951"/>
                  <a:gd name="connsiteY1" fmla="*/ 11966 h 539810"/>
                  <a:gd name="connsiteX2" fmla="*/ 2270234 w 4776951"/>
                  <a:gd name="connsiteY2" fmla="*/ 145658 h 539810"/>
                  <a:gd name="connsiteX3" fmla="*/ 3547241 w 4776951"/>
                  <a:gd name="connsiteY3" fmla="*/ 145658 h 539810"/>
                  <a:gd name="connsiteX4" fmla="*/ 3988676 w 4776951"/>
                  <a:gd name="connsiteY4" fmla="*/ 476733 h 539810"/>
                  <a:gd name="connsiteX5" fmla="*/ 4776951 w 4776951"/>
                  <a:gd name="connsiteY5" fmla="*/ 539796 h 539810"/>
                  <a:gd name="connsiteX0" fmla="*/ 0 w 4776951"/>
                  <a:gd name="connsiteY0" fmla="*/ 606173 h 653484"/>
                  <a:gd name="connsiteX1" fmla="*/ 1125882 w 4776951"/>
                  <a:gd name="connsiteY1" fmla="*/ 125640 h 653484"/>
                  <a:gd name="connsiteX2" fmla="*/ 2326507 w 4776951"/>
                  <a:gd name="connsiteY2" fmla="*/ 5822 h 653484"/>
                  <a:gd name="connsiteX3" fmla="*/ 3547241 w 4776951"/>
                  <a:gd name="connsiteY3" fmla="*/ 259332 h 653484"/>
                  <a:gd name="connsiteX4" fmla="*/ 3988676 w 4776951"/>
                  <a:gd name="connsiteY4" fmla="*/ 590407 h 653484"/>
                  <a:gd name="connsiteX5" fmla="*/ 4776951 w 4776951"/>
                  <a:gd name="connsiteY5" fmla="*/ 653470 h 653484"/>
                  <a:gd name="connsiteX0" fmla="*/ 0 w 4776951"/>
                  <a:gd name="connsiteY0" fmla="*/ 600508 h 647819"/>
                  <a:gd name="connsiteX1" fmla="*/ 1125882 w 4776951"/>
                  <a:gd name="connsiteY1" fmla="*/ 119975 h 647819"/>
                  <a:gd name="connsiteX2" fmla="*/ 2326507 w 4776951"/>
                  <a:gd name="connsiteY2" fmla="*/ 157 h 647819"/>
                  <a:gd name="connsiteX3" fmla="*/ 3547241 w 4776951"/>
                  <a:gd name="connsiteY3" fmla="*/ 253667 h 647819"/>
                  <a:gd name="connsiteX4" fmla="*/ 3988676 w 4776951"/>
                  <a:gd name="connsiteY4" fmla="*/ 584742 h 647819"/>
                  <a:gd name="connsiteX5" fmla="*/ 4776951 w 4776951"/>
                  <a:gd name="connsiteY5" fmla="*/ 647805 h 647819"/>
                  <a:gd name="connsiteX0" fmla="*/ 0 w 4776951"/>
                  <a:gd name="connsiteY0" fmla="*/ 611326 h 658637"/>
                  <a:gd name="connsiteX1" fmla="*/ 1125882 w 4776951"/>
                  <a:gd name="connsiteY1" fmla="*/ 130793 h 658637"/>
                  <a:gd name="connsiteX2" fmla="*/ 2326507 w 4776951"/>
                  <a:gd name="connsiteY2" fmla="*/ 10975 h 658637"/>
                  <a:gd name="connsiteX3" fmla="*/ 3547241 w 4776951"/>
                  <a:gd name="connsiteY3" fmla="*/ 264485 h 658637"/>
                  <a:gd name="connsiteX4" fmla="*/ 3988676 w 4776951"/>
                  <a:gd name="connsiteY4" fmla="*/ 595560 h 658637"/>
                  <a:gd name="connsiteX5" fmla="*/ 4776951 w 4776951"/>
                  <a:gd name="connsiteY5" fmla="*/ 658623 h 658637"/>
                  <a:gd name="connsiteX0" fmla="*/ 0 w 4776951"/>
                  <a:gd name="connsiteY0" fmla="*/ 2210706 h 2258017"/>
                  <a:gd name="connsiteX1" fmla="*/ 1125882 w 4776951"/>
                  <a:gd name="connsiteY1" fmla="*/ 1730173 h 2258017"/>
                  <a:gd name="connsiteX2" fmla="*/ 2326507 w 4776951"/>
                  <a:gd name="connsiteY2" fmla="*/ 1610355 h 2258017"/>
                  <a:gd name="connsiteX3" fmla="*/ 4011491 w 4776951"/>
                  <a:gd name="connsiteY3" fmla="*/ 4798 h 2258017"/>
                  <a:gd name="connsiteX4" fmla="*/ 3988676 w 4776951"/>
                  <a:gd name="connsiteY4" fmla="*/ 2194940 h 2258017"/>
                  <a:gd name="connsiteX5" fmla="*/ 4776951 w 4776951"/>
                  <a:gd name="connsiteY5" fmla="*/ 2258003 h 2258017"/>
                  <a:gd name="connsiteX0" fmla="*/ 0 w 5320051"/>
                  <a:gd name="connsiteY0" fmla="*/ 2264214 h 2311511"/>
                  <a:gd name="connsiteX1" fmla="*/ 1125882 w 5320051"/>
                  <a:gd name="connsiteY1" fmla="*/ 1783681 h 2311511"/>
                  <a:gd name="connsiteX2" fmla="*/ 2326507 w 5320051"/>
                  <a:gd name="connsiteY2" fmla="*/ 1663863 h 2311511"/>
                  <a:gd name="connsiteX3" fmla="*/ 4011491 w 5320051"/>
                  <a:gd name="connsiteY3" fmla="*/ 58306 h 2311511"/>
                  <a:gd name="connsiteX4" fmla="*/ 5282948 w 5320051"/>
                  <a:gd name="connsiteY4" fmla="*/ 361214 h 2311511"/>
                  <a:gd name="connsiteX5" fmla="*/ 4776951 w 5320051"/>
                  <a:gd name="connsiteY5" fmla="*/ 2311511 h 2311511"/>
                  <a:gd name="connsiteX0" fmla="*/ 0 w 8364336"/>
                  <a:gd name="connsiteY0" fmla="*/ 2318787 h 2319581"/>
                  <a:gd name="connsiteX1" fmla="*/ 1125882 w 8364336"/>
                  <a:gd name="connsiteY1" fmla="*/ 1838254 h 2319581"/>
                  <a:gd name="connsiteX2" fmla="*/ 2326507 w 8364336"/>
                  <a:gd name="connsiteY2" fmla="*/ 1718436 h 2319581"/>
                  <a:gd name="connsiteX3" fmla="*/ 4011491 w 8364336"/>
                  <a:gd name="connsiteY3" fmla="*/ 112879 h 2319581"/>
                  <a:gd name="connsiteX4" fmla="*/ 5282948 w 8364336"/>
                  <a:gd name="connsiteY4" fmla="*/ 415787 h 2319581"/>
                  <a:gd name="connsiteX5" fmla="*/ 8364336 w 8364336"/>
                  <a:gd name="connsiteY5" fmla="*/ 0 h 2319581"/>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8364336 w 8364336"/>
                  <a:gd name="connsiteY6" fmla="*/ 0 h 2319582"/>
                  <a:gd name="connsiteX0" fmla="*/ 0 w 8364336"/>
                  <a:gd name="connsiteY0" fmla="*/ 2318787 h 2319582"/>
                  <a:gd name="connsiteX1" fmla="*/ 1125882 w 8364336"/>
                  <a:gd name="connsiteY1" fmla="*/ 1838254 h 2319582"/>
                  <a:gd name="connsiteX2" fmla="*/ 2326507 w 8364336"/>
                  <a:gd name="connsiteY2" fmla="*/ 1718436 h 2319582"/>
                  <a:gd name="connsiteX3" fmla="*/ 4011491 w 8364336"/>
                  <a:gd name="connsiteY3" fmla="*/ 112879 h 2319582"/>
                  <a:gd name="connsiteX4" fmla="*/ 5282948 w 8364336"/>
                  <a:gd name="connsiteY4" fmla="*/ 415787 h 2319582"/>
                  <a:gd name="connsiteX5" fmla="*/ 7193194 w 8364336"/>
                  <a:gd name="connsiteY5" fmla="*/ 553359 h 2319582"/>
                  <a:gd name="connsiteX6" fmla="*/ 7812193 w 8364336"/>
                  <a:gd name="connsiteY6" fmla="*/ 102676 h 2319582"/>
                  <a:gd name="connsiteX7" fmla="*/ 8364336 w 8364336"/>
                  <a:gd name="connsiteY7" fmla="*/ 0 h 2319582"/>
                  <a:gd name="connsiteX0" fmla="*/ 0 w 8462813"/>
                  <a:gd name="connsiteY0" fmla="*/ 2262662 h 2263457"/>
                  <a:gd name="connsiteX1" fmla="*/ 1125882 w 8462813"/>
                  <a:gd name="connsiteY1" fmla="*/ 1782129 h 2263457"/>
                  <a:gd name="connsiteX2" fmla="*/ 2326507 w 8462813"/>
                  <a:gd name="connsiteY2" fmla="*/ 1662311 h 2263457"/>
                  <a:gd name="connsiteX3" fmla="*/ 4011491 w 8462813"/>
                  <a:gd name="connsiteY3" fmla="*/ 56754 h 2263457"/>
                  <a:gd name="connsiteX4" fmla="*/ 5282948 w 8462813"/>
                  <a:gd name="connsiteY4" fmla="*/ 359662 h 2263457"/>
                  <a:gd name="connsiteX5" fmla="*/ 7193194 w 8462813"/>
                  <a:gd name="connsiteY5" fmla="*/ 497234 h 2263457"/>
                  <a:gd name="connsiteX6" fmla="*/ 7812193 w 8462813"/>
                  <a:gd name="connsiteY6" fmla="*/ 46551 h 2263457"/>
                  <a:gd name="connsiteX7" fmla="*/ 8462813 w 8462813"/>
                  <a:gd name="connsiteY7" fmla="*/ 211 h 2263457"/>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32353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193194 w 8462813"/>
                  <a:gd name="connsiteY5" fmla="*/ 501187 h 2267410"/>
                  <a:gd name="connsiteX6" fmla="*/ 7475487 w 8462813"/>
                  <a:gd name="connsiteY6" fmla="*/ 36420 h 2267410"/>
                  <a:gd name="connsiteX7" fmla="*/ 8462813 w 8462813"/>
                  <a:gd name="connsiteY7" fmla="*/ 4164 h 2267410"/>
                  <a:gd name="connsiteX0" fmla="*/ 0 w 8462813"/>
                  <a:gd name="connsiteY0" fmla="*/ 2266615 h 2267410"/>
                  <a:gd name="connsiteX1" fmla="*/ 1125882 w 8462813"/>
                  <a:gd name="connsiteY1" fmla="*/ 1786082 h 2267410"/>
                  <a:gd name="connsiteX2" fmla="*/ 2326507 w 8462813"/>
                  <a:gd name="connsiteY2" fmla="*/ 1666264 h 2267410"/>
                  <a:gd name="connsiteX3" fmla="*/ 4011491 w 8462813"/>
                  <a:gd name="connsiteY3" fmla="*/ 60707 h 2267410"/>
                  <a:gd name="connsiteX4" fmla="*/ 5282948 w 8462813"/>
                  <a:gd name="connsiteY4" fmla="*/ 363615 h 2267410"/>
                  <a:gd name="connsiteX5" fmla="*/ 7063793 w 8462813"/>
                  <a:gd name="connsiteY5" fmla="*/ 518460 h 2267410"/>
                  <a:gd name="connsiteX6" fmla="*/ 7475487 w 8462813"/>
                  <a:gd name="connsiteY6" fmla="*/ 36420 h 2267410"/>
                  <a:gd name="connsiteX7" fmla="*/ 8462813 w 8462813"/>
                  <a:gd name="connsiteY7" fmla="*/ 4164 h 2267410"/>
                  <a:gd name="connsiteX0" fmla="*/ 0 w 9067745"/>
                  <a:gd name="connsiteY0" fmla="*/ 2351118 h 2351798"/>
                  <a:gd name="connsiteX1" fmla="*/ 1730814 w 9067745"/>
                  <a:gd name="connsiteY1" fmla="*/ 1786082 h 2351798"/>
                  <a:gd name="connsiteX2" fmla="*/ 2931439 w 9067745"/>
                  <a:gd name="connsiteY2" fmla="*/ 1666264 h 2351798"/>
                  <a:gd name="connsiteX3" fmla="*/ 4616423 w 9067745"/>
                  <a:gd name="connsiteY3" fmla="*/ 60707 h 2351798"/>
                  <a:gd name="connsiteX4" fmla="*/ 5887880 w 9067745"/>
                  <a:gd name="connsiteY4" fmla="*/ 363615 h 2351798"/>
                  <a:gd name="connsiteX5" fmla="*/ 7668725 w 9067745"/>
                  <a:gd name="connsiteY5" fmla="*/ 518460 h 2351798"/>
                  <a:gd name="connsiteX6" fmla="*/ 8080419 w 9067745"/>
                  <a:gd name="connsiteY6" fmla="*/ 36420 h 2351798"/>
                  <a:gd name="connsiteX7" fmla="*/ 9067745 w 9067745"/>
                  <a:gd name="connsiteY7" fmla="*/ 4164 h 2351798"/>
                  <a:gd name="connsiteX0" fmla="*/ 0 w 8709924"/>
                  <a:gd name="connsiteY0" fmla="*/ 2360222 h 2360902"/>
                  <a:gd name="connsiteX1" fmla="*/ 1730814 w 8709924"/>
                  <a:gd name="connsiteY1" fmla="*/ 1795186 h 2360902"/>
                  <a:gd name="connsiteX2" fmla="*/ 2931439 w 8709924"/>
                  <a:gd name="connsiteY2" fmla="*/ 1675368 h 2360902"/>
                  <a:gd name="connsiteX3" fmla="*/ 4616423 w 8709924"/>
                  <a:gd name="connsiteY3" fmla="*/ 69811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887880 w 8709924"/>
                  <a:gd name="connsiteY4" fmla="*/ 372719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7668725 w 8709924"/>
                  <a:gd name="connsiteY5" fmla="*/ 527564 h 2360902"/>
                  <a:gd name="connsiteX6" fmla="*/ 8080419 w 8709924"/>
                  <a:gd name="connsiteY6" fmla="*/ 45524 h 2360902"/>
                  <a:gd name="connsiteX7" fmla="*/ 8709924 w 8709924"/>
                  <a:gd name="connsiteY7" fmla="*/ 0 h 2360902"/>
                  <a:gd name="connsiteX0" fmla="*/ 0 w 8709924"/>
                  <a:gd name="connsiteY0" fmla="*/ 2360222 h 2360902"/>
                  <a:gd name="connsiteX1" fmla="*/ 1730814 w 8709924"/>
                  <a:gd name="connsiteY1" fmla="*/ 1795186 h 2360902"/>
                  <a:gd name="connsiteX2" fmla="*/ 2931439 w 8709924"/>
                  <a:gd name="connsiteY2" fmla="*/ 1675368 h 2360902"/>
                  <a:gd name="connsiteX3" fmla="*/ 4059812 w 8709924"/>
                  <a:gd name="connsiteY3" fmla="*/ 1184270 h 2360902"/>
                  <a:gd name="connsiteX4" fmla="*/ 5052964 w 8709924"/>
                  <a:gd name="connsiteY4" fmla="*/ 1354505 h 2360902"/>
                  <a:gd name="connsiteX5" fmla="*/ 4938683 w 8709924"/>
                  <a:gd name="connsiteY5" fmla="*/ 2318660 h 2360902"/>
                  <a:gd name="connsiteX6" fmla="*/ 8080419 w 8709924"/>
                  <a:gd name="connsiteY6" fmla="*/ 45524 h 2360902"/>
                  <a:gd name="connsiteX7" fmla="*/ 8709924 w 8709924"/>
                  <a:gd name="connsiteY7" fmla="*/ 0 h 2360902"/>
                  <a:gd name="connsiteX0" fmla="*/ 0 w 8709924"/>
                  <a:gd name="connsiteY0" fmla="*/ 2360222 h 2833593"/>
                  <a:gd name="connsiteX1" fmla="*/ 1730814 w 8709924"/>
                  <a:gd name="connsiteY1" fmla="*/ 1795186 h 2833593"/>
                  <a:gd name="connsiteX2" fmla="*/ 2931439 w 8709924"/>
                  <a:gd name="connsiteY2" fmla="*/ 1675368 h 2833593"/>
                  <a:gd name="connsiteX3" fmla="*/ 4059812 w 8709924"/>
                  <a:gd name="connsiteY3" fmla="*/ 1184270 h 2833593"/>
                  <a:gd name="connsiteX4" fmla="*/ 5052964 w 8709924"/>
                  <a:gd name="connsiteY4" fmla="*/ 1354505 h 2833593"/>
                  <a:gd name="connsiteX5" fmla="*/ 4938683 w 8709924"/>
                  <a:gd name="connsiteY5" fmla="*/ 2318660 h 2833593"/>
                  <a:gd name="connsiteX6" fmla="*/ 4807020 w 8709924"/>
                  <a:gd name="connsiteY6" fmla="*/ 2818407 h 2833593"/>
                  <a:gd name="connsiteX7" fmla="*/ 8709924 w 8709924"/>
                  <a:gd name="connsiteY7" fmla="*/ 0 h 2833593"/>
                  <a:gd name="connsiteX0" fmla="*/ 0 w 5102688"/>
                  <a:gd name="connsiteY0" fmla="*/ 1198699 h 2489596"/>
                  <a:gd name="connsiteX1" fmla="*/ 1730814 w 5102688"/>
                  <a:gd name="connsiteY1" fmla="*/ 633663 h 2489596"/>
                  <a:gd name="connsiteX2" fmla="*/ 2931439 w 5102688"/>
                  <a:gd name="connsiteY2" fmla="*/ 513845 h 2489596"/>
                  <a:gd name="connsiteX3" fmla="*/ 4059812 w 5102688"/>
                  <a:gd name="connsiteY3" fmla="*/ 22747 h 2489596"/>
                  <a:gd name="connsiteX4" fmla="*/ 5052964 w 5102688"/>
                  <a:gd name="connsiteY4" fmla="*/ 192982 h 2489596"/>
                  <a:gd name="connsiteX5" fmla="*/ 4938683 w 5102688"/>
                  <a:gd name="connsiteY5" fmla="*/ 1157137 h 2489596"/>
                  <a:gd name="connsiteX6" fmla="*/ 4807020 w 5102688"/>
                  <a:gd name="connsiteY6" fmla="*/ 1656884 h 2489596"/>
                  <a:gd name="connsiteX7" fmla="*/ 4495587 w 5102688"/>
                  <a:gd name="connsiteY7" fmla="*/ 2487006 h 2489596"/>
                  <a:gd name="connsiteX0" fmla="*/ 0 w 5102688"/>
                  <a:gd name="connsiteY0" fmla="*/ 1412095 h 2702992"/>
                  <a:gd name="connsiteX1" fmla="*/ 1730814 w 5102688"/>
                  <a:gd name="connsiteY1" fmla="*/ 847059 h 2702992"/>
                  <a:gd name="connsiteX2" fmla="*/ 2719397 w 5102688"/>
                  <a:gd name="connsiteY2" fmla="*/ 24070 h 2702992"/>
                  <a:gd name="connsiteX3" fmla="*/ 4059812 w 5102688"/>
                  <a:gd name="connsiteY3" fmla="*/ 236143 h 2702992"/>
                  <a:gd name="connsiteX4" fmla="*/ 5052964 w 5102688"/>
                  <a:gd name="connsiteY4" fmla="*/ 406378 h 2702992"/>
                  <a:gd name="connsiteX5" fmla="*/ 4938683 w 5102688"/>
                  <a:gd name="connsiteY5" fmla="*/ 1370533 h 2702992"/>
                  <a:gd name="connsiteX6" fmla="*/ 4807020 w 5102688"/>
                  <a:gd name="connsiteY6" fmla="*/ 1870280 h 2702992"/>
                  <a:gd name="connsiteX7" fmla="*/ 4495587 w 5102688"/>
                  <a:gd name="connsiteY7" fmla="*/ 2700402 h 2702992"/>
                  <a:gd name="connsiteX0" fmla="*/ 0 w 5102688"/>
                  <a:gd name="connsiteY0" fmla="*/ 1428194 h 2719091"/>
                  <a:gd name="connsiteX1" fmla="*/ 1730814 w 5102688"/>
                  <a:gd name="connsiteY1" fmla="*/ 863158 h 2719091"/>
                  <a:gd name="connsiteX2" fmla="*/ 2719397 w 5102688"/>
                  <a:gd name="connsiteY2" fmla="*/ 40169 h 2719091"/>
                  <a:gd name="connsiteX3" fmla="*/ 4059812 w 5102688"/>
                  <a:gd name="connsiteY3" fmla="*/ 252242 h 2719091"/>
                  <a:gd name="connsiteX4" fmla="*/ 5052964 w 5102688"/>
                  <a:gd name="connsiteY4" fmla="*/ 422477 h 2719091"/>
                  <a:gd name="connsiteX5" fmla="*/ 4938683 w 5102688"/>
                  <a:gd name="connsiteY5" fmla="*/ 1386632 h 2719091"/>
                  <a:gd name="connsiteX6" fmla="*/ 4807020 w 5102688"/>
                  <a:gd name="connsiteY6" fmla="*/ 1886379 h 2719091"/>
                  <a:gd name="connsiteX7" fmla="*/ 4495587 w 5102688"/>
                  <a:gd name="connsiteY7" fmla="*/ 2716501 h 2719091"/>
                  <a:gd name="connsiteX0" fmla="*/ 0 w 5102688"/>
                  <a:gd name="connsiteY0" fmla="*/ 1401181 h 2692078"/>
                  <a:gd name="connsiteX1" fmla="*/ 1730814 w 5102688"/>
                  <a:gd name="connsiteY1" fmla="*/ 836145 h 2692078"/>
                  <a:gd name="connsiteX2" fmla="*/ 2719397 w 5102688"/>
                  <a:gd name="connsiteY2" fmla="*/ 13156 h 2692078"/>
                  <a:gd name="connsiteX3" fmla="*/ 3974330 w 5102688"/>
                  <a:gd name="connsiteY3" fmla="*/ 322184 h 2692078"/>
                  <a:gd name="connsiteX4" fmla="*/ 4059812 w 5102688"/>
                  <a:gd name="connsiteY4" fmla="*/ 225229 h 2692078"/>
                  <a:gd name="connsiteX5" fmla="*/ 5052964 w 5102688"/>
                  <a:gd name="connsiteY5" fmla="*/ 395464 h 2692078"/>
                  <a:gd name="connsiteX6" fmla="*/ 4938683 w 5102688"/>
                  <a:gd name="connsiteY6" fmla="*/ 1359619 h 2692078"/>
                  <a:gd name="connsiteX7" fmla="*/ 4807020 w 5102688"/>
                  <a:gd name="connsiteY7" fmla="*/ 1859366 h 2692078"/>
                  <a:gd name="connsiteX8" fmla="*/ 4495587 w 5102688"/>
                  <a:gd name="connsiteY8" fmla="*/ 2689488 h 2692078"/>
                  <a:gd name="connsiteX0" fmla="*/ 0 w 5102688"/>
                  <a:gd name="connsiteY0" fmla="*/ 1398091 h 2688988"/>
                  <a:gd name="connsiteX1" fmla="*/ 1730814 w 5102688"/>
                  <a:gd name="connsiteY1" fmla="*/ 833055 h 2688988"/>
                  <a:gd name="connsiteX2" fmla="*/ 2719397 w 5102688"/>
                  <a:gd name="connsiteY2" fmla="*/ 10066 h 2688988"/>
                  <a:gd name="connsiteX3" fmla="*/ 3974330 w 5102688"/>
                  <a:gd name="connsiteY3" fmla="*/ 319094 h 2688988"/>
                  <a:gd name="connsiteX4" fmla="*/ 4059812 w 5102688"/>
                  <a:gd name="connsiteY4" fmla="*/ 222139 h 2688988"/>
                  <a:gd name="connsiteX5" fmla="*/ 5052964 w 5102688"/>
                  <a:gd name="connsiteY5" fmla="*/ 392374 h 2688988"/>
                  <a:gd name="connsiteX6" fmla="*/ 4938683 w 5102688"/>
                  <a:gd name="connsiteY6" fmla="*/ 1356529 h 2688988"/>
                  <a:gd name="connsiteX7" fmla="*/ 4807020 w 5102688"/>
                  <a:gd name="connsiteY7" fmla="*/ 1856276 h 2688988"/>
                  <a:gd name="connsiteX8" fmla="*/ 4495587 w 5102688"/>
                  <a:gd name="connsiteY8" fmla="*/ 2686398 h 2688988"/>
                  <a:gd name="connsiteX0" fmla="*/ 0 w 5108678"/>
                  <a:gd name="connsiteY0" fmla="*/ 1398091 h 2688988"/>
                  <a:gd name="connsiteX1" fmla="*/ 1730814 w 5108678"/>
                  <a:gd name="connsiteY1" fmla="*/ 833055 h 2688988"/>
                  <a:gd name="connsiteX2" fmla="*/ 2719397 w 5108678"/>
                  <a:gd name="connsiteY2" fmla="*/ 10066 h 2688988"/>
                  <a:gd name="connsiteX3" fmla="*/ 3974330 w 5108678"/>
                  <a:gd name="connsiteY3" fmla="*/ 319094 h 2688988"/>
                  <a:gd name="connsiteX4" fmla="*/ 5052964 w 5108678"/>
                  <a:gd name="connsiteY4" fmla="*/ 392374 h 2688988"/>
                  <a:gd name="connsiteX5" fmla="*/ 4938683 w 5108678"/>
                  <a:gd name="connsiteY5" fmla="*/ 1356529 h 2688988"/>
                  <a:gd name="connsiteX6" fmla="*/ 4807020 w 5108678"/>
                  <a:gd name="connsiteY6" fmla="*/ 1856276 h 2688988"/>
                  <a:gd name="connsiteX7" fmla="*/ 4495587 w 5108678"/>
                  <a:gd name="connsiteY7" fmla="*/ 2686398 h 2688988"/>
                  <a:gd name="connsiteX0" fmla="*/ 0 w 4975097"/>
                  <a:gd name="connsiteY0" fmla="*/ 1398091 h 2688988"/>
                  <a:gd name="connsiteX1" fmla="*/ 1730814 w 4975097"/>
                  <a:gd name="connsiteY1" fmla="*/ 833055 h 2688988"/>
                  <a:gd name="connsiteX2" fmla="*/ 2719397 w 4975097"/>
                  <a:gd name="connsiteY2" fmla="*/ 10066 h 2688988"/>
                  <a:gd name="connsiteX3" fmla="*/ 3974330 w 4975097"/>
                  <a:gd name="connsiteY3" fmla="*/ 319094 h 2688988"/>
                  <a:gd name="connsiteX4" fmla="*/ 4880680 w 4975097"/>
                  <a:gd name="connsiteY4" fmla="*/ 392374 h 2688988"/>
                  <a:gd name="connsiteX5" fmla="*/ 4938683 w 4975097"/>
                  <a:gd name="connsiteY5" fmla="*/ 1356529 h 2688988"/>
                  <a:gd name="connsiteX6" fmla="*/ 4807020 w 4975097"/>
                  <a:gd name="connsiteY6" fmla="*/ 1856276 h 2688988"/>
                  <a:gd name="connsiteX7" fmla="*/ 4495587 w 4975097"/>
                  <a:gd name="connsiteY7" fmla="*/ 2686398 h 2688988"/>
                  <a:gd name="connsiteX0" fmla="*/ 0 w 4994181"/>
                  <a:gd name="connsiteY0" fmla="*/ 1398091 h 2686398"/>
                  <a:gd name="connsiteX1" fmla="*/ 1730814 w 4994181"/>
                  <a:gd name="connsiteY1" fmla="*/ 833055 h 2686398"/>
                  <a:gd name="connsiteX2" fmla="*/ 2719397 w 4994181"/>
                  <a:gd name="connsiteY2" fmla="*/ 10066 h 2686398"/>
                  <a:gd name="connsiteX3" fmla="*/ 3974330 w 4994181"/>
                  <a:gd name="connsiteY3" fmla="*/ 319094 h 2686398"/>
                  <a:gd name="connsiteX4" fmla="*/ 4880680 w 4994181"/>
                  <a:gd name="connsiteY4" fmla="*/ 392374 h 2686398"/>
                  <a:gd name="connsiteX5" fmla="*/ 4938683 w 4994181"/>
                  <a:gd name="connsiteY5" fmla="*/ 1356529 h 2686398"/>
                  <a:gd name="connsiteX6" fmla="*/ 4495587 w 4994181"/>
                  <a:gd name="connsiteY6" fmla="*/ 2686398 h 2686398"/>
                  <a:gd name="connsiteX0" fmla="*/ 0 w 4930746"/>
                  <a:gd name="connsiteY0" fmla="*/ 1398091 h 2686398"/>
                  <a:gd name="connsiteX1" fmla="*/ 1730814 w 4930746"/>
                  <a:gd name="connsiteY1" fmla="*/ 833055 h 2686398"/>
                  <a:gd name="connsiteX2" fmla="*/ 2719397 w 4930746"/>
                  <a:gd name="connsiteY2" fmla="*/ 10066 h 2686398"/>
                  <a:gd name="connsiteX3" fmla="*/ 3974330 w 4930746"/>
                  <a:gd name="connsiteY3" fmla="*/ 319094 h 2686398"/>
                  <a:gd name="connsiteX4" fmla="*/ 4880680 w 4930746"/>
                  <a:gd name="connsiteY4" fmla="*/ 392374 h 2686398"/>
                  <a:gd name="connsiteX5" fmla="*/ 4779652 w 4930746"/>
                  <a:gd name="connsiteY5" fmla="*/ 1369796 h 2686398"/>
                  <a:gd name="connsiteX6" fmla="*/ 4495587 w 4930746"/>
                  <a:gd name="connsiteY6" fmla="*/ 2686398 h 2686398"/>
                  <a:gd name="connsiteX0" fmla="*/ 0 w 5212110"/>
                  <a:gd name="connsiteY0" fmla="*/ 1764271 h 2686398"/>
                  <a:gd name="connsiteX1" fmla="*/ 2012178 w 5212110"/>
                  <a:gd name="connsiteY1" fmla="*/ 833055 h 2686398"/>
                  <a:gd name="connsiteX2" fmla="*/ 3000761 w 5212110"/>
                  <a:gd name="connsiteY2" fmla="*/ 10066 h 2686398"/>
                  <a:gd name="connsiteX3" fmla="*/ 4255694 w 5212110"/>
                  <a:gd name="connsiteY3" fmla="*/ 319094 h 2686398"/>
                  <a:gd name="connsiteX4" fmla="*/ 5162044 w 5212110"/>
                  <a:gd name="connsiteY4" fmla="*/ 392374 h 2686398"/>
                  <a:gd name="connsiteX5" fmla="*/ 5061016 w 5212110"/>
                  <a:gd name="connsiteY5" fmla="*/ 1369796 h 2686398"/>
                  <a:gd name="connsiteX6" fmla="*/ 4776951 w 5212110"/>
                  <a:gd name="connsiteY6" fmla="*/ 2686398 h 2686398"/>
                  <a:gd name="connsiteX0" fmla="*/ 39895 w 5252005"/>
                  <a:gd name="connsiteY0" fmla="*/ 2161861 h 3083988"/>
                  <a:gd name="connsiteX1" fmla="*/ 138801 w 5252005"/>
                  <a:gd name="connsiteY1" fmla="*/ 89854 h 3083988"/>
                  <a:gd name="connsiteX2" fmla="*/ 3040656 w 5252005"/>
                  <a:gd name="connsiteY2" fmla="*/ 407656 h 3083988"/>
                  <a:gd name="connsiteX3" fmla="*/ 4295589 w 5252005"/>
                  <a:gd name="connsiteY3" fmla="*/ 716684 h 3083988"/>
                  <a:gd name="connsiteX4" fmla="*/ 5201939 w 5252005"/>
                  <a:gd name="connsiteY4" fmla="*/ 789964 h 3083988"/>
                  <a:gd name="connsiteX5" fmla="*/ 5100911 w 5252005"/>
                  <a:gd name="connsiteY5" fmla="*/ 1767386 h 3083988"/>
                  <a:gd name="connsiteX6" fmla="*/ 4816846 w 5252005"/>
                  <a:gd name="connsiteY6" fmla="*/ 3083988 h 3083988"/>
                  <a:gd name="connsiteX0" fmla="*/ 65807 w 5277917"/>
                  <a:gd name="connsiteY0" fmla="*/ 3508547 h 4430674"/>
                  <a:gd name="connsiteX1" fmla="*/ 164713 w 5277917"/>
                  <a:gd name="connsiteY1" fmla="*/ 1436540 h 4430674"/>
                  <a:gd name="connsiteX2" fmla="*/ 351409 w 5277917"/>
                  <a:gd name="connsiteY2" fmla="*/ 7947 h 4430674"/>
                  <a:gd name="connsiteX3" fmla="*/ 4321501 w 5277917"/>
                  <a:gd name="connsiteY3" fmla="*/ 2063370 h 4430674"/>
                  <a:gd name="connsiteX4" fmla="*/ 5227851 w 5277917"/>
                  <a:gd name="connsiteY4" fmla="*/ 2136650 h 4430674"/>
                  <a:gd name="connsiteX5" fmla="*/ 5126823 w 5277917"/>
                  <a:gd name="connsiteY5" fmla="*/ 3114072 h 4430674"/>
                  <a:gd name="connsiteX6" fmla="*/ 4842758 w 5277917"/>
                  <a:gd name="connsiteY6" fmla="*/ 4430674 h 4430674"/>
                  <a:gd name="connsiteX0" fmla="*/ 131793 w 5343903"/>
                  <a:gd name="connsiteY0" fmla="*/ 3510312 h 4432439"/>
                  <a:gd name="connsiteX1" fmla="*/ 230699 w 5343903"/>
                  <a:gd name="connsiteY1" fmla="*/ 1438305 h 4432439"/>
                  <a:gd name="connsiteX2" fmla="*/ 417395 w 5343903"/>
                  <a:gd name="connsiteY2" fmla="*/ 9712 h 4432439"/>
                  <a:gd name="connsiteX3" fmla="*/ 5293837 w 5343903"/>
                  <a:gd name="connsiteY3" fmla="*/ 2138415 h 4432439"/>
                  <a:gd name="connsiteX4" fmla="*/ 5192809 w 5343903"/>
                  <a:gd name="connsiteY4" fmla="*/ 3115837 h 4432439"/>
                  <a:gd name="connsiteX5" fmla="*/ 4908744 w 5343903"/>
                  <a:gd name="connsiteY5" fmla="*/ 4432439 h 4432439"/>
                  <a:gd name="connsiteX0" fmla="*/ 131793 w 5343903"/>
                  <a:gd name="connsiteY0" fmla="*/ 3510312 h 3510529"/>
                  <a:gd name="connsiteX1" fmla="*/ 230699 w 5343903"/>
                  <a:gd name="connsiteY1" fmla="*/ 1438305 h 3510529"/>
                  <a:gd name="connsiteX2" fmla="*/ 417395 w 5343903"/>
                  <a:gd name="connsiteY2" fmla="*/ 9712 h 3510529"/>
                  <a:gd name="connsiteX3" fmla="*/ 5293837 w 5343903"/>
                  <a:gd name="connsiteY3" fmla="*/ 2138415 h 3510529"/>
                  <a:gd name="connsiteX4" fmla="*/ 5192809 w 5343903"/>
                  <a:gd name="connsiteY4" fmla="*/ 3115837 h 3510529"/>
                  <a:gd name="connsiteX0" fmla="*/ 131793 w 5293837"/>
                  <a:gd name="connsiteY0" fmla="*/ 3510312 h 3510529"/>
                  <a:gd name="connsiteX1" fmla="*/ 230699 w 5293837"/>
                  <a:gd name="connsiteY1" fmla="*/ 1438305 h 3510529"/>
                  <a:gd name="connsiteX2" fmla="*/ 417395 w 5293837"/>
                  <a:gd name="connsiteY2" fmla="*/ 9712 h 3510529"/>
                  <a:gd name="connsiteX3" fmla="*/ 5293837 w 5293837"/>
                  <a:gd name="connsiteY3" fmla="*/ 2138415 h 3510529"/>
                  <a:gd name="connsiteX0" fmla="*/ 0 w 1166682"/>
                  <a:gd name="connsiteY0" fmla="*/ 3728540 h 3728757"/>
                  <a:gd name="connsiteX1" fmla="*/ 98906 w 1166682"/>
                  <a:gd name="connsiteY1" fmla="*/ 1656533 h 3728757"/>
                  <a:gd name="connsiteX2" fmla="*/ 285602 w 1166682"/>
                  <a:gd name="connsiteY2" fmla="*/ 227940 h 3728757"/>
                  <a:gd name="connsiteX3" fmla="*/ 1166682 w 1166682"/>
                  <a:gd name="connsiteY3" fmla="*/ 328571 h 3728757"/>
                  <a:gd name="connsiteX0" fmla="*/ 0 w 1166682"/>
                  <a:gd name="connsiteY0" fmla="*/ 3620869 h 3621086"/>
                  <a:gd name="connsiteX1" fmla="*/ 98906 w 1166682"/>
                  <a:gd name="connsiteY1" fmla="*/ 1548862 h 3621086"/>
                  <a:gd name="connsiteX2" fmla="*/ 285602 w 1166682"/>
                  <a:gd name="connsiteY2" fmla="*/ 120269 h 3621086"/>
                  <a:gd name="connsiteX3" fmla="*/ 1166682 w 1166682"/>
                  <a:gd name="connsiteY3" fmla="*/ 220900 h 3621086"/>
                  <a:gd name="connsiteX0" fmla="*/ 55964 w 1222646"/>
                  <a:gd name="connsiteY0" fmla="*/ 3630477 h 3630694"/>
                  <a:gd name="connsiteX1" fmla="*/ 154870 w 1222646"/>
                  <a:gd name="connsiteY1" fmla="*/ 1558470 h 3630694"/>
                  <a:gd name="connsiteX2" fmla="*/ 60202 w 1222646"/>
                  <a:gd name="connsiteY2" fmla="*/ 115793 h 3630694"/>
                  <a:gd name="connsiteX3" fmla="*/ 1222646 w 1222646"/>
                  <a:gd name="connsiteY3" fmla="*/ 230508 h 3630694"/>
                  <a:gd name="connsiteX0" fmla="*/ 110183 w 1276865"/>
                  <a:gd name="connsiteY0" fmla="*/ 3593378 h 3593595"/>
                  <a:gd name="connsiteX1" fmla="*/ 209089 w 1276865"/>
                  <a:gd name="connsiteY1" fmla="*/ 1521371 h 3593595"/>
                  <a:gd name="connsiteX2" fmla="*/ 114421 w 1276865"/>
                  <a:gd name="connsiteY2" fmla="*/ 78694 h 3593595"/>
                  <a:gd name="connsiteX3" fmla="*/ 1276865 w 1276865"/>
                  <a:gd name="connsiteY3" fmla="*/ 193409 h 3593595"/>
                  <a:gd name="connsiteX0" fmla="*/ 128545 w 1295227"/>
                  <a:gd name="connsiteY0" fmla="*/ 3581115 h 3581332"/>
                  <a:gd name="connsiteX1" fmla="*/ 227451 w 1295227"/>
                  <a:gd name="connsiteY1" fmla="*/ 1509108 h 3581332"/>
                  <a:gd name="connsiteX2" fmla="*/ 132783 w 1295227"/>
                  <a:gd name="connsiteY2" fmla="*/ 66431 h 3581332"/>
                  <a:gd name="connsiteX3" fmla="*/ 1295227 w 1295227"/>
                  <a:gd name="connsiteY3" fmla="*/ 181146 h 3581332"/>
                  <a:gd name="connsiteX0" fmla="*/ 71828 w 1463601"/>
                  <a:gd name="connsiteY0" fmla="*/ 3667419 h 3667636"/>
                  <a:gd name="connsiteX1" fmla="*/ 170734 w 1463601"/>
                  <a:gd name="connsiteY1" fmla="*/ 1595412 h 3667636"/>
                  <a:gd name="connsiteX2" fmla="*/ 76066 w 1463601"/>
                  <a:gd name="connsiteY2" fmla="*/ 152735 h 3667636"/>
                  <a:gd name="connsiteX3" fmla="*/ 1463601 w 1463601"/>
                  <a:gd name="connsiteY3" fmla="*/ 182947 h 3667636"/>
                  <a:gd name="connsiteX0" fmla="*/ 71828 w 1463601"/>
                  <a:gd name="connsiteY0" fmla="*/ 3623294 h 3623511"/>
                  <a:gd name="connsiteX1" fmla="*/ 170734 w 1463601"/>
                  <a:gd name="connsiteY1" fmla="*/ 1551287 h 3623511"/>
                  <a:gd name="connsiteX2" fmla="*/ 76066 w 1463601"/>
                  <a:gd name="connsiteY2" fmla="*/ 108610 h 3623511"/>
                  <a:gd name="connsiteX3" fmla="*/ 1463601 w 1463601"/>
                  <a:gd name="connsiteY3" fmla="*/ 138822 h 3623511"/>
                  <a:gd name="connsiteX0" fmla="*/ 54001 w 1445774"/>
                  <a:gd name="connsiteY0" fmla="*/ 3579514 h 3579731"/>
                  <a:gd name="connsiteX1" fmla="*/ 152907 w 1445774"/>
                  <a:gd name="connsiteY1" fmla="*/ 1507507 h 3579731"/>
                  <a:gd name="connsiteX2" fmla="*/ 58239 w 1445774"/>
                  <a:gd name="connsiteY2" fmla="*/ 64830 h 3579731"/>
                  <a:gd name="connsiteX3" fmla="*/ 1445774 w 1445774"/>
                  <a:gd name="connsiteY3" fmla="*/ 95042 h 3579731"/>
                  <a:gd name="connsiteX0" fmla="*/ 104542 w 1496315"/>
                  <a:gd name="connsiteY0" fmla="*/ 3632678 h 3632915"/>
                  <a:gd name="connsiteX1" fmla="*/ 90903 w 1496315"/>
                  <a:gd name="connsiteY1" fmla="*/ 1687425 h 3632915"/>
                  <a:gd name="connsiteX2" fmla="*/ 108780 w 1496315"/>
                  <a:gd name="connsiteY2" fmla="*/ 117994 h 3632915"/>
                  <a:gd name="connsiteX3" fmla="*/ 1496315 w 1496315"/>
                  <a:gd name="connsiteY3" fmla="*/ 148206 h 3632915"/>
                  <a:gd name="connsiteX0" fmla="*/ 104542 w 1496315"/>
                  <a:gd name="connsiteY0" fmla="*/ 3632678 h 3632971"/>
                  <a:gd name="connsiteX1" fmla="*/ 90903 w 1496315"/>
                  <a:gd name="connsiteY1" fmla="*/ 1687425 h 3632971"/>
                  <a:gd name="connsiteX2" fmla="*/ 108780 w 1496315"/>
                  <a:gd name="connsiteY2" fmla="*/ 117994 h 3632971"/>
                  <a:gd name="connsiteX3" fmla="*/ 1496315 w 1496315"/>
                  <a:gd name="connsiteY3" fmla="*/ 148206 h 3632971"/>
                  <a:gd name="connsiteX0" fmla="*/ 104542 w 1496315"/>
                  <a:gd name="connsiteY0" fmla="*/ 3632678 h 3632678"/>
                  <a:gd name="connsiteX1" fmla="*/ 90903 w 1496315"/>
                  <a:gd name="connsiteY1" fmla="*/ 1687425 h 3632678"/>
                  <a:gd name="connsiteX2" fmla="*/ 108780 w 1496315"/>
                  <a:gd name="connsiteY2" fmla="*/ 117994 h 3632678"/>
                  <a:gd name="connsiteX3" fmla="*/ 1496315 w 1496315"/>
                  <a:gd name="connsiteY3" fmla="*/ 148206 h 3632678"/>
                  <a:gd name="connsiteX0" fmla="*/ 110239 w 1502012"/>
                  <a:gd name="connsiteY0" fmla="*/ 3484472 h 3484472"/>
                  <a:gd name="connsiteX1" fmla="*/ 96600 w 1502012"/>
                  <a:gd name="connsiteY1" fmla="*/ 1539219 h 3484472"/>
                  <a:gd name="connsiteX2" fmla="*/ 1502012 w 1502012"/>
                  <a:gd name="connsiteY2" fmla="*/ 0 h 3484472"/>
                  <a:gd name="connsiteX0" fmla="*/ 94673 w 1275423"/>
                  <a:gd name="connsiteY0" fmla="*/ 2053947 h 2053947"/>
                  <a:gd name="connsiteX1" fmla="*/ 81034 w 1275423"/>
                  <a:gd name="connsiteY1" fmla="*/ 108694 h 2053947"/>
                  <a:gd name="connsiteX2" fmla="*/ 1275423 w 1275423"/>
                  <a:gd name="connsiteY2" fmla="*/ 34194 h 2053947"/>
                  <a:gd name="connsiteX0" fmla="*/ 94673 w 1275423"/>
                  <a:gd name="connsiteY0" fmla="*/ 2113972 h 2113972"/>
                  <a:gd name="connsiteX1" fmla="*/ 81034 w 1275423"/>
                  <a:gd name="connsiteY1" fmla="*/ 168719 h 2113972"/>
                  <a:gd name="connsiteX2" fmla="*/ 1275423 w 1275423"/>
                  <a:gd name="connsiteY2" fmla="*/ 94219 h 2113972"/>
                  <a:gd name="connsiteX0" fmla="*/ 89489 w 1199897"/>
                  <a:gd name="connsiteY0" fmla="*/ 2103087 h 2103087"/>
                  <a:gd name="connsiteX1" fmla="*/ 75850 w 1199897"/>
                  <a:gd name="connsiteY1" fmla="*/ 157834 h 2103087"/>
                  <a:gd name="connsiteX2" fmla="*/ 1199898 w 1199897"/>
                  <a:gd name="connsiteY2" fmla="*/ 111501 h 2103087"/>
                  <a:gd name="connsiteX0" fmla="*/ 13751 w 1124160"/>
                  <a:gd name="connsiteY0" fmla="*/ 2109315 h 2109315"/>
                  <a:gd name="connsiteX1" fmla="*/ 112 w 1124160"/>
                  <a:gd name="connsiteY1" fmla="*/ 164062 h 2109315"/>
                  <a:gd name="connsiteX2" fmla="*/ 1124160 w 1124160"/>
                  <a:gd name="connsiteY2" fmla="*/ 117729 h 2109315"/>
                  <a:gd name="connsiteX0" fmla="*/ 13751 w 1124160"/>
                  <a:gd name="connsiteY0" fmla="*/ 2028832 h 2028832"/>
                  <a:gd name="connsiteX1" fmla="*/ 112 w 1124160"/>
                  <a:gd name="connsiteY1" fmla="*/ 83579 h 2028832"/>
                  <a:gd name="connsiteX2" fmla="*/ 1124160 w 1124160"/>
                  <a:gd name="connsiteY2" fmla="*/ 37246 h 2028832"/>
                  <a:gd name="connsiteX0" fmla="*/ 96746 w 1305632"/>
                  <a:gd name="connsiteY0" fmla="*/ 2088307 h 2088307"/>
                  <a:gd name="connsiteX1" fmla="*/ 83107 w 1305632"/>
                  <a:gd name="connsiteY1" fmla="*/ 143054 h 2088307"/>
                  <a:gd name="connsiteX2" fmla="*/ 1305632 w 1305632"/>
                  <a:gd name="connsiteY2" fmla="*/ 138972 h 2088307"/>
                  <a:gd name="connsiteX0" fmla="*/ 41112 w 1249998"/>
                  <a:gd name="connsiteY0" fmla="*/ 2025719 h 2025719"/>
                  <a:gd name="connsiteX1" fmla="*/ 27473 w 1249998"/>
                  <a:gd name="connsiteY1" fmla="*/ 80466 h 2025719"/>
                  <a:gd name="connsiteX2" fmla="*/ 1249998 w 1249998"/>
                  <a:gd name="connsiteY2" fmla="*/ 76384 h 2025719"/>
                  <a:gd name="connsiteX0" fmla="*/ 29123 w 1238009"/>
                  <a:gd name="connsiteY0" fmla="*/ 1981918 h 1981918"/>
                  <a:gd name="connsiteX1" fmla="*/ 15484 w 1238009"/>
                  <a:gd name="connsiteY1" fmla="*/ 36665 h 1981918"/>
                  <a:gd name="connsiteX2" fmla="*/ 1238009 w 1238009"/>
                  <a:gd name="connsiteY2" fmla="*/ 32583 h 1981918"/>
                </a:gdLst>
                <a:ahLst/>
                <a:cxnLst>
                  <a:cxn ang="0">
                    <a:pos x="connsiteX0" y="connsiteY0"/>
                  </a:cxn>
                  <a:cxn ang="0">
                    <a:pos x="connsiteX1" y="connsiteY1"/>
                  </a:cxn>
                  <a:cxn ang="0">
                    <a:pos x="connsiteX2" y="connsiteY2"/>
                  </a:cxn>
                </a:cxnLst>
                <a:rect l="l" t="t" r="r" b="b"/>
                <a:pathLst>
                  <a:path w="1238009" h="1981918">
                    <a:moveTo>
                      <a:pt x="29123" y="1981918"/>
                    </a:moveTo>
                    <a:cubicBezTo>
                      <a:pt x="44138" y="833980"/>
                      <a:pt x="-31245" y="122129"/>
                      <a:pt x="15484" y="36665"/>
                    </a:cubicBezTo>
                    <a:cubicBezTo>
                      <a:pt x="62213" y="-48799"/>
                      <a:pt x="227738" y="43410"/>
                      <a:pt x="1238009" y="32583"/>
                    </a:cubicBezTo>
                  </a:path>
                </a:pathLst>
              </a:custGeom>
              <a:noFill/>
              <a:ln w="57150" cap="flat" cmpd="sng" algn="ctr">
                <a:solidFill>
                  <a:srgbClr val="FF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solidFill>
                    <a:schemeClr val="tx2">
                      <a:lumMod val="50000"/>
                      <a:lumOff val="50000"/>
                    </a:schemeClr>
                  </a:solidFill>
                  <a:latin typeface="+mn-lt"/>
                </a:endParaRPr>
              </a:p>
            </p:txBody>
          </p:sp>
          <p:sp>
            <p:nvSpPr>
              <p:cNvPr id="107" name="Freeform 14335">
                <a:extLst>
                  <a:ext uri="{FF2B5EF4-FFF2-40B4-BE49-F238E27FC236}">
                    <a16:creationId xmlns:a16="http://schemas.microsoft.com/office/drawing/2014/main" id="{942045F9-3BE6-48D6-BD11-95EA17FAFF8C}"/>
                  </a:ext>
                </a:extLst>
              </p:cNvPr>
              <p:cNvSpPr>
                <a:spLocks/>
              </p:cNvSpPr>
              <p:nvPr/>
            </p:nvSpPr>
            <p:spPr bwMode="auto">
              <a:xfrm>
                <a:off x="4774903" y="4013955"/>
                <a:ext cx="1110738" cy="1885194"/>
              </a:xfrm>
              <a:custGeom>
                <a:avLst/>
                <a:gdLst>
                  <a:gd name="T0" fmla="*/ 0 w 4776951"/>
                  <a:gd name="T1" fmla="*/ 345649 h 394152"/>
                  <a:gd name="T2" fmla="*/ 1702502 w 4776951"/>
                  <a:gd name="T3" fmla="*/ 329937 h 394152"/>
                  <a:gd name="T4" fmla="*/ 2270000 w 4776951"/>
                  <a:gd name="T5" fmla="*/ 0 h 394152"/>
                  <a:gd name="T6" fmla="*/ 3546875 w 4776951"/>
                  <a:gd name="T7" fmla="*/ 0 h 394152"/>
                  <a:gd name="T8" fmla="*/ 3988265 w 4776951"/>
                  <a:gd name="T9" fmla="*/ 329937 h 394152"/>
                  <a:gd name="T10" fmla="*/ 4776459 w 4776951"/>
                  <a:gd name="T11" fmla="*/ 392784 h 394152"/>
                  <a:gd name="T12" fmla="*/ 4776459 w 4776951"/>
                  <a:gd name="T13" fmla="*/ 392784 h 394152"/>
                  <a:gd name="T14" fmla="*/ 0 60000 65536"/>
                  <a:gd name="T15" fmla="*/ 0 60000 65536"/>
                  <a:gd name="T16" fmla="*/ 0 60000 65536"/>
                  <a:gd name="T17" fmla="*/ 0 60000 65536"/>
                  <a:gd name="T18" fmla="*/ 0 60000 65536"/>
                  <a:gd name="T19" fmla="*/ 0 60000 65536"/>
                  <a:gd name="T20" fmla="*/ 0 60000 65536"/>
                  <a:gd name="connsiteX0" fmla="*/ 0 w 4776951"/>
                  <a:gd name="connsiteY0" fmla="*/ 619729 h 667040"/>
                  <a:gd name="connsiteX1" fmla="*/ 1830272 w 4776951"/>
                  <a:gd name="connsiteY1" fmla="*/ 7856 h 667040"/>
                  <a:gd name="connsiteX2" fmla="*/ 2270234 w 4776951"/>
                  <a:gd name="connsiteY2" fmla="*/ 272888 h 667040"/>
                  <a:gd name="connsiteX3" fmla="*/ 3547241 w 4776951"/>
                  <a:gd name="connsiteY3" fmla="*/ 272888 h 667040"/>
                  <a:gd name="connsiteX4" fmla="*/ 3988676 w 4776951"/>
                  <a:gd name="connsiteY4" fmla="*/ 603963 h 667040"/>
                  <a:gd name="connsiteX5" fmla="*/ 4776951 w 4776951"/>
                  <a:gd name="connsiteY5" fmla="*/ 667026 h 667040"/>
                  <a:gd name="connsiteX0" fmla="*/ 0 w 4776951"/>
                  <a:gd name="connsiteY0" fmla="*/ 644523 h 691834"/>
                  <a:gd name="connsiteX1" fmla="*/ 1830272 w 4776951"/>
                  <a:gd name="connsiteY1" fmla="*/ 32650 h 691834"/>
                  <a:gd name="connsiteX2" fmla="*/ 2461627 w 4776951"/>
                  <a:gd name="connsiteY2" fmla="*/ 106076 h 691834"/>
                  <a:gd name="connsiteX3" fmla="*/ 3547241 w 4776951"/>
                  <a:gd name="connsiteY3" fmla="*/ 297682 h 691834"/>
                  <a:gd name="connsiteX4" fmla="*/ 3988676 w 4776951"/>
                  <a:gd name="connsiteY4" fmla="*/ 628757 h 691834"/>
                  <a:gd name="connsiteX5" fmla="*/ 4776951 w 4776951"/>
                  <a:gd name="connsiteY5" fmla="*/ 691820 h 691834"/>
                  <a:gd name="connsiteX0" fmla="*/ 0 w 4776951"/>
                  <a:gd name="connsiteY0" fmla="*/ 618509 h 665820"/>
                  <a:gd name="connsiteX1" fmla="*/ 1830272 w 4776951"/>
                  <a:gd name="connsiteY1" fmla="*/ 6636 h 665820"/>
                  <a:gd name="connsiteX2" fmla="*/ 2461627 w 4776951"/>
                  <a:gd name="connsiteY2" fmla="*/ 80062 h 665820"/>
                  <a:gd name="connsiteX3" fmla="*/ 3547241 w 4776951"/>
                  <a:gd name="connsiteY3" fmla="*/ 271668 h 665820"/>
                  <a:gd name="connsiteX4" fmla="*/ 3988676 w 4776951"/>
                  <a:gd name="connsiteY4" fmla="*/ 602743 h 665820"/>
                  <a:gd name="connsiteX5" fmla="*/ 4776951 w 4776951"/>
                  <a:gd name="connsiteY5" fmla="*/ 665806 h 665820"/>
                  <a:gd name="connsiteX0" fmla="*/ 0 w 4776951"/>
                  <a:gd name="connsiteY0" fmla="*/ 660518 h 707829"/>
                  <a:gd name="connsiteX1" fmla="*/ 1830272 w 4776951"/>
                  <a:gd name="connsiteY1" fmla="*/ 48645 h 707829"/>
                  <a:gd name="connsiteX2" fmla="*/ 2663653 w 4776951"/>
                  <a:gd name="connsiteY2" fmla="*/ 68847 h 707829"/>
                  <a:gd name="connsiteX3" fmla="*/ 3547241 w 4776951"/>
                  <a:gd name="connsiteY3" fmla="*/ 313677 h 707829"/>
                  <a:gd name="connsiteX4" fmla="*/ 3988676 w 4776951"/>
                  <a:gd name="connsiteY4" fmla="*/ 644752 h 707829"/>
                  <a:gd name="connsiteX5" fmla="*/ 4776951 w 4776951"/>
                  <a:gd name="connsiteY5" fmla="*/ 707815 h 707829"/>
                  <a:gd name="connsiteX0" fmla="*/ 0 w 4776951"/>
                  <a:gd name="connsiteY0" fmla="*/ 643802 h 691113"/>
                  <a:gd name="connsiteX1" fmla="*/ 1830272 w 4776951"/>
                  <a:gd name="connsiteY1" fmla="*/ 31929 h 691113"/>
                  <a:gd name="connsiteX2" fmla="*/ 2462057 w 4776951"/>
                  <a:gd name="connsiteY2" fmla="*/ 82993 h 691113"/>
                  <a:gd name="connsiteX3" fmla="*/ 2663653 w 4776951"/>
                  <a:gd name="connsiteY3" fmla="*/ 52131 h 691113"/>
                  <a:gd name="connsiteX4" fmla="*/ 3547241 w 4776951"/>
                  <a:gd name="connsiteY4" fmla="*/ 296961 h 691113"/>
                  <a:gd name="connsiteX5" fmla="*/ 3988676 w 4776951"/>
                  <a:gd name="connsiteY5" fmla="*/ 628036 h 691113"/>
                  <a:gd name="connsiteX6" fmla="*/ 4776951 w 4776951"/>
                  <a:gd name="connsiteY6" fmla="*/ 691099 h 691113"/>
                  <a:gd name="connsiteX0" fmla="*/ 0 w 4776951"/>
                  <a:gd name="connsiteY0" fmla="*/ 660518 h 707829"/>
                  <a:gd name="connsiteX1" fmla="*/ 1830272 w 4776951"/>
                  <a:gd name="connsiteY1" fmla="*/ 48645 h 707829"/>
                  <a:gd name="connsiteX2" fmla="*/ 2663653 w 4776951"/>
                  <a:gd name="connsiteY2" fmla="*/ 68847 h 707829"/>
                  <a:gd name="connsiteX3" fmla="*/ 3547241 w 4776951"/>
                  <a:gd name="connsiteY3" fmla="*/ 313677 h 707829"/>
                  <a:gd name="connsiteX4" fmla="*/ 3988676 w 4776951"/>
                  <a:gd name="connsiteY4" fmla="*/ 644752 h 707829"/>
                  <a:gd name="connsiteX5" fmla="*/ 4776951 w 4776951"/>
                  <a:gd name="connsiteY5" fmla="*/ 707815 h 707829"/>
                  <a:gd name="connsiteX0" fmla="*/ 0 w 4776951"/>
                  <a:gd name="connsiteY0" fmla="*/ 644574 h 691885"/>
                  <a:gd name="connsiteX1" fmla="*/ 1830272 w 4776951"/>
                  <a:gd name="connsiteY1" fmla="*/ 32701 h 691885"/>
                  <a:gd name="connsiteX2" fmla="*/ 2663653 w 4776951"/>
                  <a:gd name="connsiteY2" fmla="*/ 52903 h 691885"/>
                  <a:gd name="connsiteX3" fmla="*/ 3547241 w 4776951"/>
                  <a:gd name="connsiteY3" fmla="*/ 297733 h 691885"/>
                  <a:gd name="connsiteX4" fmla="*/ 3988676 w 4776951"/>
                  <a:gd name="connsiteY4" fmla="*/ 628808 h 691885"/>
                  <a:gd name="connsiteX5" fmla="*/ 4776951 w 4776951"/>
                  <a:gd name="connsiteY5" fmla="*/ 691871 h 691885"/>
                  <a:gd name="connsiteX0" fmla="*/ 0 w 4776951"/>
                  <a:gd name="connsiteY0" fmla="*/ 633378 h 680689"/>
                  <a:gd name="connsiteX1" fmla="*/ 1830272 w 4776951"/>
                  <a:gd name="connsiteY1" fmla="*/ 21505 h 680689"/>
                  <a:gd name="connsiteX2" fmla="*/ 2663653 w 4776951"/>
                  <a:gd name="connsiteY2" fmla="*/ 105575 h 680689"/>
                  <a:gd name="connsiteX3" fmla="*/ 3547241 w 4776951"/>
                  <a:gd name="connsiteY3" fmla="*/ 286537 h 680689"/>
                  <a:gd name="connsiteX4" fmla="*/ 3988676 w 4776951"/>
                  <a:gd name="connsiteY4" fmla="*/ 617612 h 680689"/>
                  <a:gd name="connsiteX5" fmla="*/ 4776951 w 4776951"/>
                  <a:gd name="connsiteY5" fmla="*/ 680675 h 680689"/>
                  <a:gd name="connsiteX0" fmla="*/ 0 w 4776951"/>
                  <a:gd name="connsiteY0" fmla="*/ 589353 h 636664"/>
                  <a:gd name="connsiteX1" fmla="*/ 1851539 w 4776951"/>
                  <a:gd name="connsiteY1" fmla="*/ 41348 h 636664"/>
                  <a:gd name="connsiteX2" fmla="*/ 2663653 w 4776951"/>
                  <a:gd name="connsiteY2" fmla="*/ 61550 h 636664"/>
                  <a:gd name="connsiteX3" fmla="*/ 3547241 w 4776951"/>
                  <a:gd name="connsiteY3" fmla="*/ 242512 h 636664"/>
                  <a:gd name="connsiteX4" fmla="*/ 3988676 w 4776951"/>
                  <a:gd name="connsiteY4" fmla="*/ 573587 h 636664"/>
                  <a:gd name="connsiteX5" fmla="*/ 4776951 w 4776951"/>
                  <a:gd name="connsiteY5" fmla="*/ 636650 h 636664"/>
                  <a:gd name="connsiteX0" fmla="*/ 0 w 4776951"/>
                  <a:gd name="connsiteY0" fmla="*/ 574645 h 621956"/>
                  <a:gd name="connsiteX1" fmla="*/ 1851539 w 4776951"/>
                  <a:gd name="connsiteY1" fmla="*/ 26640 h 621956"/>
                  <a:gd name="connsiteX2" fmla="*/ 2653020 w 4776951"/>
                  <a:gd name="connsiteY2" fmla="*/ 100066 h 621956"/>
                  <a:gd name="connsiteX3" fmla="*/ 3547241 w 4776951"/>
                  <a:gd name="connsiteY3" fmla="*/ 227804 h 621956"/>
                  <a:gd name="connsiteX4" fmla="*/ 3988676 w 4776951"/>
                  <a:gd name="connsiteY4" fmla="*/ 558879 h 621956"/>
                  <a:gd name="connsiteX5" fmla="*/ 4776951 w 4776951"/>
                  <a:gd name="connsiteY5" fmla="*/ 621942 h 621956"/>
                  <a:gd name="connsiteX0" fmla="*/ 0 w 4776951"/>
                  <a:gd name="connsiteY0" fmla="*/ 566445 h 613756"/>
                  <a:gd name="connsiteX1" fmla="*/ 1851539 w 4776951"/>
                  <a:gd name="connsiteY1" fmla="*/ 18440 h 613756"/>
                  <a:gd name="connsiteX2" fmla="*/ 2653020 w 4776951"/>
                  <a:gd name="connsiteY2" fmla="*/ 91866 h 613756"/>
                  <a:gd name="connsiteX3" fmla="*/ 3547241 w 4776951"/>
                  <a:gd name="connsiteY3" fmla="*/ 219604 h 613756"/>
                  <a:gd name="connsiteX4" fmla="*/ 3988676 w 4776951"/>
                  <a:gd name="connsiteY4" fmla="*/ 550679 h 613756"/>
                  <a:gd name="connsiteX5" fmla="*/ 4776951 w 4776951"/>
                  <a:gd name="connsiteY5" fmla="*/ 613742 h 613756"/>
                  <a:gd name="connsiteX0" fmla="*/ 0 w 4776951"/>
                  <a:gd name="connsiteY0" fmla="*/ 1532708 h 1580019"/>
                  <a:gd name="connsiteX1" fmla="*/ 1851539 w 4776951"/>
                  <a:gd name="connsiteY1" fmla="*/ 984703 h 1580019"/>
                  <a:gd name="connsiteX2" fmla="*/ 2653020 w 4776951"/>
                  <a:gd name="connsiteY2" fmla="*/ 1058129 h 1580019"/>
                  <a:gd name="connsiteX3" fmla="*/ 4121418 w 4776951"/>
                  <a:gd name="connsiteY3" fmla="*/ 4298 h 1580019"/>
                  <a:gd name="connsiteX4" fmla="*/ 3988676 w 4776951"/>
                  <a:gd name="connsiteY4" fmla="*/ 1516942 h 1580019"/>
                  <a:gd name="connsiteX5" fmla="*/ 4776951 w 4776951"/>
                  <a:gd name="connsiteY5" fmla="*/ 1580005 h 1580019"/>
                  <a:gd name="connsiteX0" fmla="*/ 0 w 4776951"/>
                  <a:gd name="connsiteY0" fmla="*/ 1532202 h 1579513"/>
                  <a:gd name="connsiteX1" fmla="*/ 1851539 w 4776951"/>
                  <a:gd name="connsiteY1" fmla="*/ 984197 h 1579513"/>
                  <a:gd name="connsiteX2" fmla="*/ 2653020 w 4776951"/>
                  <a:gd name="connsiteY2" fmla="*/ 1057623 h 1579513"/>
                  <a:gd name="connsiteX3" fmla="*/ 4121418 w 4776951"/>
                  <a:gd name="connsiteY3" fmla="*/ 3792 h 1579513"/>
                  <a:gd name="connsiteX4" fmla="*/ 3988676 w 4776951"/>
                  <a:gd name="connsiteY4" fmla="*/ 1516436 h 1579513"/>
                  <a:gd name="connsiteX5" fmla="*/ 4776951 w 4776951"/>
                  <a:gd name="connsiteY5" fmla="*/ 1579499 h 1579513"/>
                  <a:gd name="connsiteX0" fmla="*/ 0 w 4776951"/>
                  <a:gd name="connsiteY0" fmla="*/ 1533061 h 1580372"/>
                  <a:gd name="connsiteX1" fmla="*/ 1851539 w 4776951"/>
                  <a:gd name="connsiteY1" fmla="*/ 985056 h 1580372"/>
                  <a:gd name="connsiteX2" fmla="*/ 2653020 w 4776951"/>
                  <a:gd name="connsiteY2" fmla="*/ 1015902 h 1580372"/>
                  <a:gd name="connsiteX3" fmla="*/ 4121418 w 4776951"/>
                  <a:gd name="connsiteY3" fmla="*/ 4651 h 1580372"/>
                  <a:gd name="connsiteX4" fmla="*/ 3988676 w 4776951"/>
                  <a:gd name="connsiteY4" fmla="*/ 1517295 h 1580372"/>
                  <a:gd name="connsiteX5" fmla="*/ 4776951 w 4776951"/>
                  <a:gd name="connsiteY5" fmla="*/ 1580358 h 1580372"/>
                  <a:gd name="connsiteX0" fmla="*/ 0 w 4776951"/>
                  <a:gd name="connsiteY0" fmla="*/ 1523104 h 1570415"/>
                  <a:gd name="connsiteX1" fmla="*/ 1851539 w 4776951"/>
                  <a:gd name="connsiteY1" fmla="*/ 975099 h 1570415"/>
                  <a:gd name="connsiteX2" fmla="*/ 2653020 w 4776951"/>
                  <a:gd name="connsiteY2" fmla="*/ 1005945 h 1570415"/>
                  <a:gd name="connsiteX3" fmla="*/ 4121418 w 4776951"/>
                  <a:gd name="connsiteY3" fmla="*/ 5340 h 1570415"/>
                  <a:gd name="connsiteX4" fmla="*/ 3988676 w 4776951"/>
                  <a:gd name="connsiteY4" fmla="*/ 1507338 h 1570415"/>
                  <a:gd name="connsiteX5" fmla="*/ 4776951 w 4776951"/>
                  <a:gd name="connsiteY5" fmla="*/ 1570401 h 1570415"/>
                  <a:gd name="connsiteX0" fmla="*/ 0 w 4776951"/>
                  <a:gd name="connsiteY0" fmla="*/ 1520365 h 1567662"/>
                  <a:gd name="connsiteX1" fmla="*/ 1851539 w 4776951"/>
                  <a:gd name="connsiteY1" fmla="*/ 972360 h 1567662"/>
                  <a:gd name="connsiteX2" fmla="*/ 2653020 w 4776951"/>
                  <a:gd name="connsiteY2" fmla="*/ 1003206 h 1567662"/>
                  <a:gd name="connsiteX3" fmla="*/ 4121418 w 4776951"/>
                  <a:gd name="connsiteY3" fmla="*/ 2601 h 1567662"/>
                  <a:gd name="connsiteX4" fmla="*/ 3659055 w 4776951"/>
                  <a:gd name="connsiteY4" fmla="*/ 1344928 h 1567662"/>
                  <a:gd name="connsiteX5" fmla="*/ 4776951 w 4776951"/>
                  <a:gd name="connsiteY5" fmla="*/ 1567662 h 1567662"/>
                  <a:gd name="connsiteX0" fmla="*/ 0 w 4143826"/>
                  <a:gd name="connsiteY0" fmla="*/ 1520365 h 1631530"/>
                  <a:gd name="connsiteX1" fmla="*/ 1851539 w 4143826"/>
                  <a:gd name="connsiteY1" fmla="*/ 972360 h 1631530"/>
                  <a:gd name="connsiteX2" fmla="*/ 2653020 w 4143826"/>
                  <a:gd name="connsiteY2" fmla="*/ 1003206 h 1631530"/>
                  <a:gd name="connsiteX3" fmla="*/ 4121418 w 4143826"/>
                  <a:gd name="connsiteY3" fmla="*/ 2601 h 1631530"/>
                  <a:gd name="connsiteX4" fmla="*/ 3659055 w 4143826"/>
                  <a:gd name="connsiteY4" fmla="*/ 1344928 h 1631530"/>
                  <a:gd name="connsiteX5" fmla="*/ 3809355 w 4143826"/>
                  <a:gd name="connsiteY5" fmla="*/ 1631530 h 1631530"/>
                  <a:gd name="connsiteX0" fmla="*/ 0 w 4169892"/>
                  <a:gd name="connsiteY0" fmla="*/ 1525853 h 1637018"/>
                  <a:gd name="connsiteX1" fmla="*/ 1851539 w 4169892"/>
                  <a:gd name="connsiteY1" fmla="*/ 977848 h 1637018"/>
                  <a:gd name="connsiteX2" fmla="*/ 2653020 w 4169892"/>
                  <a:gd name="connsiteY2" fmla="*/ 1008694 h 1637018"/>
                  <a:gd name="connsiteX3" fmla="*/ 4121418 w 4169892"/>
                  <a:gd name="connsiteY3" fmla="*/ 8089 h 1637018"/>
                  <a:gd name="connsiteX4" fmla="*/ 3809355 w 4169892"/>
                  <a:gd name="connsiteY4" fmla="*/ 1637018 h 1637018"/>
                  <a:gd name="connsiteX0" fmla="*/ 0 w 4135605"/>
                  <a:gd name="connsiteY0" fmla="*/ 1527142 h 1691531"/>
                  <a:gd name="connsiteX1" fmla="*/ 1851539 w 4135605"/>
                  <a:gd name="connsiteY1" fmla="*/ 979137 h 1691531"/>
                  <a:gd name="connsiteX2" fmla="*/ 2653020 w 4135605"/>
                  <a:gd name="connsiteY2" fmla="*/ 1009983 h 1691531"/>
                  <a:gd name="connsiteX3" fmla="*/ 4121418 w 4135605"/>
                  <a:gd name="connsiteY3" fmla="*/ 9378 h 1691531"/>
                  <a:gd name="connsiteX4" fmla="*/ 3415938 w 4135605"/>
                  <a:gd name="connsiteY4" fmla="*/ 1691530 h 1691531"/>
                  <a:gd name="connsiteX0" fmla="*/ 0 w 4134352"/>
                  <a:gd name="connsiteY0" fmla="*/ 1527142 h 1691530"/>
                  <a:gd name="connsiteX1" fmla="*/ 1851539 w 4134352"/>
                  <a:gd name="connsiteY1" fmla="*/ 979137 h 1691530"/>
                  <a:gd name="connsiteX2" fmla="*/ 2653020 w 4134352"/>
                  <a:gd name="connsiteY2" fmla="*/ 1009983 h 1691530"/>
                  <a:gd name="connsiteX3" fmla="*/ 4121418 w 4134352"/>
                  <a:gd name="connsiteY3" fmla="*/ 9378 h 1691530"/>
                  <a:gd name="connsiteX4" fmla="*/ 3415938 w 4134352"/>
                  <a:gd name="connsiteY4" fmla="*/ 1691530 h 1691530"/>
                  <a:gd name="connsiteX0" fmla="*/ 0 w 3415938"/>
                  <a:gd name="connsiteY0" fmla="*/ 1225063 h 1389451"/>
                  <a:gd name="connsiteX1" fmla="*/ 1851539 w 3415938"/>
                  <a:gd name="connsiteY1" fmla="*/ 677058 h 1389451"/>
                  <a:gd name="connsiteX2" fmla="*/ 2653020 w 3415938"/>
                  <a:gd name="connsiteY2" fmla="*/ 707904 h 1389451"/>
                  <a:gd name="connsiteX3" fmla="*/ 2928682 w 3415938"/>
                  <a:gd name="connsiteY3" fmla="*/ 12449 h 1389451"/>
                  <a:gd name="connsiteX4" fmla="*/ 3415938 w 3415938"/>
                  <a:gd name="connsiteY4" fmla="*/ 1389451 h 1389451"/>
                  <a:gd name="connsiteX0" fmla="*/ 0 w 3415938"/>
                  <a:gd name="connsiteY0" fmla="*/ 1393827 h 1558215"/>
                  <a:gd name="connsiteX1" fmla="*/ 1851539 w 3415938"/>
                  <a:gd name="connsiteY1" fmla="*/ 845822 h 1558215"/>
                  <a:gd name="connsiteX2" fmla="*/ 2480736 w 3415938"/>
                  <a:gd name="connsiteY2" fmla="*/ 40822 h 1558215"/>
                  <a:gd name="connsiteX3" fmla="*/ 2928682 w 3415938"/>
                  <a:gd name="connsiteY3" fmla="*/ 181213 h 1558215"/>
                  <a:gd name="connsiteX4" fmla="*/ 3415938 w 3415938"/>
                  <a:gd name="connsiteY4" fmla="*/ 1558215 h 1558215"/>
                  <a:gd name="connsiteX0" fmla="*/ 0 w 3415938"/>
                  <a:gd name="connsiteY0" fmla="*/ 1360465 h 1524853"/>
                  <a:gd name="connsiteX1" fmla="*/ 1851539 w 3415938"/>
                  <a:gd name="connsiteY1" fmla="*/ 812460 h 1524853"/>
                  <a:gd name="connsiteX2" fmla="*/ 2480736 w 3415938"/>
                  <a:gd name="connsiteY2" fmla="*/ 7460 h 1524853"/>
                  <a:gd name="connsiteX3" fmla="*/ 2835914 w 3415938"/>
                  <a:gd name="connsiteY3" fmla="*/ 426467 h 1524853"/>
                  <a:gd name="connsiteX4" fmla="*/ 3415938 w 3415938"/>
                  <a:gd name="connsiteY4" fmla="*/ 1524853 h 1524853"/>
                  <a:gd name="connsiteX0" fmla="*/ 0 w 3415938"/>
                  <a:gd name="connsiteY0" fmla="*/ 1360465 h 1524853"/>
                  <a:gd name="connsiteX1" fmla="*/ 1851539 w 3415938"/>
                  <a:gd name="connsiteY1" fmla="*/ 812460 h 1524853"/>
                  <a:gd name="connsiteX2" fmla="*/ 2480736 w 3415938"/>
                  <a:gd name="connsiteY2" fmla="*/ 7460 h 1524853"/>
                  <a:gd name="connsiteX3" fmla="*/ 2835914 w 3415938"/>
                  <a:gd name="connsiteY3" fmla="*/ 426467 h 1524853"/>
                  <a:gd name="connsiteX4" fmla="*/ 3415938 w 3415938"/>
                  <a:gd name="connsiteY4" fmla="*/ 1524853 h 1524853"/>
                  <a:gd name="connsiteX0" fmla="*/ 0 w 3256907"/>
                  <a:gd name="connsiteY0" fmla="*/ 1360465 h 2082085"/>
                  <a:gd name="connsiteX1" fmla="*/ 1851539 w 3256907"/>
                  <a:gd name="connsiteY1" fmla="*/ 812460 h 2082085"/>
                  <a:gd name="connsiteX2" fmla="*/ 2480736 w 3256907"/>
                  <a:gd name="connsiteY2" fmla="*/ 7460 h 2082085"/>
                  <a:gd name="connsiteX3" fmla="*/ 2835914 w 3256907"/>
                  <a:gd name="connsiteY3" fmla="*/ 426467 h 2082085"/>
                  <a:gd name="connsiteX4" fmla="*/ 3256907 w 3256907"/>
                  <a:gd name="connsiteY4" fmla="*/ 2082085 h 2082085"/>
                  <a:gd name="connsiteX0" fmla="*/ 0 w 3111128"/>
                  <a:gd name="connsiteY0" fmla="*/ 1360465 h 1471784"/>
                  <a:gd name="connsiteX1" fmla="*/ 1851539 w 3111128"/>
                  <a:gd name="connsiteY1" fmla="*/ 812460 h 1471784"/>
                  <a:gd name="connsiteX2" fmla="*/ 2480736 w 3111128"/>
                  <a:gd name="connsiteY2" fmla="*/ 7460 h 1471784"/>
                  <a:gd name="connsiteX3" fmla="*/ 2835914 w 3111128"/>
                  <a:gd name="connsiteY3" fmla="*/ 426467 h 1471784"/>
                  <a:gd name="connsiteX4" fmla="*/ 3111128 w 3111128"/>
                  <a:gd name="connsiteY4" fmla="*/ 1471784 h 1471784"/>
                  <a:gd name="connsiteX0" fmla="*/ 0 w 3058117"/>
                  <a:gd name="connsiteY0" fmla="*/ 1360465 h 1361385"/>
                  <a:gd name="connsiteX1" fmla="*/ 1851539 w 3058117"/>
                  <a:gd name="connsiteY1" fmla="*/ 812460 h 1361385"/>
                  <a:gd name="connsiteX2" fmla="*/ 2480736 w 3058117"/>
                  <a:gd name="connsiteY2" fmla="*/ 7460 h 1361385"/>
                  <a:gd name="connsiteX3" fmla="*/ 2835914 w 3058117"/>
                  <a:gd name="connsiteY3" fmla="*/ 426467 h 1361385"/>
                  <a:gd name="connsiteX4" fmla="*/ 3058117 w 3058117"/>
                  <a:gd name="connsiteY4" fmla="*/ 1259505 h 1361385"/>
                  <a:gd name="connsiteX0" fmla="*/ 0 w 3058117"/>
                  <a:gd name="connsiteY0" fmla="*/ 1360465 h 1361385"/>
                  <a:gd name="connsiteX1" fmla="*/ 1851539 w 3058117"/>
                  <a:gd name="connsiteY1" fmla="*/ 812460 h 1361385"/>
                  <a:gd name="connsiteX2" fmla="*/ 2480736 w 3058117"/>
                  <a:gd name="connsiteY2" fmla="*/ 7460 h 1361385"/>
                  <a:gd name="connsiteX3" fmla="*/ 2835914 w 3058117"/>
                  <a:gd name="connsiteY3" fmla="*/ 426467 h 1361385"/>
                  <a:gd name="connsiteX4" fmla="*/ 3058117 w 3058117"/>
                  <a:gd name="connsiteY4" fmla="*/ 1259505 h 1361385"/>
                  <a:gd name="connsiteX0" fmla="*/ 0 w 3137633"/>
                  <a:gd name="connsiteY0" fmla="*/ 1360465 h 1445248"/>
                  <a:gd name="connsiteX1" fmla="*/ 1851539 w 3137633"/>
                  <a:gd name="connsiteY1" fmla="*/ 812460 h 1445248"/>
                  <a:gd name="connsiteX2" fmla="*/ 2480736 w 3137633"/>
                  <a:gd name="connsiteY2" fmla="*/ 7460 h 1445248"/>
                  <a:gd name="connsiteX3" fmla="*/ 2835914 w 3137633"/>
                  <a:gd name="connsiteY3" fmla="*/ 426467 h 1445248"/>
                  <a:gd name="connsiteX4" fmla="*/ 3137633 w 3137633"/>
                  <a:gd name="connsiteY4" fmla="*/ 1445248 h 1445248"/>
                  <a:gd name="connsiteX0" fmla="*/ 25176 w 3162809"/>
                  <a:gd name="connsiteY0" fmla="*/ 1949387 h 2034170"/>
                  <a:gd name="connsiteX1" fmla="*/ 104125 w 3162809"/>
                  <a:gd name="connsiteY1" fmla="*/ 49333 h 2034170"/>
                  <a:gd name="connsiteX2" fmla="*/ 2505912 w 3162809"/>
                  <a:gd name="connsiteY2" fmla="*/ 596382 h 2034170"/>
                  <a:gd name="connsiteX3" fmla="*/ 2861090 w 3162809"/>
                  <a:gd name="connsiteY3" fmla="*/ 1015389 h 2034170"/>
                  <a:gd name="connsiteX4" fmla="*/ 3162809 w 3162809"/>
                  <a:gd name="connsiteY4" fmla="*/ 2034170 h 2034170"/>
                  <a:gd name="connsiteX0" fmla="*/ 47260 w 3184893"/>
                  <a:gd name="connsiteY0" fmla="*/ 1920118 h 2004901"/>
                  <a:gd name="connsiteX1" fmla="*/ 126209 w 3184893"/>
                  <a:gd name="connsiteY1" fmla="*/ 20064 h 2004901"/>
                  <a:gd name="connsiteX2" fmla="*/ 2883174 w 3184893"/>
                  <a:gd name="connsiteY2" fmla="*/ 986120 h 2004901"/>
                  <a:gd name="connsiteX3" fmla="*/ 3184893 w 3184893"/>
                  <a:gd name="connsiteY3" fmla="*/ 2004901 h 2004901"/>
                  <a:gd name="connsiteX0" fmla="*/ 66544 w 3204177"/>
                  <a:gd name="connsiteY0" fmla="*/ 1900132 h 1984915"/>
                  <a:gd name="connsiteX1" fmla="*/ 145493 w 3204177"/>
                  <a:gd name="connsiteY1" fmla="*/ 78 h 1984915"/>
                  <a:gd name="connsiteX2" fmla="*/ 3204177 w 3204177"/>
                  <a:gd name="connsiteY2" fmla="*/ 1984915 h 1984915"/>
                  <a:gd name="connsiteX0" fmla="*/ 0 w 1083679"/>
                  <a:gd name="connsiteY0" fmla="*/ 2158867 h 2159071"/>
                  <a:gd name="connsiteX1" fmla="*/ 78949 w 1083679"/>
                  <a:gd name="connsiteY1" fmla="*/ 258813 h 2159071"/>
                  <a:gd name="connsiteX2" fmla="*/ 1083679 w 1083679"/>
                  <a:gd name="connsiteY2" fmla="*/ 285995 h 2159071"/>
                  <a:gd name="connsiteX0" fmla="*/ 0 w 1083679"/>
                  <a:gd name="connsiteY0" fmla="*/ 2071414 h 2071618"/>
                  <a:gd name="connsiteX1" fmla="*/ 78949 w 1083679"/>
                  <a:gd name="connsiteY1" fmla="*/ 171360 h 2071618"/>
                  <a:gd name="connsiteX2" fmla="*/ 1083679 w 1083679"/>
                  <a:gd name="connsiteY2" fmla="*/ 198542 h 2071618"/>
                  <a:gd name="connsiteX0" fmla="*/ 0 w 1083679"/>
                  <a:gd name="connsiteY0" fmla="*/ 1979147 h 1979326"/>
                  <a:gd name="connsiteX1" fmla="*/ 78949 w 1083679"/>
                  <a:gd name="connsiteY1" fmla="*/ 79093 h 1979326"/>
                  <a:gd name="connsiteX2" fmla="*/ 1083679 w 1083679"/>
                  <a:gd name="connsiteY2" fmla="*/ 106275 h 1979326"/>
                  <a:gd name="connsiteX0" fmla="*/ 0 w 1196225"/>
                  <a:gd name="connsiteY0" fmla="*/ 2097218 h 2097424"/>
                  <a:gd name="connsiteX1" fmla="*/ 78949 w 1196225"/>
                  <a:gd name="connsiteY1" fmla="*/ 197164 h 2097424"/>
                  <a:gd name="connsiteX2" fmla="*/ 1196225 w 1196225"/>
                  <a:gd name="connsiteY2" fmla="*/ 168011 h 2097424"/>
                  <a:gd name="connsiteX0" fmla="*/ 0 w 1196225"/>
                  <a:gd name="connsiteY0" fmla="*/ 2066974 h 2067179"/>
                  <a:gd name="connsiteX1" fmla="*/ 78949 w 1196225"/>
                  <a:gd name="connsiteY1" fmla="*/ 166920 h 2067179"/>
                  <a:gd name="connsiteX2" fmla="*/ 1196225 w 1196225"/>
                  <a:gd name="connsiteY2" fmla="*/ 137767 h 2067179"/>
                  <a:gd name="connsiteX0" fmla="*/ 0 w 1196225"/>
                  <a:gd name="connsiteY0" fmla="*/ 1989739 h 1989923"/>
                  <a:gd name="connsiteX1" fmla="*/ 78949 w 1196225"/>
                  <a:gd name="connsiteY1" fmla="*/ 89685 h 1989923"/>
                  <a:gd name="connsiteX2" fmla="*/ 1196225 w 1196225"/>
                  <a:gd name="connsiteY2" fmla="*/ 60532 h 1989923"/>
                  <a:gd name="connsiteX0" fmla="*/ 10471 w 1206696"/>
                  <a:gd name="connsiteY0" fmla="*/ 1989739 h 1989739"/>
                  <a:gd name="connsiteX1" fmla="*/ 89420 w 1206696"/>
                  <a:gd name="connsiteY1" fmla="*/ 89685 h 1989739"/>
                  <a:gd name="connsiteX2" fmla="*/ 1206696 w 1206696"/>
                  <a:gd name="connsiteY2" fmla="*/ 60532 h 1989739"/>
                </a:gdLst>
                <a:ahLst/>
                <a:cxnLst>
                  <a:cxn ang="0">
                    <a:pos x="connsiteX0" y="connsiteY0"/>
                  </a:cxn>
                  <a:cxn ang="0">
                    <a:pos x="connsiteX1" y="connsiteY1"/>
                  </a:cxn>
                  <a:cxn ang="0">
                    <a:pos x="connsiteX2" y="connsiteY2"/>
                  </a:cxn>
                </a:cxnLst>
                <a:rect l="l" t="t" r="r" b="b"/>
                <a:pathLst>
                  <a:path w="1206696" h="1989739">
                    <a:moveTo>
                      <a:pt x="10471" y="1989739"/>
                    </a:moveTo>
                    <a:cubicBezTo>
                      <a:pt x="53623" y="799547"/>
                      <a:pt x="-81814" y="228129"/>
                      <a:pt x="89420" y="89685"/>
                    </a:cubicBezTo>
                    <a:cubicBezTo>
                      <a:pt x="260654" y="-48759"/>
                      <a:pt x="245901" y="-879"/>
                      <a:pt x="1206696" y="60532"/>
                    </a:cubicBezTo>
                  </a:path>
                </a:pathLst>
              </a:custGeom>
              <a:noFill/>
              <a:ln w="57150" cap="flat" cmpd="sng" algn="ctr">
                <a:solidFill>
                  <a:srgbClr val="00B05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latin typeface="+mn-lt"/>
                </a:endParaRPr>
              </a:p>
            </p:txBody>
          </p:sp>
          <p:sp>
            <p:nvSpPr>
              <p:cNvPr id="104" name="Text Box 35">
                <a:extLst>
                  <a:ext uri="{FF2B5EF4-FFF2-40B4-BE49-F238E27FC236}">
                    <a16:creationId xmlns:a16="http://schemas.microsoft.com/office/drawing/2014/main" id="{79943DC2-F5F2-4408-899A-7345AF4D8315}"/>
                  </a:ext>
                </a:extLst>
              </p:cNvPr>
              <p:cNvSpPr txBox="1">
                <a:spLocks noChangeArrowheads="1"/>
              </p:cNvSpPr>
              <p:nvPr/>
            </p:nvSpPr>
            <p:spPr bwMode="auto">
              <a:xfrm>
                <a:off x="5082250" y="4488620"/>
                <a:ext cx="1554510"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685800" rtl="0" eaLnBrk="1" fontAlgn="auto" latinLnBrk="0" hangingPunct="1">
                  <a:lnSpc>
                    <a:spcPct val="80000"/>
                  </a:lnSpc>
                  <a:spcBef>
                    <a:spcPct val="0"/>
                  </a:spcBef>
                  <a:spcAft>
                    <a:spcPts val="0"/>
                  </a:spcAft>
                  <a:buClrTx/>
                  <a:buSzTx/>
                  <a:buFont typeface="Arial" charset="0"/>
                  <a:buNone/>
                  <a:tabLst/>
                  <a:defRPr/>
                </a:pP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Single PDU Session</a:t>
                </a:r>
                <a:b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b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with EITHER</a:t>
                </a:r>
              </a:p>
              <a:p>
                <a:pPr marL="0" marR="0" lvl="0" indent="0" algn="ctr" defTabSz="685800" rtl="0" eaLnBrk="1" fontAlgn="auto" latinLnBrk="0" hangingPunct="1">
                  <a:lnSpc>
                    <a:spcPct val="80000"/>
                  </a:lnSpc>
                  <a:spcBef>
                    <a:spcPct val="0"/>
                  </a:spcBef>
                  <a:spcAft>
                    <a:spcPts val="0"/>
                  </a:spcAft>
                  <a:buClrTx/>
                  <a:buSzTx/>
                  <a:buFont typeface="Arial" charset="0"/>
                  <a:buNone/>
                  <a:tabLst/>
                  <a:defRPr/>
                </a:pP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Multiple IPv6 prefixes</a:t>
                </a:r>
                <a:b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b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OR</a:t>
                </a:r>
              </a:p>
              <a:p>
                <a:pPr marL="0" marR="0" lvl="0" indent="0" algn="ctr" defTabSz="685800" rtl="0" eaLnBrk="1" fontAlgn="auto" latinLnBrk="0" hangingPunct="1">
                  <a:lnSpc>
                    <a:spcPct val="80000"/>
                  </a:lnSpc>
                  <a:spcBef>
                    <a:spcPct val="0"/>
                  </a:spcBef>
                  <a:spcAft>
                    <a:spcPts val="0"/>
                  </a:spcAft>
                  <a:buClrTx/>
                  <a:buSzTx/>
                  <a:buFont typeface="Arial" charset="0"/>
                  <a:buNone/>
                  <a:tabLst/>
                  <a:defRPr/>
                </a:pP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Breakout based on</a:t>
                </a:r>
                <a:b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b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packet filters</a:t>
                </a:r>
                <a:b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br>
                <a:r>
                  <a:rPr kumimoji="0" lang="en-US" altLang="en-US" sz="1200" b="0" i="0" u="none" strike="noStrike" kern="1200" cap="none" spc="0" normalizeH="0" baseline="0" noProof="0">
                    <a:ln>
                      <a:noFill/>
                    </a:ln>
                    <a:solidFill>
                      <a:srgbClr val="58585A"/>
                    </a:solidFill>
                    <a:effectLst/>
                    <a:uLnTx/>
                    <a:uFillTx/>
                    <a:latin typeface="Arial" charset="0"/>
                    <a:ea typeface="MS PGothic" pitchFamily="34" charset="-128"/>
                    <a:cs typeface="+mn-cs"/>
                  </a:rPr>
                  <a:t>(ULCL) </a:t>
                </a:r>
                <a:endParaRPr kumimoji="0" lang="en-US" altLang="en-US" sz="825" b="0" i="0" u="none" strike="noStrike" kern="1200" cap="none" spc="0" normalizeH="0" baseline="0" noProof="0">
                  <a:ln>
                    <a:noFill/>
                  </a:ln>
                  <a:solidFill>
                    <a:srgbClr val="58585A"/>
                  </a:solidFill>
                  <a:effectLst/>
                  <a:uLnTx/>
                  <a:uFillTx/>
                  <a:latin typeface="Arial" charset="0"/>
                  <a:ea typeface="MS PGothic" pitchFamily="34" charset="-128"/>
                  <a:cs typeface="+mn-cs"/>
                </a:endParaRPr>
              </a:p>
            </p:txBody>
          </p:sp>
          <p:sp>
            <p:nvSpPr>
              <p:cNvPr id="121" name="TextBox 120">
                <a:extLst>
                  <a:ext uri="{FF2B5EF4-FFF2-40B4-BE49-F238E27FC236}">
                    <a16:creationId xmlns:a16="http://schemas.microsoft.com/office/drawing/2014/main" id="{1826B78B-F5B1-443F-9447-4FFFE7E1691A}"/>
                  </a:ext>
                </a:extLst>
              </p:cNvPr>
              <p:cNvSpPr txBox="1"/>
              <p:nvPr/>
            </p:nvSpPr>
            <p:spPr bwMode="auto">
              <a:xfrm>
                <a:off x="4423638" y="1283877"/>
                <a:ext cx="496813" cy="723577"/>
              </a:xfrm>
              <a:prstGeom prst="rect">
                <a:avLst/>
              </a:prstGeom>
              <a:solidFill>
                <a:schemeClr val="bg1"/>
              </a:solidFill>
              <a:ln w="12700">
                <a:solidFill>
                  <a:schemeClr val="accent3">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3">
                        <a:lumMod val="75000"/>
                      </a:schemeClr>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3">
                      <a:lumMod val="75000"/>
                    </a:schemeClr>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3">
                        <a:lumMod val="75000"/>
                      </a:schemeClr>
                    </a:solidFill>
                    <a:effectLst/>
                    <a:uLnTx/>
                    <a:uFillTx/>
                    <a:latin typeface="Ericsson Hilda"/>
                    <a:ea typeface="+mn-ea"/>
                    <a:cs typeface="+mn-cs"/>
                  </a:rPr>
                  <a:t>SMF</a:t>
                </a:r>
              </a:p>
            </p:txBody>
          </p:sp>
        </p:grpSp>
      </p:grpSp>
    </p:spTree>
    <p:extLst>
      <p:ext uri="{BB962C8B-B14F-4D97-AF65-F5344CB8AC3E}">
        <p14:creationId xmlns:p14="http://schemas.microsoft.com/office/powerpoint/2010/main" val="3753952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1E3A64-1664-4E9F-9A0B-7DA73A2A3EB6}"/>
              </a:ext>
            </a:extLst>
          </p:cNvPr>
          <p:cNvSpPr>
            <a:spLocks noGrp="1"/>
          </p:cNvSpPr>
          <p:nvPr>
            <p:ph sz="quarter" idx="3"/>
          </p:nvPr>
        </p:nvSpPr>
        <p:spPr>
          <a:xfrm>
            <a:off x="6158638" y="1018339"/>
            <a:ext cx="5472112" cy="1672712"/>
          </a:xfrm>
        </p:spPr>
        <p:txBody>
          <a:bodyPr/>
          <a:lstStyle/>
          <a:p>
            <a:pPr marL="0" indent="0">
              <a:buNone/>
            </a:pPr>
            <a:r>
              <a:rPr lang="en-US"/>
              <a:t>But, “</a:t>
            </a:r>
            <a:r>
              <a:rPr lang="en-US" b="1"/>
              <a:t>Close proximity</a:t>
            </a:r>
            <a:r>
              <a:rPr lang="en-US"/>
              <a:t>” will depend on the use case. It is the balance between </a:t>
            </a:r>
            <a:r>
              <a:rPr lang="en-US" u="sng"/>
              <a:t>cost</a:t>
            </a:r>
            <a:r>
              <a:rPr lang="en-US"/>
              <a:t> of deployment and </a:t>
            </a:r>
            <a:r>
              <a:rPr lang="en-US" u="sng"/>
              <a:t>benefit</a:t>
            </a:r>
            <a:r>
              <a:rPr lang="en-US"/>
              <a:t> of distribution that will determine the “where”</a:t>
            </a:r>
          </a:p>
          <a:p>
            <a:pPr marL="0" indent="0">
              <a:buNone/>
            </a:pPr>
            <a:endParaRPr lang="es-ES"/>
          </a:p>
        </p:txBody>
      </p:sp>
      <p:sp>
        <p:nvSpPr>
          <p:cNvPr id="4" name="Content Placeholder 3">
            <a:extLst>
              <a:ext uri="{FF2B5EF4-FFF2-40B4-BE49-F238E27FC236}">
                <a16:creationId xmlns:a16="http://schemas.microsoft.com/office/drawing/2014/main" id="{E555A46F-9C59-4590-B98E-9F717B6A6D52}"/>
              </a:ext>
            </a:extLst>
          </p:cNvPr>
          <p:cNvSpPr>
            <a:spLocks noGrp="1"/>
          </p:cNvSpPr>
          <p:nvPr>
            <p:ph sz="half" idx="1"/>
          </p:nvPr>
        </p:nvSpPr>
        <p:spPr>
          <a:xfrm>
            <a:off x="462197" y="1436736"/>
            <a:ext cx="4991120" cy="1367034"/>
          </a:xfrm>
        </p:spPr>
        <p:txBody>
          <a:bodyPr/>
          <a:lstStyle/>
          <a:p>
            <a:pPr marL="0" indent="0">
              <a:buNone/>
            </a:pPr>
            <a:r>
              <a:rPr lang="en-US" b="1"/>
              <a:t>Edge Computing refers to an</a:t>
            </a:r>
            <a:r>
              <a:rPr lang="en-US"/>
              <a:t> execution environment </a:t>
            </a:r>
            <a:r>
              <a:rPr lang="en-GB"/>
              <a:t>at close proximity to the users/devices that will provide and consume data</a:t>
            </a:r>
            <a:r>
              <a:rPr lang="en-US"/>
              <a:t>.</a:t>
            </a:r>
          </a:p>
        </p:txBody>
      </p:sp>
      <p:sp>
        <p:nvSpPr>
          <p:cNvPr id="3" name="Title 2">
            <a:extLst>
              <a:ext uri="{FF2B5EF4-FFF2-40B4-BE49-F238E27FC236}">
                <a16:creationId xmlns:a16="http://schemas.microsoft.com/office/drawing/2014/main" id="{FCCE64B5-BB47-453E-973F-5BC28B473DE6}"/>
              </a:ext>
            </a:extLst>
          </p:cNvPr>
          <p:cNvSpPr>
            <a:spLocks noGrp="1"/>
          </p:cNvSpPr>
          <p:nvPr>
            <p:ph type="title"/>
          </p:nvPr>
        </p:nvSpPr>
        <p:spPr/>
        <p:txBody>
          <a:bodyPr/>
          <a:lstStyle/>
          <a:p>
            <a:r>
              <a:rPr lang="en-US"/>
              <a:t>Application Distribution</a:t>
            </a:r>
            <a:br>
              <a:rPr lang="en-US"/>
            </a:br>
            <a:endParaRPr lang="en-US"/>
          </a:p>
        </p:txBody>
      </p:sp>
      <p:grpSp>
        <p:nvGrpSpPr>
          <p:cNvPr id="9" name="Group 8">
            <a:extLst>
              <a:ext uri="{FF2B5EF4-FFF2-40B4-BE49-F238E27FC236}">
                <a16:creationId xmlns:a16="http://schemas.microsoft.com/office/drawing/2014/main" id="{63DC54DD-FBDE-4010-9185-7DEF501A3859}"/>
              </a:ext>
            </a:extLst>
          </p:cNvPr>
          <p:cNvGrpSpPr/>
          <p:nvPr/>
        </p:nvGrpSpPr>
        <p:grpSpPr>
          <a:xfrm>
            <a:off x="1324848" y="2693603"/>
            <a:ext cx="9926200" cy="2774072"/>
            <a:chOff x="-33596" y="1042872"/>
            <a:chExt cx="11874423" cy="3668581"/>
          </a:xfrm>
        </p:grpSpPr>
        <p:cxnSp>
          <p:nvCxnSpPr>
            <p:cNvPr id="10" name="Straight Arrow Connector 9">
              <a:extLst>
                <a:ext uri="{FF2B5EF4-FFF2-40B4-BE49-F238E27FC236}">
                  <a16:creationId xmlns:a16="http://schemas.microsoft.com/office/drawing/2014/main" id="{D17C0337-D8F5-4578-A8E6-9BD5847753A0}"/>
                </a:ext>
              </a:extLst>
            </p:cNvPr>
            <p:cNvCxnSpPr>
              <a:cxnSpLocks/>
            </p:cNvCxnSpPr>
            <p:nvPr/>
          </p:nvCxnSpPr>
          <p:spPr bwMode="auto">
            <a:xfrm>
              <a:off x="416073" y="4666564"/>
              <a:ext cx="2143480" cy="0"/>
            </a:xfrm>
            <a:prstGeom prst="straightConnector1">
              <a:avLst/>
            </a:prstGeom>
            <a:solidFill>
              <a:schemeClr val="accent1"/>
            </a:solidFill>
            <a:ln w="38100" cap="flat" cmpd="sng" algn="ctr">
              <a:solidFill>
                <a:schemeClr val="accent1"/>
              </a:solidFill>
              <a:prstDash val="solid"/>
              <a:round/>
              <a:headEnd type="triangle" w="med" len="med"/>
              <a:tailEnd type="triangle" w="med" len="med"/>
            </a:ln>
            <a:effectLst/>
          </p:spPr>
        </p:cxnSp>
        <p:cxnSp>
          <p:nvCxnSpPr>
            <p:cNvPr id="11" name="Straight Arrow Connector 10">
              <a:extLst>
                <a:ext uri="{FF2B5EF4-FFF2-40B4-BE49-F238E27FC236}">
                  <a16:creationId xmlns:a16="http://schemas.microsoft.com/office/drawing/2014/main" id="{62E81E7D-5E8A-4E21-BDB1-18457FA0BA29}"/>
                </a:ext>
              </a:extLst>
            </p:cNvPr>
            <p:cNvCxnSpPr>
              <a:cxnSpLocks/>
            </p:cNvCxnSpPr>
            <p:nvPr/>
          </p:nvCxnSpPr>
          <p:spPr bwMode="auto">
            <a:xfrm>
              <a:off x="2559553" y="4666564"/>
              <a:ext cx="6705928" cy="0"/>
            </a:xfrm>
            <a:prstGeom prst="straightConnector1">
              <a:avLst/>
            </a:prstGeom>
            <a:solidFill>
              <a:schemeClr val="accent1"/>
            </a:solidFill>
            <a:ln w="38100" cap="flat" cmpd="sng" algn="ctr">
              <a:solidFill>
                <a:schemeClr val="accent2"/>
              </a:solidFill>
              <a:prstDash val="solid"/>
              <a:round/>
              <a:headEnd type="triangle" w="med" len="med"/>
              <a:tailEnd type="triangle" w="med" len="med"/>
            </a:ln>
            <a:effectLst/>
          </p:spPr>
        </p:cxnSp>
        <p:cxnSp>
          <p:nvCxnSpPr>
            <p:cNvPr id="12" name="Straight Arrow Connector 11">
              <a:extLst>
                <a:ext uri="{FF2B5EF4-FFF2-40B4-BE49-F238E27FC236}">
                  <a16:creationId xmlns:a16="http://schemas.microsoft.com/office/drawing/2014/main" id="{08400636-FC29-4E4A-8757-BDA764744101}"/>
                </a:ext>
              </a:extLst>
            </p:cNvPr>
            <p:cNvCxnSpPr>
              <a:cxnSpLocks/>
            </p:cNvCxnSpPr>
            <p:nvPr/>
          </p:nvCxnSpPr>
          <p:spPr bwMode="auto">
            <a:xfrm>
              <a:off x="9262745" y="4666564"/>
              <a:ext cx="598170" cy="0"/>
            </a:xfrm>
            <a:prstGeom prst="straightConnector1">
              <a:avLst/>
            </a:prstGeom>
            <a:solidFill>
              <a:schemeClr val="accent1"/>
            </a:solidFill>
            <a:ln w="38100" cap="flat" cmpd="sng" algn="ctr">
              <a:solidFill>
                <a:schemeClr val="accent1"/>
              </a:solidFill>
              <a:prstDash val="solid"/>
              <a:round/>
              <a:headEnd type="triangle" w="med" len="med"/>
              <a:tailEnd type="triangle" w="med" len="med"/>
            </a:ln>
            <a:effectLst/>
          </p:spPr>
        </p:cxnSp>
        <p:cxnSp>
          <p:nvCxnSpPr>
            <p:cNvPr id="13" name="Straight Arrow Connector 12">
              <a:extLst>
                <a:ext uri="{FF2B5EF4-FFF2-40B4-BE49-F238E27FC236}">
                  <a16:creationId xmlns:a16="http://schemas.microsoft.com/office/drawing/2014/main" id="{5F337AE7-3B5A-414B-84E7-D064B5098BA4}"/>
                </a:ext>
              </a:extLst>
            </p:cNvPr>
            <p:cNvCxnSpPr>
              <a:cxnSpLocks/>
            </p:cNvCxnSpPr>
            <p:nvPr/>
          </p:nvCxnSpPr>
          <p:spPr bwMode="auto">
            <a:xfrm>
              <a:off x="9860345" y="4666564"/>
              <a:ext cx="331770" cy="0"/>
            </a:xfrm>
            <a:prstGeom prst="straightConnector1">
              <a:avLst/>
            </a:prstGeom>
            <a:solidFill>
              <a:schemeClr val="accent1"/>
            </a:solidFill>
            <a:ln w="38100" cap="flat" cmpd="sng" algn="ctr">
              <a:solidFill>
                <a:schemeClr val="accent6"/>
              </a:solidFill>
              <a:prstDash val="solid"/>
              <a:round/>
              <a:headEnd type="triangle" w="med" len="med"/>
              <a:tailEnd type="triangle" w="med" len="med"/>
            </a:ln>
            <a:effectLst/>
          </p:spPr>
        </p:cxnSp>
        <p:sp>
          <p:nvSpPr>
            <p:cNvPr id="14" name="TextBox 13">
              <a:extLst>
                <a:ext uri="{FF2B5EF4-FFF2-40B4-BE49-F238E27FC236}">
                  <a16:creationId xmlns:a16="http://schemas.microsoft.com/office/drawing/2014/main" id="{45604B21-8EE6-4A84-AA6B-A43FF6B36D6C}"/>
                </a:ext>
              </a:extLst>
            </p:cNvPr>
            <p:cNvSpPr txBox="1"/>
            <p:nvPr/>
          </p:nvSpPr>
          <p:spPr>
            <a:xfrm>
              <a:off x="959290" y="4304432"/>
              <a:ext cx="784693" cy="407021"/>
            </a:xfrm>
            <a:prstGeom prst="rect">
              <a:avLst/>
            </a:prstGeom>
            <a:noFill/>
          </p:spPr>
          <p:txBody>
            <a:bodyPr wrap="none" rtlCol="0">
              <a:spAutoFit/>
            </a:bodyPr>
            <a:lstStyle/>
            <a:p>
              <a:r>
                <a:rPr lang="en-US" sz="1400" b="1">
                  <a:solidFill>
                    <a:schemeClr val="accent1"/>
                  </a:solidFill>
                </a:rPr>
                <a:t>Radio</a:t>
              </a:r>
            </a:p>
          </p:txBody>
        </p:sp>
        <p:sp>
          <p:nvSpPr>
            <p:cNvPr id="15" name="TextBox 14">
              <a:extLst>
                <a:ext uri="{FF2B5EF4-FFF2-40B4-BE49-F238E27FC236}">
                  <a16:creationId xmlns:a16="http://schemas.microsoft.com/office/drawing/2014/main" id="{197844C0-AEC3-484E-BBFC-9DFD5AE8369B}"/>
                </a:ext>
              </a:extLst>
            </p:cNvPr>
            <p:cNvSpPr txBox="1"/>
            <p:nvPr/>
          </p:nvSpPr>
          <p:spPr>
            <a:xfrm>
              <a:off x="5452035" y="4304432"/>
              <a:ext cx="1166301" cy="407021"/>
            </a:xfrm>
            <a:prstGeom prst="rect">
              <a:avLst/>
            </a:prstGeom>
            <a:noFill/>
          </p:spPr>
          <p:txBody>
            <a:bodyPr wrap="none" rtlCol="0">
              <a:spAutoFit/>
            </a:bodyPr>
            <a:lstStyle/>
            <a:p>
              <a:r>
                <a:rPr lang="en-US" sz="1400" b="1">
                  <a:solidFill>
                    <a:schemeClr val="accent2"/>
                  </a:solidFill>
                </a:rPr>
                <a:t>Transport</a:t>
              </a:r>
            </a:p>
          </p:txBody>
        </p:sp>
        <p:sp>
          <p:nvSpPr>
            <p:cNvPr id="16" name="TextBox 15">
              <a:extLst>
                <a:ext uri="{FF2B5EF4-FFF2-40B4-BE49-F238E27FC236}">
                  <a16:creationId xmlns:a16="http://schemas.microsoft.com/office/drawing/2014/main" id="{FB5E3AA9-FDEE-4D5F-B03F-97B1B950E9FC}"/>
                </a:ext>
              </a:extLst>
            </p:cNvPr>
            <p:cNvSpPr txBox="1"/>
            <p:nvPr/>
          </p:nvSpPr>
          <p:spPr>
            <a:xfrm>
              <a:off x="9316321" y="4304432"/>
              <a:ext cx="502802" cy="407021"/>
            </a:xfrm>
            <a:prstGeom prst="rect">
              <a:avLst/>
            </a:prstGeom>
            <a:noFill/>
          </p:spPr>
          <p:txBody>
            <a:bodyPr wrap="none" rtlCol="0">
              <a:spAutoFit/>
            </a:bodyPr>
            <a:lstStyle/>
            <a:p>
              <a:r>
                <a:rPr lang="en-US" sz="1400" b="1">
                  <a:solidFill>
                    <a:schemeClr val="accent1"/>
                  </a:solidFill>
                </a:rPr>
                <a:t>CN</a:t>
              </a:r>
            </a:p>
          </p:txBody>
        </p:sp>
        <p:sp>
          <p:nvSpPr>
            <p:cNvPr id="17" name="TextBox 16">
              <a:extLst>
                <a:ext uri="{FF2B5EF4-FFF2-40B4-BE49-F238E27FC236}">
                  <a16:creationId xmlns:a16="http://schemas.microsoft.com/office/drawing/2014/main" id="{EB8A8897-311B-4384-90F7-F614DF4D2BEA}"/>
                </a:ext>
              </a:extLst>
            </p:cNvPr>
            <p:cNvSpPr txBox="1"/>
            <p:nvPr/>
          </p:nvSpPr>
          <p:spPr>
            <a:xfrm>
              <a:off x="9737127" y="4304432"/>
              <a:ext cx="610189" cy="407021"/>
            </a:xfrm>
            <a:prstGeom prst="rect">
              <a:avLst/>
            </a:prstGeom>
            <a:noFill/>
          </p:spPr>
          <p:txBody>
            <a:bodyPr wrap="none" rtlCol="0">
              <a:spAutoFit/>
            </a:bodyPr>
            <a:lstStyle/>
            <a:p>
              <a:r>
                <a:rPr lang="en-US" sz="1400" b="1">
                  <a:solidFill>
                    <a:schemeClr val="accent6"/>
                  </a:solidFill>
                </a:rPr>
                <a:t>App</a:t>
              </a:r>
            </a:p>
          </p:txBody>
        </p:sp>
        <p:sp>
          <p:nvSpPr>
            <p:cNvPr id="18" name="Arc 37">
              <a:extLst>
                <a:ext uri="{FF2B5EF4-FFF2-40B4-BE49-F238E27FC236}">
                  <a16:creationId xmlns:a16="http://schemas.microsoft.com/office/drawing/2014/main" id="{4783BE0F-4124-464F-815F-7A3623BB0A71}"/>
                </a:ext>
              </a:extLst>
            </p:cNvPr>
            <p:cNvSpPr>
              <a:spLocks/>
            </p:cNvSpPr>
            <p:nvPr/>
          </p:nvSpPr>
          <p:spPr bwMode="auto">
            <a:xfrm rot="10800000">
              <a:off x="6493841" y="1534734"/>
              <a:ext cx="1982787" cy="2065338"/>
            </a:xfrm>
            <a:custGeom>
              <a:avLst/>
              <a:gdLst>
                <a:gd name="T0" fmla="*/ 2147483647 w 42372"/>
                <a:gd name="T1" fmla="*/ 2147483647 h 43200"/>
                <a:gd name="T2" fmla="*/ 2147483647 w 42372"/>
                <a:gd name="T3" fmla="*/ 2147483647 h 43200"/>
                <a:gd name="T4" fmla="*/ 2147483647 w 42372"/>
                <a:gd name="T5" fmla="*/ 2147483647 h 43200"/>
                <a:gd name="T6" fmla="*/ 0 60000 65536"/>
                <a:gd name="T7" fmla="*/ 0 60000 65536"/>
                <a:gd name="T8" fmla="*/ 0 60000 65536"/>
              </a:gdLst>
              <a:ahLst/>
              <a:cxnLst>
                <a:cxn ang="T6">
                  <a:pos x="T0" y="T1"/>
                </a:cxn>
                <a:cxn ang="T7">
                  <a:pos x="T2" y="T3"/>
                </a:cxn>
                <a:cxn ang="T8">
                  <a:pos x="T4" y="T5"/>
                </a:cxn>
              </a:cxnLst>
              <a:rect l="0" t="0" r="r" b="b"/>
              <a:pathLst>
                <a:path w="42372" h="43200" fill="none" extrusionOk="0">
                  <a:moveTo>
                    <a:pt x="42371" y="27523"/>
                  </a:moveTo>
                  <a:cubicBezTo>
                    <a:pt x="39725" y="36801"/>
                    <a:pt x="31247" y="43199"/>
                    <a:pt x="21600" y="43200"/>
                  </a:cubicBezTo>
                  <a:cubicBezTo>
                    <a:pt x="9670" y="43200"/>
                    <a:pt x="0" y="33529"/>
                    <a:pt x="0" y="21600"/>
                  </a:cubicBezTo>
                  <a:cubicBezTo>
                    <a:pt x="0" y="9670"/>
                    <a:pt x="9670" y="0"/>
                    <a:pt x="21600" y="0"/>
                  </a:cubicBezTo>
                  <a:cubicBezTo>
                    <a:pt x="29393" y="-1"/>
                    <a:pt x="36582" y="4197"/>
                    <a:pt x="40411" y="10985"/>
                  </a:cubicBezTo>
                </a:path>
                <a:path w="42372" h="43200" stroke="0" extrusionOk="0">
                  <a:moveTo>
                    <a:pt x="42371" y="27523"/>
                  </a:moveTo>
                  <a:cubicBezTo>
                    <a:pt x="39725" y="36801"/>
                    <a:pt x="31247" y="43199"/>
                    <a:pt x="21600" y="43200"/>
                  </a:cubicBezTo>
                  <a:cubicBezTo>
                    <a:pt x="9670" y="43200"/>
                    <a:pt x="0" y="33529"/>
                    <a:pt x="0" y="21600"/>
                  </a:cubicBezTo>
                  <a:cubicBezTo>
                    <a:pt x="0" y="9670"/>
                    <a:pt x="9670" y="0"/>
                    <a:pt x="21600" y="0"/>
                  </a:cubicBezTo>
                  <a:cubicBezTo>
                    <a:pt x="29393" y="-1"/>
                    <a:pt x="36582" y="4197"/>
                    <a:pt x="40411" y="10985"/>
                  </a:cubicBezTo>
                  <a:lnTo>
                    <a:pt x="21600" y="21600"/>
                  </a:lnTo>
                  <a:lnTo>
                    <a:pt x="42371" y="27523"/>
                  </a:lnTo>
                  <a:close/>
                </a:path>
              </a:pathLst>
            </a:custGeom>
            <a:noFill/>
            <a:ln w="12700">
              <a:solidFill>
                <a:schemeClr val="tx1"/>
              </a:solidFill>
              <a:round/>
              <a:headEnd/>
              <a:tailEnd/>
            </a:ln>
            <a:effectLst/>
            <a:extLst>
              <a:ext uri="{909E8E84-426E-40DD-AFC4-6F175D3DCCD1}">
                <a14:hiddenFill xmlns:a14="http://schemas.microsoft.com/office/drawing/2010/main">
                  <a:solidFill>
                    <a:srgbClr val="B2B2B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994" tIns="60955" rIns="95994" bIns="60955" anchor="ctr"/>
            <a:lstStyle/>
            <a:p>
              <a:endParaRPr lang="en-US" sz="1400"/>
            </a:p>
          </p:txBody>
        </p:sp>
        <p:sp>
          <p:nvSpPr>
            <p:cNvPr id="19" name="Freeform 3">
              <a:extLst>
                <a:ext uri="{FF2B5EF4-FFF2-40B4-BE49-F238E27FC236}">
                  <a16:creationId xmlns:a16="http://schemas.microsoft.com/office/drawing/2014/main" id="{ED3C9648-77E1-46D0-9CD9-E30DC73BA296}"/>
                </a:ext>
              </a:extLst>
            </p:cNvPr>
            <p:cNvSpPr>
              <a:spLocks noChangeAspect="1" noEditPoints="1"/>
            </p:cNvSpPr>
            <p:nvPr/>
          </p:nvSpPr>
          <p:spPr bwMode="auto">
            <a:xfrm>
              <a:off x="1604900" y="2480512"/>
              <a:ext cx="536575" cy="925513"/>
            </a:xfrm>
            <a:custGeom>
              <a:avLst/>
              <a:gdLst>
                <a:gd name="T0" fmla="*/ 2147483647 w 301"/>
                <a:gd name="T1" fmla="*/ 2147483647 h 412"/>
                <a:gd name="T2" fmla="*/ 2147483647 w 301"/>
                <a:gd name="T3" fmla="*/ 2147483647 h 412"/>
                <a:gd name="T4" fmla="*/ 2147483647 w 301"/>
                <a:gd name="T5" fmla="*/ 2147483647 h 412"/>
                <a:gd name="T6" fmla="*/ 2147483647 w 301"/>
                <a:gd name="T7" fmla="*/ 2147483647 h 412"/>
                <a:gd name="T8" fmla="*/ 2147483647 w 301"/>
                <a:gd name="T9" fmla="*/ 2147483647 h 412"/>
                <a:gd name="T10" fmla="*/ 2147483647 w 301"/>
                <a:gd name="T11" fmla="*/ 2147483647 h 412"/>
                <a:gd name="T12" fmla="*/ 2147483647 w 301"/>
                <a:gd name="T13" fmla="*/ 2147483647 h 412"/>
                <a:gd name="T14" fmla="*/ 2147483647 w 301"/>
                <a:gd name="T15" fmla="*/ 2147483647 h 412"/>
                <a:gd name="T16" fmla="*/ 2147483647 w 301"/>
                <a:gd name="T17" fmla="*/ 2147483647 h 412"/>
                <a:gd name="T18" fmla="*/ 2147483647 w 301"/>
                <a:gd name="T19" fmla="*/ 2147483647 h 412"/>
                <a:gd name="T20" fmla="*/ 2147483647 w 301"/>
                <a:gd name="T21" fmla="*/ 2147483647 h 412"/>
                <a:gd name="T22" fmla="*/ 2147483647 w 301"/>
                <a:gd name="T23" fmla="*/ 2147483647 h 412"/>
                <a:gd name="T24" fmla="*/ 2147483647 w 301"/>
                <a:gd name="T25" fmla="*/ 2147483647 h 412"/>
                <a:gd name="T26" fmla="*/ 2147483647 w 301"/>
                <a:gd name="T27" fmla="*/ 2147483647 h 412"/>
                <a:gd name="T28" fmla="*/ 2147483647 w 301"/>
                <a:gd name="T29" fmla="*/ 2147483647 h 412"/>
                <a:gd name="T30" fmla="*/ 2147483647 w 301"/>
                <a:gd name="T31" fmla="*/ 2147483647 h 412"/>
                <a:gd name="T32" fmla="*/ 2147483647 w 301"/>
                <a:gd name="T33" fmla="*/ 2147483647 h 412"/>
                <a:gd name="T34" fmla="*/ 2147483647 w 301"/>
                <a:gd name="T35" fmla="*/ 2147483647 h 412"/>
                <a:gd name="T36" fmla="*/ 2147483647 w 301"/>
                <a:gd name="T37" fmla="*/ 2147483647 h 412"/>
                <a:gd name="T38" fmla="*/ 2147483647 w 301"/>
                <a:gd name="T39" fmla="*/ 2147483647 h 412"/>
                <a:gd name="T40" fmla="*/ 2147483647 w 301"/>
                <a:gd name="T41" fmla="*/ 2147483647 h 412"/>
                <a:gd name="T42" fmla="*/ 2147483647 w 301"/>
                <a:gd name="T43" fmla="*/ 2147483647 h 412"/>
                <a:gd name="T44" fmla="*/ 2147483647 w 301"/>
                <a:gd name="T45" fmla="*/ 2147483647 h 412"/>
                <a:gd name="T46" fmla="*/ 2147483647 w 301"/>
                <a:gd name="T47" fmla="*/ 2147483647 h 412"/>
                <a:gd name="T48" fmla="*/ 2147483647 w 301"/>
                <a:gd name="T49" fmla="*/ 2147483647 h 412"/>
                <a:gd name="T50" fmla="*/ 2147483647 w 301"/>
                <a:gd name="T51" fmla="*/ 2147483647 h 412"/>
                <a:gd name="T52" fmla="*/ 2147483647 w 301"/>
                <a:gd name="T53" fmla="*/ 2147483647 h 412"/>
                <a:gd name="T54" fmla="*/ 2147483647 w 301"/>
                <a:gd name="T55" fmla="*/ 2147483647 h 412"/>
                <a:gd name="T56" fmla="*/ 2147483647 w 301"/>
                <a:gd name="T57" fmla="*/ 2147483647 h 412"/>
                <a:gd name="T58" fmla="*/ 2147483647 w 301"/>
                <a:gd name="T59" fmla="*/ 2147483647 h 412"/>
                <a:gd name="T60" fmla="*/ 2147483647 w 301"/>
                <a:gd name="T61" fmla="*/ 2147483647 h 412"/>
                <a:gd name="T62" fmla="*/ 2147483647 w 301"/>
                <a:gd name="T63" fmla="*/ 2147483647 h 412"/>
                <a:gd name="T64" fmla="*/ 2147483647 w 301"/>
                <a:gd name="T65" fmla="*/ 2147483647 h 412"/>
                <a:gd name="T66" fmla="*/ 2147483647 w 301"/>
                <a:gd name="T67" fmla="*/ 2147483647 h 412"/>
                <a:gd name="T68" fmla="*/ 2147483647 w 301"/>
                <a:gd name="T69" fmla="*/ 2147483647 h 412"/>
                <a:gd name="T70" fmla="*/ 2147483647 w 301"/>
                <a:gd name="T71" fmla="*/ 2147483647 h 412"/>
                <a:gd name="T72" fmla="*/ 2147483647 w 301"/>
                <a:gd name="T73" fmla="*/ 2147483647 h 412"/>
                <a:gd name="T74" fmla="*/ 2147483647 w 301"/>
                <a:gd name="T75" fmla="*/ 2147483647 h 412"/>
                <a:gd name="T76" fmla="*/ 2147483647 w 301"/>
                <a:gd name="T77" fmla="*/ 2147483647 h 412"/>
                <a:gd name="T78" fmla="*/ 2147483647 w 301"/>
                <a:gd name="T79" fmla="*/ 2147483647 h 412"/>
                <a:gd name="T80" fmla="*/ 2147483647 w 301"/>
                <a:gd name="T81" fmla="*/ 2147483647 h 412"/>
                <a:gd name="T82" fmla="*/ 2147483647 w 301"/>
                <a:gd name="T83" fmla="*/ 2147483647 h 412"/>
                <a:gd name="T84" fmla="*/ 2147483647 w 301"/>
                <a:gd name="T85" fmla="*/ 2147483647 h 412"/>
                <a:gd name="T86" fmla="*/ 2147483647 w 301"/>
                <a:gd name="T87" fmla="*/ 2147483647 h 412"/>
                <a:gd name="T88" fmla="*/ 2147483647 w 301"/>
                <a:gd name="T89" fmla="*/ 2147483647 h 412"/>
                <a:gd name="T90" fmla="*/ 2147483647 w 301"/>
                <a:gd name="T91" fmla="*/ 2147483647 h 412"/>
                <a:gd name="T92" fmla="*/ 2147483647 w 301"/>
                <a:gd name="T93" fmla="*/ 2147483647 h 412"/>
                <a:gd name="T94" fmla="*/ 2147483647 w 301"/>
                <a:gd name="T95" fmla="*/ 2147483647 h 412"/>
                <a:gd name="T96" fmla="*/ 2147483647 w 301"/>
                <a:gd name="T97" fmla="*/ 2147483647 h 412"/>
                <a:gd name="T98" fmla="*/ 2147483647 w 301"/>
                <a:gd name="T99" fmla="*/ 2147483647 h 412"/>
                <a:gd name="T100" fmla="*/ 2147483647 w 301"/>
                <a:gd name="T101" fmla="*/ 2147483647 h 412"/>
                <a:gd name="T102" fmla="*/ 2147483647 w 301"/>
                <a:gd name="T103" fmla="*/ 0 h 412"/>
                <a:gd name="T104" fmla="*/ 2147483647 w 301"/>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1"/>
                <a:gd name="T160" fmla="*/ 0 h 412"/>
                <a:gd name="T161" fmla="*/ 301 w 30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1" h="412">
                  <a:moveTo>
                    <a:pt x="68" y="37"/>
                  </a:moveTo>
                  <a:cubicBezTo>
                    <a:pt x="68" y="33"/>
                    <a:pt x="65" y="29"/>
                    <a:pt x="60" y="29"/>
                  </a:cubicBezTo>
                  <a:cubicBezTo>
                    <a:pt x="39" y="29"/>
                    <a:pt x="39" y="29"/>
                    <a:pt x="39" y="29"/>
                  </a:cubicBezTo>
                  <a:cubicBezTo>
                    <a:pt x="35" y="29"/>
                    <a:pt x="31" y="33"/>
                    <a:pt x="31" y="37"/>
                  </a:cubicBezTo>
                  <a:cubicBezTo>
                    <a:pt x="31" y="58"/>
                    <a:pt x="31" y="58"/>
                    <a:pt x="31" y="58"/>
                  </a:cubicBezTo>
                  <a:cubicBezTo>
                    <a:pt x="31" y="63"/>
                    <a:pt x="35" y="66"/>
                    <a:pt x="39" y="66"/>
                  </a:cubicBezTo>
                  <a:cubicBezTo>
                    <a:pt x="60" y="66"/>
                    <a:pt x="60" y="66"/>
                    <a:pt x="60" y="66"/>
                  </a:cubicBezTo>
                  <a:cubicBezTo>
                    <a:pt x="65" y="66"/>
                    <a:pt x="68" y="63"/>
                    <a:pt x="68" y="58"/>
                  </a:cubicBezTo>
                  <a:lnTo>
                    <a:pt x="68" y="37"/>
                  </a:lnTo>
                  <a:close/>
                  <a:moveTo>
                    <a:pt x="68" y="86"/>
                  </a:moveTo>
                  <a:cubicBezTo>
                    <a:pt x="68" y="81"/>
                    <a:pt x="65" y="78"/>
                    <a:pt x="60" y="78"/>
                  </a:cubicBezTo>
                  <a:cubicBezTo>
                    <a:pt x="39" y="78"/>
                    <a:pt x="39" y="78"/>
                    <a:pt x="39" y="78"/>
                  </a:cubicBezTo>
                  <a:cubicBezTo>
                    <a:pt x="35" y="78"/>
                    <a:pt x="31" y="81"/>
                    <a:pt x="31" y="86"/>
                  </a:cubicBezTo>
                  <a:cubicBezTo>
                    <a:pt x="31" y="107"/>
                    <a:pt x="31" y="107"/>
                    <a:pt x="31" y="107"/>
                  </a:cubicBezTo>
                  <a:cubicBezTo>
                    <a:pt x="31" y="112"/>
                    <a:pt x="35" y="115"/>
                    <a:pt x="39" y="115"/>
                  </a:cubicBezTo>
                  <a:cubicBezTo>
                    <a:pt x="60" y="115"/>
                    <a:pt x="60" y="115"/>
                    <a:pt x="60" y="115"/>
                  </a:cubicBezTo>
                  <a:cubicBezTo>
                    <a:pt x="65" y="115"/>
                    <a:pt x="68" y="112"/>
                    <a:pt x="68" y="107"/>
                  </a:cubicBezTo>
                  <a:lnTo>
                    <a:pt x="68" y="86"/>
                  </a:lnTo>
                  <a:close/>
                  <a:moveTo>
                    <a:pt x="68" y="135"/>
                  </a:moveTo>
                  <a:cubicBezTo>
                    <a:pt x="68" y="130"/>
                    <a:pt x="65" y="127"/>
                    <a:pt x="60" y="127"/>
                  </a:cubicBezTo>
                  <a:cubicBezTo>
                    <a:pt x="39" y="127"/>
                    <a:pt x="39" y="127"/>
                    <a:pt x="39" y="127"/>
                  </a:cubicBezTo>
                  <a:cubicBezTo>
                    <a:pt x="35" y="127"/>
                    <a:pt x="31" y="130"/>
                    <a:pt x="31" y="135"/>
                  </a:cubicBezTo>
                  <a:cubicBezTo>
                    <a:pt x="31" y="156"/>
                    <a:pt x="31" y="156"/>
                    <a:pt x="31" y="156"/>
                  </a:cubicBezTo>
                  <a:cubicBezTo>
                    <a:pt x="31" y="160"/>
                    <a:pt x="35" y="164"/>
                    <a:pt x="39" y="164"/>
                  </a:cubicBezTo>
                  <a:cubicBezTo>
                    <a:pt x="60" y="164"/>
                    <a:pt x="60" y="164"/>
                    <a:pt x="60" y="164"/>
                  </a:cubicBezTo>
                  <a:cubicBezTo>
                    <a:pt x="65" y="164"/>
                    <a:pt x="68" y="160"/>
                    <a:pt x="68" y="156"/>
                  </a:cubicBezTo>
                  <a:lnTo>
                    <a:pt x="68" y="135"/>
                  </a:lnTo>
                  <a:close/>
                  <a:moveTo>
                    <a:pt x="68" y="183"/>
                  </a:moveTo>
                  <a:cubicBezTo>
                    <a:pt x="68" y="179"/>
                    <a:pt x="65" y="175"/>
                    <a:pt x="60" y="175"/>
                  </a:cubicBezTo>
                  <a:cubicBezTo>
                    <a:pt x="39" y="175"/>
                    <a:pt x="39" y="175"/>
                    <a:pt x="39" y="175"/>
                  </a:cubicBezTo>
                  <a:cubicBezTo>
                    <a:pt x="35" y="175"/>
                    <a:pt x="31" y="179"/>
                    <a:pt x="31" y="183"/>
                  </a:cubicBezTo>
                  <a:cubicBezTo>
                    <a:pt x="31" y="205"/>
                    <a:pt x="31" y="205"/>
                    <a:pt x="31" y="205"/>
                  </a:cubicBezTo>
                  <a:cubicBezTo>
                    <a:pt x="31" y="209"/>
                    <a:pt x="35" y="213"/>
                    <a:pt x="39" y="213"/>
                  </a:cubicBezTo>
                  <a:cubicBezTo>
                    <a:pt x="60" y="213"/>
                    <a:pt x="60" y="213"/>
                    <a:pt x="60" y="213"/>
                  </a:cubicBezTo>
                  <a:cubicBezTo>
                    <a:pt x="65" y="213"/>
                    <a:pt x="68" y="209"/>
                    <a:pt x="68" y="205"/>
                  </a:cubicBezTo>
                  <a:lnTo>
                    <a:pt x="68" y="183"/>
                  </a:lnTo>
                  <a:close/>
                  <a:moveTo>
                    <a:pt x="68" y="232"/>
                  </a:moveTo>
                  <a:cubicBezTo>
                    <a:pt x="68" y="228"/>
                    <a:pt x="65" y="224"/>
                    <a:pt x="60" y="224"/>
                  </a:cubicBezTo>
                  <a:cubicBezTo>
                    <a:pt x="39" y="224"/>
                    <a:pt x="39" y="224"/>
                    <a:pt x="39" y="224"/>
                  </a:cubicBezTo>
                  <a:cubicBezTo>
                    <a:pt x="35" y="224"/>
                    <a:pt x="31" y="228"/>
                    <a:pt x="31" y="232"/>
                  </a:cubicBezTo>
                  <a:cubicBezTo>
                    <a:pt x="31" y="253"/>
                    <a:pt x="31" y="253"/>
                    <a:pt x="31" y="253"/>
                  </a:cubicBezTo>
                  <a:cubicBezTo>
                    <a:pt x="31" y="258"/>
                    <a:pt x="35" y="261"/>
                    <a:pt x="39" y="261"/>
                  </a:cubicBezTo>
                  <a:cubicBezTo>
                    <a:pt x="60" y="261"/>
                    <a:pt x="60" y="261"/>
                    <a:pt x="60" y="261"/>
                  </a:cubicBezTo>
                  <a:cubicBezTo>
                    <a:pt x="65" y="261"/>
                    <a:pt x="68" y="258"/>
                    <a:pt x="68" y="253"/>
                  </a:cubicBezTo>
                  <a:lnTo>
                    <a:pt x="68" y="232"/>
                  </a:lnTo>
                  <a:close/>
                  <a:moveTo>
                    <a:pt x="60" y="273"/>
                  </a:moveTo>
                  <a:cubicBezTo>
                    <a:pt x="39" y="273"/>
                    <a:pt x="39" y="273"/>
                    <a:pt x="39" y="273"/>
                  </a:cubicBezTo>
                  <a:cubicBezTo>
                    <a:pt x="35" y="273"/>
                    <a:pt x="31" y="276"/>
                    <a:pt x="31" y="281"/>
                  </a:cubicBezTo>
                  <a:cubicBezTo>
                    <a:pt x="31" y="302"/>
                    <a:pt x="31" y="302"/>
                    <a:pt x="31" y="302"/>
                  </a:cubicBezTo>
                  <a:cubicBezTo>
                    <a:pt x="31" y="306"/>
                    <a:pt x="35" y="310"/>
                    <a:pt x="39" y="310"/>
                  </a:cubicBezTo>
                  <a:cubicBezTo>
                    <a:pt x="60" y="310"/>
                    <a:pt x="60" y="310"/>
                    <a:pt x="60" y="310"/>
                  </a:cubicBezTo>
                  <a:cubicBezTo>
                    <a:pt x="65" y="310"/>
                    <a:pt x="68" y="306"/>
                    <a:pt x="68" y="302"/>
                  </a:cubicBezTo>
                  <a:cubicBezTo>
                    <a:pt x="68" y="281"/>
                    <a:pt x="68" y="281"/>
                    <a:pt x="68" y="281"/>
                  </a:cubicBezTo>
                  <a:cubicBezTo>
                    <a:pt x="68" y="276"/>
                    <a:pt x="65" y="273"/>
                    <a:pt x="60" y="273"/>
                  </a:cubicBezTo>
                  <a:close/>
                  <a:moveTo>
                    <a:pt x="119" y="37"/>
                  </a:moveTo>
                  <a:cubicBezTo>
                    <a:pt x="119" y="33"/>
                    <a:pt x="115" y="29"/>
                    <a:pt x="111" y="29"/>
                  </a:cubicBezTo>
                  <a:cubicBezTo>
                    <a:pt x="90" y="29"/>
                    <a:pt x="90" y="29"/>
                    <a:pt x="90" y="29"/>
                  </a:cubicBezTo>
                  <a:cubicBezTo>
                    <a:pt x="85" y="29"/>
                    <a:pt x="82" y="33"/>
                    <a:pt x="82" y="37"/>
                  </a:cubicBezTo>
                  <a:cubicBezTo>
                    <a:pt x="82" y="58"/>
                    <a:pt x="82" y="58"/>
                    <a:pt x="82" y="58"/>
                  </a:cubicBezTo>
                  <a:cubicBezTo>
                    <a:pt x="82" y="63"/>
                    <a:pt x="85" y="66"/>
                    <a:pt x="90" y="66"/>
                  </a:cubicBezTo>
                  <a:cubicBezTo>
                    <a:pt x="111" y="66"/>
                    <a:pt x="111" y="66"/>
                    <a:pt x="111" y="66"/>
                  </a:cubicBezTo>
                  <a:cubicBezTo>
                    <a:pt x="115" y="66"/>
                    <a:pt x="119" y="63"/>
                    <a:pt x="119" y="58"/>
                  </a:cubicBezTo>
                  <a:lnTo>
                    <a:pt x="119" y="37"/>
                  </a:lnTo>
                  <a:close/>
                  <a:moveTo>
                    <a:pt x="119" y="86"/>
                  </a:moveTo>
                  <a:cubicBezTo>
                    <a:pt x="119" y="81"/>
                    <a:pt x="115" y="78"/>
                    <a:pt x="111" y="78"/>
                  </a:cubicBezTo>
                  <a:cubicBezTo>
                    <a:pt x="90" y="78"/>
                    <a:pt x="90" y="78"/>
                    <a:pt x="90" y="78"/>
                  </a:cubicBezTo>
                  <a:cubicBezTo>
                    <a:pt x="85" y="78"/>
                    <a:pt x="82" y="81"/>
                    <a:pt x="82" y="86"/>
                  </a:cubicBezTo>
                  <a:cubicBezTo>
                    <a:pt x="82" y="107"/>
                    <a:pt x="82" y="107"/>
                    <a:pt x="82" y="107"/>
                  </a:cubicBezTo>
                  <a:cubicBezTo>
                    <a:pt x="82" y="112"/>
                    <a:pt x="85" y="115"/>
                    <a:pt x="90" y="115"/>
                  </a:cubicBezTo>
                  <a:cubicBezTo>
                    <a:pt x="111" y="115"/>
                    <a:pt x="111" y="115"/>
                    <a:pt x="111" y="115"/>
                  </a:cubicBezTo>
                  <a:cubicBezTo>
                    <a:pt x="115" y="115"/>
                    <a:pt x="119" y="112"/>
                    <a:pt x="119" y="107"/>
                  </a:cubicBezTo>
                  <a:lnTo>
                    <a:pt x="119" y="86"/>
                  </a:lnTo>
                  <a:close/>
                  <a:moveTo>
                    <a:pt x="119" y="135"/>
                  </a:moveTo>
                  <a:cubicBezTo>
                    <a:pt x="119" y="130"/>
                    <a:pt x="115" y="127"/>
                    <a:pt x="111" y="127"/>
                  </a:cubicBezTo>
                  <a:cubicBezTo>
                    <a:pt x="90" y="127"/>
                    <a:pt x="90" y="127"/>
                    <a:pt x="90" y="127"/>
                  </a:cubicBezTo>
                  <a:cubicBezTo>
                    <a:pt x="85" y="127"/>
                    <a:pt x="82" y="130"/>
                    <a:pt x="82" y="135"/>
                  </a:cubicBezTo>
                  <a:cubicBezTo>
                    <a:pt x="82" y="156"/>
                    <a:pt x="82" y="156"/>
                    <a:pt x="82" y="156"/>
                  </a:cubicBezTo>
                  <a:cubicBezTo>
                    <a:pt x="82" y="160"/>
                    <a:pt x="85" y="164"/>
                    <a:pt x="90" y="164"/>
                  </a:cubicBezTo>
                  <a:cubicBezTo>
                    <a:pt x="111" y="164"/>
                    <a:pt x="111" y="164"/>
                    <a:pt x="111" y="164"/>
                  </a:cubicBezTo>
                  <a:cubicBezTo>
                    <a:pt x="115" y="164"/>
                    <a:pt x="119" y="160"/>
                    <a:pt x="119" y="156"/>
                  </a:cubicBezTo>
                  <a:lnTo>
                    <a:pt x="119" y="135"/>
                  </a:lnTo>
                  <a:close/>
                  <a:moveTo>
                    <a:pt x="119" y="183"/>
                  </a:moveTo>
                  <a:cubicBezTo>
                    <a:pt x="119" y="179"/>
                    <a:pt x="115" y="175"/>
                    <a:pt x="111" y="175"/>
                  </a:cubicBezTo>
                  <a:cubicBezTo>
                    <a:pt x="90" y="175"/>
                    <a:pt x="90" y="175"/>
                    <a:pt x="90" y="175"/>
                  </a:cubicBezTo>
                  <a:cubicBezTo>
                    <a:pt x="85" y="175"/>
                    <a:pt x="82" y="179"/>
                    <a:pt x="82" y="183"/>
                  </a:cubicBezTo>
                  <a:cubicBezTo>
                    <a:pt x="82" y="205"/>
                    <a:pt x="82" y="205"/>
                    <a:pt x="82" y="205"/>
                  </a:cubicBezTo>
                  <a:cubicBezTo>
                    <a:pt x="82" y="209"/>
                    <a:pt x="85" y="213"/>
                    <a:pt x="90" y="213"/>
                  </a:cubicBezTo>
                  <a:cubicBezTo>
                    <a:pt x="111" y="213"/>
                    <a:pt x="111" y="213"/>
                    <a:pt x="111" y="213"/>
                  </a:cubicBezTo>
                  <a:cubicBezTo>
                    <a:pt x="115" y="213"/>
                    <a:pt x="119" y="209"/>
                    <a:pt x="119" y="205"/>
                  </a:cubicBezTo>
                  <a:lnTo>
                    <a:pt x="119" y="183"/>
                  </a:lnTo>
                  <a:close/>
                  <a:moveTo>
                    <a:pt x="119" y="232"/>
                  </a:moveTo>
                  <a:cubicBezTo>
                    <a:pt x="119" y="228"/>
                    <a:pt x="115" y="224"/>
                    <a:pt x="111" y="224"/>
                  </a:cubicBezTo>
                  <a:cubicBezTo>
                    <a:pt x="90" y="224"/>
                    <a:pt x="90" y="224"/>
                    <a:pt x="90" y="224"/>
                  </a:cubicBezTo>
                  <a:cubicBezTo>
                    <a:pt x="85" y="224"/>
                    <a:pt x="82" y="228"/>
                    <a:pt x="82" y="232"/>
                  </a:cubicBezTo>
                  <a:cubicBezTo>
                    <a:pt x="82" y="253"/>
                    <a:pt x="82" y="253"/>
                    <a:pt x="82" y="253"/>
                  </a:cubicBezTo>
                  <a:cubicBezTo>
                    <a:pt x="82" y="258"/>
                    <a:pt x="85" y="261"/>
                    <a:pt x="90" y="261"/>
                  </a:cubicBezTo>
                  <a:cubicBezTo>
                    <a:pt x="111" y="261"/>
                    <a:pt x="111" y="261"/>
                    <a:pt x="111" y="261"/>
                  </a:cubicBezTo>
                  <a:cubicBezTo>
                    <a:pt x="115" y="261"/>
                    <a:pt x="119" y="258"/>
                    <a:pt x="119" y="253"/>
                  </a:cubicBezTo>
                  <a:lnTo>
                    <a:pt x="119" y="232"/>
                  </a:lnTo>
                  <a:close/>
                  <a:moveTo>
                    <a:pt x="111" y="273"/>
                  </a:moveTo>
                  <a:cubicBezTo>
                    <a:pt x="90" y="273"/>
                    <a:pt x="90" y="273"/>
                    <a:pt x="90" y="273"/>
                  </a:cubicBezTo>
                  <a:cubicBezTo>
                    <a:pt x="85" y="273"/>
                    <a:pt x="82" y="276"/>
                    <a:pt x="82" y="281"/>
                  </a:cubicBezTo>
                  <a:cubicBezTo>
                    <a:pt x="82" y="302"/>
                    <a:pt x="82" y="302"/>
                    <a:pt x="82" y="302"/>
                  </a:cubicBezTo>
                  <a:cubicBezTo>
                    <a:pt x="82" y="306"/>
                    <a:pt x="85" y="310"/>
                    <a:pt x="90" y="310"/>
                  </a:cubicBezTo>
                  <a:cubicBezTo>
                    <a:pt x="111" y="310"/>
                    <a:pt x="111" y="310"/>
                    <a:pt x="111" y="310"/>
                  </a:cubicBezTo>
                  <a:cubicBezTo>
                    <a:pt x="115" y="310"/>
                    <a:pt x="119" y="306"/>
                    <a:pt x="119" y="302"/>
                  </a:cubicBezTo>
                  <a:cubicBezTo>
                    <a:pt x="119" y="281"/>
                    <a:pt x="119" y="281"/>
                    <a:pt x="119" y="281"/>
                  </a:cubicBezTo>
                  <a:cubicBezTo>
                    <a:pt x="119" y="276"/>
                    <a:pt x="115" y="273"/>
                    <a:pt x="111" y="273"/>
                  </a:cubicBezTo>
                  <a:close/>
                  <a:moveTo>
                    <a:pt x="140" y="66"/>
                  </a:moveTo>
                  <a:cubicBezTo>
                    <a:pt x="162" y="66"/>
                    <a:pt x="162" y="66"/>
                    <a:pt x="162" y="66"/>
                  </a:cubicBezTo>
                  <a:cubicBezTo>
                    <a:pt x="166" y="66"/>
                    <a:pt x="170" y="63"/>
                    <a:pt x="170" y="58"/>
                  </a:cubicBezTo>
                  <a:cubicBezTo>
                    <a:pt x="170" y="37"/>
                    <a:pt x="170" y="37"/>
                    <a:pt x="170" y="37"/>
                  </a:cubicBezTo>
                  <a:cubicBezTo>
                    <a:pt x="170" y="33"/>
                    <a:pt x="166" y="29"/>
                    <a:pt x="162" y="29"/>
                  </a:cubicBezTo>
                  <a:cubicBezTo>
                    <a:pt x="140" y="29"/>
                    <a:pt x="140" y="29"/>
                    <a:pt x="140" y="29"/>
                  </a:cubicBezTo>
                  <a:cubicBezTo>
                    <a:pt x="136" y="29"/>
                    <a:pt x="132" y="33"/>
                    <a:pt x="132" y="37"/>
                  </a:cubicBezTo>
                  <a:cubicBezTo>
                    <a:pt x="132" y="58"/>
                    <a:pt x="132" y="58"/>
                    <a:pt x="132" y="58"/>
                  </a:cubicBezTo>
                  <a:cubicBezTo>
                    <a:pt x="132" y="63"/>
                    <a:pt x="136" y="66"/>
                    <a:pt x="140" y="66"/>
                  </a:cubicBezTo>
                  <a:close/>
                  <a:moveTo>
                    <a:pt x="170" y="86"/>
                  </a:moveTo>
                  <a:cubicBezTo>
                    <a:pt x="170" y="81"/>
                    <a:pt x="166" y="78"/>
                    <a:pt x="162" y="78"/>
                  </a:cubicBezTo>
                  <a:cubicBezTo>
                    <a:pt x="140" y="78"/>
                    <a:pt x="140" y="78"/>
                    <a:pt x="140" y="78"/>
                  </a:cubicBezTo>
                  <a:cubicBezTo>
                    <a:pt x="136" y="78"/>
                    <a:pt x="132" y="81"/>
                    <a:pt x="132" y="86"/>
                  </a:cubicBezTo>
                  <a:cubicBezTo>
                    <a:pt x="132" y="107"/>
                    <a:pt x="132" y="107"/>
                    <a:pt x="132" y="107"/>
                  </a:cubicBezTo>
                  <a:cubicBezTo>
                    <a:pt x="132" y="112"/>
                    <a:pt x="136" y="115"/>
                    <a:pt x="140" y="115"/>
                  </a:cubicBezTo>
                  <a:cubicBezTo>
                    <a:pt x="162" y="115"/>
                    <a:pt x="162" y="115"/>
                    <a:pt x="162" y="115"/>
                  </a:cubicBezTo>
                  <a:cubicBezTo>
                    <a:pt x="166" y="115"/>
                    <a:pt x="170" y="112"/>
                    <a:pt x="170" y="107"/>
                  </a:cubicBezTo>
                  <a:lnTo>
                    <a:pt x="170" y="86"/>
                  </a:lnTo>
                  <a:close/>
                  <a:moveTo>
                    <a:pt x="170" y="135"/>
                  </a:moveTo>
                  <a:cubicBezTo>
                    <a:pt x="170" y="130"/>
                    <a:pt x="166" y="127"/>
                    <a:pt x="162" y="127"/>
                  </a:cubicBezTo>
                  <a:cubicBezTo>
                    <a:pt x="140" y="127"/>
                    <a:pt x="140" y="127"/>
                    <a:pt x="140" y="127"/>
                  </a:cubicBezTo>
                  <a:cubicBezTo>
                    <a:pt x="136" y="127"/>
                    <a:pt x="132" y="130"/>
                    <a:pt x="132" y="135"/>
                  </a:cubicBezTo>
                  <a:cubicBezTo>
                    <a:pt x="132" y="156"/>
                    <a:pt x="132" y="156"/>
                    <a:pt x="132" y="156"/>
                  </a:cubicBezTo>
                  <a:cubicBezTo>
                    <a:pt x="132" y="160"/>
                    <a:pt x="136" y="164"/>
                    <a:pt x="140" y="164"/>
                  </a:cubicBezTo>
                  <a:cubicBezTo>
                    <a:pt x="162" y="164"/>
                    <a:pt x="162" y="164"/>
                    <a:pt x="162" y="164"/>
                  </a:cubicBezTo>
                  <a:cubicBezTo>
                    <a:pt x="166" y="164"/>
                    <a:pt x="170" y="160"/>
                    <a:pt x="170" y="156"/>
                  </a:cubicBezTo>
                  <a:lnTo>
                    <a:pt x="170" y="135"/>
                  </a:lnTo>
                  <a:close/>
                  <a:moveTo>
                    <a:pt x="170" y="183"/>
                  </a:moveTo>
                  <a:cubicBezTo>
                    <a:pt x="170" y="179"/>
                    <a:pt x="166" y="175"/>
                    <a:pt x="162" y="175"/>
                  </a:cubicBezTo>
                  <a:cubicBezTo>
                    <a:pt x="140" y="175"/>
                    <a:pt x="140" y="175"/>
                    <a:pt x="140" y="175"/>
                  </a:cubicBezTo>
                  <a:cubicBezTo>
                    <a:pt x="136" y="175"/>
                    <a:pt x="132" y="179"/>
                    <a:pt x="132" y="183"/>
                  </a:cubicBezTo>
                  <a:cubicBezTo>
                    <a:pt x="132" y="205"/>
                    <a:pt x="132" y="205"/>
                    <a:pt x="132" y="205"/>
                  </a:cubicBezTo>
                  <a:cubicBezTo>
                    <a:pt x="132" y="209"/>
                    <a:pt x="136" y="213"/>
                    <a:pt x="140" y="213"/>
                  </a:cubicBezTo>
                  <a:cubicBezTo>
                    <a:pt x="162" y="213"/>
                    <a:pt x="162" y="213"/>
                    <a:pt x="162" y="213"/>
                  </a:cubicBezTo>
                  <a:cubicBezTo>
                    <a:pt x="166" y="213"/>
                    <a:pt x="170" y="209"/>
                    <a:pt x="170" y="205"/>
                  </a:cubicBezTo>
                  <a:lnTo>
                    <a:pt x="170" y="183"/>
                  </a:lnTo>
                  <a:close/>
                  <a:moveTo>
                    <a:pt x="170" y="232"/>
                  </a:moveTo>
                  <a:cubicBezTo>
                    <a:pt x="170" y="228"/>
                    <a:pt x="166" y="224"/>
                    <a:pt x="162" y="224"/>
                  </a:cubicBezTo>
                  <a:cubicBezTo>
                    <a:pt x="140" y="224"/>
                    <a:pt x="140" y="224"/>
                    <a:pt x="140" y="224"/>
                  </a:cubicBezTo>
                  <a:cubicBezTo>
                    <a:pt x="136" y="224"/>
                    <a:pt x="132" y="228"/>
                    <a:pt x="132" y="232"/>
                  </a:cubicBezTo>
                  <a:cubicBezTo>
                    <a:pt x="132" y="253"/>
                    <a:pt x="132" y="253"/>
                    <a:pt x="132" y="253"/>
                  </a:cubicBezTo>
                  <a:cubicBezTo>
                    <a:pt x="132" y="258"/>
                    <a:pt x="136" y="261"/>
                    <a:pt x="140" y="261"/>
                  </a:cubicBezTo>
                  <a:cubicBezTo>
                    <a:pt x="162" y="261"/>
                    <a:pt x="162" y="261"/>
                    <a:pt x="162" y="261"/>
                  </a:cubicBezTo>
                  <a:cubicBezTo>
                    <a:pt x="166" y="261"/>
                    <a:pt x="170" y="258"/>
                    <a:pt x="170" y="253"/>
                  </a:cubicBezTo>
                  <a:lnTo>
                    <a:pt x="170" y="232"/>
                  </a:lnTo>
                  <a:close/>
                  <a:moveTo>
                    <a:pt x="140" y="310"/>
                  </a:moveTo>
                  <a:cubicBezTo>
                    <a:pt x="162" y="310"/>
                    <a:pt x="162" y="310"/>
                    <a:pt x="162" y="310"/>
                  </a:cubicBezTo>
                  <a:cubicBezTo>
                    <a:pt x="166" y="310"/>
                    <a:pt x="170" y="306"/>
                    <a:pt x="170" y="302"/>
                  </a:cubicBezTo>
                  <a:cubicBezTo>
                    <a:pt x="170" y="281"/>
                    <a:pt x="170" y="281"/>
                    <a:pt x="170" y="281"/>
                  </a:cubicBezTo>
                  <a:cubicBezTo>
                    <a:pt x="170" y="276"/>
                    <a:pt x="166" y="273"/>
                    <a:pt x="162" y="273"/>
                  </a:cubicBezTo>
                  <a:cubicBezTo>
                    <a:pt x="140" y="273"/>
                    <a:pt x="140" y="273"/>
                    <a:pt x="140" y="273"/>
                  </a:cubicBezTo>
                  <a:cubicBezTo>
                    <a:pt x="136" y="273"/>
                    <a:pt x="132" y="276"/>
                    <a:pt x="132" y="281"/>
                  </a:cubicBezTo>
                  <a:cubicBezTo>
                    <a:pt x="132" y="302"/>
                    <a:pt x="132" y="302"/>
                    <a:pt x="132" y="302"/>
                  </a:cubicBezTo>
                  <a:cubicBezTo>
                    <a:pt x="132" y="306"/>
                    <a:pt x="136" y="310"/>
                    <a:pt x="140" y="310"/>
                  </a:cubicBezTo>
                  <a:close/>
                  <a:moveTo>
                    <a:pt x="220" y="131"/>
                  </a:moveTo>
                  <a:cubicBezTo>
                    <a:pt x="220" y="126"/>
                    <a:pt x="217" y="123"/>
                    <a:pt x="212" y="123"/>
                  </a:cubicBezTo>
                  <a:cubicBezTo>
                    <a:pt x="191" y="123"/>
                    <a:pt x="191" y="123"/>
                    <a:pt x="191" y="123"/>
                  </a:cubicBezTo>
                  <a:cubicBezTo>
                    <a:pt x="187" y="123"/>
                    <a:pt x="183" y="126"/>
                    <a:pt x="183" y="131"/>
                  </a:cubicBezTo>
                  <a:cubicBezTo>
                    <a:pt x="183" y="152"/>
                    <a:pt x="183" y="152"/>
                    <a:pt x="183" y="152"/>
                  </a:cubicBezTo>
                  <a:cubicBezTo>
                    <a:pt x="183" y="156"/>
                    <a:pt x="187" y="160"/>
                    <a:pt x="191" y="160"/>
                  </a:cubicBezTo>
                  <a:cubicBezTo>
                    <a:pt x="212" y="160"/>
                    <a:pt x="212" y="160"/>
                    <a:pt x="212" y="160"/>
                  </a:cubicBezTo>
                  <a:cubicBezTo>
                    <a:pt x="217" y="160"/>
                    <a:pt x="220" y="156"/>
                    <a:pt x="220" y="152"/>
                  </a:cubicBezTo>
                  <a:lnTo>
                    <a:pt x="220" y="131"/>
                  </a:lnTo>
                  <a:close/>
                  <a:moveTo>
                    <a:pt x="220" y="181"/>
                  </a:moveTo>
                  <a:cubicBezTo>
                    <a:pt x="220" y="176"/>
                    <a:pt x="217" y="173"/>
                    <a:pt x="212" y="173"/>
                  </a:cubicBezTo>
                  <a:cubicBezTo>
                    <a:pt x="191" y="173"/>
                    <a:pt x="191" y="173"/>
                    <a:pt x="191" y="173"/>
                  </a:cubicBezTo>
                  <a:cubicBezTo>
                    <a:pt x="187" y="173"/>
                    <a:pt x="183" y="176"/>
                    <a:pt x="183" y="181"/>
                  </a:cubicBezTo>
                  <a:cubicBezTo>
                    <a:pt x="183" y="202"/>
                    <a:pt x="183" y="202"/>
                    <a:pt x="183" y="202"/>
                  </a:cubicBezTo>
                  <a:cubicBezTo>
                    <a:pt x="183" y="206"/>
                    <a:pt x="187" y="210"/>
                    <a:pt x="191" y="210"/>
                  </a:cubicBezTo>
                  <a:cubicBezTo>
                    <a:pt x="212" y="210"/>
                    <a:pt x="212" y="210"/>
                    <a:pt x="212" y="210"/>
                  </a:cubicBezTo>
                  <a:cubicBezTo>
                    <a:pt x="217" y="210"/>
                    <a:pt x="220" y="206"/>
                    <a:pt x="220" y="202"/>
                  </a:cubicBezTo>
                  <a:lnTo>
                    <a:pt x="220" y="181"/>
                  </a:lnTo>
                  <a:close/>
                  <a:moveTo>
                    <a:pt x="220" y="231"/>
                  </a:moveTo>
                  <a:cubicBezTo>
                    <a:pt x="220" y="226"/>
                    <a:pt x="217" y="223"/>
                    <a:pt x="212" y="223"/>
                  </a:cubicBezTo>
                  <a:cubicBezTo>
                    <a:pt x="191" y="223"/>
                    <a:pt x="191" y="223"/>
                    <a:pt x="191" y="223"/>
                  </a:cubicBezTo>
                  <a:cubicBezTo>
                    <a:pt x="187" y="223"/>
                    <a:pt x="183" y="226"/>
                    <a:pt x="183" y="231"/>
                  </a:cubicBezTo>
                  <a:cubicBezTo>
                    <a:pt x="183" y="252"/>
                    <a:pt x="183" y="252"/>
                    <a:pt x="183" y="252"/>
                  </a:cubicBezTo>
                  <a:cubicBezTo>
                    <a:pt x="183" y="256"/>
                    <a:pt x="187" y="260"/>
                    <a:pt x="191" y="260"/>
                  </a:cubicBezTo>
                  <a:cubicBezTo>
                    <a:pt x="212" y="260"/>
                    <a:pt x="212" y="260"/>
                    <a:pt x="212" y="260"/>
                  </a:cubicBezTo>
                  <a:cubicBezTo>
                    <a:pt x="217" y="260"/>
                    <a:pt x="220" y="256"/>
                    <a:pt x="220" y="252"/>
                  </a:cubicBezTo>
                  <a:lnTo>
                    <a:pt x="220" y="231"/>
                  </a:lnTo>
                  <a:close/>
                  <a:moveTo>
                    <a:pt x="212" y="273"/>
                  </a:moveTo>
                  <a:cubicBezTo>
                    <a:pt x="191" y="273"/>
                    <a:pt x="191" y="273"/>
                    <a:pt x="191" y="273"/>
                  </a:cubicBezTo>
                  <a:cubicBezTo>
                    <a:pt x="187" y="273"/>
                    <a:pt x="183" y="276"/>
                    <a:pt x="183" y="281"/>
                  </a:cubicBezTo>
                  <a:cubicBezTo>
                    <a:pt x="183" y="302"/>
                    <a:pt x="183" y="302"/>
                    <a:pt x="183" y="302"/>
                  </a:cubicBezTo>
                  <a:cubicBezTo>
                    <a:pt x="183" y="306"/>
                    <a:pt x="187" y="310"/>
                    <a:pt x="191" y="310"/>
                  </a:cubicBezTo>
                  <a:cubicBezTo>
                    <a:pt x="212" y="310"/>
                    <a:pt x="212" y="310"/>
                    <a:pt x="212" y="310"/>
                  </a:cubicBezTo>
                  <a:cubicBezTo>
                    <a:pt x="217" y="310"/>
                    <a:pt x="220" y="306"/>
                    <a:pt x="220" y="302"/>
                  </a:cubicBezTo>
                  <a:cubicBezTo>
                    <a:pt x="220" y="281"/>
                    <a:pt x="220" y="281"/>
                    <a:pt x="220" y="281"/>
                  </a:cubicBezTo>
                  <a:cubicBezTo>
                    <a:pt x="220" y="276"/>
                    <a:pt x="217" y="273"/>
                    <a:pt x="212" y="273"/>
                  </a:cubicBezTo>
                  <a:close/>
                  <a:moveTo>
                    <a:pt x="271" y="131"/>
                  </a:moveTo>
                  <a:cubicBezTo>
                    <a:pt x="271" y="126"/>
                    <a:pt x="267" y="123"/>
                    <a:pt x="263" y="123"/>
                  </a:cubicBezTo>
                  <a:cubicBezTo>
                    <a:pt x="242" y="123"/>
                    <a:pt x="242" y="123"/>
                    <a:pt x="242" y="123"/>
                  </a:cubicBezTo>
                  <a:cubicBezTo>
                    <a:pt x="237" y="123"/>
                    <a:pt x="234" y="126"/>
                    <a:pt x="234" y="131"/>
                  </a:cubicBezTo>
                  <a:cubicBezTo>
                    <a:pt x="234" y="152"/>
                    <a:pt x="234" y="152"/>
                    <a:pt x="234" y="152"/>
                  </a:cubicBezTo>
                  <a:cubicBezTo>
                    <a:pt x="234" y="156"/>
                    <a:pt x="237" y="160"/>
                    <a:pt x="242" y="160"/>
                  </a:cubicBezTo>
                  <a:cubicBezTo>
                    <a:pt x="263" y="160"/>
                    <a:pt x="263" y="160"/>
                    <a:pt x="263" y="160"/>
                  </a:cubicBezTo>
                  <a:cubicBezTo>
                    <a:pt x="267" y="160"/>
                    <a:pt x="271" y="156"/>
                    <a:pt x="271" y="152"/>
                  </a:cubicBezTo>
                  <a:lnTo>
                    <a:pt x="271" y="131"/>
                  </a:lnTo>
                  <a:close/>
                  <a:moveTo>
                    <a:pt x="271" y="181"/>
                  </a:moveTo>
                  <a:cubicBezTo>
                    <a:pt x="271" y="176"/>
                    <a:pt x="267" y="173"/>
                    <a:pt x="263" y="173"/>
                  </a:cubicBezTo>
                  <a:cubicBezTo>
                    <a:pt x="242" y="173"/>
                    <a:pt x="242" y="173"/>
                    <a:pt x="242" y="173"/>
                  </a:cubicBezTo>
                  <a:cubicBezTo>
                    <a:pt x="237" y="173"/>
                    <a:pt x="234" y="176"/>
                    <a:pt x="234" y="181"/>
                  </a:cubicBezTo>
                  <a:cubicBezTo>
                    <a:pt x="234" y="202"/>
                    <a:pt x="234" y="202"/>
                    <a:pt x="234" y="202"/>
                  </a:cubicBezTo>
                  <a:cubicBezTo>
                    <a:pt x="234" y="206"/>
                    <a:pt x="237" y="210"/>
                    <a:pt x="242" y="210"/>
                  </a:cubicBezTo>
                  <a:cubicBezTo>
                    <a:pt x="263" y="210"/>
                    <a:pt x="263" y="210"/>
                    <a:pt x="263" y="210"/>
                  </a:cubicBezTo>
                  <a:cubicBezTo>
                    <a:pt x="267" y="210"/>
                    <a:pt x="271" y="206"/>
                    <a:pt x="271" y="202"/>
                  </a:cubicBezTo>
                  <a:lnTo>
                    <a:pt x="271" y="181"/>
                  </a:lnTo>
                  <a:close/>
                  <a:moveTo>
                    <a:pt x="271" y="231"/>
                  </a:moveTo>
                  <a:cubicBezTo>
                    <a:pt x="271" y="226"/>
                    <a:pt x="267" y="223"/>
                    <a:pt x="263" y="223"/>
                  </a:cubicBezTo>
                  <a:cubicBezTo>
                    <a:pt x="242" y="223"/>
                    <a:pt x="242" y="223"/>
                    <a:pt x="242" y="223"/>
                  </a:cubicBezTo>
                  <a:cubicBezTo>
                    <a:pt x="237" y="223"/>
                    <a:pt x="234" y="226"/>
                    <a:pt x="234" y="231"/>
                  </a:cubicBezTo>
                  <a:cubicBezTo>
                    <a:pt x="234" y="252"/>
                    <a:pt x="234" y="252"/>
                    <a:pt x="234" y="252"/>
                  </a:cubicBezTo>
                  <a:cubicBezTo>
                    <a:pt x="234" y="256"/>
                    <a:pt x="237" y="260"/>
                    <a:pt x="242" y="260"/>
                  </a:cubicBezTo>
                  <a:cubicBezTo>
                    <a:pt x="263" y="260"/>
                    <a:pt x="263" y="260"/>
                    <a:pt x="263" y="260"/>
                  </a:cubicBezTo>
                  <a:cubicBezTo>
                    <a:pt x="267" y="260"/>
                    <a:pt x="271" y="256"/>
                    <a:pt x="271" y="252"/>
                  </a:cubicBezTo>
                  <a:lnTo>
                    <a:pt x="271" y="231"/>
                  </a:lnTo>
                  <a:close/>
                  <a:moveTo>
                    <a:pt x="263" y="273"/>
                  </a:moveTo>
                  <a:cubicBezTo>
                    <a:pt x="242" y="273"/>
                    <a:pt x="242" y="273"/>
                    <a:pt x="242" y="273"/>
                  </a:cubicBezTo>
                  <a:cubicBezTo>
                    <a:pt x="237" y="273"/>
                    <a:pt x="234" y="276"/>
                    <a:pt x="234" y="281"/>
                  </a:cubicBezTo>
                  <a:cubicBezTo>
                    <a:pt x="234" y="302"/>
                    <a:pt x="234" y="302"/>
                    <a:pt x="234" y="302"/>
                  </a:cubicBezTo>
                  <a:cubicBezTo>
                    <a:pt x="234" y="306"/>
                    <a:pt x="237" y="310"/>
                    <a:pt x="242" y="310"/>
                  </a:cubicBezTo>
                  <a:cubicBezTo>
                    <a:pt x="263" y="310"/>
                    <a:pt x="263" y="310"/>
                    <a:pt x="263" y="310"/>
                  </a:cubicBezTo>
                  <a:cubicBezTo>
                    <a:pt x="267" y="310"/>
                    <a:pt x="271" y="306"/>
                    <a:pt x="271" y="302"/>
                  </a:cubicBezTo>
                  <a:cubicBezTo>
                    <a:pt x="271" y="281"/>
                    <a:pt x="271" y="281"/>
                    <a:pt x="271" y="281"/>
                  </a:cubicBezTo>
                  <a:cubicBezTo>
                    <a:pt x="271" y="276"/>
                    <a:pt x="267" y="273"/>
                    <a:pt x="263" y="273"/>
                  </a:cubicBezTo>
                  <a:close/>
                  <a:moveTo>
                    <a:pt x="293" y="138"/>
                  </a:moveTo>
                  <a:cubicBezTo>
                    <a:pt x="289" y="138"/>
                    <a:pt x="285" y="142"/>
                    <a:pt x="285" y="146"/>
                  </a:cubicBezTo>
                  <a:cubicBezTo>
                    <a:pt x="285" y="396"/>
                    <a:pt x="285" y="396"/>
                    <a:pt x="285" y="396"/>
                  </a:cubicBezTo>
                  <a:cubicBezTo>
                    <a:pt x="182" y="396"/>
                    <a:pt x="182" y="396"/>
                    <a:pt x="182" y="396"/>
                  </a:cubicBezTo>
                  <a:cubicBezTo>
                    <a:pt x="182" y="354"/>
                    <a:pt x="182" y="354"/>
                    <a:pt x="182" y="354"/>
                  </a:cubicBezTo>
                  <a:cubicBezTo>
                    <a:pt x="182" y="349"/>
                    <a:pt x="178" y="346"/>
                    <a:pt x="174" y="346"/>
                  </a:cubicBezTo>
                  <a:cubicBezTo>
                    <a:pt x="127" y="346"/>
                    <a:pt x="127" y="346"/>
                    <a:pt x="127" y="346"/>
                  </a:cubicBezTo>
                  <a:cubicBezTo>
                    <a:pt x="123" y="346"/>
                    <a:pt x="119" y="349"/>
                    <a:pt x="119" y="354"/>
                  </a:cubicBezTo>
                  <a:cubicBezTo>
                    <a:pt x="119" y="396"/>
                    <a:pt x="119" y="396"/>
                    <a:pt x="119" y="396"/>
                  </a:cubicBezTo>
                  <a:cubicBezTo>
                    <a:pt x="16" y="396"/>
                    <a:pt x="16" y="396"/>
                    <a:pt x="16" y="396"/>
                  </a:cubicBezTo>
                  <a:cubicBezTo>
                    <a:pt x="16" y="16"/>
                    <a:pt x="16" y="16"/>
                    <a:pt x="16" y="16"/>
                  </a:cubicBezTo>
                  <a:cubicBezTo>
                    <a:pt x="185" y="16"/>
                    <a:pt x="185" y="16"/>
                    <a:pt x="185" y="16"/>
                  </a:cubicBezTo>
                  <a:cubicBezTo>
                    <a:pt x="185" y="102"/>
                    <a:pt x="185" y="102"/>
                    <a:pt x="185" y="102"/>
                  </a:cubicBezTo>
                  <a:cubicBezTo>
                    <a:pt x="185" y="104"/>
                    <a:pt x="186" y="106"/>
                    <a:pt x="187" y="108"/>
                  </a:cubicBezTo>
                  <a:cubicBezTo>
                    <a:pt x="189" y="109"/>
                    <a:pt x="191" y="110"/>
                    <a:pt x="193" y="110"/>
                  </a:cubicBezTo>
                  <a:cubicBezTo>
                    <a:pt x="285" y="110"/>
                    <a:pt x="285" y="110"/>
                    <a:pt x="285" y="110"/>
                  </a:cubicBezTo>
                  <a:cubicBezTo>
                    <a:pt x="285" y="123"/>
                    <a:pt x="285" y="123"/>
                    <a:pt x="285" y="123"/>
                  </a:cubicBezTo>
                  <a:cubicBezTo>
                    <a:pt x="285" y="127"/>
                    <a:pt x="289" y="131"/>
                    <a:pt x="293" y="131"/>
                  </a:cubicBezTo>
                  <a:cubicBezTo>
                    <a:pt x="298" y="131"/>
                    <a:pt x="301" y="127"/>
                    <a:pt x="301" y="123"/>
                  </a:cubicBezTo>
                  <a:cubicBezTo>
                    <a:pt x="301" y="123"/>
                    <a:pt x="301" y="123"/>
                    <a:pt x="301" y="123"/>
                  </a:cubicBezTo>
                  <a:cubicBezTo>
                    <a:pt x="301" y="110"/>
                    <a:pt x="301" y="110"/>
                    <a:pt x="301" y="110"/>
                  </a:cubicBezTo>
                  <a:cubicBezTo>
                    <a:pt x="301" y="101"/>
                    <a:pt x="294" y="94"/>
                    <a:pt x="285" y="94"/>
                  </a:cubicBezTo>
                  <a:cubicBezTo>
                    <a:pt x="201" y="94"/>
                    <a:pt x="201" y="94"/>
                    <a:pt x="201" y="94"/>
                  </a:cubicBezTo>
                  <a:cubicBezTo>
                    <a:pt x="201" y="16"/>
                    <a:pt x="201" y="16"/>
                    <a:pt x="201" y="16"/>
                  </a:cubicBezTo>
                  <a:cubicBezTo>
                    <a:pt x="201" y="7"/>
                    <a:pt x="194" y="0"/>
                    <a:pt x="185" y="0"/>
                  </a:cubicBezTo>
                  <a:cubicBezTo>
                    <a:pt x="16" y="0"/>
                    <a:pt x="16" y="0"/>
                    <a:pt x="16" y="0"/>
                  </a:cubicBezTo>
                  <a:cubicBezTo>
                    <a:pt x="7" y="0"/>
                    <a:pt x="0" y="7"/>
                    <a:pt x="0" y="16"/>
                  </a:cubicBezTo>
                  <a:cubicBezTo>
                    <a:pt x="0" y="396"/>
                    <a:pt x="0" y="396"/>
                    <a:pt x="0" y="396"/>
                  </a:cubicBezTo>
                  <a:cubicBezTo>
                    <a:pt x="0" y="405"/>
                    <a:pt x="7" y="412"/>
                    <a:pt x="16" y="412"/>
                  </a:cubicBezTo>
                  <a:cubicBezTo>
                    <a:pt x="285" y="412"/>
                    <a:pt x="285" y="412"/>
                    <a:pt x="285" y="412"/>
                  </a:cubicBezTo>
                  <a:cubicBezTo>
                    <a:pt x="294" y="412"/>
                    <a:pt x="301" y="405"/>
                    <a:pt x="301" y="396"/>
                  </a:cubicBezTo>
                  <a:cubicBezTo>
                    <a:pt x="301" y="146"/>
                    <a:pt x="301" y="146"/>
                    <a:pt x="301" y="146"/>
                  </a:cubicBezTo>
                  <a:cubicBezTo>
                    <a:pt x="301" y="142"/>
                    <a:pt x="298" y="138"/>
                    <a:pt x="293" y="138"/>
                  </a:cubicBezTo>
                  <a:close/>
                </a:path>
              </a:pathLst>
            </a:custGeom>
            <a:solidFill>
              <a:srgbClr val="87888A"/>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56712" tIns="278354" rIns="556712" bIns="278354"/>
            <a:lstStyle/>
            <a:p>
              <a:endParaRPr lang="en-US" sz="1400"/>
            </a:p>
          </p:txBody>
        </p:sp>
        <p:sp>
          <p:nvSpPr>
            <p:cNvPr id="20" name="Arc 37">
              <a:extLst>
                <a:ext uri="{FF2B5EF4-FFF2-40B4-BE49-F238E27FC236}">
                  <a16:creationId xmlns:a16="http://schemas.microsoft.com/office/drawing/2014/main" id="{B2837D67-3DBD-41D8-9044-318ABCCCD060}"/>
                </a:ext>
              </a:extLst>
            </p:cNvPr>
            <p:cNvSpPr>
              <a:spLocks/>
            </p:cNvSpPr>
            <p:nvPr/>
          </p:nvSpPr>
          <p:spPr bwMode="auto">
            <a:xfrm>
              <a:off x="4540753" y="1720520"/>
              <a:ext cx="1982787" cy="2065338"/>
            </a:xfrm>
            <a:custGeom>
              <a:avLst/>
              <a:gdLst>
                <a:gd name="T0" fmla="*/ 2147483647 w 42372"/>
                <a:gd name="T1" fmla="*/ 2147483647 h 43200"/>
                <a:gd name="T2" fmla="*/ 2147483647 w 42372"/>
                <a:gd name="T3" fmla="*/ 2147483647 h 43200"/>
                <a:gd name="T4" fmla="*/ 2147483647 w 42372"/>
                <a:gd name="T5" fmla="*/ 2147483647 h 43200"/>
                <a:gd name="T6" fmla="*/ 0 60000 65536"/>
                <a:gd name="T7" fmla="*/ 0 60000 65536"/>
                <a:gd name="T8" fmla="*/ 0 60000 65536"/>
              </a:gdLst>
              <a:ahLst/>
              <a:cxnLst>
                <a:cxn ang="T6">
                  <a:pos x="T0" y="T1"/>
                </a:cxn>
                <a:cxn ang="T7">
                  <a:pos x="T2" y="T3"/>
                </a:cxn>
                <a:cxn ang="T8">
                  <a:pos x="T4" y="T5"/>
                </a:cxn>
              </a:cxnLst>
              <a:rect l="0" t="0" r="r" b="b"/>
              <a:pathLst>
                <a:path w="42372" h="43200" fill="none" extrusionOk="0">
                  <a:moveTo>
                    <a:pt x="42371" y="27523"/>
                  </a:moveTo>
                  <a:cubicBezTo>
                    <a:pt x="39725" y="36801"/>
                    <a:pt x="31247" y="43199"/>
                    <a:pt x="21600" y="43200"/>
                  </a:cubicBezTo>
                  <a:cubicBezTo>
                    <a:pt x="9670" y="43200"/>
                    <a:pt x="0" y="33529"/>
                    <a:pt x="0" y="21600"/>
                  </a:cubicBezTo>
                  <a:cubicBezTo>
                    <a:pt x="0" y="9670"/>
                    <a:pt x="9670" y="0"/>
                    <a:pt x="21600" y="0"/>
                  </a:cubicBezTo>
                  <a:cubicBezTo>
                    <a:pt x="29393" y="-1"/>
                    <a:pt x="36582" y="4197"/>
                    <a:pt x="40411" y="10985"/>
                  </a:cubicBezTo>
                </a:path>
                <a:path w="42372" h="43200" stroke="0" extrusionOk="0">
                  <a:moveTo>
                    <a:pt x="42371" y="27523"/>
                  </a:moveTo>
                  <a:cubicBezTo>
                    <a:pt x="39725" y="36801"/>
                    <a:pt x="31247" y="43199"/>
                    <a:pt x="21600" y="43200"/>
                  </a:cubicBezTo>
                  <a:cubicBezTo>
                    <a:pt x="9670" y="43200"/>
                    <a:pt x="0" y="33529"/>
                    <a:pt x="0" y="21600"/>
                  </a:cubicBezTo>
                  <a:cubicBezTo>
                    <a:pt x="0" y="9670"/>
                    <a:pt x="9670" y="0"/>
                    <a:pt x="21600" y="0"/>
                  </a:cubicBezTo>
                  <a:cubicBezTo>
                    <a:pt x="29393" y="-1"/>
                    <a:pt x="36582" y="4197"/>
                    <a:pt x="40411" y="10985"/>
                  </a:cubicBezTo>
                  <a:lnTo>
                    <a:pt x="21600" y="21600"/>
                  </a:lnTo>
                  <a:lnTo>
                    <a:pt x="42371" y="27523"/>
                  </a:lnTo>
                  <a:close/>
                </a:path>
              </a:pathLst>
            </a:custGeom>
            <a:noFill/>
            <a:ln w="12700">
              <a:solidFill>
                <a:schemeClr val="tx1"/>
              </a:solidFill>
              <a:round/>
              <a:headEnd/>
              <a:tailEnd/>
            </a:ln>
            <a:effectLst/>
            <a:extLst>
              <a:ext uri="{909E8E84-426E-40DD-AFC4-6F175D3DCCD1}">
                <a14:hiddenFill xmlns:a14="http://schemas.microsoft.com/office/drawing/2010/main">
                  <a:solidFill>
                    <a:srgbClr val="B2B2B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994" tIns="60955" rIns="95994" bIns="60955" anchor="ctr"/>
            <a:lstStyle/>
            <a:p>
              <a:endParaRPr lang="en-US" sz="1400"/>
            </a:p>
          </p:txBody>
        </p:sp>
        <p:grpSp>
          <p:nvGrpSpPr>
            <p:cNvPr id="21" name="Group 69">
              <a:extLst>
                <a:ext uri="{FF2B5EF4-FFF2-40B4-BE49-F238E27FC236}">
                  <a16:creationId xmlns:a16="http://schemas.microsoft.com/office/drawing/2014/main" id="{461FE783-AEC5-46E6-8F84-78A96B4092F4}"/>
                </a:ext>
              </a:extLst>
            </p:cNvPr>
            <p:cNvGrpSpPr>
              <a:grpSpLocks/>
            </p:cNvGrpSpPr>
            <p:nvPr/>
          </p:nvGrpSpPr>
          <p:grpSpPr bwMode="auto">
            <a:xfrm>
              <a:off x="4371846" y="2863453"/>
              <a:ext cx="341313" cy="479839"/>
              <a:chOff x="633" y="3229"/>
              <a:chExt cx="148" cy="212"/>
            </a:xfrm>
          </p:grpSpPr>
          <p:grpSp>
            <p:nvGrpSpPr>
              <p:cNvPr id="139" name="Group 70">
                <a:extLst>
                  <a:ext uri="{FF2B5EF4-FFF2-40B4-BE49-F238E27FC236}">
                    <a16:creationId xmlns:a16="http://schemas.microsoft.com/office/drawing/2014/main" id="{BFB98BF7-3A44-40A4-9EFE-CB95037BC34A}"/>
                  </a:ext>
                </a:extLst>
              </p:cNvPr>
              <p:cNvGrpSpPr>
                <a:grpSpLocks noChangeAspect="1"/>
              </p:cNvGrpSpPr>
              <p:nvPr/>
            </p:nvGrpSpPr>
            <p:grpSpPr bwMode="auto">
              <a:xfrm>
                <a:off x="633" y="3229"/>
                <a:ext cx="148" cy="212"/>
                <a:chOff x="329" y="3227"/>
                <a:chExt cx="441" cy="634"/>
              </a:xfrm>
            </p:grpSpPr>
            <p:sp>
              <p:nvSpPr>
                <p:cNvPr id="141" name="AutoShape 71">
                  <a:extLst>
                    <a:ext uri="{FF2B5EF4-FFF2-40B4-BE49-F238E27FC236}">
                      <a16:creationId xmlns:a16="http://schemas.microsoft.com/office/drawing/2014/main" id="{DFE0F02C-D2B9-49D9-8E27-427A9148D634}"/>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42" name="Group 72">
                  <a:extLst>
                    <a:ext uri="{FF2B5EF4-FFF2-40B4-BE49-F238E27FC236}">
                      <a16:creationId xmlns:a16="http://schemas.microsoft.com/office/drawing/2014/main" id="{695ED550-2C62-444D-9005-F73024B7B427}"/>
                    </a:ext>
                  </a:extLst>
                </p:cNvPr>
                <p:cNvGrpSpPr>
                  <a:grpSpLocks noChangeAspect="1"/>
                </p:cNvGrpSpPr>
                <p:nvPr/>
              </p:nvGrpSpPr>
              <p:grpSpPr bwMode="auto">
                <a:xfrm>
                  <a:off x="329" y="3227"/>
                  <a:ext cx="441" cy="634"/>
                  <a:chOff x="414" y="3039"/>
                  <a:chExt cx="441" cy="634"/>
                </a:xfrm>
              </p:grpSpPr>
              <p:sp>
                <p:nvSpPr>
                  <p:cNvPr id="143" name="AutoShape 73">
                    <a:extLst>
                      <a:ext uri="{FF2B5EF4-FFF2-40B4-BE49-F238E27FC236}">
                        <a16:creationId xmlns:a16="http://schemas.microsoft.com/office/drawing/2014/main" id="{3BF33741-D026-4F6B-936A-40A8D806E4BD}"/>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44" name="Freeform 74">
                    <a:extLst>
                      <a:ext uri="{FF2B5EF4-FFF2-40B4-BE49-F238E27FC236}">
                        <a16:creationId xmlns:a16="http://schemas.microsoft.com/office/drawing/2014/main" id="{DAD0BB59-D300-4A56-9F4D-014804D01A03}"/>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40" name="Text Box 75">
                <a:extLst>
                  <a:ext uri="{FF2B5EF4-FFF2-40B4-BE49-F238E27FC236}">
                    <a16:creationId xmlns:a16="http://schemas.microsoft.com/office/drawing/2014/main" id="{932FC8D1-32C6-4C54-A5AD-3A02C1A6E8A3}"/>
                  </a:ext>
                </a:extLst>
              </p:cNvPr>
              <p:cNvSpPr txBox="1">
                <a:spLocks noChangeArrowheads="1"/>
              </p:cNvSpPr>
              <p:nvPr/>
            </p:nvSpPr>
            <p:spPr bwMode="auto">
              <a:xfrm>
                <a:off x="645" y="3279"/>
                <a:ext cx="121" cy="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CO</a:t>
                </a:r>
              </a:p>
            </p:txBody>
          </p:sp>
        </p:grpSp>
        <p:grpSp>
          <p:nvGrpSpPr>
            <p:cNvPr id="22" name="Group 69">
              <a:extLst>
                <a:ext uri="{FF2B5EF4-FFF2-40B4-BE49-F238E27FC236}">
                  <a16:creationId xmlns:a16="http://schemas.microsoft.com/office/drawing/2014/main" id="{9E03606F-14CD-4F85-91AF-19D0CE272583}"/>
                </a:ext>
              </a:extLst>
            </p:cNvPr>
            <p:cNvGrpSpPr>
              <a:grpSpLocks/>
            </p:cNvGrpSpPr>
            <p:nvPr/>
          </p:nvGrpSpPr>
          <p:grpSpPr bwMode="auto">
            <a:xfrm>
              <a:off x="4641249" y="1927752"/>
              <a:ext cx="293687" cy="396875"/>
              <a:chOff x="633" y="3229"/>
              <a:chExt cx="148" cy="212"/>
            </a:xfrm>
          </p:grpSpPr>
          <p:grpSp>
            <p:nvGrpSpPr>
              <p:cNvPr id="133" name="Group 70">
                <a:extLst>
                  <a:ext uri="{FF2B5EF4-FFF2-40B4-BE49-F238E27FC236}">
                    <a16:creationId xmlns:a16="http://schemas.microsoft.com/office/drawing/2014/main" id="{9CA9E5CA-275D-441A-8A2F-291F8D40F4F5}"/>
                  </a:ext>
                </a:extLst>
              </p:cNvPr>
              <p:cNvGrpSpPr>
                <a:grpSpLocks noChangeAspect="1"/>
              </p:cNvGrpSpPr>
              <p:nvPr/>
            </p:nvGrpSpPr>
            <p:grpSpPr bwMode="auto">
              <a:xfrm>
                <a:off x="633" y="3229"/>
                <a:ext cx="148" cy="212"/>
                <a:chOff x="329" y="3227"/>
                <a:chExt cx="441" cy="634"/>
              </a:xfrm>
            </p:grpSpPr>
            <p:sp>
              <p:nvSpPr>
                <p:cNvPr id="135" name="AutoShape 71">
                  <a:extLst>
                    <a:ext uri="{FF2B5EF4-FFF2-40B4-BE49-F238E27FC236}">
                      <a16:creationId xmlns:a16="http://schemas.microsoft.com/office/drawing/2014/main" id="{6A7A5DE8-1744-49A1-9E37-4375BAD2EDF8}"/>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36" name="Group 72">
                  <a:extLst>
                    <a:ext uri="{FF2B5EF4-FFF2-40B4-BE49-F238E27FC236}">
                      <a16:creationId xmlns:a16="http://schemas.microsoft.com/office/drawing/2014/main" id="{815C7F94-9D79-4340-8A0A-6E93632E47C4}"/>
                    </a:ext>
                  </a:extLst>
                </p:cNvPr>
                <p:cNvGrpSpPr>
                  <a:grpSpLocks noChangeAspect="1"/>
                </p:cNvGrpSpPr>
                <p:nvPr/>
              </p:nvGrpSpPr>
              <p:grpSpPr bwMode="auto">
                <a:xfrm>
                  <a:off x="329" y="3227"/>
                  <a:ext cx="441" cy="634"/>
                  <a:chOff x="414" y="3039"/>
                  <a:chExt cx="441" cy="634"/>
                </a:xfrm>
              </p:grpSpPr>
              <p:sp>
                <p:nvSpPr>
                  <p:cNvPr id="137" name="AutoShape 73">
                    <a:extLst>
                      <a:ext uri="{FF2B5EF4-FFF2-40B4-BE49-F238E27FC236}">
                        <a16:creationId xmlns:a16="http://schemas.microsoft.com/office/drawing/2014/main" id="{145279B0-5EB6-45A7-B0D1-83EF678DD6B0}"/>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38" name="Freeform 74">
                    <a:extLst>
                      <a:ext uri="{FF2B5EF4-FFF2-40B4-BE49-F238E27FC236}">
                        <a16:creationId xmlns:a16="http://schemas.microsoft.com/office/drawing/2014/main" id="{9F608023-FCAF-4EAA-B225-A594FFEA1A1F}"/>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34" name="Text Box 75">
                <a:extLst>
                  <a:ext uri="{FF2B5EF4-FFF2-40B4-BE49-F238E27FC236}">
                    <a16:creationId xmlns:a16="http://schemas.microsoft.com/office/drawing/2014/main" id="{C8C071C0-031C-4335-8F3F-91EB83441C77}"/>
                  </a:ext>
                </a:extLst>
              </p:cNvPr>
              <p:cNvSpPr txBox="1">
                <a:spLocks noChangeArrowheads="1"/>
              </p:cNvSpPr>
              <p:nvPr/>
            </p:nvSpPr>
            <p:spPr bwMode="auto">
              <a:xfrm>
                <a:off x="645" y="3276"/>
                <a:ext cx="121"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CO</a:t>
                </a:r>
              </a:p>
            </p:txBody>
          </p:sp>
        </p:grpSp>
        <p:sp>
          <p:nvSpPr>
            <p:cNvPr id="23" name="Line 35">
              <a:extLst>
                <a:ext uri="{FF2B5EF4-FFF2-40B4-BE49-F238E27FC236}">
                  <a16:creationId xmlns:a16="http://schemas.microsoft.com/office/drawing/2014/main" id="{E441DDDF-5D89-447B-9866-74894F8A71DD}"/>
                </a:ext>
              </a:extLst>
            </p:cNvPr>
            <p:cNvSpPr>
              <a:spLocks noChangeShapeType="1"/>
            </p:cNvSpPr>
            <p:nvPr/>
          </p:nvSpPr>
          <p:spPr bwMode="auto">
            <a:xfrm>
              <a:off x="6515600" y="2405184"/>
              <a:ext cx="55563" cy="6700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5994" tIns="60955" rIns="95994" bIns="60955"/>
            <a:lstStyle/>
            <a:p>
              <a:endParaRPr lang="en-US" sz="1400"/>
            </a:p>
          </p:txBody>
        </p:sp>
        <p:grpSp>
          <p:nvGrpSpPr>
            <p:cNvPr id="24" name="Group 150">
              <a:extLst>
                <a:ext uri="{FF2B5EF4-FFF2-40B4-BE49-F238E27FC236}">
                  <a16:creationId xmlns:a16="http://schemas.microsoft.com/office/drawing/2014/main" id="{0C0208A2-FD66-4089-BABB-6F2695215621}"/>
                </a:ext>
              </a:extLst>
            </p:cNvPr>
            <p:cNvGrpSpPr>
              <a:grpSpLocks/>
            </p:cNvGrpSpPr>
            <p:nvPr/>
          </p:nvGrpSpPr>
          <p:grpSpPr bwMode="auto">
            <a:xfrm>
              <a:off x="6379360" y="1998092"/>
              <a:ext cx="293688" cy="396875"/>
              <a:chOff x="633" y="3229"/>
              <a:chExt cx="148" cy="212"/>
            </a:xfrm>
          </p:grpSpPr>
          <p:grpSp>
            <p:nvGrpSpPr>
              <p:cNvPr id="127" name="Group 151">
                <a:extLst>
                  <a:ext uri="{FF2B5EF4-FFF2-40B4-BE49-F238E27FC236}">
                    <a16:creationId xmlns:a16="http://schemas.microsoft.com/office/drawing/2014/main" id="{31585D2C-0FDE-4ADC-B36A-9453DC442D8A}"/>
                  </a:ext>
                </a:extLst>
              </p:cNvPr>
              <p:cNvGrpSpPr>
                <a:grpSpLocks noChangeAspect="1"/>
              </p:cNvGrpSpPr>
              <p:nvPr/>
            </p:nvGrpSpPr>
            <p:grpSpPr bwMode="auto">
              <a:xfrm>
                <a:off x="633" y="3229"/>
                <a:ext cx="148" cy="212"/>
                <a:chOff x="329" y="3227"/>
                <a:chExt cx="441" cy="634"/>
              </a:xfrm>
            </p:grpSpPr>
            <p:sp>
              <p:nvSpPr>
                <p:cNvPr id="129" name="AutoShape 152">
                  <a:extLst>
                    <a:ext uri="{FF2B5EF4-FFF2-40B4-BE49-F238E27FC236}">
                      <a16:creationId xmlns:a16="http://schemas.microsoft.com/office/drawing/2014/main" id="{499E5A5A-79A4-48B7-BDA8-C2D24E4FB72D}"/>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30" name="Group 153">
                  <a:extLst>
                    <a:ext uri="{FF2B5EF4-FFF2-40B4-BE49-F238E27FC236}">
                      <a16:creationId xmlns:a16="http://schemas.microsoft.com/office/drawing/2014/main" id="{B54D4C35-AC86-4448-B512-76A3C1465FF0}"/>
                    </a:ext>
                  </a:extLst>
                </p:cNvPr>
                <p:cNvGrpSpPr>
                  <a:grpSpLocks noChangeAspect="1"/>
                </p:cNvGrpSpPr>
                <p:nvPr/>
              </p:nvGrpSpPr>
              <p:grpSpPr bwMode="auto">
                <a:xfrm>
                  <a:off x="329" y="3227"/>
                  <a:ext cx="441" cy="634"/>
                  <a:chOff x="414" y="3039"/>
                  <a:chExt cx="441" cy="634"/>
                </a:xfrm>
              </p:grpSpPr>
              <p:sp>
                <p:nvSpPr>
                  <p:cNvPr id="131" name="AutoShape 154">
                    <a:extLst>
                      <a:ext uri="{FF2B5EF4-FFF2-40B4-BE49-F238E27FC236}">
                        <a16:creationId xmlns:a16="http://schemas.microsoft.com/office/drawing/2014/main" id="{4C5F916C-A0D9-4885-9406-1799D30746AD}"/>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32" name="Freeform 155">
                    <a:extLst>
                      <a:ext uri="{FF2B5EF4-FFF2-40B4-BE49-F238E27FC236}">
                        <a16:creationId xmlns:a16="http://schemas.microsoft.com/office/drawing/2014/main" id="{D78A86B4-D807-48AC-B09C-22CEB602B8A2}"/>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28" name="Text Box 156">
                <a:extLst>
                  <a:ext uri="{FF2B5EF4-FFF2-40B4-BE49-F238E27FC236}">
                    <a16:creationId xmlns:a16="http://schemas.microsoft.com/office/drawing/2014/main" id="{27650919-76F6-45EC-9487-C3E7CAA9022A}"/>
                  </a:ext>
                </a:extLst>
              </p:cNvPr>
              <p:cNvSpPr txBox="1">
                <a:spLocks noChangeArrowheads="1"/>
              </p:cNvSpPr>
              <p:nvPr/>
            </p:nvSpPr>
            <p:spPr bwMode="auto">
              <a:xfrm>
                <a:off x="645" y="3276"/>
                <a:ext cx="121"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Ag</a:t>
                </a:r>
              </a:p>
            </p:txBody>
          </p:sp>
        </p:grpSp>
        <p:cxnSp>
          <p:nvCxnSpPr>
            <p:cNvPr id="25" name="Rak 82">
              <a:extLst>
                <a:ext uri="{FF2B5EF4-FFF2-40B4-BE49-F238E27FC236}">
                  <a16:creationId xmlns:a16="http://schemas.microsoft.com/office/drawing/2014/main" id="{53BD07F8-29FF-4774-AA0D-3BC359FD5B57}"/>
                </a:ext>
              </a:extLst>
            </p:cNvPr>
            <p:cNvCxnSpPr>
              <a:cxnSpLocks noChangeShapeType="1"/>
              <a:stCxn id="84" idx="3"/>
              <a:endCxn id="123" idx="1"/>
            </p:cNvCxnSpPr>
            <p:nvPr/>
          </p:nvCxnSpPr>
          <p:spPr bwMode="auto">
            <a:xfrm flipV="1">
              <a:off x="1989316" y="3429299"/>
              <a:ext cx="1208728" cy="259183"/>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grpSp>
          <p:nvGrpSpPr>
            <p:cNvPr id="26" name="Group 62">
              <a:extLst>
                <a:ext uri="{FF2B5EF4-FFF2-40B4-BE49-F238E27FC236}">
                  <a16:creationId xmlns:a16="http://schemas.microsoft.com/office/drawing/2014/main" id="{915F028A-E900-4717-8BFD-6F5C6592BFDF}"/>
                </a:ext>
              </a:extLst>
            </p:cNvPr>
            <p:cNvGrpSpPr>
              <a:grpSpLocks/>
            </p:cNvGrpSpPr>
            <p:nvPr/>
          </p:nvGrpSpPr>
          <p:grpSpPr bwMode="auto">
            <a:xfrm>
              <a:off x="3195380" y="3232277"/>
              <a:ext cx="293688" cy="395288"/>
              <a:chOff x="633" y="3229"/>
              <a:chExt cx="148" cy="212"/>
            </a:xfrm>
          </p:grpSpPr>
          <p:grpSp>
            <p:nvGrpSpPr>
              <p:cNvPr id="121" name="Group 63">
                <a:extLst>
                  <a:ext uri="{FF2B5EF4-FFF2-40B4-BE49-F238E27FC236}">
                    <a16:creationId xmlns:a16="http://schemas.microsoft.com/office/drawing/2014/main" id="{0BDF36A2-7F4B-4660-9FEB-C4B8B347424F}"/>
                  </a:ext>
                </a:extLst>
              </p:cNvPr>
              <p:cNvGrpSpPr>
                <a:grpSpLocks noChangeAspect="1"/>
              </p:cNvGrpSpPr>
              <p:nvPr/>
            </p:nvGrpSpPr>
            <p:grpSpPr bwMode="auto">
              <a:xfrm>
                <a:off x="633" y="3229"/>
                <a:ext cx="148" cy="212"/>
                <a:chOff x="329" y="3227"/>
                <a:chExt cx="441" cy="634"/>
              </a:xfrm>
            </p:grpSpPr>
            <p:sp>
              <p:nvSpPr>
                <p:cNvPr id="123" name="AutoShape 64">
                  <a:extLst>
                    <a:ext uri="{FF2B5EF4-FFF2-40B4-BE49-F238E27FC236}">
                      <a16:creationId xmlns:a16="http://schemas.microsoft.com/office/drawing/2014/main" id="{BAC7616A-D134-43C4-B8E3-7304223C82F0}"/>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24" name="Group 65">
                  <a:extLst>
                    <a:ext uri="{FF2B5EF4-FFF2-40B4-BE49-F238E27FC236}">
                      <a16:creationId xmlns:a16="http://schemas.microsoft.com/office/drawing/2014/main" id="{2008D28E-CA46-47A6-B541-F05D99CCAC86}"/>
                    </a:ext>
                  </a:extLst>
                </p:cNvPr>
                <p:cNvGrpSpPr>
                  <a:grpSpLocks noChangeAspect="1"/>
                </p:cNvGrpSpPr>
                <p:nvPr/>
              </p:nvGrpSpPr>
              <p:grpSpPr bwMode="auto">
                <a:xfrm>
                  <a:off x="329" y="3227"/>
                  <a:ext cx="441" cy="634"/>
                  <a:chOff x="414" y="3039"/>
                  <a:chExt cx="441" cy="634"/>
                </a:xfrm>
              </p:grpSpPr>
              <p:sp>
                <p:nvSpPr>
                  <p:cNvPr id="125" name="AutoShape 66">
                    <a:extLst>
                      <a:ext uri="{FF2B5EF4-FFF2-40B4-BE49-F238E27FC236}">
                        <a16:creationId xmlns:a16="http://schemas.microsoft.com/office/drawing/2014/main" id="{87DB046B-1AE2-43B1-A2B2-431D30E7ACCF}"/>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26" name="Freeform 67">
                    <a:extLst>
                      <a:ext uri="{FF2B5EF4-FFF2-40B4-BE49-F238E27FC236}">
                        <a16:creationId xmlns:a16="http://schemas.microsoft.com/office/drawing/2014/main" id="{9E382BED-2A22-4CE9-84A1-EA561F6157D9}"/>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22" name="Text Box 68">
                <a:extLst>
                  <a:ext uri="{FF2B5EF4-FFF2-40B4-BE49-F238E27FC236}">
                    <a16:creationId xmlns:a16="http://schemas.microsoft.com/office/drawing/2014/main" id="{6F3139DE-AA81-404F-B1CF-E435E1B91095}"/>
                  </a:ext>
                </a:extLst>
              </p:cNvPr>
              <p:cNvSpPr txBox="1">
                <a:spLocks noChangeArrowheads="1"/>
              </p:cNvSpPr>
              <p:nvPr/>
            </p:nvSpPr>
            <p:spPr bwMode="auto">
              <a:xfrm>
                <a:off x="645" y="3276"/>
                <a:ext cx="12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err="1"/>
                  <a:t>Cb</a:t>
                </a:r>
                <a:endParaRPr lang="en-US" altLang="en-US" sz="1050"/>
              </a:p>
            </p:txBody>
          </p:sp>
        </p:grpSp>
        <p:cxnSp>
          <p:nvCxnSpPr>
            <p:cNvPr id="27" name="Rak 93">
              <a:extLst>
                <a:ext uri="{FF2B5EF4-FFF2-40B4-BE49-F238E27FC236}">
                  <a16:creationId xmlns:a16="http://schemas.microsoft.com/office/drawing/2014/main" id="{75006DC3-8688-455D-A62B-DB7997F75E20}"/>
                </a:ext>
              </a:extLst>
            </p:cNvPr>
            <p:cNvCxnSpPr>
              <a:cxnSpLocks noChangeShapeType="1"/>
              <a:stCxn id="123" idx="3"/>
              <a:endCxn id="141" idx="1"/>
            </p:cNvCxnSpPr>
            <p:nvPr/>
          </p:nvCxnSpPr>
          <p:spPr bwMode="auto">
            <a:xfrm flipV="1">
              <a:off x="3485739" y="3102615"/>
              <a:ext cx="889203" cy="32668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28" name="Text Box 282">
              <a:extLst>
                <a:ext uri="{FF2B5EF4-FFF2-40B4-BE49-F238E27FC236}">
                  <a16:creationId xmlns:a16="http://schemas.microsoft.com/office/drawing/2014/main" id="{6BD80163-264A-4503-9198-B9FD1049947D}"/>
                </a:ext>
              </a:extLst>
            </p:cNvPr>
            <p:cNvSpPr txBox="1">
              <a:spLocks noChangeArrowheads="1"/>
            </p:cNvSpPr>
            <p:nvPr/>
          </p:nvSpPr>
          <p:spPr bwMode="auto">
            <a:xfrm>
              <a:off x="4912458" y="2299554"/>
              <a:ext cx="1433539" cy="88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28263" tIns="208443" rIns="328263" bIns="208443">
              <a:spAutoFit/>
            </a:bodyPr>
            <a:lstStyle>
              <a:lvl1pPr defTabSz="4173538" eaLnBrk="0" hangingPunct="0">
                <a:defRPr sz="2000">
                  <a:solidFill>
                    <a:schemeClr val="tx1"/>
                  </a:solidFill>
                  <a:latin typeface="Arial" charset="0"/>
                  <a:cs typeface="Arial" charset="0"/>
                </a:defRPr>
              </a:lvl1pPr>
              <a:lvl2pPr marL="742950" indent="-285750" defTabSz="4173538" eaLnBrk="0" hangingPunct="0">
                <a:defRPr sz="2000">
                  <a:solidFill>
                    <a:schemeClr val="tx1"/>
                  </a:solidFill>
                  <a:latin typeface="Arial" charset="0"/>
                  <a:cs typeface="Arial" charset="0"/>
                </a:defRPr>
              </a:lvl2pPr>
              <a:lvl3pPr marL="1143000" indent="-228600" defTabSz="4173538" eaLnBrk="0" hangingPunct="0">
                <a:defRPr sz="2000">
                  <a:solidFill>
                    <a:schemeClr val="tx1"/>
                  </a:solidFill>
                  <a:latin typeface="Arial" charset="0"/>
                  <a:cs typeface="Arial" charset="0"/>
                </a:defRPr>
              </a:lvl3pPr>
              <a:lvl4pPr marL="1600200" indent="-228600" defTabSz="4173538" eaLnBrk="0" hangingPunct="0">
                <a:defRPr sz="2000">
                  <a:solidFill>
                    <a:schemeClr val="tx1"/>
                  </a:solidFill>
                  <a:latin typeface="Arial" charset="0"/>
                  <a:cs typeface="Arial" charset="0"/>
                </a:defRPr>
              </a:lvl4pPr>
              <a:lvl5pPr marL="2057400" indent="-228600" defTabSz="4173538" eaLnBrk="0" hangingPunct="0">
                <a:defRPr sz="2000">
                  <a:solidFill>
                    <a:schemeClr val="tx1"/>
                  </a:solidFill>
                  <a:latin typeface="Arial" charset="0"/>
                  <a:cs typeface="Arial" charset="0"/>
                </a:defRPr>
              </a:lvl5pPr>
              <a:lvl6pPr marL="2514600" indent="-228600" defTabSz="4173538" eaLnBrk="0" fontAlgn="base" hangingPunct="0">
                <a:spcBef>
                  <a:spcPct val="0"/>
                </a:spcBef>
                <a:spcAft>
                  <a:spcPct val="0"/>
                </a:spcAft>
                <a:defRPr sz="2000">
                  <a:solidFill>
                    <a:schemeClr val="tx1"/>
                  </a:solidFill>
                  <a:latin typeface="Arial" charset="0"/>
                  <a:cs typeface="Arial" charset="0"/>
                </a:defRPr>
              </a:lvl6pPr>
              <a:lvl7pPr marL="2971800" indent="-228600" defTabSz="4173538" eaLnBrk="0" fontAlgn="base" hangingPunct="0">
                <a:spcBef>
                  <a:spcPct val="0"/>
                </a:spcBef>
                <a:spcAft>
                  <a:spcPct val="0"/>
                </a:spcAft>
                <a:defRPr sz="2000">
                  <a:solidFill>
                    <a:schemeClr val="tx1"/>
                  </a:solidFill>
                  <a:latin typeface="Arial" charset="0"/>
                  <a:cs typeface="Arial" charset="0"/>
                </a:defRPr>
              </a:lvl7pPr>
              <a:lvl8pPr marL="3429000" indent="-228600" defTabSz="4173538" eaLnBrk="0" fontAlgn="base" hangingPunct="0">
                <a:spcBef>
                  <a:spcPct val="0"/>
                </a:spcBef>
                <a:spcAft>
                  <a:spcPct val="0"/>
                </a:spcAft>
                <a:defRPr sz="2000">
                  <a:solidFill>
                    <a:schemeClr val="tx1"/>
                  </a:solidFill>
                  <a:latin typeface="Arial" charset="0"/>
                  <a:cs typeface="Arial" charset="0"/>
                </a:defRPr>
              </a:lvl8pPr>
              <a:lvl9pPr marL="3886200" indent="-228600" defTabSz="4173538"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600" b="1">
                  <a:solidFill>
                    <a:srgbClr val="8F3F7B"/>
                  </a:solidFill>
                </a:rPr>
                <a:t>Local</a:t>
              </a:r>
            </a:p>
          </p:txBody>
        </p:sp>
        <p:grpSp>
          <p:nvGrpSpPr>
            <p:cNvPr id="29" name="Group 157">
              <a:extLst>
                <a:ext uri="{FF2B5EF4-FFF2-40B4-BE49-F238E27FC236}">
                  <a16:creationId xmlns:a16="http://schemas.microsoft.com/office/drawing/2014/main" id="{84D8AAE9-E240-4179-A549-48100C5FE125}"/>
                </a:ext>
              </a:extLst>
            </p:cNvPr>
            <p:cNvGrpSpPr>
              <a:grpSpLocks/>
            </p:cNvGrpSpPr>
            <p:nvPr/>
          </p:nvGrpSpPr>
          <p:grpSpPr bwMode="auto">
            <a:xfrm>
              <a:off x="8329785" y="2224792"/>
              <a:ext cx="293687" cy="395287"/>
              <a:chOff x="633" y="3229"/>
              <a:chExt cx="148" cy="212"/>
            </a:xfrm>
          </p:grpSpPr>
          <p:grpSp>
            <p:nvGrpSpPr>
              <p:cNvPr id="115" name="Group 158">
                <a:extLst>
                  <a:ext uri="{FF2B5EF4-FFF2-40B4-BE49-F238E27FC236}">
                    <a16:creationId xmlns:a16="http://schemas.microsoft.com/office/drawing/2014/main" id="{0D6CDD52-5366-4FD8-B0E5-678A33FBE606}"/>
                  </a:ext>
                </a:extLst>
              </p:cNvPr>
              <p:cNvGrpSpPr>
                <a:grpSpLocks noChangeAspect="1"/>
              </p:cNvGrpSpPr>
              <p:nvPr/>
            </p:nvGrpSpPr>
            <p:grpSpPr bwMode="auto">
              <a:xfrm>
                <a:off x="633" y="3229"/>
                <a:ext cx="148" cy="212"/>
                <a:chOff x="329" y="3227"/>
                <a:chExt cx="441" cy="634"/>
              </a:xfrm>
            </p:grpSpPr>
            <p:sp>
              <p:nvSpPr>
                <p:cNvPr id="117" name="AutoShape 159">
                  <a:extLst>
                    <a:ext uri="{FF2B5EF4-FFF2-40B4-BE49-F238E27FC236}">
                      <a16:creationId xmlns:a16="http://schemas.microsoft.com/office/drawing/2014/main" id="{0FAF607C-693C-469C-BA6F-38D9DC3EA64A}"/>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18" name="Group 160">
                  <a:extLst>
                    <a:ext uri="{FF2B5EF4-FFF2-40B4-BE49-F238E27FC236}">
                      <a16:creationId xmlns:a16="http://schemas.microsoft.com/office/drawing/2014/main" id="{D0BE1AEB-25C8-44CA-BB22-12A35D6C361F}"/>
                    </a:ext>
                  </a:extLst>
                </p:cNvPr>
                <p:cNvGrpSpPr>
                  <a:grpSpLocks noChangeAspect="1"/>
                </p:cNvGrpSpPr>
                <p:nvPr/>
              </p:nvGrpSpPr>
              <p:grpSpPr bwMode="auto">
                <a:xfrm>
                  <a:off x="329" y="3227"/>
                  <a:ext cx="441" cy="634"/>
                  <a:chOff x="414" y="3039"/>
                  <a:chExt cx="441" cy="634"/>
                </a:xfrm>
              </p:grpSpPr>
              <p:sp>
                <p:nvSpPr>
                  <p:cNvPr id="119" name="AutoShape 161">
                    <a:extLst>
                      <a:ext uri="{FF2B5EF4-FFF2-40B4-BE49-F238E27FC236}">
                        <a16:creationId xmlns:a16="http://schemas.microsoft.com/office/drawing/2014/main" id="{69265E8C-586C-4893-A51A-31EDEBB778DB}"/>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20" name="Freeform 162">
                    <a:extLst>
                      <a:ext uri="{FF2B5EF4-FFF2-40B4-BE49-F238E27FC236}">
                        <a16:creationId xmlns:a16="http://schemas.microsoft.com/office/drawing/2014/main" id="{2050B210-DE9D-4EE6-8BAB-F708408EC85B}"/>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16" name="Text Box 163">
                <a:extLst>
                  <a:ext uri="{FF2B5EF4-FFF2-40B4-BE49-F238E27FC236}">
                    <a16:creationId xmlns:a16="http://schemas.microsoft.com/office/drawing/2014/main" id="{8C1021CA-B7B2-44A1-88CB-3707B6DEE8AE}"/>
                  </a:ext>
                </a:extLst>
              </p:cNvPr>
              <p:cNvSpPr txBox="1">
                <a:spLocks noChangeArrowheads="1"/>
              </p:cNvSpPr>
              <p:nvPr/>
            </p:nvSpPr>
            <p:spPr bwMode="auto">
              <a:xfrm>
                <a:off x="645" y="3276"/>
                <a:ext cx="12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DC</a:t>
                </a:r>
              </a:p>
            </p:txBody>
          </p:sp>
        </p:grpSp>
        <p:sp>
          <p:nvSpPr>
            <p:cNvPr id="30" name="Text Box 282">
              <a:extLst>
                <a:ext uri="{FF2B5EF4-FFF2-40B4-BE49-F238E27FC236}">
                  <a16:creationId xmlns:a16="http://schemas.microsoft.com/office/drawing/2014/main" id="{84CDBA5A-E3AE-4814-A160-F48F62E82309}"/>
                </a:ext>
              </a:extLst>
            </p:cNvPr>
            <p:cNvSpPr txBox="1">
              <a:spLocks noChangeArrowheads="1"/>
            </p:cNvSpPr>
            <p:nvPr/>
          </p:nvSpPr>
          <p:spPr bwMode="auto">
            <a:xfrm>
              <a:off x="6664391" y="2154299"/>
              <a:ext cx="1828570" cy="88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28263" tIns="208443" rIns="328263" bIns="208443">
              <a:spAutoFit/>
            </a:bodyPr>
            <a:lstStyle>
              <a:lvl1pPr defTabSz="4173538" eaLnBrk="0" hangingPunct="0">
                <a:defRPr sz="2000">
                  <a:solidFill>
                    <a:schemeClr val="tx1"/>
                  </a:solidFill>
                  <a:latin typeface="Arial" charset="0"/>
                  <a:cs typeface="Arial" charset="0"/>
                </a:defRPr>
              </a:lvl1pPr>
              <a:lvl2pPr marL="742950" indent="-285750" defTabSz="4173538" eaLnBrk="0" hangingPunct="0">
                <a:defRPr sz="2000">
                  <a:solidFill>
                    <a:schemeClr val="tx1"/>
                  </a:solidFill>
                  <a:latin typeface="Arial" charset="0"/>
                  <a:cs typeface="Arial" charset="0"/>
                </a:defRPr>
              </a:lvl2pPr>
              <a:lvl3pPr marL="1143000" indent="-228600" defTabSz="4173538" eaLnBrk="0" hangingPunct="0">
                <a:defRPr sz="2000">
                  <a:solidFill>
                    <a:schemeClr val="tx1"/>
                  </a:solidFill>
                  <a:latin typeface="Arial" charset="0"/>
                  <a:cs typeface="Arial" charset="0"/>
                </a:defRPr>
              </a:lvl3pPr>
              <a:lvl4pPr marL="1600200" indent="-228600" defTabSz="4173538" eaLnBrk="0" hangingPunct="0">
                <a:defRPr sz="2000">
                  <a:solidFill>
                    <a:schemeClr val="tx1"/>
                  </a:solidFill>
                  <a:latin typeface="Arial" charset="0"/>
                  <a:cs typeface="Arial" charset="0"/>
                </a:defRPr>
              </a:lvl4pPr>
              <a:lvl5pPr marL="2057400" indent="-228600" defTabSz="4173538" eaLnBrk="0" hangingPunct="0">
                <a:defRPr sz="2000">
                  <a:solidFill>
                    <a:schemeClr val="tx1"/>
                  </a:solidFill>
                  <a:latin typeface="Arial" charset="0"/>
                  <a:cs typeface="Arial" charset="0"/>
                </a:defRPr>
              </a:lvl5pPr>
              <a:lvl6pPr marL="2514600" indent="-228600" defTabSz="4173538" eaLnBrk="0" fontAlgn="base" hangingPunct="0">
                <a:spcBef>
                  <a:spcPct val="0"/>
                </a:spcBef>
                <a:spcAft>
                  <a:spcPct val="0"/>
                </a:spcAft>
                <a:defRPr sz="2000">
                  <a:solidFill>
                    <a:schemeClr val="tx1"/>
                  </a:solidFill>
                  <a:latin typeface="Arial" charset="0"/>
                  <a:cs typeface="Arial" charset="0"/>
                </a:defRPr>
              </a:lvl6pPr>
              <a:lvl7pPr marL="2971800" indent="-228600" defTabSz="4173538" eaLnBrk="0" fontAlgn="base" hangingPunct="0">
                <a:spcBef>
                  <a:spcPct val="0"/>
                </a:spcBef>
                <a:spcAft>
                  <a:spcPct val="0"/>
                </a:spcAft>
                <a:defRPr sz="2000">
                  <a:solidFill>
                    <a:schemeClr val="tx1"/>
                  </a:solidFill>
                  <a:latin typeface="Arial" charset="0"/>
                  <a:cs typeface="Arial" charset="0"/>
                </a:defRPr>
              </a:lvl7pPr>
              <a:lvl8pPr marL="3429000" indent="-228600" defTabSz="4173538" eaLnBrk="0" fontAlgn="base" hangingPunct="0">
                <a:spcBef>
                  <a:spcPct val="0"/>
                </a:spcBef>
                <a:spcAft>
                  <a:spcPct val="0"/>
                </a:spcAft>
                <a:defRPr sz="2000">
                  <a:solidFill>
                    <a:schemeClr val="tx1"/>
                  </a:solidFill>
                  <a:latin typeface="Arial" charset="0"/>
                  <a:cs typeface="Arial" charset="0"/>
                </a:defRPr>
              </a:lvl8pPr>
              <a:lvl9pPr marL="3886200" indent="-228600" defTabSz="4173538"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600" b="1">
                  <a:solidFill>
                    <a:srgbClr val="8F3F7B"/>
                  </a:solidFill>
                </a:rPr>
                <a:t>Regional</a:t>
              </a:r>
            </a:p>
          </p:txBody>
        </p:sp>
        <p:grpSp>
          <p:nvGrpSpPr>
            <p:cNvPr id="31" name="Group 150">
              <a:extLst>
                <a:ext uri="{FF2B5EF4-FFF2-40B4-BE49-F238E27FC236}">
                  <a16:creationId xmlns:a16="http://schemas.microsoft.com/office/drawing/2014/main" id="{05F742BC-854E-4A42-9FD2-D605F0B7A1A0}"/>
                </a:ext>
              </a:extLst>
            </p:cNvPr>
            <p:cNvGrpSpPr>
              <a:grpSpLocks/>
            </p:cNvGrpSpPr>
            <p:nvPr/>
          </p:nvGrpSpPr>
          <p:grpSpPr bwMode="auto">
            <a:xfrm>
              <a:off x="6435737" y="2884045"/>
              <a:ext cx="293688" cy="396875"/>
              <a:chOff x="633" y="3229"/>
              <a:chExt cx="148" cy="212"/>
            </a:xfrm>
          </p:grpSpPr>
          <p:grpSp>
            <p:nvGrpSpPr>
              <p:cNvPr id="109" name="Group 151">
                <a:extLst>
                  <a:ext uri="{FF2B5EF4-FFF2-40B4-BE49-F238E27FC236}">
                    <a16:creationId xmlns:a16="http://schemas.microsoft.com/office/drawing/2014/main" id="{9FF7A81E-BD52-4648-A7AD-5F5242154BC6}"/>
                  </a:ext>
                </a:extLst>
              </p:cNvPr>
              <p:cNvGrpSpPr>
                <a:grpSpLocks noChangeAspect="1"/>
              </p:cNvGrpSpPr>
              <p:nvPr/>
            </p:nvGrpSpPr>
            <p:grpSpPr bwMode="auto">
              <a:xfrm>
                <a:off x="633" y="3229"/>
                <a:ext cx="148" cy="212"/>
                <a:chOff x="329" y="3227"/>
                <a:chExt cx="441" cy="634"/>
              </a:xfrm>
            </p:grpSpPr>
            <p:sp>
              <p:nvSpPr>
                <p:cNvPr id="111" name="AutoShape 152">
                  <a:extLst>
                    <a:ext uri="{FF2B5EF4-FFF2-40B4-BE49-F238E27FC236}">
                      <a16:creationId xmlns:a16="http://schemas.microsoft.com/office/drawing/2014/main" id="{E3D685C0-12EF-4CEB-8CDC-089583CDA786}"/>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112" name="Group 153">
                  <a:extLst>
                    <a:ext uri="{FF2B5EF4-FFF2-40B4-BE49-F238E27FC236}">
                      <a16:creationId xmlns:a16="http://schemas.microsoft.com/office/drawing/2014/main" id="{EB66CD8E-28B7-46F2-9889-1AD72BFF031E}"/>
                    </a:ext>
                  </a:extLst>
                </p:cNvPr>
                <p:cNvGrpSpPr>
                  <a:grpSpLocks noChangeAspect="1"/>
                </p:cNvGrpSpPr>
                <p:nvPr/>
              </p:nvGrpSpPr>
              <p:grpSpPr bwMode="auto">
                <a:xfrm>
                  <a:off x="329" y="3227"/>
                  <a:ext cx="441" cy="634"/>
                  <a:chOff x="414" y="3039"/>
                  <a:chExt cx="441" cy="634"/>
                </a:xfrm>
              </p:grpSpPr>
              <p:sp>
                <p:nvSpPr>
                  <p:cNvPr id="113" name="AutoShape 154">
                    <a:extLst>
                      <a:ext uri="{FF2B5EF4-FFF2-40B4-BE49-F238E27FC236}">
                        <a16:creationId xmlns:a16="http://schemas.microsoft.com/office/drawing/2014/main" id="{55DA2C95-4556-4A1C-BBB0-31BB8883C7B3}"/>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114" name="Freeform 155">
                    <a:extLst>
                      <a:ext uri="{FF2B5EF4-FFF2-40B4-BE49-F238E27FC236}">
                        <a16:creationId xmlns:a16="http://schemas.microsoft.com/office/drawing/2014/main" id="{2ACD5DCD-B1A4-415F-970B-416AB1CD0EBD}"/>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10" name="Text Box 156">
                <a:extLst>
                  <a:ext uri="{FF2B5EF4-FFF2-40B4-BE49-F238E27FC236}">
                    <a16:creationId xmlns:a16="http://schemas.microsoft.com/office/drawing/2014/main" id="{18F91C58-80AA-4D09-9B2E-E386DF0D7E17}"/>
                  </a:ext>
                </a:extLst>
              </p:cNvPr>
              <p:cNvSpPr txBox="1">
                <a:spLocks noChangeArrowheads="1"/>
              </p:cNvSpPr>
              <p:nvPr/>
            </p:nvSpPr>
            <p:spPr bwMode="auto">
              <a:xfrm>
                <a:off x="645" y="3276"/>
                <a:ext cx="121"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Ag</a:t>
                </a:r>
              </a:p>
            </p:txBody>
          </p:sp>
        </p:grpSp>
        <p:grpSp>
          <p:nvGrpSpPr>
            <p:cNvPr id="32" name="Group 245">
              <a:extLst>
                <a:ext uri="{FF2B5EF4-FFF2-40B4-BE49-F238E27FC236}">
                  <a16:creationId xmlns:a16="http://schemas.microsoft.com/office/drawing/2014/main" id="{2A4D32DF-4697-44F1-B77E-E44EFD2671D2}"/>
                </a:ext>
              </a:extLst>
            </p:cNvPr>
            <p:cNvGrpSpPr>
              <a:grpSpLocks/>
            </p:cNvGrpSpPr>
            <p:nvPr/>
          </p:nvGrpSpPr>
          <p:grpSpPr bwMode="auto">
            <a:xfrm>
              <a:off x="10654617" y="2207641"/>
              <a:ext cx="342617" cy="455659"/>
              <a:chOff x="633" y="3229"/>
              <a:chExt cx="148" cy="212"/>
            </a:xfrm>
          </p:grpSpPr>
          <p:grpSp>
            <p:nvGrpSpPr>
              <p:cNvPr id="103" name="Group 246">
                <a:extLst>
                  <a:ext uri="{FF2B5EF4-FFF2-40B4-BE49-F238E27FC236}">
                    <a16:creationId xmlns:a16="http://schemas.microsoft.com/office/drawing/2014/main" id="{0CA8BF01-C52D-4B08-A60C-8AB36A2A46FA}"/>
                  </a:ext>
                </a:extLst>
              </p:cNvPr>
              <p:cNvGrpSpPr>
                <a:grpSpLocks noChangeAspect="1"/>
              </p:cNvGrpSpPr>
              <p:nvPr/>
            </p:nvGrpSpPr>
            <p:grpSpPr bwMode="auto">
              <a:xfrm>
                <a:off x="633" y="3229"/>
                <a:ext cx="148" cy="212"/>
                <a:chOff x="329" y="3227"/>
                <a:chExt cx="441" cy="634"/>
              </a:xfrm>
            </p:grpSpPr>
            <p:sp>
              <p:nvSpPr>
                <p:cNvPr id="105" name="AutoShape 247">
                  <a:extLst>
                    <a:ext uri="{FF2B5EF4-FFF2-40B4-BE49-F238E27FC236}">
                      <a16:creationId xmlns:a16="http://schemas.microsoft.com/office/drawing/2014/main" id="{AB082C94-8FCF-44BD-A8B2-0DDF51C77438}"/>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sz="1400"/>
                </a:p>
              </p:txBody>
            </p:sp>
            <p:grpSp>
              <p:nvGrpSpPr>
                <p:cNvPr id="106" name="Group 248">
                  <a:extLst>
                    <a:ext uri="{FF2B5EF4-FFF2-40B4-BE49-F238E27FC236}">
                      <a16:creationId xmlns:a16="http://schemas.microsoft.com/office/drawing/2014/main" id="{33AFC247-032C-4D8E-8E93-BDD2B29B2ECA}"/>
                    </a:ext>
                  </a:extLst>
                </p:cNvPr>
                <p:cNvGrpSpPr>
                  <a:grpSpLocks noChangeAspect="1"/>
                </p:cNvGrpSpPr>
                <p:nvPr/>
              </p:nvGrpSpPr>
              <p:grpSpPr bwMode="auto">
                <a:xfrm>
                  <a:off x="329" y="3227"/>
                  <a:ext cx="441" cy="634"/>
                  <a:chOff x="414" y="3039"/>
                  <a:chExt cx="441" cy="634"/>
                </a:xfrm>
              </p:grpSpPr>
              <p:sp>
                <p:nvSpPr>
                  <p:cNvPr id="107" name="AutoShape 249">
                    <a:extLst>
                      <a:ext uri="{FF2B5EF4-FFF2-40B4-BE49-F238E27FC236}">
                        <a16:creationId xmlns:a16="http://schemas.microsoft.com/office/drawing/2014/main" id="{1C011BF9-CFA1-479B-8420-736D865826A1}"/>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276" tIns="208451" rIns="328276" bIns="208451" anchor="ctr"/>
                  <a:lstStyle/>
                  <a:p>
                    <a:pPr defTabSz="1087395"/>
                    <a:endParaRPr lang="en-US" sz="700" b="1">
                      <a:solidFill>
                        <a:schemeClr val="bg1"/>
                      </a:solidFill>
                    </a:endParaRPr>
                  </a:p>
                </p:txBody>
              </p:sp>
              <p:sp>
                <p:nvSpPr>
                  <p:cNvPr id="108" name="Freeform 250">
                    <a:extLst>
                      <a:ext uri="{FF2B5EF4-FFF2-40B4-BE49-F238E27FC236}">
                        <a16:creationId xmlns:a16="http://schemas.microsoft.com/office/drawing/2014/main" id="{821FDDD8-97F0-4F6A-9CC0-00752F437CC2}"/>
                      </a:ext>
                    </a:extLst>
                  </p:cNvPr>
                  <p:cNvSpPr>
                    <a:spLocks noChangeAspect="1"/>
                  </p:cNvSpPr>
                  <p:nvPr/>
                </p:nvSpPr>
                <p:spPr bwMode="auto">
                  <a:xfrm>
                    <a:off x="414" y="3039"/>
                    <a:ext cx="441" cy="634"/>
                  </a:xfrm>
                  <a:custGeom>
                    <a:avLst/>
                    <a:gdLst>
                      <a:gd name="T0" fmla="*/ 15 w 545"/>
                      <a:gd name="T1" fmla="*/ 196 h 1140"/>
                      <a:gd name="T2" fmla="*/ 0 w 545"/>
                      <a:gd name="T3" fmla="*/ 191 h 1140"/>
                      <a:gd name="T4" fmla="*/ 0 w 545"/>
                      <a:gd name="T5" fmla="*/ 191 h 1140"/>
                      <a:gd name="T6" fmla="*/ 0 w 545"/>
                      <a:gd name="T7" fmla="*/ 5 h 1140"/>
                      <a:gd name="T8" fmla="*/ 15 w 545"/>
                      <a:gd name="T9" fmla="*/ 0 h 1140"/>
                      <a:gd name="T10" fmla="*/ 15 w 545"/>
                      <a:gd name="T11" fmla="*/ 0 h 1140"/>
                      <a:gd name="T12" fmla="*/ 273 w 545"/>
                      <a:gd name="T13" fmla="*/ 0 h 1140"/>
                      <a:gd name="T14" fmla="*/ 289 w 545"/>
                      <a:gd name="T15" fmla="*/ 5 h 1140"/>
                      <a:gd name="T16" fmla="*/ 289 w 545"/>
                      <a:gd name="T17" fmla="*/ 5 h 1140"/>
                      <a:gd name="T18" fmla="*/ 289 w 545"/>
                      <a:gd name="T19" fmla="*/ 9 h 1140"/>
                      <a:gd name="T20" fmla="*/ 285 w 545"/>
                      <a:gd name="T21" fmla="*/ 11 h 1140"/>
                      <a:gd name="T22" fmla="*/ 285 w 545"/>
                      <a:gd name="T23" fmla="*/ 11 h 1140"/>
                      <a:gd name="T24" fmla="*/ 280 w 545"/>
                      <a:gd name="T25" fmla="*/ 9 h 1140"/>
                      <a:gd name="T26" fmla="*/ 280 w 545"/>
                      <a:gd name="T27" fmla="*/ 9 h 1140"/>
                      <a:gd name="T28" fmla="*/ 280 w 545"/>
                      <a:gd name="T29" fmla="*/ 5 h 1140"/>
                      <a:gd name="T30" fmla="*/ 273 w 545"/>
                      <a:gd name="T31" fmla="*/ 3 h 1140"/>
                      <a:gd name="T32" fmla="*/ 273 w 545"/>
                      <a:gd name="T33" fmla="*/ 3 h 1140"/>
                      <a:gd name="T34" fmla="*/ 15 w 545"/>
                      <a:gd name="T35" fmla="*/ 3 h 1140"/>
                      <a:gd name="T36" fmla="*/ 9 w 545"/>
                      <a:gd name="T37" fmla="*/ 5 h 1140"/>
                      <a:gd name="T38" fmla="*/ 9 w 545"/>
                      <a:gd name="T39" fmla="*/ 5 h 1140"/>
                      <a:gd name="T40" fmla="*/ 9 w 545"/>
                      <a:gd name="T41" fmla="*/ 191 h 1140"/>
                      <a:gd name="T42" fmla="*/ 15 w 545"/>
                      <a:gd name="T43" fmla="*/ 194 h 1140"/>
                      <a:gd name="T44" fmla="*/ 15 w 545"/>
                      <a:gd name="T45" fmla="*/ 194 h 1140"/>
                      <a:gd name="T46" fmla="*/ 273 w 545"/>
                      <a:gd name="T47" fmla="*/ 194 h 1140"/>
                      <a:gd name="T48" fmla="*/ 280 w 545"/>
                      <a:gd name="T49" fmla="*/ 191 h 1140"/>
                      <a:gd name="T50" fmla="*/ 280 w 545"/>
                      <a:gd name="T51" fmla="*/ 191 h 1140"/>
                      <a:gd name="T52" fmla="*/ 280 w 545"/>
                      <a:gd name="T53" fmla="*/ 14 h 1140"/>
                      <a:gd name="T54" fmla="*/ 285 w 545"/>
                      <a:gd name="T55" fmla="*/ 13 h 1140"/>
                      <a:gd name="T56" fmla="*/ 285 w 545"/>
                      <a:gd name="T57" fmla="*/ 13 h 1140"/>
                      <a:gd name="T58" fmla="*/ 289 w 545"/>
                      <a:gd name="T59" fmla="*/ 14 h 1140"/>
                      <a:gd name="T60" fmla="*/ 289 w 545"/>
                      <a:gd name="T61" fmla="*/ 14 h 1140"/>
                      <a:gd name="T62" fmla="*/ 289 w 545"/>
                      <a:gd name="T63" fmla="*/ 191 h 1140"/>
                      <a:gd name="T64" fmla="*/ 273 w 545"/>
                      <a:gd name="T65" fmla="*/ 196 h 1140"/>
                      <a:gd name="T66" fmla="*/ 273 w 545"/>
                      <a:gd name="T67" fmla="*/ 196 h 1140"/>
                      <a:gd name="T68" fmla="*/ 15 w 545"/>
                      <a:gd name="T69" fmla="*/ 196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104" name="Text Box 251">
                <a:extLst>
                  <a:ext uri="{FF2B5EF4-FFF2-40B4-BE49-F238E27FC236}">
                    <a16:creationId xmlns:a16="http://schemas.microsoft.com/office/drawing/2014/main" id="{DF0E9EDE-92C5-444B-80C8-1D77BE3FC759}"/>
                  </a:ext>
                </a:extLst>
              </p:cNvPr>
              <p:cNvSpPr txBox="1">
                <a:spLocks noChangeArrowheads="1"/>
              </p:cNvSpPr>
              <p:nvPr/>
            </p:nvSpPr>
            <p:spPr bwMode="auto">
              <a:xfrm>
                <a:off x="645" y="3276"/>
                <a:ext cx="121"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3538" eaLnBrk="0" hangingPunct="0">
                  <a:defRPr sz="2000">
                    <a:solidFill>
                      <a:schemeClr val="tx1"/>
                    </a:solidFill>
                    <a:latin typeface="Arial" charset="0"/>
                    <a:cs typeface="Arial" charset="0"/>
                  </a:defRPr>
                </a:lvl1pPr>
                <a:lvl2pPr marL="742950" indent="-285750" defTabSz="4173538" eaLnBrk="0" hangingPunct="0">
                  <a:defRPr sz="2000">
                    <a:solidFill>
                      <a:schemeClr val="tx1"/>
                    </a:solidFill>
                    <a:latin typeface="Arial" charset="0"/>
                    <a:cs typeface="Arial" charset="0"/>
                  </a:defRPr>
                </a:lvl2pPr>
                <a:lvl3pPr marL="1143000" indent="-228600" defTabSz="4173538" eaLnBrk="0" hangingPunct="0">
                  <a:defRPr sz="2000">
                    <a:solidFill>
                      <a:schemeClr val="tx1"/>
                    </a:solidFill>
                    <a:latin typeface="Arial" charset="0"/>
                    <a:cs typeface="Arial" charset="0"/>
                  </a:defRPr>
                </a:lvl3pPr>
                <a:lvl4pPr marL="1600200" indent="-228600" defTabSz="4173538" eaLnBrk="0" hangingPunct="0">
                  <a:defRPr sz="2000">
                    <a:solidFill>
                      <a:schemeClr val="tx1"/>
                    </a:solidFill>
                    <a:latin typeface="Arial" charset="0"/>
                    <a:cs typeface="Arial" charset="0"/>
                  </a:defRPr>
                </a:lvl4pPr>
                <a:lvl5pPr marL="2057400" indent="-228600" defTabSz="4173538" eaLnBrk="0" hangingPunct="0">
                  <a:defRPr sz="2000">
                    <a:solidFill>
                      <a:schemeClr val="tx1"/>
                    </a:solidFill>
                    <a:latin typeface="Arial" charset="0"/>
                    <a:cs typeface="Arial" charset="0"/>
                  </a:defRPr>
                </a:lvl5pPr>
                <a:lvl6pPr marL="2514600" indent="-228600" defTabSz="4173538" eaLnBrk="0" fontAlgn="base" hangingPunct="0">
                  <a:spcBef>
                    <a:spcPct val="0"/>
                  </a:spcBef>
                  <a:spcAft>
                    <a:spcPct val="0"/>
                  </a:spcAft>
                  <a:defRPr sz="2000">
                    <a:solidFill>
                      <a:schemeClr val="tx1"/>
                    </a:solidFill>
                    <a:latin typeface="Arial" charset="0"/>
                    <a:cs typeface="Arial" charset="0"/>
                  </a:defRPr>
                </a:lvl6pPr>
                <a:lvl7pPr marL="2971800" indent="-228600" defTabSz="4173538" eaLnBrk="0" fontAlgn="base" hangingPunct="0">
                  <a:spcBef>
                    <a:spcPct val="0"/>
                  </a:spcBef>
                  <a:spcAft>
                    <a:spcPct val="0"/>
                  </a:spcAft>
                  <a:defRPr sz="2000">
                    <a:solidFill>
                      <a:schemeClr val="tx1"/>
                    </a:solidFill>
                    <a:latin typeface="Arial" charset="0"/>
                    <a:cs typeface="Arial" charset="0"/>
                  </a:defRPr>
                </a:lvl7pPr>
                <a:lvl8pPr marL="3429000" indent="-228600" defTabSz="4173538" eaLnBrk="0" fontAlgn="base" hangingPunct="0">
                  <a:spcBef>
                    <a:spcPct val="0"/>
                  </a:spcBef>
                  <a:spcAft>
                    <a:spcPct val="0"/>
                  </a:spcAft>
                  <a:defRPr sz="2000">
                    <a:solidFill>
                      <a:schemeClr val="tx1"/>
                    </a:solidFill>
                    <a:latin typeface="Arial" charset="0"/>
                    <a:cs typeface="Arial" charset="0"/>
                  </a:defRPr>
                </a:lvl8pPr>
                <a:lvl9pPr marL="3886200" indent="-228600" defTabSz="4173538"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pPr>
                <a:r>
                  <a:rPr lang="en-US" sz="1050"/>
                  <a:t>DC</a:t>
                </a:r>
              </a:p>
            </p:txBody>
          </p:sp>
        </p:grpSp>
        <p:sp>
          <p:nvSpPr>
            <p:cNvPr id="33" name="Line 25">
              <a:extLst>
                <a:ext uri="{FF2B5EF4-FFF2-40B4-BE49-F238E27FC236}">
                  <a16:creationId xmlns:a16="http://schemas.microsoft.com/office/drawing/2014/main" id="{EE229E6C-DFFD-4D4E-AFD1-5ED0D96E9E66}"/>
                </a:ext>
              </a:extLst>
            </p:cNvPr>
            <p:cNvSpPr>
              <a:spLocks noChangeShapeType="1"/>
            </p:cNvSpPr>
            <p:nvPr/>
          </p:nvSpPr>
          <p:spPr bwMode="auto">
            <a:xfrm>
              <a:off x="8623469" y="2421813"/>
              <a:ext cx="2028011" cy="7656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71997" tIns="45719" rIns="71997" bIns="45719"/>
            <a:lstStyle/>
            <a:p>
              <a:endParaRPr lang="en-US" sz="1400"/>
            </a:p>
          </p:txBody>
        </p:sp>
        <p:sp>
          <p:nvSpPr>
            <p:cNvPr id="34" name="Text Box 282">
              <a:extLst>
                <a:ext uri="{FF2B5EF4-FFF2-40B4-BE49-F238E27FC236}">
                  <a16:creationId xmlns:a16="http://schemas.microsoft.com/office/drawing/2014/main" id="{DBFCF0B7-D914-486D-B75A-1D7B76FF68C7}"/>
                </a:ext>
              </a:extLst>
            </p:cNvPr>
            <p:cNvSpPr txBox="1">
              <a:spLocks noChangeArrowheads="1"/>
            </p:cNvSpPr>
            <p:nvPr/>
          </p:nvSpPr>
          <p:spPr bwMode="auto">
            <a:xfrm>
              <a:off x="10079373" y="2519676"/>
              <a:ext cx="1761454" cy="88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28263" tIns="208443" rIns="328263" bIns="208443">
              <a:spAutoFit/>
            </a:bodyPr>
            <a:lstStyle>
              <a:lvl1pPr defTabSz="4173538" eaLnBrk="0" hangingPunct="0">
                <a:defRPr sz="2000">
                  <a:solidFill>
                    <a:schemeClr val="tx1"/>
                  </a:solidFill>
                  <a:latin typeface="Arial" charset="0"/>
                  <a:cs typeface="Arial" charset="0"/>
                </a:defRPr>
              </a:lvl1pPr>
              <a:lvl2pPr marL="742950" indent="-285750" defTabSz="4173538" eaLnBrk="0" hangingPunct="0">
                <a:defRPr sz="2000">
                  <a:solidFill>
                    <a:schemeClr val="tx1"/>
                  </a:solidFill>
                  <a:latin typeface="Arial" charset="0"/>
                  <a:cs typeface="Arial" charset="0"/>
                </a:defRPr>
              </a:lvl2pPr>
              <a:lvl3pPr marL="1143000" indent="-228600" defTabSz="4173538" eaLnBrk="0" hangingPunct="0">
                <a:defRPr sz="2000">
                  <a:solidFill>
                    <a:schemeClr val="tx1"/>
                  </a:solidFill>
                  <a:latin typeface="Arial" charset="0"/>
                  <a:cs typeface="Arial" charset="0"/>
                </a:defRPr>
              </a:lvl3pPr>
              <a:lvl4pPr marL="1600200" indent="-228600" defTabSz="4173538" eaLnBrk="0" hangingPunct="0">
                <a:defRPr sz="2000">
                  <a:solidFill>
                    <a:schemeClr val="tx1"/>
                  </a:solidFill>
                  <a:latin typeface="Arial" charset="0"/>
                  <a:cs typeface="Arial" charset="0"/>
                </a:defRPr>
              </a:lvl4pPr>
              <a:lvl5pPr marL="2057400" indent="-228600" defTabSz="4173538" eaLnBrk="0" hangingPunct="0">
                <a:defRPr sz="2000">
                  <a:solidFill>
                    <a:schemeClr val="tx1"/>
                  </a:solidFill>
                  <a:latin typeface="Arial" charset="0"/>
                  <a:cs typeface="Arial" charset="0"/>
                </a:defRPr>
              </a:lvl5pPr>
              <a:lvl6pPr marL="2514600" indent="-228600" defTabSz="4173538" eaLnBrk="0" fontAlgn="base" hangingPunct="0">
                <a:spcBef>
                  <a:spcPct val="0"/>
                </a:spcBef>
                <a:spcAft>
                  <a:spcPct val="0"/>
                </a:spcAft>
                <a:defRPr sz="2000">
                  <a:solidFill>
                    <a:schemeClr val="tx1"/>
                  </a:solidFill>
                  <a:latin typeface="Arial" charset="0"/>
                  <a:cs typeface="Arial" charset="0"/>
                </a:defRPr>
              </a:lvl6pPr>
              <a:lvl7pPr marL="2971800" indent="-228600" defTabSz="4173538" eaLnBrk="0" fontAlgn="base" hangingPunct="0">
                <a:spcBef>
                  <a:spcPct val="0"/>
                </a:spcBef>
                <a:spcAft>
                  <a:spcPct val="0"/>
                </a:spcAft>
                <a:defRPr sz="2000">
                  <a:solidFill>
                    <a:schemeClr val="tx1"/>
                  </a:solidFill>
                  <a:latin typeface="Arial" charset="0"/>
                  <a:cs typeface="Arial" charset="0"/>
                </a:defRPr>
              </a:lvl7pPr>
              <a:lvl8pPr marL="3429000" indent="-228600" defTabSz="4173538" eaLnBrk="0" fontAlgn="base" hangingPunct="0">
                <a:spcBef>
                  <a:spcPct val="0"/>
                </a:spcBef>
                <a:spcAft>
                  <a:spcPct val="0"/>
                </a:spcAft>
                <a:defRPr sz="2000">
                  <a:solidFill>
                    <a:schemeClr val="tx1"/>
                  </a:solidFill>
                  <a:latin typeface="Arial" charset="0"/>
                  <a:cs typeface="Arial" charset="0"/>
                </a:defRPr>
              </a:lvl8pPr>
              <a:lvl9pPr marL="3886200" indent="-228600" defTabSz="4173538"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600" b="1">
                  <a:solidFill>
                    <a:srgbClr val="8F3F7B"/>
                  </a:solidFill>
                </a:rPr>
                <a:t>National</a:t>
              </a:r>
            </a:p>
          </p:txBody>
        </p:sp>
        <p:sp>
          <p:nvSpPr>
            <p:cNvPr id="35" name="Freeform 3">
              <a:extLst>
                <a:ext uri="{FF2B5EF4-FFF2-40B4-BE49-F238E27FC236}">
                  <a16:creationId xmlns:a16="http://schemas.microsoft.com/office/drawing/2014/main" id="{EA00ED6B-2ED1-4900-B235-3EA41AAA04DF}"/>
                </a:ext>
              </a:extLst>
            </p:cNvPr>
            <p:cNvSpPr>
              <a:spLocks noChangeAspect="1" noEditPoints="1"/>
            </p:cNvSpPr>
            <p:nvPr/>
          </p:nvSpPr>
          <p:spPr bwMode="auto">
            <a:xfrm>
              <a:off x="1388593" y="1375062"/>
              <a:ext cx="536575" cy="925513"/>
            </a:xfrm>
            <a:custGeom>
              <a:avLst/>
              <a:gdLst>
                <a:gd name="T0" fmla="*/ 2147483647 w 301"/>
                <a:gd name="T1" fmla="*/ 2147483647 h 412"/>
                <a:gd name="T2" fmla="*/ 2147483647 w 301"/>
                <a:gd name="T3" fmla="*/ 2147483647 h 412"/>
                <a:gd name="T4" fmla="*/ 2147483647 w 301"/>
                <a:gd name="T5" fmla="*/ 2147483647 h 412"/>
                <a:gd name="T6" fmla="*/ 2147483647 w 301"/>
                <a:gd name="T7" fmla="*/ 2147483647 h 412"/>
                <a:gd name="T8" fmla="*/ 2147483647 w 301"/>
                <a:gd name="T9" fmla="*/ 2147483647 h 412"/>
                <a:gd name="T10" fmla="*/ 2147483647 w 301"/>
                <a:gd name="T11" fmla="*/ 2147483647 h 412"/>
                <a:gd name="T12" fmla="*/ 2147483647 w 301"/>
                <a:gd name="T13" fmla="*/ 2147483647 h 412"/>
                <a:gd name="T14" fmla="*/ 2147483647 w 301"/>
                <a:gd name="T15" fmla="*/ 2147483647 h 412"/>
                <a:gd name="T16" fmla="*/ 2147483647 w 301"/>
                <a:gd name="T17" fmla="*/ 2147483647 h 412"/>
                <a:gd name="T18" fmla="*/ 2147483647 w 301"/>
                <a:gd name="T19" fmla="*/ 2147483647 h 412"/>
                <a:gd name="T20" fmla="*/ 2147483647 w 301"/>
                <a:gd name="T21" fmla="*/ 2147483647 h 412"/>
                <a:gd name="T22" fmla="*/ 2147483647 w 301"/>
                <a:gd name="T23" fmla="*/ 2147483647 h 412"/>
                <a:gd name="T24" fmla="*/ 2147483647 w 301"/>
                <a:gd name="T25" fmla="*/ 2147483647 h 412"/>
                <a:gd name="T26" fmla="*/ 2147483647 w 301"/>
                <a:gd name="T27" fmla="*/ 2147483647 h 412"/>
                <a:gd name="T28" fmla="*/ 2147483647 w 301"/>
                <a:gd name="T29" fmla="*/ 2147483647 h 412"/>
                <a:gd name="T30" fmla="*/ 2147483647 w 301"/>
                <a:gd name="T31" fmla="*/ 2147483647 h 412"/>
                <a:gd name="T32" fmla="*/ 2147483647 w 301"/>
                <a:gd name="T33" fmla="*/ 2147483647 h 412"/>
                <a:gd name="T34" fmla="*/ 2147483647 w 301"/>
                <a:gd name="T35" fmla="*/ 2147483647 h 412"/>
                <a:gd name="T36" fmla="*/ 2147483647 w 301"/>
                <a:gd name="T37" fmla="*/ 2147483647 h 412"/>
                <a:gd name="T38" fmla="*/ 2147483647 w 301"/>
                <a:gd name="T39" fmla="*/ 2147483647 h 412"/>
                <a:gd name="T40" fmla="*/ 2147483647 w 301"/>
                <a:gd name="T41" fmla="*/ 2147483647 h 412"/>
                <a:gd name="T42" fmla="*/ 2147483647 w 301"/>
                <a:gd name="T43" fmla="*/ 2147483647 h 412"/>
                <a:gd name="T44" fmla="*/ 2147483647 w 301"/>
                <a:gd name="T45" fmla="*/ 2147483647 h 412"/>
                <a:gd name="T46" fmla="*/ 2147483647 w 301"/>
                <a:gd name="T47" fmla="*/ 2147483647 h 412"/>
                <a:gd name="T48" fmla="*/ 2147483647 w 301"/>
                <a:gd name="T49" fmla="*/ 2147483647 h 412"/>
                <a:gd name="T50" fmla="*/ 2147483647 w 301"/>
                <a:gd name="T51" fmla="*/ 2147483647 h 412"/>
                <a:gd name="T52" fmla="*/ 2147483647 w 301"/>
                <a:gd name="T53" fmla="*/ 2147483647 h 412"/>
                <a:gd name="T54" fmla="*/ 2147483647 w 301"/>
                <a:gd name="T55" fmla="*/ 2147483647 h 412"/>
                <a:gd name="T56" fmla="*/ 2147483647 w 301"/>
                <a:gd name="T57" fmla="*/ 2147483647 h 412"/>
                <a:gd name="T58" fmla="*/ 2147483647 w 301"/>
                <a:gd name="T59" fmla="*/ 2147483647 h 412"/>
                <a:gd name="T60" fmla="*/ 2147483647 w 301"/>
                <a:gd name="T61" fmla="*/ 2147483647 h 412"/>
                <a:gd name="T62" fmla="*/ 2147483647 w 301"/>
                <a:gd name="T63" fmla="*/ 2147483647 h 412"/>
                <a:gd name="T64" fmla="*/ 2147483647 w 301"/>
                <a:gd name="T65" fmla="*/ 2147483647 h 412"/>
                <a:gd name="T66" fmla="*/ 2147483647 w 301"/>
                <a:gd name="T67" fmla="*/ 2147483647 h 412"/>
                <a:gd name="T68" fmla="*/ 2147483647 w 301"/>
                <a:gd name="T69" fmla="*/ 2147483647 h 412"/>
                <a:gd name="T70" fmla="*/ 2147483647 w 301"/>
                <a:gd name="T71" fmla="*/ 2147483647 h 412"/>
                <a:gd name="T72" fmla="*/ 2147483647 w 301"/>
                <a:gd name="T73" fmla="*/ 2147483647 h 412"/>
                <a:gd name="T74" fmla="*/ 2147483647 w 301"/>
                <a:gd name="T75" fmla="*/ 2147483647 h 412"/>
                <a:gd name="T76" fmla="*/ 2147483647 w 301"/>
                <a:gd name="T77" fmla="*/ 2147483647 h 412"/>
                <a:gd name="T78" fmla="*/ 2147483647 w 301"/>
                <a:gd name="T79" fmla="*/ 2147483647 h 412"/>
                <a:gd name="T80" fmla="*/ 2147483647 w 301"/>
                <a:gd name="T81" fmla="*/ 2147483647 h 412"/>
                <a:gd name="T82" fmla="*/ 2147483647 w 301"/>
                <a:gd name="T83" fmla="*/ 2147483647 h 412"/>
                <a:gd name="T84" fmla="*/ 2147483647 w 301"/>
                <a:gd name="T85" fmla="*/ 2147483647 h 412"/>
                <a:gd name="T86" fmla="*/ 2147483647 w 301"/>
                <a:gd name="T87" fmla="*/ 2147483647 h 412"/>
                <a:gd name="T88" fmla="*/ 2147483647 w 301"/>
                <a:gd name="T89" fmla="*/ 2147483647 h 412"/>
                <a:gd name="T90" fmla="*/ 2147483647 w 301"/>
                <a:gd name="T91" fmla="*/ 2147483647 h 412"/>
                <a:gd name="T92" fmla="*/ 2147483647 w 301"/>
                <a:gd name="T93" fmla="*/ 2147483647 h 412"/>
                <a:gd name="T94" fmla="*/ 2147483647 w 301"/>
                <a:gd name="T95" fmla="*/ 2147483647 h 412"/>
                <a:gd name="T96" fmla="*/ 2147483647 w 301"/>
                <a:gd name="T97" fmla="*/ 2147483647 h 412"/>
                <a:gd name="T98" fmla="*/ 2147483647 w 301"/>
                <a:gd name="T99" fmla="*/ 2147483647 h 412"/>
                <a:gd name="T100" fmla="*/ 2147483647 w 301"/>
                <a:gd name="T101" fmla="*/ 2147483647 h 412"/>
                <a:gd name="T102" fmla="*/ 2147483647 w 301"/>
                <a:gd name="T103" fmla="*/ 0 h 412"/>
                <a:gd name="T104" fmla="*/ 2147483647 w 301"/>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1"/>
                <a:gd name="T160" fmla="*/ 0 h 412"/>
                <a:gd name="T161" fmla="*/ 301 w 30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1" h="412">
                  <a:moveTo>
                    <a:pt x="68" y="37"/>
                  </a:moveTo>
                  <a:cubicBezTo>
                    <a:pt x="68" y="33"/>
                    <a:pt x="65" y="29"/>
                    <a:pt x="60" y="29"/>
                  </a:cubicBezTo>
                  <a:cubicBezTo>
                    <a:pt x="39" y="29"/>
                    <a:pt x="39" y="29"/>
                    <a:pt x="39" y="29"/>
                  </a:cubicBezTo>
                  <a:cubicBezTo>
                    <a:pt x="35" y="29"/>
                    <a:pt x="31" y="33"/>
                    <a:pt x="31" y="37"/>
                  </a:cubicBezTo>
                  <a:cubicBezTo>
                    <a:pt x="31" y="58"/>
                    <a:pt x="31" y="58"/>
                    <a:pt x="31" y="58"/>
                  </a:cubicBezTo>
                  <a:cubicBezTo>
                    <a:pt x="31" y="63"/>
                    <a:pt x="35" y="66"/>
                    <a:pt x="39" y="66"/>
                  </a:cubicBezTo>
                  <a:cubicBezTo>
                    <a:pt x="60" y="66"/>
                    <a:pt x="60" y="66"/>
                    <a:pt x="60" y="66"/>
                  </a:cubicBezTo>
                  <a:cubicBezTo>
                    <a:pt x="65" y="66"/>
                    <a:pt x="68" y="63"/>
                    <a:pt x="68" y="58"/>
                  </a:cubicBezTo>
                  <a:lnTo>
                    <a:pt x="68" y="37"/>
                  </a:lnTo>
                  <a:close/>
                  <a:moveTo>
                    <a:pt x="68" y="86"/>
                  </a:moveTo>
                  <a:cubicBezTo>
                    <a:pt x="68" y="81"/>
                    <a:pt x="65" y="78"/>
                    <a:pt x="60" y="78"/>
                  </a:cubicBezTo>
                  <a:cubicBezTo>
                    <a:pt x="39" y="78"/>
                    <a:pt x="39" y="78"/>
                    <a:pt x="39" y="78"/>
                  </a:cubicBezTo>
                  <a:cubicBezTo>
                    <a:pt x="35" y="78"/>
                    <a:pt x="31" y="81"/>
                    <a:pt x="31" y="86"/>
                  </a:cubicBezTo>
                  <a:cubicBezTo>
                    <a:pt x="31" y="107"/>
                    <a:pt x="31" y="107"/>
                    <a:pt x="31" y="107"/>
                  </a:cubicBezTo>
                  <a:cubicBezTo>
                    <a:pt x="31" y="112"/>
                    <a:pt x="35" y="115"/>
                    <a:pt x="39" y="115"/>
                  </a:cubicBezTo>
                  <a:cubicBezTo>
                    <a:pt x="60" y="115"/>
                    <a:pt x="60" y="115"/>
                    <a:pt x="60" y="115"/>
                  </a:cubicBezTo>
                  <a:cubicBezTo>
                    <a:pt x="65" y="115"/>
                    <a:pt x="68" y="112"/>
                    <a:pt x="68" y="107"/>
                  </a:cubicBezTo>
                  <a:lnTo>
                    <a:pt x="68" y="86"/>
                  </a:lnTo>
                  <a:close/>
                  <a:moveTo>
                    <a:pt x="68" y="135"/>
                  </a:moveTo>
                  <a:cubicBezTo>
                    <a:pt x="68" y="130"/>
                    <a:pt x="65" y="127"/>
                    <a:pt x="60" y="127"/>
                  </a:cubicBezTo>
                  <a:cubicBezTo>
                    <a:pt x="39" y="127"/>
                    <a:pt x="39" y="127"/>
                    <a:pt x="39" y="127"/>
                  </a:cubicBezTo>
                  <a:cubicBezTo>
                    <a:pt x="35" y="127"/>
                    <a:pt x="31" y="130"/>
                    <a:pt x="31" y="135"/>
                  </a:cubicBezTo>
                  <a:cubicBezTo>
                    <a:pt x="31" y="156"/>
                    <a:pt x="31" y="156"/>
                    <a:pt x="31" y="156"/>
                  </a:cubicBezTo>
                  <a:cubicBezTo>
                    <a:pt x="31" y="160"/>
                    <a:pt x="35" y="164"/>
                    <a:pt x="39" y="164"/>
                  </a:cubicBezTo>
                  <a:cubicBezTo>
                    <a:pt x="60" y="164"/>
                    <a:pt x="60" y="164"/>
                    <a:pt x="60" y="164"/>
                  </a:cubicBezTo>
                  <a:cubicBezTo>
                    <a:pt x="65" y="164"/>
                    <a:pt x="68" y="160"/>
                    <a:pt x="68" y="156"/>
                  </a:cubicBezTo>
                  <a:lnTo>
                    <a:pt x="68" y="135"/>
                  </a:lnTo>
                  <a:close/>
                  <a:moveTo>
                    <a:pt x="68" y="183"/>
                  </a:moveTo>
                  <a:cubicBezTo>
                    <a:pt x="68" y="179"/>
                    <a:pt x="65" y="175"/>
                    <a:pt x="60" y="175"/>
                  </a:cubicBezTo>
                  <a:cubicBezTo>
                    <a:pt x="39" y="175"/>
                    <a:pt x="39" y="175"/>
                    <a:pt x="39" y="175"/>
                  </a:cubicBezTo>
                  <a:cubicBezTo>
                    <a:pt x="35" y="175"/>
                    <a:pt x="31" y="179"/>
                    <a:pt x="31" y="183"/>
                  </a:cubicBezTo>
                  <a:cubicBezTo>
                    <a:pt x="31" y="205"/>
                    <a:pt x="31" y="205"/>
                    <a:pt x="31" y="205"/>
                  </a:cubicBezTo>
                  <a:cubicBezTo>
                    <a:pt x="31" y="209"/>
                    <a:pt x="35" y="213"/>
                    <a:pt x="39" y="213"/>
                  </a:cubicBezTo>
                  <a:cubicBezTo>
                    <a:pt x="60" y="213"/>
                    <a:pt x="60" y="213"/>
                    <a:pt x="60" y="213"/>
                  </a:cubicBezTo>
                  <a:cubicBezTo>
                    <a:pt x="65" y="213"/>
                    <a:pt x="68" y="209"/>
                    <a:pt x="68" y="205"/>
                  </a:cubicBezTo>
                  <a:lnTo>
                    <a:pt x="68" y="183"/>
                  </a:lnTo>
                  <a:close/>
                  <a:moveTo>
                    <a:pt x="68" y="232"/>
                  </a:moveTo>
                  <a:cubicBezTo>
                    <a:pt x="68" y="228"/>
                    <a:pt x="65" y="224"/>
                    <a:pt x="60" y="224"/>
                  </a:cubicBezTo>
                  <a:cubicBezTo>
                    <a:pt x="39" y="224"/>
                    <a:pt x="39" y="224"/>
                    <a:pt x="39" y="224"/>
                  </a:cubicBezTo>
                  <a:cubicBezTo>
                    <a:pt x="35" y="224"/>
                    <a:pt x="31" y="228"/>
                    <a:pt x="31" y="232"/>
                  </a:cubicBezTo>
                  <a:cubicBezTo>
                    <a:pt x="31" y="253"/>
                    <a:pt x="31" y="253"/>
                    <a:pt x="31" y="253"/>
                  </a:cubicBezTo>
                  <a:cubicBezTo>
                    <a:pt x="31" y="258"/>
                    <a:pt x="35" y="261"/>
                    <a:pt x="39" y="261"/>
                  </a:cubicBezTo>
                  <a:cubicBezTo>
                    <a:pt x="60" y="261"/>
                    <a:pt x="60" y="261"/>
                    <a:pt x="60" y="261"/>
                  </a:cubicBezTo>
                  <a:cubicBezTo>
                    <a:pt x="65" y="261"/>
                    <a:pt x="68" y="258"/>
                    <a:pt x="68" y="253"/>
                  </a:cubicBezTo>
                  <a:lnTo>
                    <a:pt x="68" y="232"/>
                  </a:lnTo>
                  <a:close/>
                  <a:moveTo>
                    <a:pt x="60" y="273"/>
                  </a:moveTo>
                  <a:cubicBezTo>
                    <a:pt x="39" y="273"/>
                    <a:pt x="39" y="273"/>
                    <a:pt x="39" y="273"/>
                  </a:cubicBezTo>
                  <a:cubicBezTo>
                    <a:pt x="35" y="273"/>
                    <a:pt x="31" y="276"/>
                    <a:pt x="31" y="281"/>
                  </a:cubicBezTo>
                  <a:cubicBezTo>
                    <a:pt x="31" y="302"/>
                    <a:pt x="31" y="302"/>
                    <a:pt x="31" y="302"/>
                  </a:cubicBezTo>
                  <a:cubicBezTo>
                    <a:pt x="31" y="306"/>
                    <a:pt x="35" y="310"/>
                    <a:pt x="39" y="310"/>
                  </a:cubicBezTo>
                  <a:cubicBezTo>
                    <a:pt x="60" y="310"/>
                    <a:pt x="60" y="310"/>
                    <a:pt x="60" y="310"/>
                  </a:cubicBezTo>
                  <a:cubicBezTo>
                    <a:pt x="65" y="310"/>
                    <a:pt x="68" y="306"/>
                    <a:pt x="68" y="302"/>
                  </a:cubicBezTo>
                  <a:cubicBezTo>
                    <a:pt x="68" y="281"/>
                    <a:pt x="68" y="281"/>
                    <a:pt x="68" y="281"/>
                  </a:cubicBezTo>
                  <a:cubicBezTo>
                    <a:pt x="68" y="276"/>
                    <a:pt x="65" y="273"/>
                    <a:pt x="60" y="273"/>
                  </a:cubicBezTo>
                  <a:close/>
                  <a:moveTo>
                    <a:pt x="119" y="37"/>
                  </a:moveTo>
                  <a:cubicBezTo>
                    <a:pt x="119" y="33"/>
                    <a:pt x="115" y="29"/>
                    <a:pt x="111" y="29"/>
                  </a:cubicBezTo>
                  <a:cubicBezTo>
                    <a:pt x="90" y="29"/>
                    <a:pt x="90" y="29"/>
                    <a:pt x="90" y="29"/>
                  </a:cubicBezTo>
                  <a:cubicBezTo>
                    <a:pt x="85" y="29"/>
                    <a:pt x="82" y="33"/>
                    <a:pt x="82" y="37"/>
                  </a:cubicBezTo>
                  <a:cubicBezTo>
                    <a:pt x="82" y="58"/>
                    <a:pt x="82" y="58"/>
                    <a:pt x="82" y="58"/>
                  </a:cubicBezTo>
                  <a:cubicBezTo>
                    <a:pt x="82" y="63"/>
                    <a:pt x="85" y="66"/>
                    <a:pt x="90" y="66"/>
                  </a:cubicBezTo>
                  <a:cubicBezTo>
                    <a:pt x="111" y="66"/>
                    <a:pt x="111" y="66"/>
                    <a:pt x="111" y="66"/>
                  </a:cubicBezTo>
                  <a:cubicBezTo>
                    <a:pt x="115" y="66"/>
                    <a:pt x="119" y="63"/>
                    <a:pt x="119" y="58"/>
                  </a:cubicBezTo>
                  <a:lnTo>
                    <a:pt x="119" y="37"/>
                  </a:lnTo>
                  <a:close/>
                  <a:moveTo>
                    <a:pt x="119" y="86"/>
                  </a:moveTo>
                  <a:cubicBezTo>
                    <a:pt x="119" y="81"/>
                    <a:pt x="115" y="78"/>
                    <a:pt x="111" y="78"/>
                  </a:cubicBezTo>
                  <a:cubicBezTo>
                    <a:pt x="90" y="78"/>
                    <a:pt x="90" y="78"/>
                    <a:pt x="90" y="78"/>
                  </a:cubicBezTo>
                  <a:cubicBezTo>
                    <a:pt x="85" y="78"/>
                    <a:pt x="82" y="81"/>
                    <a:pt x="82" y="86"/>
                  </a:cubicBezTo>
                  <a:cubicBezTo>
                    <a:pt x="82" y="107"/>
                    <a:pt x="82" y="107"/>
                    <a:pt x="82" y="107"/>
                  </a:cubicBezTo>
                  <a:cubicBezTo>
                    <a:pt x="82" y="112"/>
                    <a:pt x="85" y="115"/>
                    <a:pt x="90" y="115"/>
                  </a:cubicBezTo>
                  <a:cubicBezTo>
                    <a:pt x="111" y="115"/>
                    <a:pt x="111" y="115"/>
                    <a:pt x="111" y="115"/>
                  </a:cubicBezTo>
                  <a:cubicBezTo>
                    <a:pt x="115" y="115"/>
                    <a:pt x="119" y="112"/>
                    <a:pt x="119" y="107"/>
                  </a:cubicBezTo>
                  <a:lnTo>
                    <a:pt x="119" y="86"/>
                  </a:lnTo>
                  <a:close/>
                  <a:moveTo>
                    <a:pt x="119" y="135"/>
                  </a:moveTo>
                  <a:cubicBezTo>
                    <a:pt x="119" y="130"/>
                    <a:pt x="115" y="127"/>
                    <a:pt x="111" y="127"/>
                  </a:cubicBezTo>
                  <a:cubicBezTo>
                    <a:pt x="90" y="127"/>
                    <a:pt x="90" y="127"/>
                    <a:pt x="90" y="127"/>
                  </a:cubicBezTo>
                  <a:cubicBezTo>
                    <a:pt x="85" y="127"/>
                    <a:pt x="82" y="130"/>
                    <a:pt x="82" y="135"/>
                  </a:cubicBezTo>
                  <a:cubicBezTo>
                    <a:pt x="82" y="156"/>
                    <a:pt x="82" y="156"/>
                    <a:pt x="82" y="156"/>
                  </a:cubicBezTo>
                  <a:cubicBezTo>
                    <a:pt x="82" y="160"/>
                    <a:pt x="85" y="164"/>
                    <a:pt x="90" y="164"/>
                  </a:cubicBezTo>
                  <a:cubicBezTo>
                    <a:pt x="111" y="164"/>
                    <a:pt x="111" y="164"/>
                    <a:pt x="111" y="164"/>
                  </a:cubicBezTo>
                  <a:cubicBezTo>
                    <a:pt x="115" y="164"/>
                    <a:pt x="119" y="160"/>
                    <a:pt x="119" y="156"/>
                  </a:cubicBezTo>
                  <a:lnTo>
                    <a:pt x="119" y="135"/>
                  </a:lnTo>
                  <a:close/>
                  <a:moveTo>
                    <a:pt x="119" y="183"/>
                  </a:moveTo>
                  <a:cubicBezTo>
                    <a:pt x="119" y="179"/>
                    <a:pt x="115" y="175"/>
                    <a:pt x="111" y="175"/>
                  </a:cubicBezTo>
                  <a:cubicBezTo>
                    <a:pt x="90" y="175"/>
                    <a:pt x="90" y="175"/>
                    <a:pt x="90" y="175"/>
                  </a:cubicBezTo>
                  <a:cubicBezTo>
                    <a:pt x="85" y="175"/>
                    <a:pt x="82" y="179"/>
                    <a:pt x="82" y="183"/>
                  </a:cubicBezTo>
                  <a:cubicBezTo>
                    <a:pt x="82" y="205"/>
                    <a:pt x="82" y="205"/>
                    <a:pt x="82" y="205"/>
                  </a:cubicBezTo>
                  <a:cubicBezTo>
                    <a:pt x="82" y="209"/>
                    <a:pt x="85" y="213"/>
                    <a:pt x="90" y="213"/>
                  </a:cubicBezTo>
                  <a:cubicBezTo>
                    <a:pt x="111" y="213"/>
                    <a:pt x="111" y="213"/>
                    <a:pt x="111" y="213"/>
                  </a:cubicBezTo>
                  <a:cubicBezTo>
                    <a:pt x="115" y="213"/>
                    <a:pt x="119" y="209"/>
                    <a:pt x="119" y="205"/>
                  </a:cubicBezTo>
                  <a:lnTo>
                    <a:pt x="119" y="183"/>
                  </a:lnTo>
                  <a:close/>
                  <a:moveTo>
                    <a:pt x="119" y="232"/>
                  </a:moveTo>
                  <a:cubicBezTo>
                    <a:pt x="119" y="228"/>
                    <a:pt x="115" y="224"/>
                    <a:pt x="111" y="224"/>
                  </a:cubicBezTo>
                  <a:cubicBezTo>
                    <a:pt x="90" y="224"/>
                    <a:pt x="90" y="224"/>
                    <a:pt x="90" y="224"/>
                  </a:cubicBezTo>
                  <a:cubicBezTo>
                    <a:pt x="85" y="224"/>
                    <a:pt x="82" y="228"/>
                    <a:pt x="82" y="232"/>
                  </a:cubicBezTo>
                  <a:cubicBezTo>
                    <a:pt x="82" y="253"/>
                    <a:pt x="82" y="253"/>
                    <a:pt x="82" y="253"/>
                  </a:cubicBezTo>
                  <a:cubicBezTo>
                    <a:pt x="82" y="258"/>
                    <a:pt x="85" y="261"/>
                    <a:pt x="90" y="261"/>
                  </a:cubicBezTo>
                  <a:cubicBezTo>
                    <a:pt x="111" y="261"/>
                    <a:pt x="111" y="261"/>
                    <a:pt x="111" y="261"/>
                  </a:cubicBezTo>
                  <a:cubicBezTo>
                    <a:pt x="115" y="261"/>
                    <a:pt x="119" y="258"/>
                    <a:pt x="119" y="253"/>
                  </a:cubicBezTo>
                  <a:lnTo>
                    <a:pt x="119" y="232"/>
                  </a:lnTo>
                  <a:close/>
                  <a:moveTo>
                    <a:pt x="111" y="273"/>
                  </a:moveTo>
                  <a:cubicBezTo>
                    <a:pt x="90" y="273"/>
                    <a:pt x="90" y="273"/>
                    <a:pt x="90" y="273"/>
                  </a:cubicBezTo>
                  <a:cubicBezTo>
                    <a:pt x="85" y="273"/>
                    <a:pt x="82" y="276"/>
                    <a:pt x="82" y="281"/>
                  </a:cubicBezTo>
                  <a:cubicBezTo>
                    <a:pt x="82" y="302"/>
                    <a:pt x="82" y="302"/>
                    <a:pt x="82" y="302"/>
                  </a:cubicBezTo>
                  <a:cubicBezTo>
                    <a:pt x="82" y="306"/>
                    <a:pt x="85" y="310"/>
                    <a:pt x="90" y="310"/>
                  </a:cubicBezTo>
                  <a:cubicBezTo>
                    <a:pt x="111" y="310"/>
                    <a:pt x="111" y="310"/>
                    <a:pt x="111" y="310"/>
                  </a:cubicBezTo>
                  <a:cubicBezTo>
                    <a:pt x="115" y="310"/>
                    <a:pt x="119" y="306"/>
                    <a:pt x="119" y="302"/>
                  </a:cubicBezTo>
                  <a:cubicBezTo>
                    <a:pt x="119" y="281"/>
                    <a:pt x="119" y="281"/>
                    <a:pt x="119" y="281"/>
                  </a:cubicBezTo>
                  <a:cubicBezTo>
                    <a:pt x="119" y="276"/>
                    <a:pt x="115" y="273"/>
                    <a:pt x="111" y="273"/>
                  </a:cubicBezTo>
                  <a:close/>
                  <a:moveTo>
                    <a:pt x="140" y="66"/>
                  </a:moveTo>
                  <a:cubicBezTo>
                    <a:pt x="162" y="66"/>
                    <a:pt x="162" y="66"/>
                    <a:pt x="162" y="66"/>
                  </a:cubicBezTo>
                  <a:cubicBezTo>
                    <a:pt x="166" y="66"/>
                    <a:pt x="170" y="63"/>
                    <a:pt x="170" y="58"/>
                  </a:cubicBezTo>
                  <a:cubicBezTo>
                    <a:pt x="170" y="37"/>
                    <a:pt x="170" y="37"/>
                    <a:pt x="170" y="37"/>
                  </a:cubicBezTo>
                  <a:cubicBezTo>
                    <a:pt x="170" y="33"/>
                    <a:pt x="166" y="29"/>
                    <a:pt x="162" y="29"/>
                  </a:cubicBezTo>
                  <a:cubicBezTo>
                    <a:pt x="140" y="29"/>
                    <a:pt x="140" y="29"/>
                    <a:pt x="140" y="29"/>
                  </a:cubicBezTo>
                  <a:cubicBezTo>
                    <a:pt x="136" y="29"/>
                    <a:pt x="132" y="33"/>
                    <a:pt x="132" y="37"/>
                  </a:cubicBezTo>
                  <a:cubicBezTo>
                    <a:pt x="132" y="58"/>
                    <a:pt x="132" y="58"/>
                    <a:pt x="132" y="58"/>
                  </a:cubicBezTo>
                  <a:cubicBezTo>
                    <a:pt x="132" y="63"/>
                    <a:pt x="136" y="66"/>
                    <a:pt x="140" y="66"/>
                  </a:cubicBezTo>
                  <a:close/>
                  <a:moveTo>
                    <a:pt x="170" y="86"/>
                  </a:moveTo>
                  <a:cubicBezTo>
                    <a:pt x="170" y="81"/>
                    <a:pt x="166" y="78"/>
                    <a:pt x="162" y="78"/>
                  </a:cubicBezTo>
                  <a:cubicBezTo>
                    <a:pt x="140" y="78"/>
                    <a:pt x="140" y="78"/>
                    <a:pt x="140" y="78"/>
                  </a:cubicBezTo>
                  <a:cubicBezTo>
                    <a:pt x="136" y="78"/>
                    <a:pt x="132" y="81"/>
                    <a:pt x="132" y="86"/>
                  </a:cubicBezTo>
                  <a:cubicBezTo>
                    <a:pt x="132" y="107"/>
                    <a:pt x="132" y="107"/>
                    <a:pt x="132" y="107"/>
                  </a:cubicBezTo>
                  <a:cubicBezTo>
                    <a:pt x="132" y="112"/>
                    <a:pt x="136" y="115"/>
                    <a:pt x="140" y="115"/>
                  </a:cubicBezTo>
                  <a:cubicBezTo>
                    <a:pt x="162" y="115"/>
                    <a:pt x="162" y="115"/>
                    <a:pt x="162" y="115"/>
                  </a:cubicBezTo>
                  <a:cubicBezTo>
                    <a:pt x="166" y="115"/>
                    <a:pt x="170" y="112"/>
                    <a:pt x="170" y="107"/>
                  </a:cubicBezTo>
                  <a:lnTo>
                    <a:pt x="170" y="86"/>
                  </a:lnTo>
                  <a:close/>
                  <a:moveTo>
                    <a:pt x="170" y="135"/>
                  </a:moveTo>
                  <a:cubicBezTo>
                    <a:pt x="170" y="130"/>
                    <a:pt x="166" y="127"/>
                    <a:pt x="162" y="127"/>
                  </a:cubicBezTo>
                  <a:cubicBezTo>
                    <a:pt x="140" y="127"/>
                    <a:pt x="140" y="127"/>
                    <a:pt x="140" y="127"/>
                  </a:cubicBezTo>
                  <a:cubicBezTo>
                    <a:pt x="136" y="127"/>
                    <a:pt x="132" y="130"/>
                    <a:pt x="132" y="135"/>
                  </a:cubicBezTo>
                  <a:cubicBezTo>
                    <a:pt x="132" y="156"/>
                    <a:pt x="132" y="156"/>
                    <a:pt x="132" y="156"/>
                  </a:cubicBezTo>
                  <a:cubicBezTo>
                    <a:pt x="132" y="160"/>
                    <a:pt x="136" y="164"/>
                    <a:pt x="140" y="164"/>
                  </a:cubicBezTo>
                  <a:cubicBezTo>
                    <a:pt x="162" y="164"/>
                    <a:pt x="162" y="164"/>
                    <a:pt x="162" y="164"/>
                  </a:cubicBezTo>
                  <a:cubicBezTo>
                    <a:pt x="166" y="164"/>
                    <a:pt x="170" y="160"/>
                    <a:pt x="170" y="156"/>
                  </a:cubicBezTo>
                  <a:lnTo>
                    <a:pt x="170" y="135"/>
                  </a:lnTo>
                  <a:close/>
                  <a:moveTo>
                    <a:pt x="170" y="183"/>
                  </a:moveTo>
                  <a:cubicBezTo>
                    <a:pt x="170" y="179"/>
                    <a:pt x="166" y="175"/>
                    <a:pt x="162" y="175"/>
                  </a:cubicBezTo>
                  <a:cubicBezTo>
                    <a:pt x="140" y="175"/>
                    <a:pt x="140" y="175"/>
                    <a:pt x="140" y="175"/>
                  </a:cubicBezTo>
                  <a:cubicBezTo>
                    <a:pt x="136" y="175"/>
                    <a:pt x="132" y="179"/>
                    <a:pt x="132" y="183"/>
                  </a:cubicBezTo>
                  <a:cubicBezTo>
                    <a:pt x="132" y="205"/>
                    <a:pt x="132" y="205"/>
                    <a:pt x="132" y="205"/>
                  </a:cubicBezTo>
                  <a:cubicBezTo>
                    <a:pt x="132" y="209"/>
                    <a:pt x="136" y="213"/>
                    <a:pt x="140" y="213"/>
                  </a:cubicBezTo>
                  <a:cubicBezTo>
                    <a:pt x="162" y="213"/>
                    <a:pt x="162" y="213"/>
                    <a:pt x="162" y="213"/>
                  </a:cubicBezTo>
                  <a:cubicBezTo>
                    <a:pt x="166" y="213"/>
                    <a:pt x="170" y="209"/>
                    <a:pt x="170" y="205"/>
                  </a:cubicBezTo>
                  <a:lnTo>
                    <a:pt x="170" y="183"/>
                  </a:lnTo>
                  <a:close/>
                  <a:moveTo>
                    <a:pt x="170" y="232"/>
                  </a:moveTo>
                  <a:cubicBezTo>
                    <a:pt x="170" y="228"/>
                    <a:pt x="166" y="224"/>
                    <a:pt x="162" y="224"/>
                  </a:cubicBezTo>
                  <a:cubicBezTo>
                    <a:pt x="140" y="224"/>
                    <a:pt x="140" y="224"/>
                    <a:pt x="140" y="224"/>
                  </a:cubicBezTo>
                  <a:cubicBezTo>
                    <a:pt x="136" y="224"/>
                    <a:pt x="132" y="228"/>
                    <a:pt x="132" y="232"/>
                  </a:cubicBezTo>
                  <a:cubicBezTo>
                    <a:pt x="132" y="253"/>
                    <a:pt x="132" y="253"/>
                    <a:pt x="132" y="253"/>
                  </a:cubicBezTo>
                  <a:cubicBezTo>
                    <a:pt x="132" y="258"/>
                    <a:pt x="136" y="261"/>
                    <a:pt x="140" y="261"/>
                  </a:cubicBezTo>
                  <a:cubicBezTo>
                    <a:pt x="162" y="261"/>
                    <a:pt x="162" y="261"/>
                    <a:pt x="162" y="261"/>
                  </a:cubicBezTo>
                  <a:cubicBezTo>
                    <a:pt x="166" y="261"/>
                    <a:pt x="170" y="258"/>
                    <a:pt x="170" y="253"/>
                  </a:cubicBezTo>
                  <a:lnTo>
                    <a:pt x="170" y="232"/>
                  </a:lnTo>
                  <a:close/>
                  <a:moveTo>
                    <a:pt x="140" y="310"/>
                  </a:moveTo>
                  <a:cubicBezTo>
                    <a:pt x="162" y="310"/>
                    <a:pt x="162" y="310"/>
                    <a:pt x="162" y="310"/>
                  </a:cubicBezTo>
                  <a:cubicBezTo>
                    <a:pt x="166" y="310"/>
                    <a:pt x="170" y="306"/>
                    <a:pt x="170" y="302"/>
                  </a:cubicBezTo>
                  <a:cubicBezTo>
                    <a:pt x="170" y="281"/>
                    <a:pt x="170" y="281"/>
                    <a:pt x="170" y="281"/>
                  </a:cubicBezTo>
                  <a:cubicBezTo>
                    <a:pt x="170" y="276"/>
                    <a:pt x="166" y="273"/>
                    <a:pt x="162" y="273"/>
                  </a:cubicBezTo>
                  <a:cubicBezTo>
                    <a:pt x="140" y="273"/>
                    <a:pt x="140" y="273"/>
                    <a:pt x="140" y="273"/>
                  </a:cubicBezTo>
                  <a:cubicBezTo>
                    <a:pt x="136" y="273"/>
                    <a:pt x="132" y="276"/>
                    <a:pt x="132" y="281"/>
                  </a:cubicBezTo>
                  <a:cubicBezTo>
                    <a:pt x="132" y="302"/>
                    <a:pt x="132" y="302"/>
                    <a:pt x="132" y="302"/>
                  </a:cubicBezTo>
                  <a:cubicBezTo>
                    <a:pt x="132" y="306"/>
                    <a:pt x="136" y="310"/>
                    <a:pt x="140" y="310"/>
                  </a:cubicBezTo>
                  <a:close/>
                  <a:moveTo>
                    <a:pt x="220" y="131"/>
                  </a:moveTo>
                  <a:cubicBezTo>
                    <a:pt x="220" y="126"/>
                    <a:pt x="217" y="123"/>
                    <a:pt x="212" y="123"/>
                  </a:cubicBezTo>
                  <a:cubicBezTo>
                    <a:pt x="191" y="123"/>
                    <a:pt x="191" y="123"/>
                    <a:pt x="191" y="123"/>
                  </a:cubicBezTo>
                  <a:cubicBezTo>
                    <a:pt x="187" y="123"/>
                    <a:pt x="183" y="126"/>
                    <a:pt x="183" y="131"/>
                  </a:cubicBezTo>
                  <a:cubicBezTo>
                    <a:pt x="183" y="152"/>
                    <a:pt x="183" y="152"/>
                    <a:pt x="183" y="152"/>
                  </a:cubicBezTo>
                  <a:cubicBezTo>
                    <a:pt x="183" y="156"/>
                    <a:pt x="187" y="160"/>
                    <a:pt x="191" y="160"/>
                  </a:cubicBezTo>
                  <a:cubicBezTo>
                    <a:pt x="212" y="160"/>
                    <a:pt x="212" y="160"/>
                    <a:pt x="212" y="160"/>
                  </a:cubicBezTo>
                  <a:cubicBezTo>
                    <a:pt x="217" y="160"/>
                    <a:pt x="220" y="156"/>
                    <a:pt x="220" y="152"/>
                  </a:cubicBezTo>
                  <a:lnTo>
                    <a:pt x="220" y="131"/>
                  </a:lnTo>
                  <a:close/>
                  <a:moveTo>
                    <a:pt x="220" y="181"/>
                  </a:moveTo>
                  <a:cubicBezTo>
                    <a:pt x="220" y="176"/>
                    <a:pt x="217" y="173"/>
                    <a:pt x="212" y="173"/>
                  </a:cubicBezTo>
                  <a:cubicBezTo>
                    <a:pt x="191" y="173"/>
                    <a:pt x="191" y="173"/>
                    <a:pt x="191" y="173"/>
                  </a:cubicBezTo>
                  <a:cubicBezTo>
                    <a:pt x="187" y="173"/>
                    <a:pt x="183" y="176"/>
                    <a:pt x="183" y="181"/>
                  </a:cubicBezTo>
                  <a:cubicBezTo>
                    <a:pt x="183" y="202"/>
                    <a:pt x="183" y="202"/>
                    <a:pt x="183" y="202"/>
                  </a:cubicBezTo>
                  <a:cubicBezTo>
                    <a:pt x="183" y="206"/>
                    <a:pt x="187" y="210"/>
                    <a:pt x="191" y="210"/>
                  </a:cubicBezTo>
                  <a:cubicBezTo>
                    <a:pt x="212" y="210"/>
                    <a:pt x="212" y="210"/>
                    <a:pt x="212" y="210"/>
                  </a:cubicBezTo>
                  <a:cubicBezTo>
                    <a:pt x="217" y="210"/>
                    <a:pt x="220" y="206"/>
                    <a:pt x="220" y="202"/>
                  </a:cubicBezTo>
                  <a:lnTo>
                    <a:pt x="220" y="181"/>
                  </a:lnTo>
                  <a:close/>
                  <a:moveTo>
                    <a:pt x="220" y="231"/>
                  </a:moveTo>
                  <a:cubicBezTo>
                    <a:pt x="220" y="226"/>
                    <a:pt x="217" y="223"/>
                    <a:pt x="212" y="223"/>
                  </a:cubicBezTo>
                  <a:cubicBezTo>
                    <a:pt x="191" y="223"/>
                    <a:pt x="191" y="223"/>
                    <a:pt x="191" y="223"/>
                  </a:cubicBezTo>
                  <a:cubicBezTo>
                    <a:pt x="187" y="223"/>
                    <a:pt x="183" y="226"/>
                    <a:pt x="183" y="231"/>
                  </a:cubicBezTo>
                  <a:cubicBezTo>
                    <a:pt x="183" y="252"/>
                    <a:pt x="183" y="252"/>
                    <a:pt x="183" y="252"/>
                  </a:cubicBezTo>
                  <a:cubicBezTo>
                    <a:pt x="183" y="256"/>
                    <a:pt x="187" y="260"/>
                    <a:pt x="191" y="260"/>
                  </a:cubicBezTo>
                  <a:cubicBezTo>
                    <a:pt x="212" y="260"/>
                    <a:pt x="212" y="260"/>
                    <a:pt x="212" y="260"/>
                  </a:cubicBezTo>
                  <a:cubicBezTo>
                    <a:pt x="217" y="260"/>
                    <a:pt x="220" y="256"/>
                    <a:pt x="220" y="252"/>
                  </a:cubicBezTo>
                  <a:lnTo>
                    <a:pt x="220" y="231"/>
                  </a:lnTo>
                  <a:close/>
                  <a:moveTo>
                    <a:pt x="212" y="273"/>
                  </a:moveTo>
                  <a:cubicBezTo>
                    <a:pt x="191" y="273"/>
                    <a:pt x="191" y="273"/>
                    <a:pt x="191" y="273"/>
                  </a:cubicBezTo>
                  <a:cubicBezTo>
                    <a:pt x="187" y="273"/>
                    <a:pt x="183" y="276"/>
                    <a:pt x="183" y="281"/>
                  </a:cubicBezTo>
                  <a:cubicBezTo>
                    <a:pt x="183" y="302"/>
                    <a:pt x="183" y="302"/>
                    <a:pt x="183" y="302"/>
                  </a:cubicBezTo>
                  <a:cubicBezTo>
                    <a:pt x="183" y="306"/>
                    <a:pt x="187" y="310"/>
                    <a:pt x="191" y="310"/>
                  </a:cubicBezTo>
                  <a:cubicBezTo>
                    <a:pt x="212" y="310"/>
                    <a:pt x="212" y="310"/>
                    <a:pt x="212" y="310"/>
                  </a:cubicBezTo>
                  <a:cubicBezTo>
                    <a:pt x="217" y="310"/>
                    <a:pt x="220" y="306"/>
                    <a:pt x="220" y="302"/>
                  </a:cubicBezTo>
                  <a:cubicBezTo>
                    <a:pt x="220" y="281"/>
                    <a:pt x="220" y="281"/>
                    <a:pt x="220" y="281"/>
                  </a:cubicBezTo>
                  <a:cubicBezTo>
                    <a:pt x="220" y="276"/>
                    <a:pt x="217" y="273"/>
                    <a:pt x="212" y="273"/>
                  </a:cubicBezTo>
                  <a:close/>
                  <a:moveTo>
                    <a:pt x="271" y="131"/>
                  </a:moveTo>
                  <a:cubicBezTo>
                    <a:pt x="271" y="126"/>
                    <a:pt x="267" y="123"/>
                    <a:pt x="263" y="123"/>
                  </a:cubicBezTo>
                  <a:cubicBezTo>
                    <a:pt x="242" y="123"/>
                    <a:pt x="242" y="123"/>
                    <a:pt x="242" y="123"/>
                  </a:cubicBezTo>
                  <a:cubicBezTo>
                    <a:pt x="237" y="123"/>
                    <a:pt x="234" y="126"/>
                    <a:pt x="234" y="131"/>
                  </a:cubicBezTo>
                  <a:cubicBezTo>
                    <a:pt x="234" y="152"/>
                    <a:pt x="234" y="152"/>
                    <a:pt x="234" y="152"/>
                  </a:cubicBezTo>
                  <a:cubicBezTo>
                    <a:pt x="234" y="156"/>
                    <a:pt x="237" y="160"/>
                    <a:pt x="242" y="160"/>
                  </a:cubicBezTo>
                  <a:cubicBezTo>
                    <a:pt x="263" y="160"/>
                    <a:pt x="263" y="160"/>
                    <a:pt x="263" y="160"/>
                  </a:cubicBezTo>
                  <a:cubicBezTo>
                    <a:pt x="267" y="160"/>
                    <a:pt x="271" y="156"/>
                    <a:pt x="271" y="152"/>
                  </a:cubicBezTo>
                  <a:lnTo>
                    <a:pt x="271" y="131"/>
                  </a:lnTo>
                  <a:close/>
                  <a:moveTo>
                    <a:pt x="271" y="181"/>
                  </a:moveTo>
                  <a:cubicBezTo>
                    <a:pt x="271" y="176"/>
                    <a:pt x="267" y="173"/>
                    <a:pt x="263" y="173"/>
                  </a:cubicBezTo>
                  <a:cubicBezTo>
                    <a:pt x="242" y="173"/>
                    <a:pt x="242" y="173"/>
                    <a:pt x="242" y="173"/>
                  </a:cubicBezTo>
                  <a:cubicBezTo>
                    <a:pt x="237" y="173"/>
                    <a:pt x="234" y="176"/>
                    <a:pt x="234" y="181"/>
                  </a:cubicBezTo>
                  <a:cubicBezTo>
                    <a:pt x="234" y="202"/>
                    <a:pt x="234" y="202"/>
                    <a:pt x="234" y="202"/>
                  </a:cubicBezTo>
                  <a:cubicBezTo>
                    <a:pt x="234" y="206"/>
                    <a:pt x="237" y="210"/>
                    <a:pt x="242" y="210"/>
                  </a:cubicBezTo>
                  <a:cubicBezTo>
                    <a:pt x="263" y="210"/>
                    <a:pt x="263" y="210"/>
                    <a:pt x="263" y="210"/>
                  </a:cubicBezTo>
                  <a:cubicBezTo>
                    <a:pt x="267" y="210"/>
                    <a:pt x="271" y="206"/>
                    <a:pt x="271" y="202"/>
                  </a:cubicBezTo>
                  <a:lnTo>
                    <a:pt x="271" y="181"/>
                  </a:lnTo>
                  <a:close/>
                  <a:moveTo>
                    <a:pt x="271" y="231"/>
                  </a:moveTo>
                  <a:cubicBezTo>
                    <a:pt x="271" y="226"/>
                    <a:pt x="267" y="223"/>
                    <a:pt x="263" y="223"/>
                  </a:cubicBezTo>
                  <a:cubicBezTo>
                    <a:pt x="242" y="223"/>
                    <a:pt x="242" y="223"/>
                    <a:pt x="242" y="223"/>
                  </a:cubicBezTo>
                  <a:cubicBezTo>
                    <a:pt x="237" y="223"/>
                    <a:pt x="234" y="226"/>
                    <a:pt x="234" y="231"/>
                  </a:cubicBezTo>
                  <a:cubicBezTo>
                    <a:pt x="234" y="252"/>
                    <a:pt x="234" y="252"/>
                    <a:pt x="234" y="252"/>
                  </a:cubicBezTo>
                  <a:cubicBezTo>
                    <a:pt x="234" y="256"/>
                    <a:pt x="237" y="260"/>
                    <a:pt x="242" y="260"/>
                  </a:cubicBezTo>
                  <a:cubicBezTo>
                    <a:pt x="263" y="260"/>
                    <a:pt x="263" y="260"/>
                    <a:pt x="263" y="260"/>
                  </a:cubicBezTo>
                  <a:cubicBezTo>
                    <a:pt x="267" y="260"/>
                    <a:pt x="271" y="256"/>
                    <a:pt x="271" y="252"/>
                  </a:cubicBezTo>
                  <a:lnTo>
                    <a:pt x="271" y="231"/>
                  </a:lnTo>
                  <a:close/>
                  <a:moveTo>
                    <a:pt x="263" y="273"/>
                  </a:moveTo>
                  <a:cubicBezTo>
                    <a:pt x="242" y="273"/>
                    <a:pt x="242" y="273"/>
                    <a:pt x="242" y="273"/>
                  </a:cubicBezTo>
                  <a:cubicBezTo>
                    <a:pt x="237" y="273"/>
                    <a:pt x="234" y="276"/>
                    <a:pt x="234" y="281"/>
                  </a:cubicBezTo>
                  <a:cubicBezTo>
                    <a:pt x="234" y="302"/>
                    <a:pt x="234" y="302"/>
                    <a:pt x="234" y="302"/>
                  </a:cubicBezTo>
                  <a:cubicBezTo>
                    <a:pt x="234" y="306"/>
                    <a:pt x="237" y="310"/>
                    <a:pt x="242" y="310"/>
                  </a:cubicBezTo>
                  <a:cubicBezTo>
                    <a:pt x="263" y="310"/>
                    <a:pt x="263" y="310"/>
                    <a:pt x="263" y="310"/>
                  </a:cubicBezTo>
                  <a:cubicBezTo>
                    <a:pt x="267" y="310"/>
                    <a:pt x="271" y="306"/>
                    <a:pt x="271" y="302"/>
                  </a:cubicBezTo>
                  <a:cubicBezTo>
                    <a:pt x="271" y="281"/>
                    <a:pt x="271" y="281"/>
                    <a:pt x="271" y="281"/>
                  </a:cubicBezTo>
                  <a:cubicBezTo>
                    <a:pt x="271" y="276"/>
                    <a:pt x="267" y="273"/>
                    <a:pt x="263" y="273"/>
                  </a:cubicBezTo>
                  <a:close/>
                  <a:moveTo>
                    <a:pt x="293" y="138"/>
                  </a:moveTo>
                  <a:cubicBezTo>
                    <a:pt x="289" y="138"/>
                    <a:pt x="285" y="142"/>
                    <a:pt x="285" y="146"/>
                  </a:cubicBezTo>
                  <a:cubicBezTo>
                    <a:pt x="285" y="396"/>
                    <a:pt x="285" y="396"/>
                    <a:pt x="285" y="396"/>
                  </a:cubicBezTo>
                  <a:cubicBezTo>
                    <a:pt x="182" y="396"/>
                    <a:pt x="182" y="396"/>
                    <a:pt x="182" y="396"/>
                  </a:cubicBezTo>
                  <a:cubicBezTo>
                    <a:pt x="182" y="354"/>
                    <a:pt x="182" y="354"/>
                    <a:pt x="182" y="354"/>
                  </a:cubicBezTo>
                  <a:cubicBezTo>
                    <a:pt x="182" y="349"/>
                    <a:pt x="178" y="346"/>
                    <a:pt x="174" y="346"/>
                  </a:cubicBezTo>
                  <a:cubicBezTo>
                    <a:pt x="127" y="346"/>
                    <a:pt x="127" y="346"/>
                    <a:pt x="127" y="346"/>
                  </a:cubicBezTo>
                  <a:cubicBezTo>
                    <a:pt x="123" y="346"/>
                    <a:pt x="119" y="349"/>
                    <a:pt x="119" y="354"/>
                  </a:cubicBezTo>
                  <a:cubicBezTo>
                    <a:pt x="119" y="396"/>
                    <a:pt x="119" y="396"/>
                    <a:pt x="119" y="396"/>
                  </a:cubicBezTo>
                  <a:cubicBezTo>
                    <a:pt x="16" y="396"/>
                    <a:pt x="16" y="396"/>
                    <a:pt x="16" y="396"/>
                  </a:cubicBezTo>
                  <a:cubicBezTo>
                    <a:pt x="16" y="16"/>
                    <a:pt x="16" y="16"/>
                    <a:pt x="16" y="16"/>
                  </a:cubicBezTo>
                  <a:cubicBezTo>
                    <a:pt x="185" y="16"/>
                    <a:pt x="185" y="16"/>
                    <a:pt x="185" y="16"/>
                  </a:cubicBezTo>
                  <a:cubicBezTo>
                    <a:pt x="185" y="102"/>
                    <a:pt x="185" y="102"/>
                    <a:pt x="185" y="102"/>
                  </a:cubicBezTo>
                  <a:cubicBezTo>
                    <a:pt x="185" y="104"/>
                    <a:pt x="186" y="106"/>
                    <a:pt x="187" y="108"/>
                  </a:cubicBezTo>
                  <a:cubicBezTo>
                    <a:pt x="189" y="109"/>
                    <a:pt x="191" y="110"/>
                    <a:pt x="193" y="110"/>
                  </a:cubicBezTo>
                  <a:cubicBezTo>
                    <a:pt x="285" y="110"/>
                    <a:pt x="285" y="110"/>
                    <a:pt x="285" y="110"/>
                  </a:cubicBezTo>
                  <a:cubicBezTo>
                    <a:pt x="285" y="123"/>
                    <a:pt x="285" y="123"/>
                    <a:pt x="285" y="123"/>
                  </a:cubicBezTo>
                  <a:cubicBezTo>
                    <a:pt x="285" y="127"/>
                    <a:pt x="289" y="131"/>
                    <a:pt x="293" y="131"/>
                  </a:cubicBezTo>
                  <a:cubicBezTo>
                    <a:pt x="298" y="131"/>
                    <a:pt x="301" y="127"/>
                    <a:pt x="301" y="123"/>
                  </a:cubicBezTo>
                  <a:cubicBezTo>
                    <a:pt x="301" y="123"/>
                    <a:pt x="301" y="123"/>
                    <a:pt x="301" y="123"/>
                  </a:cubicBezTo>
                  <a:cubicBezTo>
                    <a:pt x="301" y="110"/>
                    <a:pt x="301" y="110"/>
                    <a:pt x="301" y="110"/>
                  </a:cubicBezTo>
                  <a:cubicBezTo>
                    <a:pt x="301" y="101"/>
                    <a:pt x="294" y="94"/>
                    <a:pt x="285" y="94"/>
                  </a:cubicBezTo>
                  <a:cubicBezTo>
                    <a:pt x="201" y="94"/>
                    <a:pt x="201" y="94"/>
                    <a:pt x="201" y="94"/>
                  </a:cubicBezTo>
                  <a:cubicBezTo>
                    <a:pt x="201" y="16"/>
                    <a:pt x="201" y="16"/>
                    <a:pt x="201" y="16"/>
                  </a:cubicBezTo>
                  <a:cubicBezTo>
                    <a:pt x="201" y="7"/>
                    <a:pt x="194" y="0"/>
                    <a:pt x="185" y="0"/>
                  </a:cubicBezTo>
                  <a:cubicBezTo>
                    <a:pt x="16" y="0"/>
                    <a:pt x="16" y="0"/>
                    <a:pt x="16" y="0"/>
                  </a:cubicBezTo>
                  <a:cubicBezTo>
                    <a:pt x="7" y="0"/>
                    <a:pt x="0" y="7"/>
                    <a:pt x="0" y="16"/>
                  </a:cubicBezTo>
                  <a:cubicBezTo>
                    <a:pt x="0" y="396"/>
                    <a:pt x="0" y="396"/>
                    <a:pt x="0" y="396"/>
                  </a:cubicBezTo>
                  <a:cubicBezTo>
                    <a:pt x="0" y="405"/>
                    <a:pt x="7" y="412"/>
                    <a:pt x="16" y="412"/>
                  </a:cubicBezTo>
                  <a:cubicBezTo>
                    <a:pt x="285" y="412"/>
                    <a:pt x="285" y="412"/>
                    <a:pt x="285" y="412"/>
                  </a:cubicBezTo>
                  <a:cubicBezTo>
                    <a:pt x="294" y="412"/>
                    <a:pt x="301" y="405"/>
                    <a:pt x="301" y="396"/>
                  </a:cubicBezTo>
                  <a:cubicBezTo>
                    <a:pt x="301" y="146"/>
                    <a:pt x="301" y="146"/>
                    <a:pt x="301" y="146"/>
                  </a:cubicBezTo>
                  <a:cubicBezTo>
                    <a:pt x="301" y="142"/>
                    <a:pt x="298" y="138"/>
                    <a:pt x="293" y="138"/>
                  </a:cubicBezTo>
                  <a:close/>
                </a:path>
              </a:pathLst>
            </a:custGeom>
            <a:solidFill>
              <a:srgbClr val="87888A"/>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56712" tIns="278354" rIns="556712" bIns="278354"/>
            <a:lstStyle/>
            <a:p>
              <a:endParaRPr lang="en-US" sz="1400"/>
            </a:p>
          </p:txBody>
        </p:sp>
        <p:cxnSp>
          <p:nvCxnSpPr>
            <p:cNvPr id="37" name="Rak 81">
              <a:extLst>
                <a:ext uri="{FF2B5EF4-FFF2-40B4-BE49-F238E27FC236}">
                  <a16:creationId xmlns:a16="http://schemas.microsoft.com/office/drawing/2014/main" id="{44781AD0-A6BD-4BA4-8123-A19EAEAA4E1F}"/>
                </a:ext>
              </a:extLst>
            </p:cNvPr>
            <p:cNvCxnSpPr>
              <a:cxnSpLocks noChangeShapeType="1"/>
              <a:stCxn id="84" idx="3"/>
              <a:endCxn id="96" idx="2"/>
            </p:cNvCxnSpPr>
            <p:nvPr/>
          </p:nvCxnSpPr>
          <p:spPr bwMode="auto">
            <a:xfrm flipV="1">
              <a:off x="1989317" y="2198294"/>
              <a:ext cx="1485503" cy="149018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38" name="Rak 82">
              <a:extLst>
                <a:ext uri="{FF2B5EF4-FFF2-40B4-BE49-F238E27FC236}">
                  <a16:creationId xmlns:a16="http://schemas.microsoft.com/office/drawing/2014/main" id="{08505E19-DEBE-41B9-A0C2-782AED1D18D4}"/>
                </a:ext>
              </a:extLst>
            </p:cNvPr>
            <p:cNvCxnSpPr>
              <a:cxnSpLocks noChangeShapeType="1"/>
              <a:endCxn id="96" idx="1"/>
            </p:cNvCxnSpPr>
            <p:nvPr/>
          </p:nvCxnSpPr>
          <p:spPr bwMode="auto">
            <a:xfrm flipV="1">
              <a:off x="1644825" y="2003772"/>
              <a:ext cx="1686151" cy="264707"/>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grpSp>
          <p:nvGrpSpPr>
            <p:cNvPr id="39" name="Group 62">
              <a:extLst>
                <a:ext uri="{FF2B5EF4-FFF2-40B4-BE49-F238E27FC236}">
                  <a16:creationId xmlns:a16="http://schemas.microsoft.com/office/drawing/2014/main" id="{EDFA2D1E-0BD9-458B-B8FC-31ABE4BB34C4}"/>
                </a:ext>
              </a:extLst>
            </p:cNvPr>
            <p:cNvGrpSpPr>
              <a:grpSpLocks/>
            </p:cNvGrpSpPr>
            <p:nvPr/>
          </p:nvGrpSpPr>
          <p:grpSpPr bwMode="auto">
            <a:xfrm>
              <a:off x="3328307" y="1806748"/>
              <a:ext cx="293688" cy="395288"/>
              <a:chOff x="633" y="3229"/>
              <a:chExt cx="148" cy="212"/>
            </a:xfrm>
          </p:grpSpPr>
          <p:grpSp>
            <p:nvGrpSpPr>
              <p:cNvPr id="94" name="Group 63">
                <a:extLst>
                  <a:ext uri="{FF2B5EF4-FFF2-40B4-BE49-F238E27FC236}">
                    <a16:creationId xmlns:a16="http://schemas.microsoft.com/office/drawing/2014/main" id="{7FE2C1FD-4B37-4506-84DF-0B75DC1AC121}"/>
                  </a:ext>
                </a:extLst>
              </p:cNvPr>
              <p:cNvGrpSpPr>
                <a:grpSpLocks noChangeAspect="1"/>
              </p:cNvGrpSpPr>
              <p:nvPr/>
            </p:nvGrpSpPr>
            <p:grpSpPr bwMode="auto">
              <a:xfrm>
                <a:off x="633" y="3229"/>
                <a:ext cx="148" cy="212"/>
                <a:chOff x="329" y="3227"/>
                <a:chExt cx="441" cy="634"/>
              </a:xfrm>
            </p:grpSpPr>
            <p:sp>
              <p:nvSpPr>
                <p:cNvPr id="96" name="AutoShape 64">
                  <a:extLst>
                    <a:ext uri="{FF2B5EF4-FFF2-40B4-BE49-F238E27FC236}">
                      <a16:creationId xmlns:a16="http://schemas.microsoft.com/office/drawing/2014/main" id="{32D07651-7735-4C1F-AFD0-7D9B5F18A1A2}"/>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97" name="Group 65">
                  <a:extLst>
                    <a:ext uri="{FF2B5EF4-FFF2-40B4-BE49-F238E27FC236}">
                      <a16:creationId xmlns:a16="http://schemas.microsoft.com/office/drawing/2014/main" id="{380C0848-9CEE-4469-8924-412AF375EC5B}"/>
                    </a:ext>
                  </a:extLst>
                </p:cNvPr>
                <p:cNvGrpSpPr>
                  <a:grpSpLocks noChangeAspect="1"/>
                </p:cNvGrpSpPr>
                <p:nvPr/>
              </p:nvGrpSpPr>
              <p:grpSpPr bwMode="auto">
                <a:xfrm>
                  <a:off x="329" y="3227"/>
                  <a:ext cx="441" cy="634"/>
                  <a:chOff x="414" y="3039"/>
                  <a:chExt cx="441" cy="634"/>
                </a:xfrm>
              </p:grpSpPr>
              <p:sp>
                <p:nvSpPr>
                  <p:cNvPr id="98" name="AutoShape 66">
                    <a:extLst>
                      <a:ext uri="{FF2B5EF4-FFF2-40B4-BE49-F238E27FC236}">
                        <a16:creationId xmlns:a16="http://schemas.microsoft.com/office/drawing/2014/main" id="{A9E2BAFC-C651-4851-9979-FDF749D32BF9}"/>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99" name="Freeform 67">
                    <a:extLst>
                      <a:ext uri="{FF2B5EF4-FFF2-40B4-BE49-F238E27FC236}">
                        <a16:creationId xmlns:a16="http://schemas.microsoft.com/office/drawing/2014/main" id="{C6A198DF-45A9-4214-A3A5-35EB71E0DC81}"/>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95" name="Text Box 68">
                <a:extLst>
                  <a:ext uri="{FF2B5EF4-FFF2-40B4-BE49-F238E27FC236}">
                    <a16:creationId xmlns:a16="http://schemas.microsoft.com/office/drawing/2014/main" id="{B6BC180E-69D4-495D-85E8-1B4528A2F3EC}"/>
                  </a:ext>
                </a:extLst>
              </p:cNvPr>
              <p:cNvSpPr txBox="1">
                <a:spLocks noChangeArrowheads="1"/>
              </p:cNvSpPr>
              <p:nvPr/>
            </p:nvSpPr>
            <p:spPr bwMode="auto">
              <a:xfrm>
                <a:off x="645" y="3276"/>
                <a:ext cx="12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err="1"/>
                  <a:t>Cb</a:t>
                </a:r>
                <a:endParaRPr lang="en-US" altLang="en-US" sz="1050"/>
              </a:p>
            </p:txBody>
          </p:sp>
        </p:grpSp>
        <p:grpSp>
          <p:nvGrpSpPr>
            <p:cNvPr id="40" name="Group 62">
              <a:extLst>
                <a:ext uri="{FF2B5EF4-FFF2-40B4-BE49-F238E27FC236}">
                  <a16:creationId xmlns:a16="http://schemas.microsoft.com/office/drawing/2014/main" id="{BB69DB56-E056-4DFA-8CB8-9A7A80BA33BF}"/>
                </a:ext>
              </a:extLst>
            </p:cNvPr>
            <p:cNvGrpSpPr>
              <a:grpSpLocks/>
            </p:cNvGrpSpPr>
            <p:nvPr/>
          </p:nvGrpSpPr>
          <p:grpSpPr bwMode="auto">
            <a:xfrm>
              <a:off x="1352987" y="3438803"/>
              <a:ext cx="293688" cy="395288"/>
              <a:chOff x="633" y="3229"/>
              <a:chExt cx="148" cy="212"/>
            </a:xfrm>
          </p:grpSpPr>
          <p:grpSp>
            <p:nvGrpSpPr>
              <p:cNvPr id="88" name="Group 63">
                <a:extLst>
                  <a:ext uri="{FF2B5EF4-FFF2-40B4-BE49-F238E27FC236}">
                    <a16:creationId xmlns:a16="http://schemas.microsoft.com/office/drawing/2014/main" id="{9CF02995-8672-45F4-A2D1-F00E1A1E3E73}"/>
                  </a:ext>
                </a:extLst>
              </p:cNvPr>
              <p:cNvGrpSpPr>
                <a:grpSpLocks noChangeAspect="1"/>
              </p:cNvGrpSpPr>
              <p:nvPr/>
            </p:nvGrpSpPr>
            <p:grpSpPr bwMode="auto">
              <a:xfrm>
                <a:off x="633" y="3229"/>
                <a:ext cx="148" cy="212"/>
                <a:chOff x="329" y="3227"/>
                <a:chExt cx="441" cy="634"/>
              </a:xfrm>
            </p:grpSpPr>
            <p:sp>
              <p:nvSpPr>
                <p:cNvPr id="90" name="AutoShape 64">
                  <a:extLst>
                    <a:ext uri="{FF2B5EF4-FFF2-40B4-BE49-F238E27FC236}">
                      <a16:creationId xmlns:a16="http://schemas.microsoft.com/office/drawing/2014/main" id="{37DE9FCF-2E93-4B36-8CE9-E9E96F7EC495}"/>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00"/>
                </a:p>
              </p:txBody>
            </p:sp>
            <p:grpSp>
              <p:nvGrpSpPr>
                <p:cNvPr id="91" name="Group 65">
                  <a:extLst>
                    <a:ext uri="{FF2B5EF4-FFF2-40B4-BE49-F238E27FC236}">
                      <a16:creationId xmlns:a16="http://schemas.microsoft.com/office/drawing/2014/main" id="{B2D580FF-681F-474E-83F7-65F38EB12A44}"/>
                    </a:ext>
                  </a:extLst>
                </p:cNvPr>
                <p:cNvGrpSpPr>
                  <a:grpSpLocks noChangeAspect="1"/>
                </p:cNvGrpSpPr>
                <p:nvPr/>
              </p:nvGrpSpPr>
              <p:grpSpPr bwMode="auto">
                <a:xfrm>
                  <a:off x="329" y="3227"/>
                  <a:ext cx="441" cy="634"/>
                  <a:chOff x="414" y="3039"/>
                  <a:chExt cx="441" cy="634"/>
                </a:xfrm>
              </p:grpSpPr>
              <p:sp>
                <p:nvSpPr>
                  <p:cNvPr id="92" name="AutoShape 66">
                    <a:extLst>
                      <a:ext uri="{FF2B5EF4-FFF2-40B4-BE49-F238E27FC236}">
                        <a16:creationId xmlns:a16="http://schemas.microsoft.com/office/drawing/2014/main" id="{1D5AB1EE-1052-4F49-BAAC-46B6535D3193}"/>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789" tIns="208780" rIns="328789" bIns="208780" anchor="ctr"/>
                  <a:lstStyle>
                    <a:lvl1pPr defTabSz="5567363" eaLnBrk="0" hangingPunct="0">
                      <a:defRPr sz="2000">
                        <a:solidFill>
                          <a:schemeClr val="tx1"/>
                        </a:solidFill>
                        <a:latin typeface="Arial" pitchFamily="34" charset="0"/>
                        <a:cs typeface="Arial" pitchFamily="34" charset="0"/>
                      </a:defRPr>
                    </a:lvl1pPr>
                    <a:lvl2pPr marL="742950" indent="-285750" defTabSz="5567363" eaLnBrk="0" hangingPunct="0">
                      <a:defRPr sz="2000">
                        <a:solidFill>
                          <a:schemeClr val="tx1"/>
                        </a:solidFill>
                        <a:latin typeface="Arial" pitchFamily="34" charset="0"/>
                        <a:cs typeface="Arial" pitchFamily="34" charset="0"/>
                      </a:defRPr>
                    </a:lvl2pPr>
                    <a:lvl3pPr marL="1143000" indent="-228600" defTabSz="5567363" eaLnBrk="0" hangingPunct="0">
                      <a:defRPr sz="2000">
                        <a:solidFill>
                          <a:schemeClr val="tx1"/>
                        </a:solidFill>
                        <a:latin typeface="Arial" pitchFamily="34" charset="0"/>
                        <a:cs typeface="Arial" pitchFamily="34" charset="0"/>
                      </a:defRPr>
                    </a:lvl3pPr>
                    <a:lvl4pPr marL="1600200" indent="-228600" defTabSz="5567363" eaLnBrk="0" hangingPunct="0">
                      <a:defRPr sz="2000">
                        <a:solidFill>
                          <a:schemeClr val="tx1"/>
                        </a:solidFill>
                        <a:latin typeface="Arial" pitchFamily="34" charset="0"/>
                        <a:cs typeface="Arial" pitchFamily="34" charset="0"/>
                      </a:defRPr>
                    </a:lvl4pPr>
                    <a:lvl5pPr marL="2057400" indent="-228600" defTabSz="5567363" eaLnBrk="0" hangingPunct="0">
                      <a:defRPr sz="2000">
                        <a:solidFill>
                          <a:schemeClr val="tx1"/>
                        </a:solidFill>
                        <a:latin typeface="Arial" pitchFamily="34" charset="0"/>
                        <a:cs typeface="Arial" pitchFamily="34" charset="0"/>
                      </a:defRPr>
                    </a:lvl5pPr>
                    <a:lvl6pPr marL="2514600" indent="-228600" defTabSz="556736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556736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556736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5567363"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300" b="1">
                      <a:solidFill>
                        <a:schemeClr val="bg1"/>
                      </a:solidFill>
                    </a:endParaRPr>
                  </a:p>
                </p:txBody>
              </p:sp>
              <p:sp>
                <p:nvSpPr>
                  <p:cNvPr id="93" name="Freeform 67">
                    <a:extLst>
                      <a:ext uri="{FF2B5EF4-FFF2-40B4-BE49-F238E27FC236}">
                        <a16:creationId xmlns:a16="http://schemas.microsoft.com/office/drawing/2014/main" id="{1F30FD01-3FB0-4EA2-9496-F4FAC8BFE97B}"/>
                      </a:ext>
                    </a:extLst>
                  </p:cNvPr>
                  <p:cNvSpPr>
                    <a:spLocks noChangeAspect="1"/>
                  </p:cNvSpPr>
                  <p:nvPr/>
                </p:nvSpPr>
                <p:spPr bwMode="auto">
                  <a:xfrm>
                    <a:off x="414" y="3039"/>
                    <a:ext cx="441" cy="634"/>
                  </a:xfrm>
                  <a:custGeom>
                    <a:avLst/>
                    <a:gdLst>
                      <a:gd name="T0" fmla="*/ 2 w 545"/>
                      <a:gd name="T1" fmla="*/ 1 h 1140"/>
                      <a:gd name="T2" fmla="*/ 0 w 545"/>
                      <a:gd name="T3" fmla="*/ 1 h 1140"/>
                      <a:gd name="T4" fmla="*/ 0 w 545"/>
                      <a:gd name="T5" fmla="*/ 1 h 1140"/>
                      <a:gd name="T6" fmla="*/ 0 w 545"/>
                      <a:gd name="T7" fmla="*/ 1 h 1140"/>
                      <a:gd name="T8" fmla="*/ 2 w 545"/>
                      <a:gd name="T9" fmla="*/ 0 h 1140"/>
                      <a:gd name="T10" fmla="*/ 2 w 545"/>
                      <a:gd name="T11" fmla="*/ 0 h 1140"/>
                      <a:gd name="T12" fmla="*/ 40 w 545"/>
                      <a:gd name="T13" fmla="*/ 0 h 1140"/>
                      <a:gd name="T14" fmla="*/ 43 w 545"/>
                      <a:gd name="T15" fmla="*/ 1 h 1140"/>
                      <a:gd name="T16" fmla="*/ 43 w 545"/>
                      <a:gd name="T17" fmla="*/ 1 h 1140"/>
                      <a:gd name="T18" fmla="*/ 43 w 545"/>
                      <a:gd name="T19" fmla="*/ 1 h 1140"/>
                      <a:gd name="T20" fmla="*/ 43 w 545"/>
                      <a:gd name="T21" fmla="*/ 1 h 1140"/>
                      <a:gd name="T22" fmla="*/ 43 w 545"/>
                      <a:gd name="T23" fmla="*/ 1 h 1140"/>
                      <a:gd name="T24" fmla="*/ 42 w 545"/>
                      <a:gd name="T25" fmla="*/ 1 h 1140"/>
                      <a:gd name="T26" fmla="*/ 42 w 545"/>
                      <a:gd name="T27" fmla="*/ 1 h 1140"/>
                      <a:gd name="T28" fmla="*/ 42 w 545"/>
                      <a:gd name="T29" fmla="*/ 1 h 1140"/>
                      <a:gd name="T30" fmla="*/ 40 w 545"/>
                      <a:gd name="T31" fmla="*/ 1 h 1140"/>
                      <a:gd name="T32" fmla="*/ 40 w 545"/>
                      <a:gd name="T33" fmla="*/ 1 h 1140"/>
                      <a:gd name="T34" fmla="*/ 2 w 545"/>
                      <a:gd name="T35" fmla="*/ 1 h 1140"/>
                      <a:gd name="T36" fmla="*/ 2 w 545"/>
                      <a:gd name="T37" fmla="*/ 1 h 1140"/>
                      <a:gd name="T38" fmla="*/ 2 w 545"/>
                      <a:gd name="T39" fmla="*/ 1 h 1140"/>
                      <a:gd name="T40" fmla="*/ 2 w 545"/>
                      <a:gd name="T41" fmla="*/ 1 h 1140"/>
                      <a:gd name="T42" fmla="*/ 2 w 545"/>
                      <a:gd name="T43" fmla="*/ 1 h 1140"/>
                      <a:gd name="T44" fmla="*/ 2 w 545"/>
                      <a:gd name="T45" fmla="*/ 1 h 1140"/>
                      <a:gd name="T46" fmla="*/ 40 w 545"/>
                      <a:gd name="T47" fmla="*/ 1 h 1140"/>
                      <a:gd name="T48" fmla="*/ 42 w 545"/>
                      <a:gd name="T49" fmla="*/ 1 h 1140"/>
                      <a:gd name="T50" fmla="*/ 42 w 545"/>
                      <a:gd name="T51" fmla="*/ 1 h 1140"/>
                      <a:gd name="T52" fmla="*/ 42 w 545"/>
                      <a:gd name="T53" fmla="*/ 1 h 1140"/>
                      <a:gd name="T54" fmla="*/ 43 w 545"/>
                      <a:gd name="T55" fmla="*/ 1 h 1140"/>
                      <a:gd name="T56" fmla="*/ 43 w 545"/>
                      <a:gd name="T57" fmla="*/ 1 h 1140"/>
                      <a:gd name="T58" fmla="*/ 43 w 545"/>
                      <a:gd name="T59" fmla="*/ 1 h 1140"/>
                      <a:gd name="T60" fmla="*/ 43 w 545"/>
                      <a:gd name="T61" fmla="*/ 1 h 1140"/>
                      <a:gd name="T62" fmla="*/ 43 w 545"/>
                      <a:gd name="T63" fmla="*/ 1 h 1140"/>
                      <a:gd name="T64" fmla="*/ 40 w 545"/>
                      <a:gd name="T65" fmla="*/ 1 h 1140"/>
                      <a:gd name="T66" fmla="*/ 40 w 545"/>
                      <a:gd name="T67" fmla="*/ 1 h 1140"/>
                      <a:gd name="T68" fmla="*/ 2 w 545"/>
                      <a:gd name="T69" fmla="*/ 1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89" name="Text Box 68">
                <a:extLst>
                  <a:ext uri="{FF2B5EF4-FFF2-40B4-BE49-F238E27FC236}">
                    <a16:creationId xmlns:a16="http://schemas.microsoft.com/office/drawing/2014/main" id="{C18C3696-92BB-4B65-A947-57E6BAD76D7A}"/>
                  </a:ext>
                </a:extLst>
              </p:cNvPr>
              <p:cNvSpPr txBox="1">
                <a:spLocks noChangeArrowheads="1"/>
              </p:cNvSpPr>
              <p:nvPr/>
            </p:nvSpPr>
            <p:spPr bwMode="auto">
              <a:xfrm>
                <a:off x="645" y="3276"/>
                <a:ext cx="12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6713" eaLnBrk="0" hangingPunct="0">
                  <a:defRPr sz="2000">
                    <a:solidFill>
                      <a:schemeClr val="tx1"/>
                    </a:solidFill>
                    <a:latin typeface="Arial" pitchFamily="34" charset="0"/>
                    <a:cs typeface="Arial" pitchFamily="34" charset="0"/>
                  </a:defRPr>
                </a:lvl1pPr>
                <a:lvl2pPr marL="742950" indent="-285750" defTabSz="4176713" eaLnBrk="0" hangingPunct="0">
                  <a:defRPr sz="2000">
                    <a:solidFill>
                      <a:schemeClr val="tx1"/>
                    </a:solidFill>
                    <a:latin typeface="Arial" pitchFamily="34" charset="0"/>
                    <a:cs typeface="Arial" pitchFamily="34" charset="0"/>
                  </a:defRPr>
                </a:lvl2pPr>
                <a:lvl3pPr marL="1143000" indent="-228600" defTabSz="4176713" eaLnBrk="0" hangingPunct="0">
                  <a:defRPr sz="2000">
                    <a:solidFill>
                      <a:schemeClr val="tx1"/>
                    </a:solidFill>
                    <a:latin typeface="Arial" pitchFamily="34" charset="0"/>
                    <a:cs typeface="Arial" pitchFamily="34" charset="0"/>
                  </a:defRPr>
                </a:lvl3pPr>
                <a:lvl4pPr marL="1600200" indent="-228600" defTabSz="4176713" eaLnBrk="0" hangingPunct="0">
                  <a:defRPr sz="2000">
                    <a:solidFill>
                      <a:schemeClr val="tx1"/>
                    </a:solidFill>
                    <a:latin typeface="Arial" pitchFamily="34" charset="0"/>
                    <a:cs typeface="Arial" pitchFamily="34" charset="0"/>
                  </a:defRPr>
                </a:lvl4pPr>
                <a:lvl5pPr marL="2057400" indent="-228600" defTabSz="4176713" eaLnBrk="0" hangingPunct="0">
                  <a:defRPr sz="2000">
                    <a:solidFill>
                      <a:schemeClr val="tx1"/>
                    </a:solidFill>
                    <a:latin typeface="Arial" pitchFamily="34" charset="0"/>
                    <a:cs typeface="Arial" pitchFamily="34" charset="0"/>
                  </a:defRPr>
                </a:lvl5pPr>
                <a:lvl6pPr marL="2514600" indent="-228600" defTabSz="4176713"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4176713"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4176713"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4176713"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n-US" altLang="en-US" sz="1050"/>
                  <a:t>AS</a:t>
                </a:r>
              </a:p>
            </p:txBody>
          </p:sp>
        </p:grpSp>
        <p:grpSp>
          <p:nvGrpSpPr>
            <p:cNvPr id="41" name="Group 334">
              <a:extLst>
                <a:ext uri="{FF2B5EF4-FFF2-40B4-BE49-F238E27FC236}">
                  <a16:creationId xmlns:a16="http://schemas.microsoft.com/office/drawing/2014/main" id="{7CA86F59-1099-4CAF-980A-ADEE492A200F}"/>
                </a:ext>
              </a:extLst>
            </p:cNvPr>
            <p:cNvGrpSpPr>
              <a:grpSpLocks/>
            </p:cNvGrpSpPr>
            <p:nvPr/>
          </p:nvGrpSpPr>
          <p:grpSpPr bwMode="auto">
            <a:xfrm>
              <a:off x="1678556" y="3520736"/>
              <a:ext cx="314325" cy="336550"/>
              <a:chOff x="633" y="3229"/>
              <a:chExt cx="148" cy="212"/>
            </a:xfrm>
          </p:grpSpPr>
          <p:grpSp>
            <p:nvGrpSpPr>
              <p:cNvPr id="82" name="Group 335">
                <a:extLst>
                  <a:ext uri="{FF2B5EF4-FFF2-40B4-BE49-F238E27FC236}">
                    <a16:creationId xmlns:a16="http://schemas.microsoft.com/office/drawing/2014/main" id="{2F5CF1EB-D9FE-4610-A5E5-B38D034C92EA}"/>
                  </a:ext>
                </a:extLst>
              </p:cNvPr>
              <p:cNvGrpSpPr>
                <a:grpSpLocks noChangeAspect="1"/>
              </p:cNvGrpSpPr>
              <p:nvPr/>
            </p:nvGrpSpPr>
            <p:grpSpPr bwMode="auto">
              <a:xfrm>
                <a:off x="633" y="3229"/>
                <a:ext cx="148" cy="212"/>
                <a:chOff x="329" y="3227"/>
                <a:chExt cx="441" cy="634"/>
              </a:xfrm>
            </p:grpSpPr>
            <p:sp>
              <p:nvSpPr>
                <p:cNvPr id="84" name="AutoShape 336">
                  <a:extLst>
                    <a:ext uri="{FF2B5EF4-FFF2-40B4-BE49-F238E27FC236}">
                      <a16:creationId xmlns:a16="http://schemas.microsoft.com/office/drawing/2014/main" id="{AC499A39-96E9-45D0-AD79-A54E23A3ED8B}"/>
                    </a:ext>
                  </a:extLst>
                </p:cNvPr>
                <p:cNvSpPr>
                  <a:spLocks noChangeAspect="1" noChangeArrowheads="1"/>
                </p:cNvSpPr>
                <p:nvPr/>
              </p:nvSpPr>
              <p:spPr bwMode="auto">
                <a:xfrm>
                  <a:off x="333" y="3231"/>
                  <a:ext cx="432" cy="624"/>
                </a:xfrm>
                <a:prstGeom prst="roundRect">
                  <a:avLst>
                    <a:gd name="adj" fmla="val 4630"/>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sz="1400"/>
                </a:p>
              </p:txBody>
            </p:sp>
            <p:grpSp>
              <p:nvGrpSpPr>
                <p:cNvPr id="85" name="Group 337">
                  <a:extLst>
                    <a:ext uri="{FF2B5EF4-FFF2-40B4-BE49-F238E27FC236}">
                      <a16:creationId xmlns:a16="http://schemas.microsoft.com/office/drawing/2014/main" id="{9CC603B1-EAD2-401C-9C99-D77B53796E0D}"/>
                    </a:ext>
                  </a:extLst>
                </p:cNvPr>
                <p:cNvGrpSpPr>
                  <a:grpSpLocks noChangeAspect="1"/>
                </p:cNvGrpSpPr>
                <p:nvPr/>
              </p:nvGrpSpPr>
              <p:grpSpPr bwMode="auto">
                <a:xfrm>
                  <a:off x="329" y="3227"/>
                  <a:ext cx="441" cy="634"/>
                  <a:chOff x="414" y="3039"/>
                  <a:chExt cx="441" cy="634"/>
                </a:xfrm>
              </p:grpSpPr>
              <p:sp>
                <p:nvSpPr>
                  <p:cNvPr id="86" name="AutoShape 338">
                    <a:extLst>
                      <a:ext uri="{FF2B5EF4-FFF2-40B4-BE49-F238E27FC236}">
                        <a16:creationId xmlns:a16="http://schemas.microsoft.com/office/drawing/2014/main" id="{F61C221D-2F25-4191-9951-6DB30E76B1F8}"/>
                      </a:ext>
                    </a:extLst>
                  </p:cNvPr>
                  <p:cNvSpPr>
                    <a:spLocks noChangeAspect="1" noChangeArrowheads="1"/>
                  </p:cNvSpPr>
                  <p:nvPr/>
                </p:nvSpPr>
                <p:spPr bwMode="auto">
                  <a:xfrm>
                    <a:off x="414" y="3540"/>
                    <a:ext cx="432" cy="133"/>
                  </a:xfrm>
                  <a:prstGeom prst="roundRect">
                    <a:avLst>
                      <a:gd name="adj" fmla="val 12380"/>
                    </a:avLst>
                  </a:prstGeom>
                  <a:gradFill rotWithShape="0">
                    <a:gsLst>
                      <a:gs pos="0">
                        <a:srgbClr val="5F5F5F"/>
                      </a:gs>
                      <a:gs pos="100000">
                        <a:srgbClr val="B2B2B2"/>
                      </a:gs>
                    </a:gsLst>
                    <a:lin ang="2700000" scaled="1"/>
                  </a:gra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28276" tIns="208451" rIns="328276" bIns="208451" anchor="ctr"/>
                  <a:lstStyle/>
                  <a:p>
                    <a:pPr defTabSz="1087395"/>
                    <a:endParaRPr lang="en-US" sz="700" b="1">
                      <a:solidFill>
                        <a:schemeClr val="bg1"/>
                      </a:solidFill>
                    </a:endParaRPr>
                  </a:p>
                </p:txBody>
              </p:sp>
              <p:sp>
                <p:nvSpPr>
                  <p:cNvPr id="87" name="Freeform 339">
                    <a:extLst>
                      <a:ext uri="{FF2B5EF4-FFF2-40B4-BE49-F238E27FC236}">
                        <a16:creationId xmlns:a16="http://schemas.microsoft.com/office/drawing/2014/main" id="{501CEC64-12C2-4760-9E1F-6E14E298E18D}"/>
                      </a:ext>
                    </a:extLst>
                  </p:cNvPr>
                  <p:cNvSpPr>
                    <a:spLocks noChangeAspect="1"/>
                  </p:cNvSpPr>
                  <p:nvPr/>
                </p:nvSpPr>
                <p:spPr bwMode="auto">
                  <a:xfrm>
                    <a:off x="414" y="3039"/>
                    <a:ext cx="441" cy="634"/>
                  </a:xfrm>
                  <a:custGeom>
                    <a:avLst/>
                    <a:gdLst>
                      <a:gd name="T0" fmla="*/ 15 w 545"/>
                      <a:gd name="T1" fmla="*/ 196 h 1140"/>
                      <a:gd name="T2" fmla="*/ 0 w 545"/>
                      <a:gd name="T3" fmla="*/ 191 h 1140"/>
                      <a:gd name="T4" fmla="*/ 0 w 545"/>
                      <a:gd name="T5" fmla="*/ 191 h 1140"/>
                      <a:gd name="T6" fmla="*/ 0 w 545"/>
                      <a:gd name="T7" fmla="*/ 5 h 1140"/>
                      <a:gd name="T8" fmla="*/ 15 w 545"/>
                      <a:gd name="T9" fmla="*/ 0 h 1140"/>
                      <a:gd name="T10" fmla="*/ 15 w 545"/>
                      <a:gd name="T11" fmla="*/ 0 h 1140"/>
                      <a:gd name="T12" fmla="*/ 273 w 545"/>
                      <a:gd name="T13" fmla="*/ 0 h 1140"/>
                      <a:gd name="T14" fmla="*/ 289 w 545"/>
                      <a:gd name="T15" fmla="*/ 5 h 1140"/>
                      <a:gd name="T16" fmla="*/ 289 w 545"/>
                      <a:gd name="T17" fmla="*/ 5 h 1140"/>
                      <a:gd name="T18" fmla="*/ 289 w 545"/>
                      <a:gd name="T19" fmla="*/ 9 h 1140"/>
                      <a:gd name="T20" fmla="*/ 285 w 545"/>
                      <a:gd name="T21" fmla="*/ 11 h 1140"/>
                      <a:gd name="T22" fmla="*/ 285 w 545"/>
                      <a:gd name="T23" fmla="*/ 11 h 1140"/>
                      <a:gd name="T24" fmla="*/ 280 w 545"/>
                      <a:gd name="T25" fmla="*/ 9 h 1140"/>
                      <a:gd name="T26" fmla="*/ 280 w 545"/>
                      <a:gd name="T27" fmla="*/ 9 h 1140"/>
                      <a:gd name="T28" fmla="*/ 280 w 545"/>
                      <a:gd name="T29" fmla="*/ 5 h 1140"/>
                      <a:gd name="T30" fmla="*/ 273 w 545"/>
                      <a:gd name="T31" fmla="*/ 3 h 1140"/>
                      <a:gd name="T32" fmla="*/ 273 w 545"/>
                      <a:gd name="T33" fmla="*/ 3 h 1140"/>
                      <a:gd name="T34" fmla="*/ 15 w 545"/>
                      <a:gd name="T35" fmla="*/ 3 h 1140"/>
                      <a:gd name="T36" fmla="*/ 9 w 545"/>
                      <a:gd name="T37" fmla="*/ 5 h 1140"/>
                      <a:gd name="T38" fmla="*/ 9 w 545"/>
                      <a:gd name="T39" fmla="*/ 5 h 1140"/>
                      <a:gd name="T40" fmla="*/ 9 w 545"/>
                      <a:gd name="T41" fmla="*/ 191 h 1140"/>
                      <a:gd name="T42" fmla="*/ 15 w 545"/>
                      <a:gd name="T43" fmla="*/ 194 h 1140"/>
                      <a:gd name="T44" fmla="*/ 15 w 545"/>
                      <a:gd name="T45" fmla="*/ 194 h 1140"/>
                      <a:gd name="T46" fmla="*/ 273 w 545"/>
                      <a:gd name="T47" fmla="*/ 194 h 1140"/>
                      <a:gd name="T48" fmla="*/ 280 w 545"/>
                      <a:gd name="T49" fmla="*/ 191 h 1140"/>
                      <a:gd name="T50" fmla="*/ 280 w 545"/>
                      <a:gd name="T51" fmla="*/ 191 h 1140"/>
                      <a:gd name="T52" fmla="*/ 280 w 545"/>
                      <a:gd name="T53" fmla="*/ 14 h 1140"/>
                      <a:gd name="T54" fmla="*/ 285 w 545"/>
                      <a:gd name="T55" fmla="*/ 13 h 1140"/>
                      <a:gd name="T56" fmla="*/ 285 w 545"/>
                      <a:gd name="T57" fmla="*/ 13 h 1140"/>
                      <a:gd name="T58" fmla="*/ 289 w 545"/>
                      <a:gd name="T59" fmla="*/ 14 h 1140"/>
                      <a:gd name="T60" fmla="*/ 289 w 545"/>
                      <a:gd name="T61" fmla="*/ 14 h 1140"/>
                      <a:gd name="T62" fmla="*/ 289 w 545"/>
                      <a:gd name="T63" fmla="*/ 191 h 1140"/>
                      <a:gd name="T64" fmla="*/ 273 w 545"/>
                      <a:gd name="T65" fmla="*/ 196 h 1140"/>
                      <a:gd name="T66" fmla="*/ 273 w 545"/>
                      <a:gd name="T67" fmla="*/ 196 h 1140"/>
                      <a:gd name="T68" fmla="*/ 15 w 545"/>
                      <a:gd name="T69" fmla="*/ 196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gradFill rotWithShape="0">
                    <a:gsLst>
                      <a:gs pos="0">
                        <a:srgbClr val="5F5F5F"/>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grpSp>
          </p:grpSp>
          <p:sp>
            <p:nvSpPr>
              <p:cNvPr id="83" name="Text Box 340">
                <a:extLst>
                  <a:ext uri="{FF2B5EF4-FFF2-40B4-BE49-F238E27FC236}">
                    <a16:creationId xmlns:a16="http://schemas.microsoft.com/office/drawing/2014/main" id="{F1F133E3-9C89-4098-B05E-C583868FB562}"/>
                  </a:ext>
                </a:extLst>
              </p:cNvPr>
              <p:cNvSpPr txBox="1">
                <a:spLocks noChangeArrowheads="1"/>
              </p:cNvSpPr>
              <p:nvPr/>
            </p:nvSpPr>
            <p:spPr bwMode="auto">
              <a:xfrm>
                <a:off x="645" y="3276"/>
                <a:ext cx="121"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4173538" eaLnBrk="0" hangingPunct="0">
                  <a:defRPr sz="2000">
                    <a:solidFill>
                      <a:schemeClr val="tx1"/>
                    </a:solidFill>
                    <a:latin typeface="Arial" charset="0"/>
                    <a:cs typeface="Arial" charset="0"/>
                  </a:defRPr>
                </a:lvl1pPr>
                <a:lvl2pPr marL="742950" indent="-285750" defTabSz="4173538" eaLnBrk="0" hangingPunct="0">
                  <a:defRPr sz="2000">
                    <a:solidFill>
                      <a:schemeClr val="tx1"/>
                    </a:solidFill>
                    <a:latin typeface="Arial" charset="0"/>
                    <a:cs typeface="Arial" charset="0"/>
                  </a:defRPr>
                </a:lvl2pPr>
                <a:lvl3pPr marL="1143000" indent="-228600" defTabSz="4173538" eaLnBrk="0" hangingPunct="0">
                  <a:defRPr sz="2000">
                    <a:solidFill>
                      <a:schemeClr val="tx1"/>
                    </a:solidFill>
                    <a:latin typeface="Arial" charset="0"/>
                    <a:cs typeface="Arial" charset="0"/>
                  </a:defRPr>
                </a:lvl3pPr>
                <a:lvl4pPr marL="1600200" indent="-228600" defTabSz="4173538" eaLnBrk="0" hangingPunct="0">
                  <a:defRPr sz="2000">
                    <a:solidFill>
                      <a:schemeClr val="tx1"/>
                    </a:solidFill>
                    <a:latin typeface="Arial" charset="0"/>
                    <a:cs typeface="Arial" charset="0"/>
                  </a:defRPr>
                </a:lvl4pPr>
                <a:lvl5pPr marL="2057400" indent="-228600" defTabSz="4173538" eaLnBrk="0" hangingPunct="0">
                  <a:defRPr sz="2000">
                    <a:solidFill>
                      <a:schemeClr val="tx1"/>
                    </a:solidFill>
                    <a:latin typeface="Arial" charset="0"/>
                    <a:cs typeface="Arial" charset="0"/>
                  </a:defRPr>
                </a:lvl5pPr>
                <a:lvl6pPr marL="2514600" indent="-228600" defTabSz="4173538" eaLnBrk="0" fontAlgn="base" hangingPunct="0">
                  <a:spcBef>
                    <a:spcPct val="0"/>
                  </a:spcBef>
                  <a:spcAft>
                    <a:spcPct val="0"/>
                  </a:spcAft>
                  <a:defRPr sz="2000">
                    <a:solidFill>
                      <a:schemeClr val="tx1"/>
                    </a:solidFill>
                    <a:latin typeface="Arial" charset="0"/>
                    <a:cs typeface="Arial" charset="0"/>
                  </a:defRPr>
                </a:lvl6pPr>
                <a:lvl7pPr marL="2971800" indent="-228600" defTabSz="4173538" eaLnBrk="0" fontAlgn="base" hangingPunct="0">
                  <a:spcBef>
                    <a:spcPct val="0"/>
                  </a:spcBef>
                  <a:spcAft>
                    <a:spcPct val="0"/>
                  </a:spcAft>
                  <a:defRPr sz="2000">
                    <a:solidFill>
                      <a:schemeClr val="tx1"/>
                    </a:solidFill>
                    <a:latin typeface="Arial" charset="0"/>
                    <a:cs typeface="Arial" charset="0"/>
                  </a:defRPr>
                </a:lvl7pPr>
                <a:lvl8pPr marL="3429000" indent="-228600" defTabSz="4173538" eaLnBrk="0" fontAlgn="base" hangingPunct="0">
                  <a:spcBef>
                    <a:spcPct val="0"/>
                  </a:spcBef>
                  <a:spcAft>
                    <a:spcPct val="0"/>
                  </a:spcAft>
                  <a:defRPr sz="2000">
                    <a:solidFill>
                      <a:schemeClr val="tx1"/>
                    </a:solidFill>
                    <a:latin typeface="Arial" charset="0"/>
                    <a:cs typeface="Arial" charset="0"/>
                  </a:defRPr>
                </a:lvl8pPr>
                <a:lvl9pPr marL="3886200" indent="-228600" defTabSz="4173538"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pPr>
                <a:r>
                  <a:rPr lang="en-US" sz="1050"/>
                  <a:t>H</a:t>
                </a:r>
              </a:p>
            </p:txBody>
          </p:sp>
        </p:grpSp>
        <p:cxnSp>
          <p:nvCxnSpPr>
            <p:cNvPr id="42" name="Rak 81">
              <a:extLst>
                <a:ext uri="{FF2B5EF4-FFF2-40B4-BE49-F238E27FC236}">
                  <a16:creationId xmlns:a16="http://schemas.microsoft.com/office/drawing/2014/main" id="{A546B436-1A61-433A-91D1-E99117167EF5}"/>
                </a:ext>
              </a:extLst>
            </p:cNvPr>
            <p:cNvCxnSpPr>
              <a:cxnSpLocks noChangeShapeType="1"/>
              <a:stCxn id="96" idx="3"/>
            </p:cNvCxnSpPr>
            <p:nvPr/>
          </p:nvCxnSpPr>
          <p:spPr bwMode="auto">
            <a:xfrm>
              <a:off x="3618664" y="2003768"/>
              <a:ext cx="1022583" cy="8230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43" name="Line 18">
              <a:extLst>
                <a:ext uri="{FF2B5EF4-FFF2-40B4-BE49-F238E27FC236}">
                  <a16:creationId xmlns:a16="http://schemas.microsoft.com/office/drawing/2014/main" id="{02864546-FB9E-499B-803D-409C978F8D24}"/>
                </a:ext>
              </a:extLst>
            </p:cNvPr>
            <p:cNvSpPr>
              <a:spLocks noChangeShapeType="1"/>
            </p:cNvSpPr>
            <p:nvPr/>
          </p:nvSpPr>
          <p:spPr bwMode="auto">
            <a:xfrm flipH="1" flipV="1">
              <a:off x="9996850" y="1670810"/>
              <a:ext cx="654631" cy="53970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71995" tIns="45719" rIns="71995" bIns="45719"/>
            <a:lstStyle/>
            <a:p>
              <a:endParaRPr lang="en-US" sz="2000"/>
            </a:p>
          </p:txBody>
        </p:sp>
        <p:sp>
          <p:nvSpPr>
            <p:cNvPr id="44" name="Freeform 4">
              <a:extLst>
                <a:ext uri="{FF2B5EF4-FFF2-40B4-BE49-F238E27FC236}">
                  <a16:creationId xmlns:a16="http://schemas.microsoft.com/office/drawing/2014/main" id="{AC841B05-A8A3-45E8-A09D-7651DCFB87F8}"/>
                </a:ext>
              </a:extLst>
            </p:cNvPr>
            <p:cNvSpPr>
              <a:spLocks noChangeAspect="1" noEditPoints="1"/>
            </p:cNvSpPr>
            <p:nvPr/>
          </p:nvSpPr>
          <p:spPr bwMode="auto">
            <a:xfrm>
              <a:off x="9950807" y="1581907"/>
              <a:ext cx="404813" cy="404813"/>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2147483647 w 385"/>
                <a:gd name="T67" fmla="*/ 2147483647 h 385"/>
                <a:gd name="T68" fmla="*/ 2147483647 w 385"/>
                <a:gd name="T69" fmla="*/ 2147483647 h 385"/>
                <a:gd name="T70" fmla="*/ 2147483647 w 385"/>
                <a:gd name="T71" fmla="*/ 2147483647 h 385"/>
                <a:gd name="T72" fmla="*/ 2147483647 w 385"/>
                <a:gd name="T73" fmla="*/ 2147483647 h 385"/>
                <a:gd name="T74" fmla="*/ 2147483647 w 385"/>
                <a:gd name="T75" fmla="*/ 2147483647 h 385"/>
                <a:gd name="T76" fmla="*/ 2147483647 w 385"/>
                <a:gd name="T77" fmla="*/ 2147483647 h 385"/>
                <a:gd name="T78" fmla="*/ 2147483647 w 385"/>
                <a:gd name="T79" fmla="*/ 2147483647 h 385"/>
                <a:gd name="T80" fmla="*/ 2147483647 w 385"/>
                <a:gd name="T81" fmla="*/ 2147483647 h 385"/>
                <a:gd name="T82" fmla="*/ 2147483647 w 385"/>
                <a:gd name="T83" fmla="*/ 2147483647 h 385"/>
                <a:gd name="T84" fmla="*/ 2147483647 w 385"/>
                <a:gd name="T85" fmla="*/ 2147483647 h 385"/>
                <a:gd name="T86" fmla="*/ 2147483647 w 385"/>
                <a:gd name="T87" fmla="*/ 2147483647 h 385"/>
                <a:gd name="T88" fmla="*/ 2147483647 w 385"/>
                <a:gd name="T89" fmla="*/ 2147483647 h 385"/>
                <a:gd name="T90" fmla="*/ 2147483647 w 385"/>
                <a:gd name="T91" fmla="*/ 2147483647 h 385"/>
                <a:gd name="T92" fmla="*/ 2147483647 w 385"/>
                <a:gd name="T93" fmla="*/ 2147483647 h 385"/>
                <a:gd name="T94" fmla="*/ 2147483647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5"/>
                <a:gd name="T145" fmla="*/ 0 h 385"/>
                <a:gd name="T146" fmla="*/ 385 w 385"/>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5" h="385">
                  <a:moveTo>
                    <a:pt x="168" y="233"/>
                  </a:moveTo>
                  <a:cubicBezTo>
                    <a:pt x="168" y="233"/>
                    <a:pt x="168" y="233"/>
                    <a:pt x="168" y="233"/>
                  </a:cubicBezTo>
                  <a:cubicBezTo>
                    <a:pt x="168" y="234"/>
                    <a:pt x="168" y="233"/>
                    <a:pt x="168" y="234"/>
                  </a:cubicBezTo>
                  <a:lnTo>
                    <a:pt x="168" y="233"/>
                  </a:lnTo>
                  <a:close/>
                  <a:moveTo>
                    <a:pt x="286" y="135"/>
                  </a:moveTo>
                  <a:cubicBezTo>
                    <a:pt x="285" y="137"/>
                    <a:pt x="286" y="138"/>
                    <a:pt x="285" y="141"/>
                  </a:cubicBezTo>
                  <a:cubicBezTo>
                    <a:pt x="284" y="145"/>
                    <a:pt x="280" y="142"/>
                    <a:pt x="277" y="145"/>
                  </a:cubicBezTo>
                  <a:cubicBezTo>
                    <a:pt x="274" y="149"/>
                    <a:pt x="279" y="152"/>
                    <a:pt x="282" y="153"/>
                  </a:cubicBezTo>
                  <a:cubicBezTo>
                    <a:pt x="287" y="154"/>
                    <a:pt x="290" y="150"/>
                    <a:pt x="293" y="147"/>
                  </a:cubicBezTo>
                  <a:cubicBezTo>
                    <a:pt x="294" y="146"/>
                    <a:pt x="296" y="144"/>
                    <a:pt x="298" y="144"/>
                  </a:cubicBezTo>
                  <a:cubicBezTo>
                    <a:pt x="300" y="144"/>
                    <a:pt x="301" y="146"/>
                    <a:pt x="303" y="146"/>
                  </a:cubicBezTo>
                  <a:cubicBezTo>
                    <a:pt x="308" y="146"/>
                    <a:pt x="308" y="141"/>
                    <a:pt x="306" y="138"/>
                  </a:cubicBezTo>
                  <a:cubicBezTo>
                    <a:pt x="305" y="135"/>
                    <a:pt x="301" y="133"/>
                    <a:pt x="299" y="130"/>
                  </a:cubicBezTo>
                  <a:cubicBezTo>
                    <a:pt x="298" y="129"/>
                    <a:pt x="297" y="127"/>
                    <a:pt x="296" y="126"/>
                  </a:cubicBezTo>
                  <a:cubicBezTo>
                    <a:pt x="296" y="124"/>
                    <a:pt x="293" y="124"/>
                    <a:pt x="292" y="125"/>
                  </a:cubicBezTo>
                  <a:cubicBezTo>
                    <a:pt x="290" y="127"/>
                    <a:pt x="292" y="129"/>
                    <a:pt x="291" y="131"/>
                  </a:cubicBezTo>
                  <a:cubicBezTo>
                    <a:pt x="291" y="133"/>
                    <a:pt x="288" y="133"/>
                    <a:pt x="286" y="135"/>
                  </a:cubicBezTo>
                  <a:close/>
                  <a:moveTo>
                    <a:pt x="339" y="68"/>
                  </a:moveTo>
                  <a:cubicBezTo>
                    <a:pt x="336" y="64"/>
                    <a:pt x="331" y="64"/>
                    <a:pt x="327" y="67"/>
                  </a:cubicBezTo>
                  <a:cubicBezTo>
                    <a:pt x="324" y="70"/>
                    <a:pt x="323" y="75"/>
                    <a:pt x="326" y="78"/>
                  </a:cubicBezTo>
                  <a:cubicBezTo>
                    <a:pt x="328" y="79"/>
                    <a:pt x="329" y="81"/>
                    <a:pt x="330" y="82"/>
                  </a:cubicBezTo>
                  <a:cubicBezTo>
                    <a:pt x="320" y="87"/>
                    <a:pt x="315" y="97"/>
                    <a:pt x="314" y="98"/>
                  </a:cubicBezTo>
                  <a:cubicBezTo>
                    <a:pt x="310" y="103"/>
                    <a:pt x="311" y="111"/>
                    <a:pt x="311" y="117"/>
                  </a:cubicBezTo>
                  <a:cubicBezTo>
                    <a:pt x="312" y="122"/>
                    <a:pt x="313" y="129"/>
                    <a:pt x="317" y="133"/>
                  </a:cubicBezTo>
                  <a:cubicBezTo>
                    <a:pt x="322" y="139"/>
                    <a:pt x="326" y="151"/>
                    <a:pt x="318" y="157"/>
                  </a:cubicBezTo>
                  <a:cubicBezTo>
                    <a:pt x="309" y="162"/>
                    <a:pt x="306" y="147"/>
                    <a:pt x="298" y="153"/>
                  </a:cubicBezTo>
                  <a:cubicBezTo>
                    <a:pt x="294" y="156"/>
                    <a:pt x="292" y="159"/>
                    <a:pt x="289" y="163"/>
                  </a:cubicBezTo>
                  <a:cubicBezTo>
                    <a:pt x="286" y="167"/>
                    <a:pt x="286" y="168"/>
                    <a:pt x="290" y="171"/>
                  </a:cubicBezTo>
                  <a:cubicBezTo>
                    <a:pt x="302" y="177"/>
                    <a:pt x="283" y="180"/>
                    <a:pt x="283" y="186"/>
                  </a:cubicBezTo>
                  <a:cubicBezTo>
                    <a:pt x="281" y="196"/>
                    <a:pt x="299" y="185"/>
                    <a:pt x="301" y="184"/>
                  </a:cubicBezTo>
                  <a:cubicBezTo>
                    <a:pt x="311" y="176"/>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6" y="219"/>
                    <a:pt x="354" y="216"/>
                    <a:pt x="352" y="212"/>
                  </a:cubicBezTo>
                  <a:cubicBezTo>
                    <a:pt x="347" y="207"/>
                    <a:pt x="345" y="213"/>
                    <a:pt x="340" y="213"/>
                  </a:cubicBezTo>
                  <a:cubicBezTo>
                    <a:pt x="337" y="213"/>
                    <a:pt x="338" y="212"/>
                    <a:pt x="337" y="210"/>
                  </a:cubicBezTo>
                  <a:cubicBezTo>
                    <a:pt x="335" y="205"/>
                    <a:pt x="333" y="202"/>
                    <a:pt x="329" y="199"/>
                  </a:cubicBezTo>
                  <a:cubicBezTo>
                    <a:pt x="325" y="196"/>
                    <a:pt x="319" y="194"/>
                    <a:pt x="314" y="194"/>
                  </a:cubicBezTo>
                  <a:cubicBezTo>
                    <a:pt x="309" y="193"/>
                    <a:pt x="305" y="195"/>
                    <a:pt x="301" y="196"/>
                  </a:cubicBezTo>
                  <a:cubicBezTo>
                    <a:pt x="290" y="198"/>
                    <a:pt x="283" y="198"/>
                    <a:pt x="277" y="207"/>
                  </a:cubicBezTo>
                  <a:cubicBezTo>
                    <a:pt x="273" y="214"/>
                    <a:pt x="267" y="222"/>
                    <a:pt x="268" y="230"/>
                  </a:cubicBezTo>
                  <a:cubicBezTo>
                    <a:pt x="268" y="233"/>
                    <a:pt x="269" y="235"/>
                    <a:pt x="270" y="238"/>
                  </a:cubicBezTo>
                  <a:cubicBezTo>
                    <a:pt x="271" y="242"/>
                    <a:pt x="271" y="246"/>
                    <a:pt x="273" y="250"/>
                  </a:cubicBezTo>
                  <a:cubicBezTo>
                    <a:pt x="275" y="256"/>
                    <a:pt x="281" y="262"/>
                    <a:pt x="287" y="262"/>
                  </a:cubicBezTo>
                  <a:cubicBezTo>
                    <a:pt x="289" y="262"/>
                    <a:pt x="291" y="262"/>
                    <a:pt x="293" y="261"/>
                  </a:cubicBezTo>
                  <a:cubicBezTo>
                    <a:pt x="295" y="260"/>
                    <a:pt x="296" y="257"/>
                    <a:pt x="298" y="257"/>
                  </a:cubicBezTo>
                  <a:cubicBezTo>
                    <a:pt x="303" y="257"/>
                    <a:pt x="304" y="264"/>
                    <a:pt x="307" y="267"/>
                  </a:cubicBezTo>
                  <a:cubicBezTo>
                    <a:pt x="311" y="270"/>
                    <a:pt x="315" y="269"/>
                    <a:pt x="319" y="273"/>
                  </a:cubicBezTo>
                  <a:cubicBezTo>
                    <a:pt x="322" y="276"/>
                    <a:pt x="326" y="284"/>
                    <a:pt x="324" y="289"/>
                  </a:cubicBezTo>
                  <a:cubicBezTo>
                    <a:pt x="323" y="294"/>
                    <a:pt x="315" y="295"/>
                    <a:pt x="312" y="300"/>
                  </a:cubicBezTo>
                  <a:cubicBezTo>
                    <a:pt x="308" y="308"/>
                    <a:pt x="320" y="305"/>
                    <a:pt x="322" y="312"/>
                  </a:cubicBezTo>
                  <a:cubicBezTo>
                    <a:pt x="321" y="314"/>
                    <a:pt x="319" y="315"/>
                    <a:pt x="317" y="317"/>
                  </a:cubicBezTo>
                  <a:cubicBezTo>
                    <a:pt x="285" y="349"/>
                    <a:pt x="241" y="369"/>
                    <a:pt x="192" y="369"/>
                  </a:cubicBezTo>
                  <a:cubicBezTo>
                    <a:pt x="185" y="369"/>
                    <a:pt x="177" y="369"/>
                    <a:pt x="170" y="368"/>
                  </a:cubicBezTo>
                  <a:cubicBezTo>
                    <a:pt x="171" y="366"/>
                    <a:pt x="171" y="365"/>
                    <a:pt x="171" y="364"/>
                  </a:cubicBezTo>
                  <a:cubicBezTo>
                    <a:pt x="174" y="358"/>
                    <a:pt x="176" y="355"/>
                    <a:pt x="181" y="351"/>
                  </a:cubicBezTo>
                  <a:cubicBezTo>
                    <a:pt x="192" y="341"/>
                    <a:pt x="201" y="330"/>
                    <a:pt x="209" y="318"/>
                  </a:cubicBezTo>
                  <a:cubicBezTo>
                    <a:pt x="213" y="313"/>
                    <a:pt x="220" y="311"/>
                    <a:pt x="224" y="306"/>
                  </a:cubicBezTo>
                  <a:cubicBezTo>
                    <a:pt x="226" y="303"/>
                    <a:pt x="226" y="298"/>
                    <a:pt x="227" y="294"/>
                  </a:cubicBezTo>
                  <a:cubicBezTo>
                    <a:pt x="227" y="290"/>
                    <a:pt x="228" y="288"/>
                    <a:pt x="230" y="285"/>
                  </a:cubicBezTo>
                  <a:cubicBezTo>
                    <a:pt x="232" y="282"/>
                    <a:pt x="237" y="279"/>
                    <a:pt x="237" y="276"/>
                  </a:cubicBezTo>
                  <a:cubicBezTo>
                    <a:pt x="240" y="269"/>
                    <a:pt x="229" y="261"/>
                    <a:pt x="224" y="259"/>
                  </a:cubicBezTo>
                  <a:cubicBezTo>
                    <a:pt x="220" y="257"/>
                    <a:pt x="215" y="257"/>
                    <a:pt x="211" y="255"/>
                  </a:cubicBezTo>
                  <a:cubicBezTo>
                    <a:pt x="207" y="254"/>
                    <a:pt x="205" y="251"/>
                    <a:pt x="203" y="248"/>
                  </a:cubicBezTo>
                  <a:cubicBezTo>
                    <a:pt x="200" y="246"/>
                    <a:pt x="196" y="244"/>
                    <a:pt x="192" y="242"/>
                  </a:cubicBezTo>
                  <a:cubicBezTo>
                    <a:pt x="188" y="240"/>
                    <a:pt x="184" y="241"/>
                    <a:pt x="180" y="240"/>
                  </a:cubicBezTo>
                  <a:cubicBezTo>
                    <a:pt x="178" y="239"/>
                    <a:pt x="176" y="236"/>
                    <a:pt x="173" y="235"/>
                  </a:cubicBezTo>
                  <a:cubicBezTo>
                    <a:pt x="172" y="235"/>
                    <a:pt x="170" y="235"/>
                    <a:pt x="168" y="233"/>
                  </a:cubicBezTo>
                  <a:cubicBezTo>
                    <a:pt x="166" y="233"/>
                    <a:pt x="163" y="235"/>
                    <a:pt x="162" y="237"/>
                  </a:cubicBezTo>
                  <a:cubicBezTo>
                    <a:pt x="160" y="240"/>
                    <a:pt x="160" y="243"/>
                    <a:pt x="160" y="246"/>
                  </a:cubicBezTo>
                  <a:cubicBezTo>
                    <a:pt x="160" y="247"/>
                    <a:pt x="160" y="247"/>
                    <a:pt x="160" y="247"/>
                  </a:cubicBezTo>
                  <a:cubicBezTo>
                    <a:pt x="160" y="247"/>
                    <a:pt x="160" y="247"/>
                    <a:pt x="159" y="247"/>
                  </a:cubicBezTo>
                  <a:cubicBezTo>
                    <a:pt x="155" y="246"/>
                    <a:pt x="153" y="243"/>
                    <a:pt x="151" y="240"/>
                  </a:cubicBezTo>
                  <a:cubicBezTo>
                    <a:pt x="149" y="237"/>
                    <a:pt x="148" y="235"/>
                    <a:pt x="146" y="234"/>
                  </a:cubicBezTo>
                  <a:cubicBezTo>
                    <a:pt x="144" y="233"/>
                    <a:pt x="143" y="233"/>
                    <a:pt x="141" y="232"/>
                  </a:cubicBezTo>
                  <a:cubicBezTo>
                    <a:pt x="137" y="229"/>
                    <a:pt x="136" y="223"/>
                    <a:pt x="131" y="221"/>
                  </a:cubicBezTo>
                  <a:cubicBezTo>
                    <a:pt x="128" y="219"/>
                    <a:pt x="125" y="221"/>
                    <a:pt x="122" y="220"/>
                  </a:cubicBezTo>
                  <a:cubicBezTo>
                    <a:pt x="116" y="217"/>
                    <a:pt x="122" y="208"/>
                    <a:pt x="125" y="205"/>
                  </a:cubicBezTo>
                  <a:cubicBezTo>
                    <a:pt x="127" y="204"/>
                    <a:pt x="128" y="204"/>
                    <a:pt x="130" y="204"/>
                  </a:cubicBezTo>
                  <a:cubicBezTo>
                    <a:pt x="132" y="203"/>
                    <a:pt x="134" y="201"/>
                    <a:pt x="136" y="201"/>
                  </a:cubicBezTo>
                  <a:cubicBezTo>
                    <a:pt x="140" y="200"/>
                    <a:pt x="143" y="202"/>
                    <a:pt x="145" y="204"/>
                  </a:cubicBezTo>
                  <a:cubicBezTo>
                    <a:pt x="149" y="207"/>
                    <a:pt x="152" y="212"/>
                    <a:pt x="156" y="214"/>
                  </a:cubicBezTo>
                  <a:cubicBezTo>
                    <a:pt x="158" y="216"/>
                    <a:pt x="164" y="216"/>
                    <a:pt x="163" y="212"/>
                  </a:cubicBezTo>
                  <a:cubicBezTo>
                    <a:pt x="163" y="207"/>
                    <a:pt x="153" y="207"/>
                    <a:pt x="153" y="202"/>
                  </a:cubicBezTo>
                  <a:cubicBezTo>
                    <a:pt x="153" y="200"/>
                    <a:pt x="157" y="193"/>
                    <a:pt x="158" y="190"/>
                  </a:cubicBezTo>
                  <a:cubicBezTo>
                    <a:pt x="161" y="185"/>
                    <a:pt x="168" y="185"/>
                    <a:pt x="171" y="180"/>
                  </a:cubicBezTo>
                  <a:cubicBezTo>
                    <a:pt x="174" y="177"/>
                    <a:pt x="172" y="172"/>
                    <a:pt x="176" y="169"/>
                  </a:cubicBezTo>
                  <a:cubicBezTo>
                    <a:pt x="179" y="166"/>
                    <a:pt x="185" y="167"/>
                    <a:pt x="188" y="165"/>
                  </a:cubicBezTo>
                  <a:cubicBezTo>
                    <a:pt x="193" y="162"/>
                    <a:pt x="197" y="156"/>
                    <a:pt x="198" y="151"/>
                  </a:cubicBezTo>
                  <a:cubicBezTo>
                    <a:pt x="200" y="144"/>
                    <a:pt x="199" y="141"/>
                    <a:pt x="193" y="138"/>
                  </a:cubicBezTo>
                  <a:cubicBezTo>
                    <a:pt x="189" y="136"/>
                    <a:pt x="185" y="134"/>
                    <a:pt x="181" y="132"/>
                  </a:cubicBezTo>
                  <a:cubicBezTo>
                    <a:pt x="178" y="131"/>
                    <a:pt x="176" y="129"/>
                    <a:pt x="174" y="127"/>
                  </a:cubicBezTo>
                  <a:cubicBezTo>
                    <a:pt x="172" y="126"/>
                    <a:pt x="171" y="124"/>
                    <a:pt x="169" y="122"/>
                  </a:cubicBezTo>
                  <a:cubicBezTo>
                    <a:pt x="167" y="121"/>
                    <a:pt x="166" y="122"/>
                    <a:pt x="164" y="122"/>
                  </a:cubicBezTo>
                  <a:cubicBezTo>
                    <a:pt x="161" y="122"/>
                    <a:pt x="162" y="123"/>
                    <a:pt x="160" y="121"/>
                  </a:cubicBezTo>
                  <a:cubicBezTo>
                    <a:pt x="159" y="120"/>
                    <a:pt x="159" y="118"/>
                    <a:pt x="158" y="117"/>
                  </a:cubicBezTo>
                  <a:cubicBezTo>
                    <a:pt x="155" y="113"/>
                    <a:pt x="147" y="113"/>
                    <a:pt x="145" y="117"/>
                  </a:cubicBezTo>
                  <a:cubicBezTo>
                    <a:pt x="142" y="121"/>
                    <a:pt x="147" y="130"/>
                    <a:pt x="140" y="133"/>
                  </a:cubicBezTo>
                  <a:cubicBezTo>
                    <a:pt x="137" y="134"/>
                    <a:pt x="130" y="131"/>
                    <a:pt x="126" y="129"/>
                  </a:cubicBezTo>
                  <a:cubicBezTo>
                    <a:pt x="120" y="126"/>
                    <a:pt x="118" y="118"/>
                    <a:pt x="123" y="113"/>
                  </a:cubicBezTo>
                  <a:cubicBezTo>
                    <a:pt x="129" y="106"/>
                    <a:pt x="141" y="105"/>
                    <a:pt x="147" y="97"/>
                  </a:cubicBezTo>
                  <a:cubicBezTo>
                    <a:pt x="148" y="96"/>
                    <a:pt x="149" y="94"/>
                    <a:pt x="149" y="91"/>
                  </a:cubicBezTo>
                  <a:cubicBezTo>
                    <a:pt x="149" y="89"/>
                    <a:pt x="146" y="83"/>
                    <a:pt x="144" y="82"/>
                  </a:cubicBezTo>
                  <a:cubicBezTo>
                    <a:pt x="139" y="76"/>
                    <a:pt x="131" y="83"/>
                    <a:pt x="127" y="75"/>
                  </a:cubicBezTo>
                  <a:cubicBezTo>
                    <a:pt x="126" y="73"/>
                    <a:pt x="126" y="72"/>
                    <a:pt x="126" y="70"/>
                  </a:cubicBezTo>
                  <a:cubicBezTo>
                    <a:pt x="125" y="66"/>
                    <a:pt x="125" y="67"/>
                    <a:pt x="121" y="66"/>
                  </a:cubicBezTo>
                  <a:cubicBezTo>
                    <a:pt x="114" y="63"/>
                    <a:pt x="103" y="62"/>
                    <a:pt x="96" y="66"/>
                  </a:cubicBezTo>
                  <a:cubicBezTo>
                    <a:pt x="93" y="68"/>
                    <a:pt x="88" y="74"/>
                    <a:pt x="87" y="78"/>
                  </a:cubicBezTo>
                  <a:cubicBezTo>
                    <a:pt x="86" y="83"/>
                    <a:pt x="89" y="84"/>
                    <a:pt x="93" y="86"/>
                  </a:cubicBezTo>
                  <a:cubicBezTo>
                    <a:pt x="99" y="90"/>
                    <a:pt x="94" y="93"/>
                    <a:pt x="89" y="95"/>
                  </a:cubicBezTo>
                  <a:cubicBezTo>
                    <a:pt x="82" y="99"/>
                    <a:pt x="83" y="95"/>
                    <a:pt x="78" y="90"/>
                  </a:cubicBezTo>
                  <a:cubicBezTo>
                    <a:pt x="75" y="87"/>
                    <a:pt x="72" y="86"/>
                    <a:pt x="70" y="83"/>
                  </a:cubicBezTo>
                  <a:cubicBezTo>
                    <a:pt x="69" y="81"/>
                    <a:pt x="68" y="79"/>
                    <a:pt x="66" y="78"/>
                  </a:cubicBezTo>
                  <a:cubicBezTo>
                    <a:pt x="66"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2" y="53"/>
                    <a:pt x="145" y="54"/>
                  </a:cubicBezTo>
                  <a:cubicBezTo>
                    <a:pt x="151" y="56"/>
                    <a:pt x="157" y="62"/>
                    <a:pt x="161" y="67"/>
                  </a:cubicBezTo>
                  <a:cubicBezTo>
                    <a:pt x="162" y="68"/>
                    <a:pt x="163" y="66"/>
                    <a:pt x="163" y="69"/>
                  </a:cubicBezTo>
                  <a:cubicBezTo>
                    <a:pt x="163" y="71"/>
                    <a:pt x="160" y="74"/>
                    <a:pt x="159" y="76"/>
                  </a:cubicBezTo>
                  <a:cubicBezTo>
                    <a:pt x="157" y="81"/>
                    <a:pt x="160" y="86"/>
                    <a:pt x="164" y="90"/>
                  </a:cubicBezTo>
                  <a:cubicBezTo>
                    <a:pt x="169" y="94"/>
                    <a:pt x="173" y="99"/>
                    <a:pt x="179" y="101"/>
                  </a:cubicBezTo>
                  <a:cubicBezTo>
                    <a:pt x="184" y="102"/>
                    <a:pt x="188" y="98"/>
                    <a:pt x="191" y="93"/>
                  </a:cubicBezTo>
                  <a:cubicBezTo>
                    <a:pt x="196" y="82"/>
                    <a:pt x="181" y="75"/>
                    <a:pt x="173" y="70"/>
                  </a:cubicBezTo>
                  <a:cubicBezTo>
                    <a:pt x="169" y="68"/>
                    <a:pt x="170" y="65"/>
                    <a:pt x="171" y="60"/>
                  </a:cubicBezTo>
                  <a:cubicBezTo>
                    <a:pt x="172" y="55"/>
                    <a:pt x="175" y="51"/>
                    <a:pt x="180" y="49"/>
                  </a:cubicBezTo>
                  <a:cubicBezTo>
                    <a:pt x="184" y="48"/>
                    <a:pt x="190" y="50"/>
                    <a:pt x="186" y="55"/>
                  </a:cubicBezTo>
                  <a:cubicBezTo>
                    <a:pt x="184" y="59"/>
                    <a:pt x="178" y="60"/>
                    <a:pt x="179" y="66"/>
                  </a:cubicBezTo>
                  <a:cubicBezTo>
                    <a:pt x="180" y="70"/>
                    <a:pt x="185" y="71"/>
                    <a:pt x="189" y="71"/>
                  </a:cubicBezTo>
                  <a:cubicBezTo>
                    <a:pt x="192" y="70"/>
                    <a:pt x="194" y="68"/>
                    <a:pt x="196" y="72"/>
                  </a:cubicBezTo>
                  <a:cubicBezTo>
                    <a:pt x="199" y="77"/>
                    <a:pt x="197" y="81"/>
                    <a:pt x="201" y="85"/>
                  </a:cubicBezTo>
                  <a:cubicBezTo>
                    <a:pt x="204" y="89"/>
                    <a:pt x="207" y="91"/>
                    <a:pt x="208" y="95"/>
                  </a:cubicBezTo>
                  <a:cubicBezTo>
                    <a:pt x="209" y="97"/>
                    <a:pt x="209" y="99"/>
                    <a:pt x="209" y="100"/>
                  </a:cubicBezTo>
                  <a:cubicBezTo>
                    <a:pt x="211" y="104"/>
                    <a:pt x="214" y="107"/>
                    <a:pt x="216" y="110"/>
                  </a:cubicBezTo>
                  <a:cubicBezTo>
                    <a:pt x="218" y="112"/>
                    <a:pt x="219" y="116"/>
                    <a:pt x="221" y="118"/>
                  </a:cubicBezTo>
                  <a:cubicBezTo>
                    <a:pt x="224" y="122"/>
                    <a:pt x="228" y="120"/>
                    <a:pt x="232" y="116"/>
                  </a:cubicBezTo>
                  <a:cubicBezTo>
                    <a:pt x="237" y="112"/>
                    <a:pt x="234" y="103"/>
                    <a:pt x="239" y="99"/>
                  </a:cubicBezTo>
                  <a:cubicBezTo>
                    <a:pt x="241" y="97"/>
                    <a:pt x="244" y="97"/>
                    <a:pt x="246" y="98"/>
                  </a:cubicBezTo>
                  <a:cubicBezTo>
                    <a:pt x="248" y="98"/>
                    <a:pt x="249" y="100"/>
                    <a:pt x="250" y="100"/>
                  </a:cubicBezTo>
                  <a:cubicBezTo>
                    <a:pt x="252" y="101"/>
                    <a:pt x="254" y="101"/>
                    <a:pt x="255" y="102"/>
                  </a:cubicBezTo>
                  <a:cubicBezTo>
                    <a:pt x="258" y="105"/>
                    <a:pt x="257" y="107"/>
                    <a:pt x="259" y="109"/>
                  </a:cubicBezTo>
                  <a:cubicBezTo>
                    <a:pt x="260" y="112"/>
                    <a:pt x="264" y="113"/>
                    <a:pt x="268" y="113"/>
                  </a:cubicBezTo>
                  <a:cubicBezTo>
                    <a:pt x="279" y="113"/>
                    <a:pt x="287" y="105"/>
                    <a:pt x="282" y="94"/>
                  </a:cubicBezTo>
                  <a:cubicBezTo>
                    <a:pt x="281" y="91"/>
                    <a:pt x="278" y="88"/>
                    <a:pt x="275" y="86"/>
                  </a:cubicBezTo>
                  <a:cubicBezTo>
                    <a:pt x="273" y="85"/>
                    <a:pt x="270" y="85"/>
                    <a:pt x="269" y="82"/>
                  </a:cubicBezTo>
                  <a:cubicBezTo>
                    <a:pt x="266" y="77"/>
                    <a:pt x="269" y="66"/>
                    <a:pt x="271" y="61"/>
                  </a:cubicBezTo>
                  <a:cubicBezTo>
                    <a:pt x="271" y="58"/>
                    <a:pt x="274" y="51"/>
                    <a:pt x="273" y="47"/>
                  </a:cubicBezTo>
                  <a:cubicBezTo>
                    <a:pt x="273" y="45"/>
                    <a:pt x="270" y="43"/>
                    <a:pt x="268" y="41"/>
                  </a:cubicBezTo>
                  <a:cubicBezTo>
                    <a:pt x="267" y="39"/>
                    <a:pt x="263" y="34"/>
                    <a:pt x="259" y="29"/>
                  </a:cubicBezTo>
                  <a:cubicBezTo>
                    <a:pt x="276" y="36"/>
                    <a:pt x="290" y="45"/>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moveTo>
                    <a:pt x="340" y="133"/>
                  </a:moveTo>
                  <a:cubicBezTo>
                    <a:pt x="338" y="133"/>
                    <a:pt x="331" y="130"/>
                    <a:pt x="331" y="128"/>
                  </a:cubicBezTo>
                  <a:cubicBezTo>
                    <a:pt x="331" y="124"/>
                    <a:pt x="337" y="121"/>
                    <a:pt x="338" y="118"/>
                  </a:cubicBezTo>
                  <a:cubicBezTo>
                    <a:pt x="339" y="116"/>
                    <a:pt x="338" y="115"/>
                    <a:pt x="339" y="114"/>
                  </a:cubicBezTo>
                  <a:cubicBezTo>
                    <a:pt x="340" y="113"/>
                    <a:pt x="342" y="113"/>
                    <a:pt x="343" y="112"/>
                  </a:cubicBezTo>
                  <a:cubicBezTo>
                    <a:pt x="344" y="110"/>
                    <a:pt x="344" y="106"/>
                    <a:pt x="344" y="103"/>
                  </a:cubicBezTo>
                  <a:cubicBezTo>
                    <a:pt x="348" y="109"/>
                    <a:pt x="351" y="115"/>
                    <a:pt x="353" y="121"/>
                  </a:cubicBezTo>
                  <a:cubicBezTo>
                    <a:pt x="350" y="127"/>
                    <a:pt x="345" y="133"/>
                    <a:pt x="340" y="133"/>
                  </a:cubicBezTo>
                  <a:close/>
                  <a:moveTo>
                    <a:pt x="169" y="306"/>
                  </a:moveTo>
                  <a:cubicBezTo>
                    <a:pt x="167" y="315"/>
                    <a:pt x="163" y="323"/>
                    <a:pt x="161" y="331"/>
                  </a:cubicBezTo>
                  <a:cubicBezTo>
                    <a:pt x="159" y="336"/>
                    <a:pt x="158" y="340"/>
                    <a:pt x="161" y="345"/>
                  </a:cubicBezTo>
                  <a:cubicBezTo>
                    <a:pt x="165" y="352"/>
                    <a:pt x="163" y="354"/>
                    <a:pt x="162" y="361"/>
                  </a:cubicBezTo>
                  <a:cubicBezTo>
                    <a:pt x="162" y="362"/>
                    <a:pt x="162" y="364"/>
                    <a:pt x="162" y="366"/>
                  </a:cubicBezTo>
                  <a:cubicBezTo>
                    <a:pt x="125" y="360"/>
                    <a:pt x="92" y="343"/>
                    <a:pt x="67" y="317"/>
                  </a:cubicBezTo>
                  <a:cubicBezTo>
                    <a:pt x="35" y="285"/>
                    <a:pt x="16" y="241"/>
                    <a:pt x="16" y="193"/>
                  </a:cubicBezTo>
                  <a:cubicBezTo>
                    <a:pt x="16" y="165"/>
                    <a:pt x="22" y="138"/>
                    <a:pt x="33" y="115"/>
                  </a:cubicBezTo>
                  <a:cubicBezTo>
                    <a:pt x="37" y="120"/>
                    <a:pt x="41" y="126"/>
                    <a:pt x="41"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3" y="192"/>
                    <a:pt x="75" y="197"/>
                  </a:cubicBezTo>
                  <a:cubicBezTo>
                    <a:pt x="78" y="214"/>
                    <a:pt x="99" y="220"/>
                    <a:pt x="111" y="229"/>
                  </a:cubicBezTo>
                  <a:cubicBezTo>
                    <a:pt x="115" y="231"/>
                    <a:pt x="119" y="233"/>
                    <a:pt x="123" y="235"/>
                  </a:cubicBezTo>
                  <a:cubicBezTo>
                    <a:pt x="127" y="238"/>
                    <a:pt x="130" y="241"/>
                    <a:pt x="135" y="243"/>
                  </a:cubicBezTo>
                  <a:cubicBezTo>
                    <a:pt x="140" y="245"/>
                    <a:pt x="145" y="246"/>
                    <a:pt x="150" y="250"/>
                  </a:cubicBezTo>
                  <a:cubicBezTo>
                    <a:pt x="151" y="251"/>
                    <a:pt x="154" y="253"/>
                    <a:pt x="156" y="255"/>
                  </a:cubicBezTo>
                  <a:cubicBezTo>
                    <a:pt x="155" y="256"/>
                    <a:pt x="154" y="257"/>
                    <a:pt x="153" y="258"/>
                  </a:cubicBezTo>
                  <a:cubicBezTo>
                    <a:pt x="151" y="261"/>
                    <a:pt x="151" y="263"/>
                    <a:pt x="151" y="266"/>
                  </a:cubicBezTo>
                  <a:cubicBezTo>
                    <a:pt x="151" y="268"/>
                    <a:pt x="151" y="269"/>
                    <a:pt x="151" y="270"/>
                  </a:cubicBezTo>
                  <a:cubicBezTo>
                    <a:pt x="150" y="271"/>
                    <a:pt x="149" y="272"/>
                    <a:pt x="149" y="273"/>
                  </a:cubicBezTo>
                  <a:cubicBezTo>
                    <a:pt x="148" y="280"/>
                    <a:pt x="158" y="285"/>
                    <a:pt x="162" y="289"/>
                  </a:cubicBezTo>
                  <a:cubicBezTo>
                    <a:pt x="168" y="293"/>
                    <a:pt x="170" y="299"/>
                    <a:pt x="169" y="306"/>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lIns="91432" tIns="45719" rIns="91432" bIns="45719"/>
            <a:lstStyle/>
            <a:p>
              <a:endParaRPr lang="en-US" sz="2000"/>
            </a:p>
          </p:txBody>
        </p:sp>
        <p:sp>
          <p:nvSpPr>
            <p:cNvPr id="45" name="Line 18">
              <a:extLst>
                <a:ext uri="{FF2B5EF4-FFF2-40B4-BE49-F238E27FC236}">
                  <a16:creationId xmlns:a16="http://schemas.microsoft.com/office/drawing/2014/main" id="{FEEFC1A0-F29F-4FAC-B615-9A859D5D9836}"/>
                </a:ext>
              </a:extLst>
            </p:cNvPr>
            <p:cNvSpPr>
              <a:spLocks noChangeShapeType="1"/>
            </p:cNvSpPr>
            <p:nvPr/>
          </p:nvSpPr>
          <p:spPr bwMode="auto">
            <a:xfrm>
              <a:off x="8476629" y="2537156"/>
              <a:ext cx="278935" cy="53226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71995" tIns="45719" rIns="71995" bIns="45719"/>
            <a:lstStyle/>
            <a:p>
              <a:endParaRPr lang="en-US" sz="2000"/>
            </a:p>
          </p:txBody>
        </p:sp>
        <p:sp>
          <p:nvSpPr>
            <p:cNvPr id="46" name="Freeform 4">
              <a:extLst>
                <a:ext uri="{FF2B5EF4-FFF2-40B4-BE49-F238E27FC236}">
                  <a16:creationId xmlns:a16="http://schemas.microsoft.com/office/drawing/2014/main" id="{2684CFD1-6486-4842-A340-9C974991C210}"/>
                </a:ext>
              </a:extLst>
            </p:cNvPr>
            <p:cNvSpPr>
              <a:spLocks noChangeAspect="1" noEditPoints="1"/>
            </p:cNvSpPr>
            <p:nvPr/>
          </p:nvSpPr>
          <p:spPr bwMode="auto">
            <a:xfrm>
              <a:off x="8664283" y="3025109"/>
              <a:ext cx="404813" cy="404813"/>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2147483647 w 385"/>
                <a:gd name="T67" fmla="*/ 2147483647 h 385"/>
                <a:gd name="T68" fmla="*/ 2147483647 w 385"/>
                <a:gd name="T69" fmla="*/ 2147483647 h 385"/>
                <a:gd name="T70" fmla="*/ 2147483647 w 385"/>
                <a:gd name="T71" fmla="*/ 2147483647 h 385"/>
                <a:gd name="T72" fmla="*/ 2147483647 w 385"/>
                <a:gd name="T73" fmla="*/ 2147483647 h 385"/>
                <a:gd name="T74" fmla="*/ 2147483647 w 385"/>
                <a:gd name="T75" fmla="*/ 2147483647 h 385"/>
                <a:gd name="T76" fmla="*/ 2147483647 w 385"/>
                <a:gd name="T77" fmla="*/ 2147483647 h 385"/>
                <a:gd name="T78" fmla="*/ 2147483647 w 385"/>
                <a:gd name="T79" fmla="*/ 2147483647 h 385"/>
                <a:gd name="T80" fmla="*/ 2147483647 w 385"/>
                <a:gd name="T81" fmla="*/ 2147483647 h 385"/>
                <a:gd name="T82" fmla="*/ 2147483647 w 385"/>
                <a:gd name="T83" fmla="*/ 2147483647 h 385"/>
                <a:gd name="T84" fmla="*/ 2147483647 w 385"/>
                <a:gd name="T85" fmla="*/ 2147483647 h 385"/>
                <a:gd name="T86" fmla="*/ 2147483647 w 385"/>
                <a:gd name="T87" fmla="*/ 2147483647 h 385"/>
                <a:gd name="T88" fmla="*/ 2147483647 w 385"/>
                <a:gd name="T89" fmla="*/ 2147483647 h 385"/>
                <a:gd name="T90" fmla="*/ 2147483647 w 385"/>
                <a:gd name="T91" fmla="*/ 2147483647 h 385"/>
                <a:gd name="T92" fmla="*/ 2147483647 w 385"/>
                <a:gd name="T93" fmla="*/ 2147483647 h 385"/>
                <a:gd name="T94" fmla="*/ 2147483647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5"/>
                <a:gd name="T145" fmla="*/ 0 h 385"/>
                <a:gd name="T146" fmla="*/ 385 w 385"/>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5" h="385">
                  <a:moveTo>
                    <a:pt x="168" y="233"/>
                  </a:moveTo>
                  <a:cubicBezTo>
                    <a:pt x="168" y="233"/>
                    <a:pt x="168" y="233"/>
                    <a:pt x="168" y="233"/>
                  </a:cubicBezTo>
                  <a:cubicBezTo>
                    <a:pt x="168" y="234"/>
                    <a:pt x="168" y="233"/>
                    <a:pt x="168" y="234"/>
                  </a:cubicBezTo>
                  <a:lnTo>
                    <a:pt x="168" y="233"/>
                  </a:lnTo>
                  <a:close/>
                  <a:moveTo>
                    <a:pt x="286" y="135"/>
                  </a:moveTo>
                  <a:cubicBezTo>
                    <a:pt x="285" y="137"/>
                    <a:pt x="286" y="138"/>
                    <a:pt x="285" y="141"/>
                  </a:cubicBezTo>
                  <a:cubicBezTo>
                    <a:pt x="284" y="145"/>
                    <a:pt x="280" y="142"/>
                    <a:pt x="277" y="145"/>
                  </a:cubicBezTo>
                  <a:cubicBezTo>
                    <a:pt x="274" y="149"/>
                    <a:pt x="279" y="152"/>
                    <a:pt x="282" y="153"/>
                  </a:cubicBezTo>
                  <a:cubicBezTo>
                    <a:pt x="287" y="154"/>
                    <a:pt x="290" y="150"/>
                    <a:pt x="293" y="147"/>
                  </a:cubicBezTo>
                  <a:cubicBezTo>
                    <a:pt x="294" y="146"/>
                    <a:pt x="296" y="144"/>
                    <a:pt x="298" y="144"/>
                  </a:cubicBezTo>
                  <a:cubicBezTo>
                    <a:pt x="300" y="144"/>
                    <a:pt x="301" y="146"/>
                    <a:pt x="303" y="146"/>
                  </a:cubicBezTo>
                  <a:cubicBezTo>
                    <a:pt x="308" y="146"/>
                    <a:pt x="308" y="141"/>
                    <a:pt x="306" y="138"/>
                  </a:cubicBezTo>
                  <a:cubicBezTo>
                    <a:pt x="305" y="135"/>
                    <a:pt x="301" y="133"/>
                    <a:pt x="299" y="130"/>
                  </a:cubicBezTo>
                  <a:cubicBezTo>
                    <a:pt x="298" y="129"/>
                    <a:pt x="297" y="127"/>
                    <a:pt x="296" y="126"/>
                  </a:cubicBezTo>
                  <a:cubicBezTo>
                    <a:pt x="296" y="124"/>
                    <a:pt x="293" y="124"/>
                    <a:pt x="292" y="125"/>
                  </a:cubicBezTo>
                  <a:cubicBezTo>
                    <a:pt x="290" y="127"/>
                    <a:pt x="292" y="129"/>
                    <a:pt x="291" y="131"/>
                  </a:cubicBezTo>
                  <a:cubicBezTo>
                    <a:pt x="291" y="133"/>
                    <a:pt x="288" y="133"/>
                    <a:pt x="286" y="135"/>
                  </a:cubicBezTo>
                  <a:close/>
                  <a:moveTo>
                    <a:pt x="339" y="68"/>
                  </a:moveTo>
                  <a:cubicBezTo>
                    <a:pt x="336" y="64"/>
                    <a:pt x="331" y="64"/>
                    <a:pt x="327" y="67"/>
                  </a:cubicBezTo>
                  <a:cubicBezTo>
                    <a:pt x="324" y="70"/>
                    <a:pt x="323" y="75"/>
                    <a:pt x="326" y="78"/>
                  </a:cubicBezTo>
                  <a:cubicBezTo>
                    <a:pt x="328" y="79"/>
                    <a:pt x="329" y="81"/>
                    <a:pt x="330" y="82"/>
                  </a:cubicBezTo>
                  <a:cubicBezTo>
                    <a:pt x="320" y="87"/>
                    <a:pt x="315" y="97"/>
                    <a:pt x="314" y="98"/>
                  </a:cubicBezTo>
                  <a:cubicBezTo>
                    <a:pt x="310" y="103"/>
                    <a:pt x="311" y="111"/>
                    <a:pt x="311" y="117"/>
                  </a:cubicBezTo>
                  <a:cubicBezTo>
                    <a:pt x="312" y="122"/>
                    <a:pt x="313" y="129"/>
                    <a:pt x="317" y="133"/>
                  </a:cubicBezTo>
                  <a:cubicBezTo>
                    <a:pt x="322" y="139"/>
                    <a:pt x="326" y="151"/>
                    <a:pt x="318" y="157"/>
                  </a:cubicBezTo>
                  <a:cubicBezTo>
                    <a:pt x="309" y="162"/>
                    <a:pt x="306" y="147"/>
                    <a:pt x="298" y="153"/>
                  </a:cubicBezTo>
                  <a:cubicBezTo>
                    <a:pt x="294" y="156"/>
                    <a:pt x="292" y="159"/>
                    <a:pt x="289" y="163"/>
                  </a:cubicBezTo>
                  <a:cubicBezTo>
                    <a:pt x="286" y="167"/>
                    <a:pt x="286" y="168"/>
                    <a:pt x="290" y="171"/>
                  </a:cubicBezTo>
                  <a:cubicBezTo>
                    <a:pt x="302" y="177"/>
                    <a:pt x="283" y="180"/>
                    <a:pt x="283" y="186"/>
                  </a:cubicBezTo>
                  <a:cubicBezTo>
                    <a:pt x="281" y="196"/>
                    <a:pt x="299" y="185"/>
                    <a:pt x="301" y="184"/>
                  </a:cubicBezTo>
                  <a:cubicBezTo>
                    <a:pt x="311" y="176"/>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6" y="219"/>
                    <a:pt x="354" y="216"/>
                    <a:pt x="352" y="212"/>
                  </a:cubicBezTo>
                  <a:cubicBezTo>
                    <a:pt x="347" y="207"/>
                    <a:pt x="345" y="213"/>
                    <a:pt x="340" y="213"/>
                  </a:cubicBezTo>
                  <a:cubicBezTo>
                    <a:pt x="337" y="213"/>
                    <a:pt x="338" y="212"/>
                    <a:pt x="337" y="210"/>
                  </a:cubicBezTo>
                  <a:cubicBezTo>
                    <a:pt x="335" y="205"/>
                    <a:pt x="333" y="202"/>
                    <a:pt x="329" y="199"/>
                  </a:cubicBezTo>
                  <a:cubicBezTo>
                    <a:pt x="325" y="196"/>
                    <a:pt x="319" y="194"/>
                    <a:pt x="314" y="194"/>
                  </a:cubicBezTo>
                  <a:cubicBezTo>
                    <a:pt x="309" y="193"/>
                    <a:pt x="305" y="195"/>
                    <a:pt x="301" y="196"/>
                  </a:cubicBezTo>
                  <a:cubicBezTo>
                    <a:pt x="290" y="198"/>
                    <a:pt x="283" y="198"/>
                    <a:pt x="277" y="207"/>
                  </a:cubicBezTo>
                  <a:cubicBezTo>
                    <a:pt x="273" y="214"/>
                    <a:pt x="267" y="222"/>
                    <a:pt x="268" y="230"/>
                  </a:cubicBezTo>
                  <a:cubicBezTo>
                    <a:pt x="268" y="233"/>
                    <a:pt x="269" y="235"/>
                    <a:pt x="270" y="238"/>
                  </a:cubicBezTo>
                  <a:cubicBezTo>
                    <a:pt x="271" y="242"/>
                    <a:pt x="271" y="246"/>
                    <a:pt x="273" y="250"/>
                  </a:cubicBezTo>
                  <a:cubicBezTo>
                    <a:pt x="275" y="256"/>
                    <a:pt x="281" y="262"/>
                    <a:pt x="287" y="262"/>
                  </a:cubicBezTo>
                  <a:cubicBezTo>
                    <a:pt x="289" y="262"/>
                    <a:pt x="291" y="262"/>
                    <a:pt x="293" y="261"/>
                  </a:cubicBezTo>
                  <a:cubicBezTo>
                    <a:pt x="295" y="260"/>
                    <a:pt x="296" y="257"/>
                    <a:pt x="298" y="257"/>
                  </a:cubicBezTo>
                  <a:cubicBezTo>
                    <a:pt x="303" y="257"/>
                    <a:pt x="304" y="264"/>
                    <a:pt x="307" y="267"/>
                  </a:cubicBezTo>
                  <a:cubicBezTo>
                    <a:pt x="311" y="270"/>
                    <a:pt x="315" y="269"/>
                    <a:pt x="319" y="273"/>
                  </a:cubicBezTo>
                  <a:cubicBezTo>
                    <a:pt x="322" y="276"/>
                    <a:pt x="326" y="284"/>
                    <a:pt x="324" y="289"/>
                  </a:cubicBezTo>
                  <a:cubicBezTo>
                    <a:pt x="323" y="294"/>
                    <a:pt x="315" y="295"/>
                    <a:pt x="312" y="300"/>
                  </a:cubicBezTo>
                  <a:cubicBezTo>
                    <a:pt x="308" y="308"/>
                    <a:pt x="320" y="305"/>
                    <a:pt x="322" y="312"/>
                  </a:cubicBezTo>
                  <a:cubicBezTo>
                    <a:pt x="321" y="314"/>
                    <a:pt x="319" y="315"/>
                    <a:pt x="317" y="317"/>
                  </a:cubicBezTo>
                  <a:cubicBezTo>
                    <a:pt x="285" y="349"/>
                    <a:pt x="241" y="369"/>
                    <a:pt x="192" y="369"/>
                  </a:cubicBezTo>
                  <a:cubicBezTo>
                    <a:pt x="185" y="369"/>
                    <a:pt x="177" y="369"/>
                    <a:pt x="170" y="368"/>
                  </a:cubicBezTo>
                  <a:cubicBezTo>
                    <a:pt x="171" y="366"/>
                    <a:pt x="171" y="365"/>
                    <a:pt x="171" y="364"/>
                  </a:cubicBezTo>
                  <a:cubicBezTo>
                    <a:pt x="174" y="358"/>
                    <a:pt x="176" y="355"/>
                    <a:pt x="181" y="351"/>
                  </a:cubicBezTo>
                  <a:cubicBezTo>
                    <a:pt x="192" y="341"/>
                    <a:pt x="201" y="330"/>
                    <a:pt x="209" y="318"/>
                  </a:cubicBezTo>
                  <a:cubicBezTo>
                    <a:pt x="213" y="313"/>
                    <a:pt x="220" y="311"/>
                    <a:pt x="224" y="306"/>
                  </a:cubicBezTo>
                  <a:cubicBezTo>
                    <a:pt x="226" y="303"/>
                    <a:pt x="226" y="298"/>
                    <a:pt x="227" y="294"/>
                  </a:cubicBezTo>
                  <a:cubicBezTo>
                    <a:pt x="227" y="290"/>
                    <a:pt x="228" y="288"/>
                    <a:pt x="230" y="285"/>
                  </a:cubicBezTo>
                  <a:cubicBezTo>
                    <a:pt x="232" y="282"/>
                    <a:pt x="237" y="279"/>
                    <a:pt x="237" y="276"/>
                  </a:cubicBezTo>
                  <a:cubicBezTo>
                    <a:pt x="240" y="269"/>
                    <a:pt x="229" y="261"/>
                    <a:pt x="224" y="259"/>
                  </a:cubicBezTo>
                  <a:cubicBezTo>
                    <a:pt x="220" y="257"/>
                    <a:pt x="215" y="257"/>
                    <a:pt x="211" y="255"/>
                  </a:cubicBezTo>
                  <a:cubicBezTo>
                    <a:pt x="207" y="254"/>
                    <a:pt x="205" y="251"/>
                    <a:pt x="203" y="248"/>
                  </a:cubicBezTo>
                  <a:cubicBezTo>
                    <a:pt x="200" y="246"/>
                    <a:pt x="196" y="244"/>
                    <a:pt x="192" y="242"/>
                  </a:cubicBezTo>
                  <a:cubicBezTo>
                    <a:pt x="188" y="240"/>
                    <a:pt x="184" y="241"/>
                    <a:pt x="180" y="240"/>
                  </a:cubicBezTo>
                  <a:cubicBezTo>
                    <a:pt x="178" y="239"/>
                    <a:pt x="176" y="236"/>
                    <a:pt x="173" y="235"/>
                  </a:cubicBezTo>
                  <a:cubicBezTo>
                    <a:pt x="172" y="235"/>
                    <a:pt x="170" y="235"/>
                    <a:pt x="168" y="233"/>
                  </a:cubicBezTo>
                  <a:cubicBezTo>
                    <a:pt x="166" y="233"/>
                    <a:pt x="163" y="235"/>
                    <a:pt x="162" y="237"/>
                  </a:cubicBezTo>
                  <a:cubicBezTo>
                    <a:pt x="160" y="240"/>
                    <a:pt x="160" y="243"/>
                    <a:pt x="160" y="246"/>
                  </a:cubicBezTo>
                  <a:cubicBezTo>
                    <a:pt x="160" y="247"/>
                    <a:pt x="160" y="247"/>
                    <a:pt x="160" y="247"/>
                  </a:cubicBezTo>
                  <a:cubicBezTo>
                    <a:pt x="160" y="247"/>
                    <a:pt x="160" y="247"/>
                    <a:pt x="159" y="247"/>
                  </a:cubicBezTo>
                  <a:cubicBezTo>
                    <a:pt x="155" y="246"/>
                    <a:pt x="153" y="243"/>
                    <a:pt x="151" y="240"/>
                  </a:cubicBezTo>
                  <a:cubicBezTo>
                    <a:pt x="149" y="237"/>
                    <a:pt x="148" y="235"/>
                    <a:pt x="146" y="234"/>
                  </a:cubicBezTo>
                  <a:cubicBezTo>
                    <a:pt x="144" y="233"/>
                    <a:pt x="143" y="233"/>
                    <a:pt x="141" y="232"/>
                  </a:cubicBezTo>
                  <a:cubicBezTo>
                    <a:pt x="137" y="229"/>
                    <a:pt x="136" y="223"/>
                    <a:pt x="131" y="221"/>
                  </a:cubicBezTo>
                  <a:cubicBezTo>
                    <a:pt x="128" y="219"/>
                    <a:pt x="125" y="221"/>
                    <a:pt x="122" y="220"/>
                  </a:cubicBezTo>
                  <a:cubicBezTo>
                    <a:pt x="116" y="217"/>
                    <a:pt x="122" y="208"/>
                    <a:pt x="125" y="205"/>
                  </a:cubicBezTo>
                  <a:cubicBezTo>
                    <a:pt x="127" y="204"/>
                    <a:pt x="128" y="204"/>
                    <a:pt x="130" y="204"/>
                  </a:cubicBezTo>
                  <a:cubicBezTo>
                    <a:pt x="132" y="203"/>
                    <a:pt x="134" y="201"/>
                    <a:pt x="136" y="201"/>
                  </a:cubicBezTo>
                  <a:cubicBezTo>
                    <a:pt x="140" y="200"/>
                    <a:pt x="143" y="202"/>
                    <a:pt x="145" y="204"/>
                  </a:cubicBezTo>
                  <a:cubicBezTo>
                    <a:pt x="149" y="207"/>
                    <a:pt x="152" y="212"/>
                    <a:pt x="156" y="214"/>
                  </a:cubicBezTo>
                  <a:cubicBezTo>
                    <a:pt x="158" y="216"/>
                    <a:pt x="164" y="216"/>
                    <a:pt x="163" y="212"/>
                  </a:cubicBezTo>
                  <a:cubicBezTo>
                    <a:pt x="163" y="207"/>
                    <a:pt x="153" y="207"/>
                    <a:pt x="153" y="202"/>
                  </a:cubicBezTo>
                  <a:cubicBezTo>
                    <a:pt x="153" y="200"/>
                    <a:pt x="157" y="193"/>
                    <a:pt x="158" y="190"/>
                  </a:cubicBezTo>
                  <a:cubicBezTo>
                    <a:pt x="161" y="185"/>
                    <a:pt x="168" y="185"/>
                    <a:pt x="171" y="180"/>
                  </a:cubicBezTo>
                  <a:cubicBezTo>
                    <a:pt x="174" y="177"/>
                    <a:pt x="172" y="172"/>
                    <a:pt x="176" y="169"/>
                  </a:cubicBezTo>
                  <a:cubicBezTo>
                    <a:pt x="179" y="166"/>
                    <a:pt x="185" y="167"/>
                    <a:pt x="188" y="165"/>
                  </a:cubicBezTo>
                  <a:cubicBezTo>
                    <a:pt x="193" y="162"/>
                    <a:pt x="197" y="156"/>
                    <a:pt x="198" y="151"/>
                  </a:cubicBezTo>
                  <a:cubicBezTo>
                    <a:pt x="200" y="144"/>
                    <a:pt x="199" y="141"/>
                    <a:pt x="193" y="138"/>
                  </a:cubicBezTo>
                  <a:cubicBezTo>
                    <a:pt x="189" y="136"/>
                    <a:pt x="185" y="134"/>
                    <a:pt x="181" y="132"/>
                  </a:cubicBezTo>
                  <a:cubicBezTo>
                    <a:pt x="178" y="131"/>
                    <a:pt x="176" y="129"/>
                    <a:pt x="174" y="127"/>
                  </a:cubicBezTo>
                  <a:cubicBezTo>
                    <a:pt x="172" y="126"/>
                    <a:pt x="171" y="124"/>
                    <a:pt x="169" y="122"/>
                  </a:cubicBezTo>
                  <a:cubicBezTo>
                    <a:pt x="167" y="121"/>
                    <a:pt x="166" y="122"/>
                    <a:pt x="164" y="122"/>
                  </a:cubicBezTo>
                  <a:cubicBezTo>
                    <a:pt x="161" y="122"/>
                    <a:pt x="162" y="123"/>
                    <a:pt x="160" y="121"/>
                  </a:cubicBezTo>
                  <a:cubicBezTo>
                    <a:pt x="159" y="120"/>
                    <a:pt x="159" y="118"/>
                    <a:pt x="158" y="117"/>
                  </a:cubicBezTo>
                  <a:cubicBezTo>
                    <a:pt x="155" y="113"/>
                    <a:pt x="147" y="113"/>
                    <a:pt x="145" y="117"/>
                  </a:cubicBezTo>
                  <a:cubicBezTo>
                    <a:pt x="142" y="121"/>
                    <a:pt x="147" y="130"/>
                    <a:pt x="140" y="133"/>
                  </a:cubicBezTo>
                  <a:cubicBezTo>
                    <a:pt x="137" y="134"/>
                    <a:pt x="130" y="131"/>
                    <a:pt x="126" y="129"/>
                  </a:cubicBezTo>
                  <a:cubicBezTo>
                    <a:pt x="120" y="126"/>
                    <a:pt x="118" y="118"/>
                    <a:pt x="123" y="113"/>
                  </a:cubicBezTo>
                  <a:cubicBezTo>
                    <a:pt x="129" y="106"/>
                    <a:pt x="141" y="105"/>
                    <a:pt x="147" y="97"/>
                  </a:cubicBezTo>
                  <a:cubicBezTo>
                    <a:pt x="148" y="96"/>
                    <a:pt x="149" y="94"/>
                    <a:pt x="149" y="91"/>
                  </a:cubicBezTo>
                  <a:cubicBezTo>
                    <a:pt x="149" y="89"/>
                    <a:pt x="146" y="83"/>
                    <a:pt x="144" y="82"/>
                  </a:cubicBezTo>
                  <a:cubicBezTo>
                    <a:pt x="139" y="76"/>
                    <a:pt x="131" y="83"/>
                    <a:pt x="127" y="75"/>
                  </a:cubicBezTo>
                  <a:cubicBezTo>
                    <a:pt x="126" y="73"/>
                    <a:pt x="126" y="72"/>
                    <a:pt x="126" y="70"/>
                  </a:cubicBezTo>
                  <a:cubicBezTo>
                    <a:pt x="125" y="66"/>
                    <a:pt x="125" y="67"/>
                    <a:pt x="121" y="66"/>
                  </a:cubicBezTo>
                  <a:cubicBezTo>
                    <a:pt x="114" y="63"/>
                    <a:pt x="103" y="62"/>
                    <a:pt x="96" y="66"/>
                  </a:cubicBezTo>
                  <a:cubicBezTo>
                    <a:pt x="93" y="68"/>
                    <a:pt x="88" y="74"/>
                    <a:pt x="87" y="78"/>
                  </a:cubicBezTo>
                  <a:cubicBezTo>
                    <a:pt x="86" y="83"/>
                    <a:pt x="89" y="84"/>
                    <a:pt x="93" y="86"/>
                  </a:cubicBezTo>
                  <a:cubicBezTo>
                    <a:pt x="99" y="90"/>
                    <a:pt x="94" y="93"/>
                    <a:pt x="89" y="95"/>
                  </a:cubicBezTo>
                  <a:cubicBezTo>
                    <a:pt x="82" y="99"/>
                    <a:pt x="83" y="95"/>
                    <a:pt x="78" y="90"/>
                  </a:cubicBezTo>
                  <a:cubicBezTo>
                    <a:pt x="75" y="87"/>
                    <a:pt x="72" y="86"/>
                    <a:pt x="70" y="83"/>
                  </a:cubicBezTo>
                  <a:cubicBezTo>
                    <a:pt x="69" y="81"/>
                    <a:pt x="68" y="79"/>
                    <a:pt x="66" y="78"/>
                  </a:cubicBezTo>
                  <a:cubicBezTo>
                    <a:pt x="66"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2" y="53"/>
                    <a:pt x="145" y="54"/>
                  </a:cubicBezTo>
                  <a:cubicBezTo>
                    <a:pt x="151" y="56"/>
                    <a:pt x="157" y="62"/>
                    <a:pt x="161" y="67"/>
                  </a:cubicBezTo>
                  <a:cubicBezTo>
                    <a:pt x="162" y="68"/>
                    <a:pt x="163" y="66"/>
                    <a:pt x="163" y="69"/>
                  </a:cubicBezTo>
                  <a:cubicBezTo>
                    <a:pt x="163" y="71"/>
                    <a:pt x="160" y="74"/>
                    <a:pt x="159" y="76"/>
                  </a:cubicBezTo>
                  <a:cubicBezTo>
                    <a:pt x="157" y="81"/>
                    <a:pt x="160" y="86"/>
                    <a:pt x="164" y="90"/>
                  </a:cubicBezTo>
                  <a:cubicBezTo>
                    <a:pt x="169" y="94"/>
                    <a:pt x="173" y="99"/>
                    <a:pt x="179" y="101"/>
                  </a:cubicBezTo>
                  <a:cubicBezTo>
                    <a:pt x="184" y="102"/>
                    <a:pt x="188" y="98"/>
                    <a:pt x="191" y="93"/>
                  </a:cubicBezTo>
                  <a:cubicBezTo>
                    <a:pt x="196" y="82"/>
                    <a:pt x="181" y="75"/>
                    <a:pt x="173" y="70"/>
                  </a:cubicBezTo>
                  <a:cubicBezTo>
                    <a:pt x="169" y="68"/>
                    <a:pt x="170" y="65"/>
                    <a:pt x="171" y="60"/>
                  </a:cubicBezTo>
                  <a:cubicBezTo>
                    <a:pt x="172" y="55"/>
                    <a:pt x="175" y="51"/>
                    <a:pt x="180" y="49"/>
                  </a:cubicBezTo>
                  <a:cubicBezTo>
                    <a:pt x="184" y="48"/>
                    <a:pt x="190" y="50"/>
                    <a:pt x="186" y="55"/>
                  </a:cubicBezTo>
                  <a:cubicBezTo>
                    <a:pt x="184" y="59"/>
                    <a:pt x="178" y="60"/>
                    <a:pt x="179" y="66"/>
                  </a:cubicBezTo>
                  <a:cubicBezTo>
                    <a:pt x="180" y="70"/>
                    <a:pt x="185" y="71"/>
                    <a:pt x="189" y="71"/>
                  </a:cubicBezTo>
                  <a:cubicBezTo>
                    <a:pt x="192" y="70"/>
                    <a:pt x="194" y="68"/>
                    <a:pt x="196" y="72"/>
                  </a:cubicBezTo>
                  <a:cubicBezTo>
                    <a:pt x="199" y="77"/>
                    <a:pt x="197" y="81"/>
                    <a:pt x="201" y="85"/>
                  </a:cubicBezTo>
                  <a:cubicBezTo>
                    <a:pt x="204" y="89"/>
                    <a:pt x="207" y="91"/>
                    <a:pt x="208" y="95"/>
                  </a:cubicBezTo>
                  <a:cubicBezTo>
                    <a:pt x="209" y="97"/>
                    <a:pt x="209" y="99"/>
                    <a:pt x="209" y="100"/>
                  </a:cubicBezTo>
                  <a:cubicBezTo>
                    <a:pt x="211" y="104"/>
                    <a:pt x="214" y="107"/>
                    <a:pt x="216" y="110"/>
                  </a:cubicBezTo>
                  <a:cubicBezTo>
                    <a:pt x="218" y="112"/>
                    <a:pt x="219" y="116"/>
                    <a:pt x="221" y="118"/>
                  </a:cubicBezTo>
                  <a:cubicBezTo>
                    <a:pt x="224" y="122"/>
                    <a:pt x="228" y="120"/>
                    <a:pt x="232" y="116"/>
                  </a:cubicBezTo>
                  <a:cubicBezTo>
                    <a:pt x="237" y="112"/>
                    <a:pt x="234" y="103"/>
                    <a:pt x="239" y="99"/>
                  </a:cubicBezTo>
                  <a:cubicBezTo>
                    <a:pt x="241" y="97"/>
                    <a:pt x="244" y="97"/>
                    <a:pt x="246" y="98"/>
                  </a:cubicBezTo>
                  <a:cubicBezTo>
                    <a:pt x="248" y="98"/>
                    <a:pt x="249" y="100"/>
                    <a:pt x="250" y="100"/>
                  </a:cubicBezTo>
                  <a:cubicBezTo>
                    <a:pt x="252" y="101"/>
                    <a:pt x="254" y="101"/>
                    <a:pt x="255" y="102"/>
                  </a:cubicBezTo>
                  <a:cubicBezTo>
                    <a:pt x="258" y="105"/>
                    <a:pt x="257" y="107"/>
                    <a:pt x="259" y="109"/>
                  </a:cubicBezTo>
                  <a:cubicBezTo>
                    <a:pt x="260" y="112"/>
                    <a:pt x="264" y="113"/>
                    <a:pt x="268" y="113"/>
                  </a:cubicBezTo>
                  <a:cubicBezTo>
                    <a:pt x="279" y="113"/>
                    <a:pt x="287" y="105"/>
                    <a:pt x="282" y="94"/>
                  </a:cubicBezTo>
                  <a:cubicBezTo>
                    <a:pt x="281" y="91"/>
                    <a:pt x="278" y="88"/>
                    <a:pt x="275" y="86"/>
                  </a:cubicBezTo>
                  <a:cubicBezTo>
                    <a:pt x="273" y="85"/>
                    <a:pt x="270" y="85"/>
                    <a:pt x="269" y="82"/>
                  </a:cubicBezTo>
                  <a:cubicBezTo>
                    <a:pt x="266" y="77"/>
                    <a:pt x="269" y="66"/>
                    <a:pt x="271" y="61"/>
                  </a:cubicBezTo>
                  <a:cubicBezTo>
                    <a:pt x="271" y="58"/>
                    <a:pt x="274" y="51"/>
                    <a:pt x="273" y="47"/>
                  </a:cubicBezTo>
                  <a:cubicBezTo>
                    <a:pt x="273" y="45"/>
                    <a:pt x="270" y="43"/>
                    <a:pt x="268" y="41"/>
                  </a:cubicBezTo>
                  <a:cubicBezTo>
                    <a:pt x="267" y="39"/>
                    <a:pt x="263" y="34"/>
                    <a:pt x="259" y="29"/>
                  </a:cubicBezTo>
                  <a:cubicBezTo>
                    <a:pt x="276" y="36"/>
                    <a:pt x="290" y="45"/>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moveTo>
                    <a:pt x="340" y="133"/>
                  </a:moveTo>
                  <a:cubicBezTo>
                    <a:pt x="338" y="133"/>
                    <a:pt x="331" y="130"/>
                    <a:pt x="331" y="128"/>
                  </a:cubicBezTo>
                  <a:cubicBezTo>
                    <a:pt x="331" y="124"/>
                    <a:pt x="337" y="121"/>
                    <a:pt x="338" y="118"/>
                  </a:cubicBezTo>
                  <a:cubicBezTo>
                    <a:pt x="339" y="116"/>
                    <a:pt x="338" y="115"/>
                    <a:pt x="339" y="114"/>
                  </a:cubicBezTo>
                  <a:cubicBezTo>
                    <a:pt x="340" y="113"/>
                    <a:pt x="342" y="113"/>
                    <a:pt x="343" y="112"/>
                  </a:cubicBezTo>
                  <a:cubicBezTo>
                    <a:pt x="344" y="110"/>
                    <a:pt x="344" y="106"/>
                    <a:pt x="344" y="103"/>
                  </a:cubicBezTo>
                  <a:cubicBezTo>
                    <a:pt x="348" y="109"/>
                    <a:pt x="351" y="115"/>
                    <a:pt x="353" y="121"/>
                  </a:cubicBezTo>
                  <a:cubicBezTo>
                    <a:pt x="350" y="127"/>
                    <a:pt x="345" y="133"/>
                    <a:pt x="340" y="133"/>
                  </a:cubicBezTo>
                  <a:close/>
                  <a:moveTo>
                    <a:pt x="169" y="306"/>
                  </a:moveTo>
                  <a:cubicBezTo>
                    <a:pt x="167" y="315"/>
                    <a:pt x="163" y="323"/>
                    <a:pt x="161" y="331"/>
                  </a:cubicBezTo>
                  <a:cubicBezTo>
                    <a:pt x="159" y="336"/>
                    <a:pt x="158" y="340"/>
                    <a:pt x="161" y="345"/>
                  </a:cubicBezTo>
                  <a:cubicBezTo>
                    <a:pt x="165" y="352"/>
                    <a:pt x="163" y="354"/>
                    <a:pt x="162" y="361"/>
                  </a:cubicBezTo>
                  <a:cubicBezTo>
                    <a:pt x="162" y="362"/>
                    <a:pt x="162" y="364"/>
                    <a:pt x="162" y="366"/>
                  </a:cubicBezTo>
                  <a:cubicBezTo>
                    <a:pt x="125" y="360"/>
                    <a:pt x="92" y="343"/>
                    <a:pt x="67" y="317"/>
                  </a:cubicBezTo>
                  <a:cubicBezTo>
                    <a:pt x="35" y="285"/>
                    <a:pt x="16" y="241"/>
                    <a:pt x="16" y="193"/>
                  </a:cubicBezTo>
                  <a:cubicBezTo>
                    <a:pt x="16" y="165"/>
                    <a:pt x="22" y="138"/>
                    <a:pt x="33" y="115"/>
                  </a:cubicBezTo>
                  <a:cubicBezTo>
                    <a:pt x="37" y="120"/>
                    <a:pt x="41" y="126"/>
                    <a:pt x="41"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3" y="192"/>
                    <a:pt x="75" y="197"/>
                  </a:cubicBezTo>
                  <a:cubicBezTo>
                    <a:pt x="78" y="214"/>
                    <a:pt x="99" y="220"/>
                    <a:pt x="111" y="229"/>
                  </a:cubicBezTo>
                  <a:cubicBezTo>
                    <a:pt x="115" y="231"/>
                    <a:pt x="119" y="233"/>
                    <a:pt x="123" y="235"/>
                  </a:cubicBezTo>
                  <a:cubicBezTo>
                    <a:pt x="127" y="238"/>
                    <a:pt x="130" y="241"/>
                    <a:pt x="135" y="243"/>
                  </a:cubicBezTo>
                  <a:cubicBezTo>
                    <a:pt x="140" y="245"/>
                    <a:pt x="145" y="246"/>
                    <a:pt x="150" y="250"/>
                  </a:cubicBezTo>
                  <a:cubicBezTo>
                    <a:pt x="151" y="251"/>
                    <a:pt x="154" y="253"/>
                    <a:pt x="156" y="255"/>
                  </a:cubicBezTo>
                  <a:cubicBezTo>
                    <a:pt x="155" y="256"/>
                    <a:pt x="154" y="257"/>
                    <a:pt x="153" y="258"/>
                  </a:cubicBezTo>
                  <a:cubicBezTo>
                    <a:pt x="151" y="261"/>
                    <a:pt x="151" y="263"/>
                    <a:pt x="151" y="266"/>
                  </a:cubicBezTo>
                  <a:cubicBezTo>
                    <a:pt x="151" y="268"/>
                    <a:pt x="151" y="269"/>
                    <a:pt x="151" y="270"/>
                  </a:cubicBezTo>
                  <a:cubicBezTo>
                    <a:pt x="150" y="271"/>
                    <a:pt x="149" y="272"/>
                    <a:pt x="149" y="273"/>
                  </a:cubicBezTo>
                  <a:cubicBezTo>
                    <a:pt x="148" y="280"/>
                    <a:pt x="158" y="285"/>
                    <a:pt x="162" y="289"/>
                  </a:cubicBezTo>
                  <a:cubicBezTo>
                    <a:pt x="168" y="293"/>
                    <a:pt x="170" y="299"/>
                    <a:pt x="169" y="306"/>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lIns="91432" tIns="45719" rIns="91432" bIns="45719"/>
            <a:lstStyle/>
            <a:p>
              <a:endParaRPr lang="en-US" sz="2000"/>
            </a:p>
          </p:txBody>
        </p:sp>
        <p:sp>
          <p:nvSpPr>
            <p:cNvPr id="47" name="TextBox 46">
              <a:extLst>
                <a:ext uri="{FF2B5EF4-FFF2-40B4-BE49-F238E27FC236}">
                  <a16:creationId xmlns:a16="http://schemas.microsoft.com/office/drawing/2014/main" id="{175FE593-0072-4BB7-82F1-287B37735CC3}"/>
                </a:ext>
              </a:extLst>
            </p:cNvPr>
            <p:cNvSpPr txBox="1"/>
            <p:nvPr/>
          </p:nvSpPr>
          <p:spPr>
            <a:xfrm>
              <a:off x="10632221" y="1707507"/>
              <a:ext cx="809622" cy="407021"/>
            </a:xfrm>
            <a:prstGeom prst="rect">
              <a:avLst/>
            </a:prstGeom>
            <a:noFill/>
          </p:spPr>
          <p:txBody>
            <a:bodyPr wrap="none" rtlCol="0">
              <a:spAutoFit/>
            </a:bodyPr>
            <a:lstStyle/>
            <a:p>
              <a:r>
                <a:rPr lang="en-US" sz="1400" b="1">
                  <a:solidFill>
                    <a:srgbClr val="FABB00"/>
                  </a:solidFill>
                </a:rPr>
                <a:t>(NDC)</a:t>
              </a:r>
            </a:p>
          </p:txBody>
        </p:sp>
        <p:sp>
          <p:nvSpPr>
            <p:cNvPr id="48" name="Freeform 28">
              <a:extLst>
                <a:ext uri="{FF2B5EF4-FFF2-40B4-BE49-F238E27FC236}">
                  <a16:creationId xmlns:a16="http://schemas.microsoft.com/office/drawing/2014/main" id="{7B7EA32D-D35F-4B18-9A75-0F40F9B3C563}"/>
                </a:ext>
              </a:extLst>
            </p:cNvPr>
            <p:cNvSpPr>
              <a:spLocks noChangeAspect="1" noEditPoints="1"/>
            </p:cNvSpPr>
            <p:nvPr/>
          </p:nvSpPr>
          <p:spPr bwMode="auto">
            <a:xfrm>
              <a:off x="271464" y="2863702"/>
              <a:ext cx="244475" cy="446087"/>
            </a:xfrm>
            <a:custGeom>
              <a:avLst/>
              <a:gdLst>
                <a:gd name="T0" fmla="*/ 236 w 275"/>
                <a:gd name="T1" fmla="*/ 64 h 503"/>
                <a:gd name="T2" fmla="*/ 229 w 275"/>
                <a:gd name="T3" fmla="*/ 61 h 503"/>
                <a:gd name="T4" fmla="*/ 46 w 275"/>
                <a:gd name="T5" fmla="*/ 61 h 503"/>
                <a:gd name="T6" fmla="*/ 38 w 275"/>
                <a:gd name="T7" fmla="*/ 64 h 503"/>
                <a:gd name="T8" fmla="*/ 30 w 275"/>
                <a:gd name="T9" fmla="*/ 400 h 503"/>
                <a:gd name="T10" fmla="*/ 49 w 275"/>
                <a:gd name="T11" fmla="*/ 420 h 503"/>
                <a:gd name="T12" fmla="*/ 225 w 275"/>
                <a:gd name="T13" fmla="*/ 420 h 503"/>
                <a:gd name="T14" fmla="*/ 244 w 275"/>
                <a:gd name="T15" fmla="*/ 400 h 503"/>
                <a:gd name="T16" fmla="*/ 228 w 275"/>
                <a:gd name="T17" fmla="*/ 400 h 503"/>
                <a:gd name="T18" fmla="*/ 225 w 275"/>
                <a:gd name="T19" fmla="*/ 404 h 503"/>
                <a:gd name="T20" fmla="*/ 137 w 275"/>
                <a:gd name="T21" fmla="*/ 405 h 503"/>
                <a:gd name="T22" fmla="*/ 47 w 275"/>
                <a:gd name="T23" fmla="*/ 403 h 503"/>
                <a:gd name="T24" fmla="*/ 46 w 275"/>
                <a:gd name="T25" fmla="*/ 78 h 503"/>
                <a:gd name="T26" fmla="*/ 48 w 275"/>
                <a:gd name="T27" fmla="*/ 77 h 503"/>
                <a:gd name="T28" fmla="*/ 197 w 275"/>
                <a:gd name="T29" fmla="*/ 75 h 503"/>
                <a:gd name="T30" fmla="*/ 228 w 275"/>
                <a:gd name="T31" fmla="*/ 78 h 503"/>
                <a:gd name="T32" fmla="*/ 228 w 275"/>
                <a:gd name="T33" fmla="*/ 400 h 503"/>
                <a:gd name="T34" fmla="*/ 103 w 275"/>
                <a:gd name="T35" fmla="*/ 465 h 503"/>
                <a:gd name="T36" fmla="*/ 164 w 275"/>
                <a:gd name="T37" fmla="*/ 473 h 503"/>
                <a:gd name="T38" fmla="*/ 164 w 275"/>
                <a:gd name="T39" fmla="*/ 457 h 503"/>
                <a:gd name="T40" fmla="*/ 235 w 275"/>
                <a:gd name="T41" fmla="*/ 448 h 503"/>
                <a:gd name="T42" fmla="*/ 182 w 275"/>
                <a:gd name="T43" fmla="*/ 465 h 503"/>
                <a:gd name="T44" fmla="*/ 191 w 275"/>
                <a:gd name="T45" fmla="*/ 471 h 503"/>
                <a:gd name="T46" fmla="*/ 244 w 275"/>
                <a:gd name="T47" fmla="*/ 454 h 503"/>
                <a:gd name="T48" fmla="*/ 39 w 275"/>
                <a:gd name="T49" fmla="*/ 448 h 503"/>
                <a:gd name="T50" fmla="*/ 37 w 275"/>
                <a:gd name="T51" fmla="*/ 463 h 503"/>
                <a:gd name="T52" fmla="*/ 84 w 275"/>
                <a:gd name="T53" fmla="*/ 471 h 503"/>
                <a:gd name="T54" fmla="*/ 86 w 275"/>
                <a:gd name="T55" fmla="*/ 455 h 503"/>
                <a:gd name="T56" fmla="*/ 266 w 275"/>
                <a:gd name="T57" fmla="*/ 99 h 503"/>
                <a:gd name="T58" fmla="*/ 258 w 275"/>
                <a:gd name="T59" fmla="*/ 477 h 503"/>
                <a:gd name="T60" fmla="*/ 252 w 275"/>
                <a:gd name="T61" fmla="*/ 484 h 503"/>
                <a:gd name="T62" fmla="*/ 251 w 275"/>
                <a:gd name="T63" fmla="*/ 485 h 503"/>
                <a:gd name="T64" fmla="*/ 23 w 275"/>
                <a:gd name="T65" fmla="*/ 485 h 503"/>
                <a:gd name="T66" fmla="*/ 16 w 275"/>
                <a:gd name="T67" fmla="*/ 477 h 503"/>
                <a:gd name="T68" fmla="*/ 18 w 275"/>
                <a:gd name="T69" fmla="*/ 23 h 503"/>
                <a:gd name="T70" fmla="*/ 20 w 275"/>
                <a:gd name="T71" fmla="*/ 22 h 503"/>
                <a:gd name="T72" fmla="*/ 88 w 275"/>
                <a:gd name="T73" fmla="*/ 18 h 503"/>
                <a:gd name="T74" fmla="*/ 186 w 275"/>
                <a:gd name="T75" fmla="*/ 18 h 503"/>
                <a:gd name="T76" fmla="*/ 257 w 275"/>
                <a:gd name="T77" fmla="*/ 23 h 503"/>
                <a:gd name="T78" fmla="*/ 258 w 275"/>
                <a:gd name="T79" fmla="*/ 69 h 503"/>
                <a:gd name="T80" fmla="*/ 274 w 275"/>
                <a:gd name="T81" fmla="*/ 69 h 503"/>
                <a:gd name="T82" fmla="*/ 274 w 275"/>
                <a:gd name="T83" fmla="*/ 25 h 503"/>
                <a:gd name="T84" fmla="*/ 257 w 275"/>
                <a:gd name="T85" fmla="*/ 6 h 503"/>
                <a:gd name="T86" fmla="*/ 137 w 275"/>
                <a:gd name="T87" fmla="*/ 0 h 503"/>
                <a:gd name="T88" fmla="*/ 17 w 275"/>
                <a:gd name="T89" fmla="*/ 6 h 503"/>
                <a:gd name="T90" fmla="*/ 0 w 275"/>
                <a:gd name="T91" fmla="*/ 25 h 503"/>
                <a:gd name="T92" fmla="*/ 12 w 275"/>
                <a:gd name="T93" fmla="*/ 498 h 503"/>
                <a:gd name="T94" fmla="*/ 137 w 275"/>
                <a:gd name="T95" fmla="*/ 503 h 503"/>
                <a:gd name="T96" fmla="*/ 262 w 275"/>
                <a:gd name="T97" fmla="*/ 498 h 503"/>
                <a:gd name="T98" fmla="*/ 274 w 275"/>
                <a:gd name="T99" fmla="*/ 107 h 503"/>
                <a:gd name="T100" fmla="*/ 137 w 275"/>
                <a:gd name="T101" fmla="*/ 16 h 503"/>
                <a:gd name="T102" fmla="*/ 137 w 275"/>
                <a:gd name="T103" fmla="*/ 27 h 503"/>
                <a:gd name="T104" fmla="*/ 137 w 275"/>
                <a:gd name="T105" fmla="*/ 1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1"/>
            </a:solidFill>
            <a:ln w="9525">
              <a:solidFill>
                <a:schemeClr val="bg1">
                  <a:lumMod val="85000"/>
                </a:schemeClr>
              </a:solidFill>
              <a:round/>
              <a:headEnd/>
              <a:tailEnd/>
            </a:ln>
          </p:spPr>
          <p:txBody>
            <a:bodyPr/>
            <a:lstStyle/>
            <a:p>
              <a:pPr>
                <a:spcBef>
                  <a:spcPct val="50000"/>
                </a:spcBef>
                <a:defRPr/>
              </a:pPr>
              <a:endParaRPr lang="sv-SE" sz="1400">
                <a:cs typeface="+mn-cs"/>
              </a:endParaRPr>
            </a:p>
          </p:txBody>
        </p:sp>
        <p:sp>
          <p:nvSpPr>
            <p:cNvPr id="49" name="TextBox 48">
              <a:extLst>
                <a:ext uri="{FF2B5EF4-FFF2-40B4-BE49-F238E27FC236}">
                  <a16:creationId xmlns:a16="http://schemas.microsoft.com/office/drawing/2014/main" id="{A7556584-A927-49D8-B067-39B86040D520}"/>
                </a:ext>
              </a:extLst>
            </p:cNvPr>
            <p:cNvSpPr txBox="1"/>
            <p:nvPr/>
          </p:nvSpPr>
          <p:spPr>
            <a:xfrm>
              <a:off x="8000732" y="1466524"/>
              <a:ext cx="800034" cy="407021"/>
            </a:xfrm>
            <a:prstGeom prst="rect">
              <a:avLst/>
            </a:prstGeom>
            <a:noFill/>
          </p:spPr>
          <p:txBody>
            <a:bodyPr wrap="none" rtlCol="0">
              <a:spAutoFit/>
            </a:bodyPr>
            <a:lstStyle/>
            <a:p>
              <a:r>
                <a:rPr lang="en-US" sz="1400" b="1">
                  <a:solidFill>
                    <a:srgbClr val="FABB00"/>
                  </a:solidFill>
                </a:rPr>
                <a:t>(RDC)</a:t>
              </a:r>
            </a:p>
          </p:txBody>
        </p:sp>
        <p:sp>
          <p:nvSpPr>
            <p:cNvPr id="50" name="TextBox 49">
              <a:extLst>
                <a:ext uri="{FF2B5EF4-FFF2-40B4-BE49-F238E27FC236}">
                  <a16:creationId xmlns:a16="http://schemas.microsoft.com/office/drawing/2014/main" id="{D07C181C-9BE2-4000-8DE5-A8B3F2B24F94}"/>
                </a:ext>
              </a:extLst>
            </p:cNvPr>
            <p:cNvSpPr txBox="1"/>
            <p:nvPr/>
          </p:nvSpPr>
          <p:spPr>
            <a:xfrm>
              <a:off x="5918376" y="1449643"/>
              <a:ext cx="754011" cy="407021"/>
            </a:xfrm>
            <a:prstGeom prst="rect">
              <a:avLst/>
            </a:prstGeom>
            <a:noFill/>
          </p:spPr>
          <p:txBody>
            <a:bodyPr wrap="none" rtlCol="0">
              <a:spAutoFit/>
            </a:bodyPr>
            <a:lstStyle/>
            <a:p>
              <a:r>
                <a:rPr lang="en-US" sz="1400" b="1">
                  <a:solidFill>
                    <a:srgbClr val="FABB00"/>
                  </a:solidFill>
                </a:rPr>
                <a:t>(LSC)</a:t>
              </a:r>
            </a:p>
          </p:txBody>
        </p:sp>
        <p:sp>
          <p:nvSpPr>
            <p:cNvPr id="51" name="TextBox 50">
              <a:extLst>
                <a:ext uri="{FF2B5EF4-FFF2-40B4-BE49-F238E27FC236}">
                  <a16:creationId xmlns:a16="http://schemas.microsoft.com/office/drawing/2014/main" id="{115D1FCD-A1D8-4714-901A-1F4D9D508868}"/>
                </a:ext>
              </a:extLst>
            </p:cNvPr>
            <p:cNvSpPr txBox="1"/>
            <p:nvPr/>
          </p:nvSpPr>
          <p:spPr>
            <a:xfrm>
              <a:off x="4428538" y="1532271"/>
              <a:ext cx="665800" cy="407021"/>
            </a:xfrm>
            <a:prstGeom prst="rect">
              <a:avLst/>
            </a:prstGeom>
            <a:noFill/>
          </p:spPr>
          <p:txBody>
            <a:bodyPr wrap="none" rtlCol="0">
              <a:spAutoFit/>
            </a:bodyPr>
            <a:lstStyle/>
            <a:p>
              <a:r>
                <a:rPr lang="en-US" sz="1400" b="1">
                  <a:solidFill>
                    <a:srgbClr val="FABB00"/>
                  </a:solidFill>
                </a:rPr>
                <a:t>(CO)</a:t>
              </a:r>
            </a:p>
          </p:txBody>
        </p:sp>
        <p:sp>
          <p:nvSpPr>
            <p:cNvPr id="52" name="TextBox 51">
              <a:extLst>
                <a:ext uri="{FF2B5EF4-FFF2-40B4-BE49-F238E27FC236}">
                  <a16:creationId xmlns:a16="http://schemas.microsoft.com/office/drawing/2014/main" id="{7AAF677B-3FBD-4905-9622-41F0AB52CF27}"/>
                </a:ext>
              </a:extLst>
            </p:cNvPr>
            <p:cNvSpPr txBox="1"/>
            <p:nvPr/>
          </p:nvSpPr>
          <p:spPr>
            <a:xfrm>
              <a:off x="1967543" y="3579808"/>
              <a:ext cx="813457" cy="407021"/>
            </a:xfrm>
            <a:prstGeom prst="rect">
              <a:avLst/>
            </a:prstGeom>
            <a:noFill/>
          </p:spPr>
          <p:txBody>
            <a:bodyPr wrap="none" rtlCol="0">
              <a:spAutoFit/>
            </a:bodyPr>
            <a:lstStyle/>
            <a:p>
              <a:r>
                <a:rPr lang="en-US" sz="1400" b="1">
                  <a:solidFill>
                    <a:srgbClr val="FABB00"/>
                  </a:solidFill>
                </a:rPr>
                <a:t>(HUB)</a:t>
              </a:r>
            </a:p>
          </p:txBody>
        </p:sp>
        <p:sp>
          <p:nvSpPr>
            <p:cNvPr id="53" name="TextBox 52">
              <a:extLst>
                <a:ext uri="{FF2B5EF4-FFF2-40B4-BE49-F238E27FC236}">
                  <a16:creationId xmlns:a16="http://schemas.microsoft.com/office/drawing/2014/main" id="{4A0A3FCD-2FE8-40DC-96A9-168A5100CA0F}"/>
                </a:ext>
              </a:extLst>
            </p:cNvPr>
            <p:cNvSpPr txBox="1"/>
            <p:nvPr/>
          </p:nvSpPr>
          <p:spPr>
            <a:xfrm>
              <a:off x="575589" y="3728005"/>
              <a:ext cx="650459" cy="407021"/>
            </a:xfrm>
            <a:prstGeom prst="rect">
              <a:avLst/>
            </a:prstGeom>
            <a:noFill/>
          </p:spPr>
          <p:txBody>
            <a:bodyPr wrap="none" rtlCol="0">
              <a:spAutoFit/>
            </a:bodyPr>
            <a:lstStyle/>
            <a:p>
              <a:r>
                <a:rPr lang="en-US" sz="1400" b="1">
                  <a:solidFill>
                    <a:srgbClr val="FABB00"/>
                  </a:solidFill>
                </a:rPr>
                <a:t>(AS)</a:t>
              </a:r>
            </a:p>
          </p:txBody>
        </p:sp>
        <p:grpSp>
          <p:nvGrpSpPr>
            <p:cNvPr id="54" name="Group 53">
              <a:extLst>
                <a:ext uri="{FF2B5EF4-FFF2-40B4-BE49-F238E27FC236}">
                  <a16:creationId xmlns:a16="http://schemas.microsoft.com/office/drawing/2014/main" id="{4990C1C4-F20B-4F67-9786-E9CC7E9BF661}"/>
                </a:ext>
              </a:extLst>
            </p:cNvPr>
            <p:cNvGrpSpPr/>
            <p:nvPr/>
          </p:nvGrpSpPr>
          <p:grpSpPr>
            <a:xfrm>
              <a:off x="8631468" y="1042872"/>
              <a:ext cx="1992309" cy="1693863"/>
              <a:chOff x="5387982" y="2154243"/>
              <a:chExt cx="1992309" cy="1693863"/>
            </a:xfrm>
          </p:grpSpPr>
          <p:grpSp>
            <p:nvGrpSpPr>
              <p:cNvPr id="77" name="Group 614">
                <a:extLst>
                  <a:ext uri="{FF2B5EF4-FFF2-40B4-BE49-F238E27FC236}">
                    <a16:creationId xmlns:a16="http://schemas.microsoft.com/office/drawing/2014/main" id="{C1D33F8A-9BDB-4B8A-A897-DD19FC0C44AB}"/>
                  </a:ext>
                </a:extLst>
              </p:cNvPr>
              <p:cNvGrpSpPr>
                <a:grpSpLocks/>
              </p:cNvGrpSpPr>
              <p:nvPr/>
            </p:nvGrpSpPr>
            <p:grpSpPr bwMode="auto">
              <a:xfrm>
                <a:off x="5778503" y="2154243"/>
                <a:ext cx="1601788" cy="1693863"/>
                <a:chOff x="1732851" y="2961080"/>
                <a:chExt cx="611313" cy="1563509"/>
              </a:xfrm>
            </p:grpSpPr>
            <p:sp>
              <p:nvSpPr>
                <p:cNvPr id="80" name="AutoShape 117">
                  <a:extLst>
                    <a:ext uri="{FF2B5EF4-FFF2-40B4-BE49-F238E27FC236}">
                      <a16:creationId xmlns:a16="http://schemas.microsoft.com/office/drawing/2014/main" id="{688A8299-35A6-4C71-B13E-A2F9C1CD403C}"/>
                    </a:ext>
                  </a:extLst>
                </p:cNvPr>
                <p:cNvSpPr>
                  <a:spLocks noChangeAspect="1" noChangeArrowheads="1"/>
                </p:cNvSpPr>
                <p:nvPr/>
              </p:nvSpPr>
              <p:spPr bwMode="auto">
                <a:xfrm>
                  <a:off x="1738176" y="2965835"/>
                  <a:ext cx="599065" cy="1538782"/>
                </a:xfrm>
                <a:prstGeom prst="roundRect">
                  <a:avLst>
                    <a:gd name="adj" fmla="val 4630"/>
                  </a:avLst>
                </a:prstGeom>
                <a:solidFill>
                  <a:schemeClr val="bg1"/>
                </a:solidFill>
                <a:ln w="12700" algn="ctr">
                  <a:solidFill>
                    <a:schemeClr val="bg1"/>
                  </a:solidFill>
                  <a:round/>
                  <a:headEnd/>
                  <a:tailEnd/>
                </a:ln>
              </p:spPr>
              <p:txBody>
                <a:bodyPr wrap="none" lIns="95963" tIns="60936" rIns="95963" bIns="60936" anchor="ctr"/>
                <a:lstStyle/>
                <a:p>
                  <a:pPr algn="ctr"/>
                  <a:endParaRPr lang="sv-SE" sz="2000"/>
                </a:p>
              </p:txBody>
            </p:sp>
            <p:sp>
              <p:nvSpPr>
                <p:cNvPr id="81" name="Freeform 120">
                  <a:extLst>
                    <a:ext uri="{FF2B5EF4-FFF2-40B4-BE49-F238E27FC236}">
                      <a16:creationId xmlns:a16="http://schemas.microsoft.com/office/drawing/2014/main" id="{64514CA6-E89B-4B2D-A87D-0FFD168F19E5}"/>
                    </a:ext>
                  </a:extLst>
                </p:cNvPr>
                <p:cNvSpPr>
                  <a:spLocks noChangeAspect="1"/>
                </p:cNvSpPr>
                <p:nvPr/>
              </p:nvSpPr>
              <p:spPr bwMode="auto">
                <a:xfrm>
                  <a:off x="1732851" y="2961080"/>
                  <a:ext cx="611313" cy="1563509"/>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99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000"/>
                </a:p>
              </p:txBody>
            </p:sp>
          </p:grpSp>
          <p:sp>
            <p:nvSpPr>
              <p:cNvPr id="78" name="AutoShape 119">
                <a:extLst>
                  <a:ext uri="{FF2B5EF4-FFF2-40B4-BE49-F238E27FC236}">
                    <a16:creationId xmlns:a16="http://schemas.microsoft.com/office/drawing/2014/main" id="{BD8D9E2C-08AD-403C-8562-28618F75513F}"/>
                  </a:ext>
                </a:extLst>
              </p:cNvPr>
              <p:cNvSpPr>
                <a:spLocks noChangeAspect="1" noChangeArrowheads="1"/>
              </p:cNvSpPr>
              <p:nvPr/>
            </p:nvSpPr>
            <p:spPr bwMode="auto">
              <a:xfrm>
                <a:off x="5788025" y="3525843"/>
                <a:ext cx="1574800" cy="322263"/>
              </a:xfrm>
              <a:prstGeom prst="roundRect">
                <a:avLst>
                  <a:gd name="adj" fmla="val 12380"/>
                </a:avLst>
              </a:prstGeom>
              <a:solidFill>
                <a:srgbClr val="990099"/>
              </a:solidFill>
              <a:ln>
                <a:noFill/>
              </a:ln>
              <a:extLst>
                <a:ext uri="{91240B29-F687-4F45-9708-019B960494DF}">
                  <a14:hiddenLine xmlns:a14="http://schemas.microsoft.com/office/drawing/2010/main" w="12700" algn="ctr">
                    <a:solidFill>
                      <a:srgbClr val="000000"/>
                    </a:solidFill>
                    <a:round/>
                    <a:headEnd/>
                    <a:tailEnd/>
                  </a14:hiddenLine>
                </a:ext>
              </a:extLst>
            </p:spPr>
            <p:txBody>
              <a:bodyPr lIns="71967" tIns="45703" rIns="71967" bIns="45703" anchor="ctr"/>
              <a:lstStyle/>
              <a:p>
                <a:pPr algn="ctr"/>
                <a:r>
                  <a:rPr lang="sv-SE" sz="1050" b="1">
                    <a:solidFill>
                      <a:schemeClr val="bg1"/>
                    </a:solidFill>
                  </a:rPr>
                  <a:t>Regional DC</a:t>
                </a:r>
              </a:p>
            </p:txBody>
          </p:sp>
          <p:sp>
            <p:nvSpPr>
              <p:cNvPr id="79" name="Freeform 811">
                <a:extLst>
                  <a:ext uri="{FF2B5EF4-FFF2-40B4-BE49-F238E27FC236}">
                    <a16:creationId xmlns:a16="http://schemas.microsoft.com/office/drawing/2014/main" id="{AE2306C4-A741-406C-9D24-0D2214690F96}"/>
                  </a:ext>
                </a:extLst>
              </p:cNvPr>
              <p:cNvSpPr>
                <a:spLocks/>
              </p:cNvSpPr>
              <p:nvPr/>
            </p:nvSpPr>
            <p:spPr bwMode="auto">
              <a:xfrm>
                <a:off x="5387982" y="2205041"/>
                <a:ext cx="352425" cy="1616075"/>
              </a:xfrm>
              <a:custGeom>
                <a:avLst/>
                <a:gdLst>
                  <a:gd name="T0" fmla="*/ 0 w 395288"/>
                  <a:gd name="T1" fmla="*/ 1116993 h 1616868"/>
                  <a:gd name="T2" fmla="*/ 1340 w 395288"/>
                  <a:gd name="T3" fmla="*/ 1454468 h 1616868"/>
                  <a:gd name="T4" fmla="*/ 222427 w 395288"/>
                  <a:gd name="T5" fmla="*/ 1613698 h 1616868"/>
                  <a:gd name="T6" fmla="*/ 222427 w 395288"/>
                  <a:gd name="T7" fmla="*/ 0 h 1616868"/>
                  <a:gd name="T8" fmla="*/ 0 w 395288"/>
                  <a:gd name="T9" fmla="*/ 1116993 h 16168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5288" h="1616868">
                    <a:moveTo>
                      <a:pt x="0" y="1119187"/>
                    </a:moveTo>
                    <a:lnTo>
                      <a:pt x="2382" y="1457325"/>
                    </a:lnTo>
                    <a:lnTo>
                      <a:pt x="395288" y="1616868"/>
                    </a:lnTo>
                    <a:lnTo>
                      <a:pt x="395288" y="0"/>
                    </a:lnTo>
                    <a:lnTo>
                      <a:pt x="0" y="1119187"/>
                    </a:lnTo>
                    <a:close/>
                  </a:path>
                </a:pathLst>
              </a:custGeom>
              <a:solidFill>
                <a:srgbClr val="990099"/>
              </a:solidFill>
              <a:ln w="12700" cap="flat" cmpd="sng" algn="ctr">
                <a:solidFill>
                  <a:srgbClr val="990099"/>
                </a:solidFill>
                <a:prstDash val="solid"/>
                <a:round/>
                <a:headEnd type="none" w="med" len="med"/>
                <a:tailEnd type="none" w="med" len="med"/>
              </a:ln>
            </p:spPr>
            <p:txBody>
              <a:bodyPr wrap="none" lIns="71995" tIns="45719" rIns="71995" bIns="45719"/>
              <a:lstStyle/>
              <a:p>
                <a:endParaRPr lang="en-US" sz="2000"/>
              </a:p>
            </p:txBody>
          </p:sp>
        </p:grpSp>
        <p:grpSp>
          <p:nvGrpSpPr>
            <p:cNvPr id="55" name="Group 54">
              <a:extLst>
                <a:ext uri="{FF2B5EF4-FFF2-40B4-BE49-F238E27FC236}">
                  <a16:creationId xmlns:a16="http://schemas.microsoft.com/office/drawing/2014/main" id="{F006E5A5-F496-4E5E-8AE6-917DC493364C}"/>
                </a:ext>
              </a:extLst>
            </p:cNvPr>
            <p:cNvGrpSpPr/>
            <p:nvPr/>
          </p:nvGrpSpPr>
          <p:grpSpPr>
            <a:xfrm>
              <a:off x="1625269" y="2230531"/>
              <a:ext cx="1182967" cy="1693863"/>
              <a:chOff x="10196" y="2230531"/>
              <a:chExt cx="1182967" cy="1693863"/>
            </a:xfrm>
          </p:grpSpPr>
          <p:grpSp>
            <p:nvGrpSpPr>
              <p:cNvPr id="72" name="Group 614">
                <a:extLst>
                  <a:ext uri="{FF2B5EF4-FFF2-40B4-BE49-F238E27FC236}">
                    <a16:creationId xmlns:a16="http://schemas.microsoft.com/office/drawing/2014/main" id="{F621443B-ED40-457A-8C69-1CF36B71C0B5}"/>
                  </a:ext>
                </a:extLst>
              </p:cNvPr>
              <p:cNvGrpSpPr>
                <a:grpSpLocks/>
              </p:cNvGrpSpPr>
              <p:nvPr/>
            </p:nvGrpSpPr>
            <p:grpSpPr bwMode="auto">
              <a:xfrm>
                <a:off x="405790" y="2230531"/>
                <a:ext cx="787373" cy="1693863"/>
                <a:chOff x="1732851" y="2961081"/>
                <a:chExt cx="611313" cy="1563509"/>
              </a:xfrm>
            </p:grpSpPr>
            <p:sp>
              <p:nvSpPr>
                <p:cNvPr id="75" name="AutoShape 117">
                  <a:extLst>
                    <a:ext uri="{FF2B5EF4-FFF2-40B4-BE49-F238E27FC236}">
                      <a16:creationId xmlns:a16="http://schemas.microsoft.com/office/drawing/2014/main" id="{DE69005C-BA56-4B43-8BF1-B9917FF4D761}"/>
                    </a:ext>
                  </a:extLst>
                </p:cNvPr>
                <p:cNvSpPr>
                  <a:spLocks noChangeAspect="1" noChangeArrowheads="1"/>
                </p:cNvSpPr>
                <p:nvPr/>
              </p:nvSpPr>
              <p:spPr bwMode="auto">
                <a:xfrm>
                  <a:off x="1738176" y="2965835"/>
                  <a:ext cx="599065" cy="1538782"/>
                </a:xfrm>
                <a:prstGeom prst="roundRect">
                  <a:avLst>
                    <a:gd name="adj" fmla="val 4630"/>
                  </a:avLst>
                </a:prstGeom>
                <a:solidFill>
                  <a:schemeClr val="bg1"/>
                </a:solidFill>
                <a:ln w="12700" algn="ctr">
                  <a:solidFill>
                    <a:schemeClr val="bg1"/>
                  </a:solidFill>
                  <a:round/>
                  <a:headEnd/>
                  <a:tailEnd/>
                </a:ln>
              </p:spPr>
              <p:txBody>
                <a:bodyPr wrap="none" lIns="95963" tIns="60936" rIns="95963" bIns="60936" anchor="ctr"/>
                <a:lstStyle/>
                <a:p>
                  <a:pPr algn="ctr"/>
                  <a:endParaRPr lang="sv-SE" sz="2000"/>
                </a:p>
              </p:txBody>
            </p:sp>
            <p:sp>
              <p:nvSpPr>
                <p:cNvPr id="76" name="Freeform 120">
                  <a:extLst>
                    <a:ext uri="{FF2B5EF4-FFF2-40B4-BE49-F238E27FC236}">
                      <a16:creationId xmlns:a16="http://schemas.microsoft.com/office/drawing/2014/main" id="{B00020DC-2974-44FA-B239-95D7B4A8D1EB}"/>
                    </a:ext>
                  </a:extLst>
                </p:cNvPr>
                <p:cNvSpPr>
                  <a:spLocks noChangeAspect="1"/>
                </p:cNvSpPr>
                <p:nvPr/>
              </p:nvSpPr>
              <p:spPr bwMode="auto">
                <a:xfrm>
                  <a:off x="1732851" y="2961081"/>
                  <a:ext cx="611313" cy="1563509"/>
                </a:xfrm>
                <a:custGeom>
                  <a:avLst/>
                  <a:gdLst>
                    <a:gd name="T0" fmla="*/ 2147483647 w 545"/>
                    <a:gd name="T1" fmla="*/ 2147483647 h 1140"/>
                    <a:gd name="T2" fmla="*/ 0 w 545"/>
                    <a:gd name="T3" fmla="*/ 2147483647 h 1140"/>
                    <a:gd name="T4" fmla="*/ 0 w 545"/>
                    <a:gd name="T5" fmla="*/ 2147483647 h 1140"/>
                    <a:gd name="T6" fmla="*/ 0 w 545"/>
                    <a:gd name="T7" fmla="*/ 2147483647 h 1140"/>
                    <a:gd name="T8" fmla="*/ 2147483647 w 545"/>
                    <a:gd name="T9" fmla="*/ 0 h 1140"/>
                    <a:gd name="T10" fmla="*/ 2147483647 w 545"/>
                    <a:gd name="T11" fmla="*/ 0 h 1140"/>
                    <a:gd name="T12" fmla="*/ 2147483647 w 545"/>
                    <a:gd name="T13" fmla="*/ 0 h 1140"/>
                    <a:gd name="T14" fmla="*/ 2147483647 w 545"/>
                    <a:gd name="T15" fmla="*/ 2147483647 h 1140"/>
                    <a:gd name="T16" fmla="*/ 2147483647 w 545"/>
                    <a:gd name="T17" fmla="*/ 2147483647 h 1140"/>
                    <a:gd name="T18" fmla="*/ 2147483647 w 545"/>
                    <a:gd name="T19" fmla="*/ 2147483647 h 1140"/>
                    <a:gd name="T20" fmla="*/ 2147483647 w 545"/>
                    <a:gd name="T21" fmla="*/ 2147483647 h 1140"/>
                    <a:gd name="T22" fmla="*/ 2147483647 w 545"/>
                    <a:gd name="T23" fmla="*/ 2147483647 h 1140"/>
                    <a:gd name="T24" fmla="*/ 2147483647 w 545"/>
                    <a:gd name="T25" fmla="*/ 2147483647 h 1140"/>
                    <a:gd name="T26" fmla="*/ 2147483647 w 545"/>
                    <a:gd name="T27" fmla="*/ 2147483647 h 1140"/>
                    <a:gd name="T28" fmla="*/ 2147483647 w 545"/>
                    <a:gd name="T29" fmla="*/ 2147483647 h 1140"/>
                    <a:gd name="T30" fmla="*/ 2147483647 w 545"/>
                    <a:gd name="T31" fmla="*/ 2147483647 h 1140"/>
                    <a:gd name="T32" fmla="*/ 2147483647 w 545"/>
                    <a:gd name="T33" fmla="*/ 2147483647 h 1140"/>
                    <a:gd name="T34" fmla="*/ 2147483647 w 545"/>
                    <a:gd name="T35" fmla="*/ 2147483647 h 1140"/>
                    <a:gd name="T36" fmla="*/ 2147483647 w 545"/>
                    <a:gd name="T37" fmla="*/ 2147483647 h 1140"/>
                    <a:gd name="T38" fmla="*/ 2147483647 w 545"/>
                    <a:gd name="T39" fmla="*/ 2147483647 h 1140"/>
                    <a:gd name="T40" fmla="*/ 2147483647 w 545"/>
                    <a:gd name="T41" fmla="*/ 2147483647 h 1140"/>
                    <a:gd name="T42" fmla="*/ 2147483647 w 545"/>
                    <a:gd name="T43" fmla="*/ 2147483647 h 1140"/>
                    <a:gd name="T44" fmla="*/ 2147483647 w 545"/>
                    <a:gd name="T45" fmla="*/ 2147483647 h 1140"/>
                    <a:gd name="T46" fmla="*/ 2147483647 w 545"/>
                    <a:gd name="T47" fmla="*/ 2147483647 h 1140"/>
                    <a:gd name="T48" fmla="*/ 2147483647 w 545"/>
                    <a:gd name="T49" fmla="*/ 2147483647 h 1140"/>
                    <a:gd name="T50" fmla="*/ 2147483647 w 545"/>
                    <a:gd name="T51" fmla="*/ 2147483647 h 1140"/>
                    <a:gd name="T52" fmla="*/ 2147483647 w 545"/>
                    <a:gd name="T53" fmla="*/ 2147483647 h 1140"/>
                    <a:gd name="T54" fmla="*/ 2147483647 w 545"/>
                    <a:gd name="T55" fmla="*/ 2147483647 h 1140"/>
                    <a:gd name="T56" fmla="*/ 2147483647 w 545"/>
                    <a:gd name="T57" fmla="*/ 2147483647 h 1140"/>
                    <a:gd name="T58" fmla="*/ 2147483647 w 545"/>
                    <a:gd name="T59" fmla="*/ 2147483647 h 1140"/>
                    <a:gd name="T60" fmla="*/ 2147483647 w 545"/>
                    <a:gd name="T61" fmla="*/ 2147483647 h 1140"/>
                    <a:gd name="T62" fmla="*/ 2147483647 w 545"/>
                    <a:gd name="T63" fmla="*/ 2147483647 h 1140"/>
                    <a:gd name="T64" fmla="*/ 2147483647 w 545"/>
                    <a:gd name="T65" fmla="*/ 2147483647 h 1140"/>
                    <a:gd name="T66" fmla="*/ 2147483647 w 545"/>
                    <a:gd name="T67" fmla="*/ 2147483647 h 1140"/>
                    <a:gd name="T68" fmla="*/ 2147483647 w 545"/>
                    <a:gd name="T69" fmla="*/ 2147483647 h 1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1140"/>
                    <a:gd name="T107" fmla="*/ 545 w 545"/>
                    <a:gd name="T108" fmla="*/ 1140 h 1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1140">
                      <a:moveTo>
                        <a:pt x="30" y="1140"/>
                      </a:moveTo>
                      <a:cubicBezTo>
                        <a:pt x="13" y="1140"/>
                        <a:pt x="0" y="1126"/>
                        <a:pt x="0" y="1109"/>
                      </a:cubicBezTo>
                      <a:cubicBezTo>
                        <a:pt x="0" y="1109"/>
                        <a:pt x="0" y="1109"/>
                        <a:pt x="0" y="1109"/>
                      </a:cubicBezTo>
                      <a:cubicBezTo>
                        <a:pt x="0" y="31"/>
                        <a:pt x="0" y="31"/>
                        <a:pt x="0" y="31"/>
                      </a:cubicBezTo>
                      <a:cubicBezTo>
                        <a:pt x="0" y="14"/>
                        <a:pt x="13" y="0"/>
                        <a:pt x="30" y="0"/>
                      </a:cubicBezTo>
                      <a:cubicBezTo>
                        <a:pt x="30" y="0"/>
                        <a:pt x="30" y="0"/>
                        <a:pt x="30" y="0"/>
                      </a:cubicBezTo>
                      <a:cubicBezTo>
                        <a:pt x="514" y="0"/>
                        <a:pt x="514" y="0"/>
                        <a:pt x="514" y="0"/>
                      </a:cubicBezTo>
                      <a:cubicBezTo>
                        <a:pt x="531" y="0"/>
                        <a:pt x="545" y="14"/>
                        <a:pt x="545" y="31"/>
                      </a:cubicBezTo>
                      <a:cubicBezTo>
                        <a:pt x="545" y="31"/>
                        <a:pt x="545" y="31"/>
                        <a:pt x="545" y="31"/>
                      </a:cubicBezTo>
                      <a:cubicBezTo>
                        <a:pt x="545" y="53"/>
                        <a:pt x="545" y="53"/>
                        <a:pt x="545" y="53"/>
                      </a:cubicBezTo>
                      <a:cubicBezTo>
                        <a:pt x="545" y="57"/>
                        <a:pt x="541" y="61"/>
                        <a:pt x="537" y="61"/>
                      </a:cubicBezTo>
                      <a:cubicBezTo>
                        <a:pt x="537" y="61"/>
                        <a:pt x="537" y="61"/>
                        <a:pt x="537" y="61"/>
                      </a:cubicBezTo>
                      <a:cubicBezTo>
                        <a:pt x="532" y="61"/>
                        <a:pt x="529" y="57"/>
                        <a:pt x="529" y="53"/>
                      </a:cubicBezTo>
                      <a:cubicBezTo>
                        <a:pt x="529" y="53"/>
                        <a:pt x="529" y="53"/>
                        <a:pt x="529" y="53"/>
                      </a:cubicBezTo>
                      <a:cubicBezTo>
                        <a:pt x="529" y="31"/>
                        <a:pt x="529" y="31"/>
                        <a:pt x="529" y="31"/>
                      </a:cubicBezTo>
                      <a:cubicBezTo>
                        <a:pt x="529" y="23"/>
                        <a:pt x="522" y="16"/>
                        <a:pt x="514" y="16"/>
                      </a:cubicBezTo>
                      <a:cubicBezTo>
                        <a:pt x="514" y="16"/>
                        <a:pt x="514" y="16"/>
                        <a:pt x="514" y="16"/>
                      </a:cubicBezTo>
                      <a:cubicBezTo>
                        <a:pt x="30" y="16"/>
                        <a:pt x="30" y="16"/>
                        <a:pt x="30" y="16"/>
                      </a:cubicBezTo>
                      <a:cubicBezTo>
                        <a:pt x="22" y="16"/>
                        <a:pt x="16" y="23"/>
                        <a:pt x="16" y="31"/>
                      </a:cubicBezTo>
                      <a:cubicBezTo>
                        <a:pt x="16" y="31"/>
                        <a:pt x="16" y="31"/>
                        <a:pt x="16" y="31"/>
                      </a:cubicBezTo>
                      <a:cubicBezTo>
                        <a:pt x="16" y="1109"/>
                        <a:pt x="16" y="1109"/>
                        <a:pt x="16" y="1109"/>
                      </a:cubicBezTo>
                      <a:cubicBezTo>
                        <a:pt x="16" y="1117"/>
                        <a:pt x="22" y="1124"/>
                        <a:pt x="30" y="1124"/>
                      </a:cubicBezTo>
                      <a:cubicBezTo>
                        <a:pt x="30" y="1124"/>
                        <a:pt x="30" y="1124"/>
                        <a:pt x="30" y="1124"/>
                      </a:cubicBezTo>
                      <a:cubicBezTo>
                        <a:pt x="514" y="1124"/>
                        <a:pt x="514" y="1124"/>
                        <a:pt x="514" y="1124"/>
                      </a:cubicBezTo>
                      <a:cubicBezTo>
                        <a:pt x="522" y="1124"/>
                        <a:pt x="529" y="1117"/>
                        <a:pt x="529" y="1109"/>
                      </a:cubicBezTo>
                      <a:cubicBezTo>
                        <a:pt x="529" y="1109"/>
                        <a:pt x="529" y="1109"/>
                        <a:pt x="529" y="1109"/>
                      </a:cubicBezTo>
                      <a:cubicBezTo>
                        <a:pt x="529" y="82"/>
                        <a:pt x="529" y="82"/>
                        <a:pt x="529" y="82"/>
                      </a:cubicBezTo>
                      <a:cubicBezTo>
                        <a:pt x="529" y="78"/>
                        <a:pt x="532" y="74"/>
                        <a:pt x="537" y="74"/>
                      </a:cubicBezTo>
                      <a:cubicBezTo>
                        <a:pt x="537" y="74"/>
                        <a:pt x="537" y="74"/>
                        <a:pt x="537" y="74"/>
                      </a:cubicBezTo>
                      <a:cubicBezTo>
                        <a:pt x="541" y="74"/>
                        <a:pt x="545" y="78"/>
                        <a:pt x="545" y="82"/>
                      </a:cubicBezTo>
                      <a:cubicBezTo>
                        <a:pt x="545" y="82"/>
                        <a:pt x="545" y="82"/>
                        <a:pt x="545" y="82"/>
                      </a:cubicBezTo>
                      <a:cubicBezTo>
                        <a:pt x="545" y="1109"/>
                        <a:pt x="545" y="1109"/>
                        <a:pt x="545" y="1109"/>
                      </a:cubicBezTo>
                      <a:cubicBezTo>
                        <a:pt x="545" y="1126"/>
                        <a:pt x="531" y="1140"/>
                        <a:pt x="514" y="1140"/>
                      </a:cubicBezTo>
                      <a:cubicBezTo>
                        <a:pt x="514" y="1140"/>
                        <a:pt x="514" y="1140"/>
                        <a:pt x="514" y="1140"/>
                      </a:cubicBezTo>
                      <a:cubicBezTo>
                        <a:pt x="30" y="1140"/>
                        <a:pt x="30" y="1140"/>
                        <a:pt x="30" y="1140"/>
                      </a:cubicBezTo>
                      <a:close/>
                    </a:path>
                  </a:pathLst>
                </a:custGeom>
                <a:solidFill>
                  <a:srgbClr val="99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000"/>
                </a:p>
              </p:txBody>
            </p:sp>
          </p:grpSp>
          <p:sp>
            <p:nvSpPr>
              <p:cNvPr id="73" name="AutoShape 119">
                <a:extLst>
                  <a:ext uri="{FF2B5EF4-FFF2-40B4-BE49-F238E27FC236}">
                    <a16:creationId xmlns:a16="http://schemas.microsoft.com/office/drawing/2014/main" id="{453A6E31-A518-4D42-A008-349B29107890}"/>
                  </a:ext>
                </a:extLst>
              </p:cNvPr>
              <p:cNvSpPr>
                <a:spLocks noChangeAspect="1" noChangeArrowheads="1"/>
              </p:cNvSpPr>
              <p:nvPr/>
            </p:nvSpPr>
            <p:spPr bwMode="auto">
              <a:xfrm>
                <a:off x="401590" y="3602130"/>
                <a:ext cx="774107" cy="322263"/>
              </a:xfrm>
              <a:prstGeom prst="roundRect">
                <a:avLst>
                  <a:gd name="adj" fmla="val 12380"/>
                </a:avLst>
              </a:prstGeom>
              <a:solidFill>
                <a:srgbClr val="990099"/>
              </a:solidFill>
              <a:ln>
                <a:noFill/>
              </a:ln>
              <a:extLst>
                <a:ext uri="{91240B29-F687-4F45-9708-019B960494DF}">
                  <a14:hiddenLine xmlns:a14="http://schemas.microsoft.com/office/drawing/2010/main" w="12700" algn="ctr">
                    <a:solidFill>
                      <a:srgbClr val="000000"/>
                    </a:solidFill>
                    <a:round/>
                    <a:headEnd/>
                    <a:tailEnd/>
                  </a14:hiddenLine>
                </a:ext>
              </a:extLst>
            </p:spPr>
            <p:txBody>
              <a:bodyPr lIns="71967" tIns="45703" rIns="71967" bIns="45703" anchor="ctr"/>
              <a:lstStyle/>
              <a:p>
                <a:pPr algn="ctr"/>
                <a:r>
                  <a:rPr lang="sv-SE" sz="1050" b="1" err="1">
                    <a:solidFill>
                      <a:schemeClr val="bg1"/>
                    </a:solidFill>
                  </a:rPr>
                  <a:t>Base</a:t>
                </a:r>
                <a:r>
                  <a:rPr lang="sv-SE" sz="1050" b="1">
                    <a:solidFill>
                      <a:schemeClr val="bg1"/>
                    </a:solidFill>
                  </a:rPr>
                  <a:t> Station</a:t>
                </a:r>
              </a:p>
            </p:txBody>
          </p:sp>
          <p:sp>
            <p:nvSpPr>
              <p:cNvPr id="74" name="Freeform 811">
                <a:extLst>
                  <a:ext uri="{FF2B5EF4-FFF2-40B4-BE49-F238E27FC236}">
                    <a16:creationId xmlns:a16="http://schemas.microsoft.com/office/drawing/2014/main" id="{68FC04ED-B8B9-496C-9E46-70D1598ECF8F}"/>
                  </a:ext>
                </a:extLst>
              </p:cNvPr>
              <p:cNvSpPr>
                <a:spLocks/>
              </p:cNvSpPr>
              <p:nvPr/>
            </p:nvSpPr>
            <p:spPr bwMode="auto">
              <a:xfrm>
                <a:off x="10196" y="2281328"/>
                <a:ext cx="352425" cy="1616075"/>
              </a:xfrm>
              <a:custGeom>
                <a:avLst/>
                <a:gdLst>
                  <a:gd name="T0" fmla="*/ 0 w 395288"/>
                  <a:gd name="T1" fmla="*/ 1116993 h 1616868"/>
                  <a:gd name="T2" fmla="*/ 1340 w 395288"/>
                  <a:gd name="T3" fmla="*/ 1454468 h 1616868"/>
                  <a:gd name="T4" fmla="*/ 222427 w 395288"/>
                  <a:gd name="T5" fmla="*/ 1613698 h 1616868"/>
                  <a:gd name="T6" fmla="*/ 222427 w 395288"/>
                  <a:gd name="T7" fmla="*/ 0 h 1616868"/>
                  <a:gd name="T8" fmla="*/ 0 w 395288"/>
                  <a:gd name="T9" fmla="*/ 1116993 h 16168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5288" h="1616868">
                    <a:moveTo>
                      <a:pt x="0" y="1119187"/>
                    </a:moveTo>
                    <a:lnTo>
                      <a:pt x="2382" y="1457325"/>
                    </a:lnTo>
                    <a:lnTo>
                      <a:pt x="395288" y="1616868"/>
                    </a:lnTo>
                    <a:lnTo>
                      <a:pt x="395288" y="0"/>
                    </a:lnTo>
                    <a:lnTo>
                      <a:pt x="0" y="1119187"/>
                    </a:lnTo>
                    <a:close/>
                  </a:path>
                </a:pathLst>
              </a:custGeom>
              <a:solidFill>
                <a:srgbClr val="990099"/>
              </a:solidFill>
              <a:ln w="12700" cap="flat" cmpd="sng" algn="ctr">
                <a:solidFill>
                  <a:srgbClr val="990099"/>
                </a:solidFill>
                <a:prstDash val="solid"/>
                <a:round/>
                <a:headEnd type="none" w="med" len="med"/>
                <a:tailEnd type="none" w="med" len="med"/>
              </a:ln>
            </p:spPr>
            <p:txBody>
              <a:bodyPr wrap="none" lIns="71995" tIns="45719" rIns="71995" bIns="45719"/>
              <a:lstStyle/>
              <a:p>
                <a:endParaRPr lang="en-US" sz="2000"/>
              </a:p>
            </p:txBody>
          </p:sp>
        </p:grpSp>
        <p:grpSp>
          <p:nvGrpSpPr>
            <p:cNvPr id="56" name="Group 55">
              <a:extLst>
                <a:ext uri="{FF2B5EF4-FFF2-40B4-BE49-F238E27FC236}">
                  <a16:creationId xmlns:a16="http://schemas.microsoft.com/office/drawing/2014/main" id="{A66B0AC4-3D17-4E54-BBFB-DCD182DA785D}"/>
                </a:ext>
              </a:extLst>
            </p:cNvPr>
            <p:cNvGrpSpPr/>
            <p:nvPr/>
          </p:nvGrpSpPr>
          <p:grpSpPr>
            <a:xfrm>
              <a:off x="9168146" y="1688093"/>
              <a:ext cx="1327694" cy="582304"/>
              <a:chOff x="2939506" y="4660256"/>
              <a:chExt cx="2089588" cy="738220"/>
            </a:xfrm>
          </p:grpSpPr>
          <p:sp>
            <p:nvSpPr>
              <p:cNvPr id="69" name="TextBox 68">
                <a:extLst>
                  <a:ext uri="{FF2B5EF4-FFF2-40B4-BE49-F238E27FC236}">
                    <a16:creationId xmlns:a16="http://schemas.microsoft.com/office/drawing/2014/main" id="{249C5F53-D8DB-4481-8957-A5387B20C73E}"/>
                  </a:ext>
                </a:extLst>
              </p:cNvPr>
              <p:cNvSpPr txBox="1"/>
              <p:nvPr/>
            </p:nvSpPr>
            <p:spPr bwMode="auto">
              <a:xfrm>
                <a:off x="2939506" y="4660256"/>
                <a:ext cx="1042416" cy="369110"/>
              </a:xfrm>
              <a:prstGeom prst="rect">
                <a:avLst/>
              </a:prstGeom>
              <a:noFill/>
              <a:ln w="12700">
                <a:solidFill>
                  <a:schemeClr val="tx1"/>
                </a:solid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sv-SE" sz="1600"/>
                  <a:t>UPF</a:t>
                </a:r>
                <a:endParaRPr lang="en-US" sz="1600"/>
              </a:p>
            </p:txBody>
          </p:sp>
          <p:sp>
            <p:nvSpPr>
              <p:cNvPr id="70" name="TextBox 69">
                <a:extLst>
                  <a:ext uri="{FF2B5EF4-FFF2-40B4-BE49-F238E27FC236}">
                    <a16:creationId xmlns:a16="http://schemas.microsoft.com/office/drawing/2014/main" id="{38292FF2-CC4F-4D11-B20F-14FDAD8F3212}"/>
                  </a:ext>
                </a:extLst>
              </p:cNvPr>
              <p:cNvSpPr txBox="1"/>
              <p:nvPr/>
            </p:nvSpPr>
            <p:spPr bwMode="auto">
              <a:xfrm>
                <a:off x="3985092" y="4660256"/>
                <a:ext cx="1042416" cy="369110"/>
              </a:xfrm>
              <a:prstGeom prst="rect">
                <a:avLst/>
              </a:prstGeom>
              <a:noFill/>
              <a:ln w="12700">
                <a:solidFill>
                  <a:schemeClr val="tx1"/>
                </a:solid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sv-SE" sz="1600" err="1"/>
                  <a:t>App</a:t>
                </a:r>
                <a:endParaRPr lang="en-US" sz="1600" err="1"/>
              </a:p>
            </p:txBody>
          </p:sp>
          <p:sp>
            <p:nvSpPr>
              <p:cNvPr id="71" name="TextBox 70">
                <a:extLst>
                  <a:ext uri="{FF2B5EF4-FFF2-40B4-BE49-F238E27FC236}">
                    <a16:creationId xmlns:a16="http://schemas.microsoft.com/office/drawing/2014/main" id="{8B13F469-48B9-4F80-8C1B-DC65630667A8}"/>
                  </a:ext>
                </a:extLst>
              </p:cNvPr>
              <p:cNvSpPr txBox="1"/>
              <p:nvPr/>
            </p:nvSpPr>
            <p:spPr bwMode="auto">
              <a:xfrm>
                <a:off x="2941094" y="5029366"/>
                <a:ext cx="2088000" cy="369110"/>
              </a:xfrm>
              <a:prstGeom prst="rect">
                <a:avLst/>
              </a:prstGeom>
              <a:noFill/>
              <a:ln w="12700">
                <a:solidFill>
                  <a:schemeClr val="tx1"/>
                </a:solid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sv-SE" sz="1400" err="1"/>
                  <a:t>Edge</a:t>
                </a:r>
                <a:r>
                  <a:rPr lang="sv-SE" sz="1400"/>
                  <a:t> Cloud</a:t>
                </a:r>
                <a:endParaRPr lang="en-US" sz="1400"/>
              </a:p>
            </p:txBody>
          </p:sp>
        </p:grpSp>
        <p:sp>
          <p:nvSpPr>
            <p:cNvPr id="57" name="TextBox 56">
              <a:extLst>
                <a:ext uri="{FF2B5EF4-FFF2-40B4-BE49-F238E27FC236}">
                  <a16:creationId xmlns:a16="http://schemas.microsoft.com/office/drawing/2014/main" id="{89A5714B-8553-446D-9328-B2DAC9E7DFB1}"/>
                </a:ext>
              </a:extLst>
            </p:cNvPr>
            <p:cNvSpPr txBox="1"/>
            <p:nvPr/>
          </p:nvSpPr>
          <p:spPr bwMode="auto">
            <a:xfrm>
              <a:off x="2114247" y="3160382"/>
              <a:ext cx="616510" cy="369110"/>
            </a:xfrm>
            <a:prstGeom prst="rect">
              <a:avLst/>
            </a:prstGeom>
            <a:noFill/>
            <a:ln w="12700">
              <a:solidFill>
                <a:schemeClr val="tx1"/>
              </a:solid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sv-SE" sz="1200" err="1"/>
                <a:t>gNB</a:t>
              </a:r>
              <a:endParaRPr lang="en-US" sz="1200" err="1"/>
            </a:p>
          </p:txBody>
        </p:sp>
        <p:sp>
          <p:nvSpPr>
            <p:cNvPr id="58" name="Freeform 269">
              <a:extLst>
                <a:ext uri="{FF2B5EF4-FFF2-40B4-BE49-F238E27FC236}">
                  <a16:creationId xmlns:a16="http://schemas.microsoft.com/office/drawing/2014/main" id="{A7AF1EA5-83E6-40C7-9708-474F19AC059B}"/>
                </a:ext>
              </a:extLst>
            </p:cNvPr>
            <p:cNvSpPr/>
            <p:nvPr/>
          </p:nvSpPr>
          <p:spPr bwMode="auto">
            <a:xfrm>
              <a:off x="416073" y="3163373"/>
              <a:ext cx="2143481" cy="1019082"/>
            </a:xfrm>
            <a:custGeom>
              <a:avLst/>
              <a:gdLst>
                <a:gd name="connsiteX0" fmla="*/ 0 w 1159200"/>
                <a:gd name="connsiteY0" fmla="*/ 0 h 1019082"/>
                <a:gd name="connsiteX1" fmla="*/ 302400 w 1159200"/>
                <a:gd name="connsiteY1" fmla="*/ 1018800 h 1019082"/>
                <a:gd name="connsiteX2" fmla="*/ 878400 w 1159200"/>
                <a:gd name="connsiteY2" fmla="*/ 111600 h 1019082"/>
                <a:gd name="connsiteX3" fmla="*/ 1159200 w 1159200"/>
                <a:gd name="connsiteY3" fmla="*/ 900000 h 1019082"/>
              </a:gdLst>
              <a:ahLst/>
              <a:cxnLst>
                <a:cxn ang="0">
                  <a:pos x="connsiteX0" y="connsiteY0"/>
                </a:cxn>
                <a:cxn ang="0">
                  <a:pos x="connsiteX1" y="connsiteY1"/>
                </a:cxn>
                <a:cxn ang="0">
                  <a:pos x="connsiteX2" y="connsiteY2"/>
                </a:cxn>
                <a:cxn ang="0">
                  <a:pos x="connsiteX3" y="connsiteY3"/>
                </a:cxn>
              </a:cxnLst>
              <a:rect l="l" t="t" r="r" b="b"/>
              <a:pathLst>
                <a:path w="1159200" h="1019082">
                  <a:moveTo>
                    <a:pt x="0" y="0"/>
                  </a:moveTo>
                  <a:cubicBezTo>
                    <a:pt x="78000" y="500100"/>
                    <a:pt x="156000" y="1000200"/>
                    <a:pt x="302400" y="1018800"/>
                  </a:cubicBezTo>
                  <a:cubicBezTo>
                    <a:pt x="448800" y="1037400"/>
                    <a:pt x="735600" y="131400"/>
                    <a:pt x="878400" y="111600"/>
                  </a:cubicBezTo>
                  <a:cubicBezTo>
                    <a:pt x="1021200" y="91800"/>
                    <a:pt x="1090200" y="495900"/>
                    <a:pt x="1159200" y="900000"/>
                  </a:cubicBezTo>
                </a:path>
              </a:pathLst>
            </a:custGeom>
            <a:noFill/>
            <a:ln w="38100" cap="flat" cmpd="sng" algn="ctr">
              <a:solidFill>
                <a:schemeClr val="accent1"/>
              </a:solidFill>
              <a:prstDash val="solid"/>
              <a:round/>
              <a:headEnd type="none" w="med" len="med"/>
              <a:tailEnd type="triangle" w="med" len="med"/>
            </a:ln>
            <a:effectLst/>
          </p:spPr>
          <p:txBody>
            <a:bodyPr rtlCol="0" anchor="ctr"/>
            <a:lstStyle/>
            <a:p>
              <a:pPr algn="ctr"/>
              <a:endParaRPr lang="en-US" sz="1400"/>
            </a:p>
          </p:txBody>
        </p:sp>
        <p:sp>
          <p:nvSpPr>
            <p:cNvPr id="59" name="Freeform 270">
              <a:extLst>
                <a:ext uri="{FF2B5EF4-FFF2-40B4-BE49-F238E27FC236}">
                  <a16:creationId xmlns:a16="http://schemas.microsoft.com/office/drawing/2014/main" id="{CE89A49A-0C34-46AA-8498-2A0AE35B813D}"/>
                </a:ext>
              </a:extLst>
            </p:cNvPr>
            <p:cNvSpPr/>
            <p:nvPr/>
          </p:nvSpPr>
          <p:spPr bwMode="auto">
            <a:xfrm>
              <a:off x="2559554" y="2747783"/>
              <a:ext cx="6701757" cy="1518848"/>
            </a:xfrm>
            <a:custGeom>
              <a:avLst/>
              <a:gdLst>
                <a:gd name="connsiteX0" fmla="*/ 0 w 8438583"/>
                <a:gd name="connsiteY0" fmla="*/ 1897200 h 2101736"/>
                <a:gd name="connsiteX1" fmla="*/ 241200 w 8438583"/>
                <a:gd name="connsiteY1" fmla="*/ 2084400 h 2101736"/>
                <a:gd name="connsiteX2" fmla="*/ 1105200 w 8438583"/>
                <a:gd name="connsiteY2" fmla="*/ 1512000 h 2101736"/>
                <a:gd name="connsiteX3" fmla="*/ 3499200 w 8438583"/>
                <a:gd name="connsiteY3" fmla="*/ 964800 h 2101736"/>
                <a:gd name="connsiteX4" fmla="*/ 4546800 w 8438583"/>
                <a:gd name="connsiteY4" fmla="*/ 1483200 h 2101736"/>
                <a:gd name="connsiteX5" fmla="*/ 5637600 w 8438583"/>
                <a:gd name="connsiteY5" fmla="*/ 907200 h 2101736"/>
                <a:gd name="connsiteX6" fmla="*/ 6498000 w 8438583"/>
                <a:gd name="connsiteY6" fmla="*/ 1281600 h 2101736"/>
                <a:gd name="connsiteX7" fmla="*/ 7563600 w 8438583"/>
                <a:gd name="connsiteY7" fmla="*/ 309600 h 2101736"/>
                <a:gd name="connsiteX8" fmla="*/ 8312400 w 8438583"/>
                <a:gd name="connsiteY8" fmla="*/ 198000 h 2101736"/>
                <a:gd name="connsiteX9" fmla="*/ 8431200 w 8438583"/>
                <a:gd name="connsiteY9" fmla="*/ 0 h 2101736"/>
                <a:gd name="connsiteX0" fmla="*/ 0 w 8432296"/>
                <a:gd name="connsiteY0" fmla="*/ 1897200 h 2101736"/>
                <a:gd name="connsiteX1" fmla="*/ 241200 w 8432296"/>
                <a:gd name="connsiteY1" fmla="*/ 2084400 h 2101736"/>
                <a:gd name="connsiteX2" fmla="*/ 1105200 w 8432296"/>
                <a:gd name="connsiteY2" fmla="*/ 1512000 h 2101736"/>
                <a:gd name="connsiteX3" fmla="*/ 3499200 w 8432296"/>
                <a:gd name="connsiteY3" fmla="*/ 964800 h 2101736"/>
                <a:gd name="connsiteX4" fmla="*/ 4546800 w 8432296"/>
                <a:gd name="connsiteY4" fmla="*/ 1483200 h 2101736"/>
                <a:gd name="connsiteX5" fmla="*/ 5637600 w 8432296"/>
                <a:gd name="connsiteY5" fmla="*/ 907200 h 2101736"/>
                <a:gd name="connsiteX6" fmla="*/ 6498000 w 8432296"/>
                <a:gd name="connsiteY6" fmla="*/ 1281600 h 2101736"/>
                <a:gd name="connsiteX7" fmla="*/ 7563600 w 8432296"/>
                <a:gd name="connsiteY7" fmla="*/ 309600 h 2101736"/>
                <a:gd name="connsiteX8" fmla="*/ 8197200 w 8432296"/>
                <a:gd name="connsiteY8" fmla="*/ 756000 h 2101736"/>
                <a:gd name="connsiteX9" fmla="*/ 8431200 w 8432296"/>
                <a:gd name="connsiteY9" fmla="*/ 0 h 2101736"/>
                <a:gd name="connsiteX0" fmla="*/ 0 w 8293645"/>
                <a:gd name="connsiteY0" fmla="*/ 1598171 h 1802707"/>
                <a:gd name="connsiteX1" fmla="*/ 241200 w 8293645"/>
                <a:gd name="connsiteY1" fmla="*/ 1785371 h 1802707"/>
                <a:gd name="connsiteX2" fmla="*/ 1105200 w 8293645"/>
                <a:gd name="connsiteY2" fmla="*/ 1212971 h 1802707"/>
                <a:gd name="connsiteX3" fmla="*/ 3499200 w 8293645"/>
                <a:gd name="connsiteY3" fmla="*/ 665771 h 1802707"/>
                <a:gd name="connsiteX4" fmla="*/ 4546800 w 8293645"/>
                <a:gd name="connsiteY4" fmla="*/ 1184171 h 1802707"/>
                <a:gd name="connsiteX5" fmla="*/ 5637600 w 8293645"/>
                <a:gd name="connsiteY5" fmla="*/ 608171 h 1802707"/>
                <a:gd name="connsiteX6" fmla="*/ 6498000 w 8293645"/>
                <a:gd name="connsiteY6" fmla="*/ 982571 h 1802707"/>
                <a:gd name="connsiteX7" fmla="*/ 7563600 w 8293645"/>
                <a:gd name="connsiteY7" fmla="*/ 10571 h 1802707"/>
                <a:gd name="connsiteX8" fmla="*/ 8197200 w 8293645"/>
                <a:gd name="connsiteY8" fmla="*/ 456971 h 1802707"/>
                <a:gd name="connsiteX9" fmla="*/ 8283600 w 8293645"/>
                <a:gd name="connsiteY9" fmla="*/ 309371 h 1802707"/>
                <a:gd name="connsiteX0" fmla="*/ 0 w 8286200"/>
                <a:gd name="connsiteY0" fmla="*/ 1597787 h 1802323"/>
                <a:gd name="connsiteX1" fmla="*/ 241200 w 8286200"/>
                <a:gd name="connsiteY1" fmla="*/ 1784987 h 1802323"/>
                <a:gd name="connsiteX2" fmla="*/ 1105200 w 8286200"/>
                <a:gd name="connsiteY2" fmla="*/ 1212587 h 1802323"/>
                <a:gd name="connsiteX3" fmla="*/ 3499200 w 8286200"/>
                <a:gd name="connsiteY3" fmla="*/ 665387 h 1802323"/>
                <a:gd name="connsiteX4" fmla="*/ 4546800 w 8286200"/>
                <a:gd name="connsiteY4" fmla="*/ 1183787 h 1802323"/>
                <a:gd name="connsiteX5" fmla="*/ 5637600 w 8286200"/>
                <a:gd name="connsiteY5" fmla="*/ 607787 h 1802323"/>
                <a:gd name="connsiteX6" fmla="*/ 6498000 w 8286200"/>
                <a:gd name="connsiteY6" fmla="*/ 982187 h 1802323"/>
                <a:gd name="connsiteX7" fmla="*/ 7563600 w 8286200"/>
                <a:gd name="connsiteY7" fmla="*/ 10187 h 1802323"/>
                <a:gd name="connsiteX8" fmla="*/ 8143200 w 8286200"/>
                <a:gd name="connsiteY8" fmla="*/ 463787 h 1802323"/>
                <a:gd name="connsiteX9" fmla="*/ 8283600 w 8286200"/>
                <a:gd name="connsiteY9" fmla="*/ 308987 h 1802323"/>
                <a:gd name="connsiteX0" fmla="*/ 0 w 8286631"/>
                <a:gd name="connsiteY0" fmla="*/ 1300675 h 1505211"/>
                <a:gd name="connsiteX1" fmla="*/ 241200 w 8286631"/>
                <a:gd name="connsiteY1" fmla="*/ 1487875 h 1505211"/>
                <a:gd name="connsiteX2" fmla="*/ 1105200 w 8286631"/>
                <a:gd name="connsiteY2" fmla="*/ 915475 h 1505211"/>
                <a:gd name="connsiteX3" fmla="*/ 3499200 w 8286631"/>
                <a:gd name="connsiteY3" fmla="*/ 368275 h 1505211"/>
                <a:gd name="connsiteX4" fmla="*/ 4546800 w 8286631"/>
                <a:gd name="connsiteY4" fmla="*/ 886675 h 1505211"/>
                <a:gd name="connsiteX5" fmla="*/ 5637600 w 8286631"/>
                <a:gd name="connsiteY5" fmla="*/ 310675 h 1505211"/>
                <a:gd name="connsiteX6" fmla="*/ 6498000 w 8286631"/>
                <a:gd name="connsiteY6" fmla="*/ 685075 h 1505211"/>
                <a:gd name="connsiteX7" fmla="*/ 7513200 w 8286631"/>
                <a:gd name="connsiteY7" fmla="*/ 19075 h 1505211"/>
                <a:gd name="connsiteX8" fmla="*/ 8143200 w 8286631"/>
                <a:gd name="connsiteY8" fmla="*/ 166675 h 1505211"/>
                <a:gd name="connsiteX9" fmla="*/ 8283600 w 8286631"/>
                <a:gd name="connsiteY9" fmla="*/ 11875 h 1505211"/>
                <a:gd name="connsiteX0" fmla="*/ 0 w 8286631"/>
                <a:gd name="connsiteY0" fmla="*/ 1300675 h 1514733"/>
                <a:gd name="connsiteX1" fmla="*/ 241200 w 8286631"/>
                <a:gd name="connsiteY1" fmla="*/ 1487875 h 1514733"/>
                <a:gd name="connsiteX2" fmla="*/ 977471 w 8286631"/>
                <a:gd name="connsiteY2" fmla="*/ 766263 h 1514733"/>
                <a:gd name="connsiteX3" fmla="*/ 3499200 w 8286631"/>
                <a:gd name="connsiteY3" fmla="*/ 368275 h 1514733"/>
                <a:gd name="connsiteX4" fmla="*/ 4546800 w 8286631"/>
                <a:gd name="connsiteY4" fmla="*/ 886675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4546800 w 8286631"/>
                <a:gd name="connsiteY4" fmla="*/ 886675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3780422 w 8286631"/>
                <a:gd name="connsiteY4" fmla="*/ 974672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3780422 w 8286631"/>
                <a:gd name="connsiteY4" fmla="*/ 974672 h 1514733"/>
                <a:gd name="connsiteX5" fmla="*/ 5022606 w 8286631"/>
                <a:gd name="connsiteY5" fmla="*/ 417801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4790 h 1518848"/>
                <a:gd name="connsiteX1" fmla="*/ 241200 w 8286631"/>
                <a:gd name="connsiteY1" fmla="*/ 1491990 h 1518848"/>
                <a:gd name="connsiteX2" fmla="*/ 977471 w 8286631"/>
                <a:gd name="connsiteY2" fmla="*/ 770378 h 1518848"/>
                <a:gd name="connsiteX3" fmla="*/ 2567247 w 8286631"/>
                <a:gd name="connsiteY3" fmla="*/ 410649 h 1518848"/>
                <a:gd name="connsiteX4" fmla="*/ 3780422 w 8286631"/>
                <a:gd name="connsiteY4" fmla="*/ 978787 h 1518848"/>
                <a:gd name="connsiteX5" fmla="*/ 5022606 w 8286631"/>
                <a:gd name="connsiteY5" fmla="*/ 421916 h 1518848"/>
                <a:gd name="connsiteX6" fmla="*/ 6285118 w 8286631"/>
                <a:gd name="connsiteY6" fmla="*/ 761882 h 1518848"/>
                <a:gd name="connsiteX7" fmla="*/ 7513200 w 8286631"/>
                <a:gd name="connsiteY7" fmla="*/ 23190 h 1518848"/>
                <a:gd name="connsiteX8" fmla="*/ 8143200 w 8286631"/>
                <a:gd name="connsiteY8" fmla="*/ 170790 h 1518848"/>
                <a:gd name="connsiteX9" fmla="*/ 8283600 w 8286631"/>
                <a:gd name="connsiteY9" fmla="*/ 15990 h 151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6631" h="1518848">
                  <a:moveTo>
                    <a:pt x="0" y="1304790"/>
                  </a:moveTo>
                  <a:cubicBezTo>
                    <a:pt x="28500" y="1430490"/>
                    <a:pt x="78288" y="1581059"/>
                    <a:pt x="241200" y="1491990"/>
                  </a:cubicBezTo>
                  <a:cubicBezTo>
                    <a:pt x="404112" y="1402921"/>
                    <a:pt x="589797" y="950601"/>
                    <a:pt x="977471" y="770378"/>
                  </a:cubicBezTo>
                  <a:cubicBezTo>
                    <a:pt x="1365145" y="590155"/>
                    <a:pt x="2100089" y="375914"/>
                    <a:pt x="2567247" y="410649"/>
                  </a:cubicBezTo>
                  <a:cubicBezTo>
                    <a:pt x="3034405" y="445384"/>
                    <a:pt x="3371196" y="976909"/>
                    <a:pt x="3780422" y="978787"/>
                  </a:cubicBezTo>
                  <a:cubicBezTo>
                    <a:pt x="4189649" y="980665"/>
                    <a:pt x="4605157" y="458067"/>
                    <a:pt x="5022606" y="421916"/>
                  </a:cubicBezTo>
                  <a:cubicBezTo>
                    <a:pt x="5440055" y="385765"/>
                    <a:pt x="5870019" y="828336"/>
                    <a:pt x="6285118" y="761882"/>
                  </a:cubicBezTo>
                  <a:cubicBezTo>
                    <a:pt x="6700217" y="695428"/>
                    <a:pt x="7203520" y="121705"/>
                    <a:pt x="7513200" y="23190"/>
                  </a:cubicBezTo>
                  <a:cubicBezTo>
                    <a:pt x="7822880" y="-75325"/>
                    <a:pt x="8014800" y="171990"/>
                    <a:pt x="8143200" y="170790"/>
                  </a:cubicBezTo>
                  <a:cubicBezTo>
                    <a:pt x="8271600" y="169590"/>
                    <a:pt x="8296500" y="89190"/>
                    <a:pt x="8283600" y="15990"/>
                  </a:cubicBezTo>
                </a:path>
              </a:pathLst>
            </a:custGeom>
            <a:noFill/>
            <a:ln w="38100" cap="flat" cmpd="sng" algn="ctr">
              <a:solidFill>
                <a:schemeClr val="accent2"/>
              </a:solidFill>
              <a:prstDash val="solid"/>
              <a:round/>
              <a:headEnd type="none" w="med" len="med"/>
              <a:tailEnd type="triangle" w="med" len="med"/>
            </a:ln>
            <a:effectLst/>
          </p:spPr>
          <p:txBody>
            <a:bodyPr rtlCol="0" anchor="ctr"/>
            <a:lstStyle/>
            <a:p>
              <a:pPr algn="ctr"/>
              <a:endParaRPr lang="en-US" sz="1400"/>
            </a:p>
          </p:txBody>
        </p:sp>
        <p:sp>
          <p:nvSpPr>
            <p:cNvPr id="60" name="Freeform 271">
              <a:extLst>
                <a:ext uri="{FF2B5EF4-FFF2-40B4-BE49-F238E27FC236}">
                  <a16:creationId xmlns:a16="http://schemas.microsoft.com/office/drawing/2014/main" id="{2BBAEAF4-7961-4DAD-9D1E-F86B44DAB199}"/>
                </a:ext>
              </a:extLst>
            </p:cNvPr>
            <p:cNvSpPr/>
            <p:nvPr/>
          </p:nvSpPr>
          <p:spPr bwMode="auto">
            <a:xfrm>
              <a:off x="9265481" y="1806749"/>
              <a:ext cx="590400" cy="942624"/>
            </a:xfrm>
            <a:custGeom>
              <a:avLst/>
              <a:gdLst>
                <a:gd name="connsiteX0" fmla="*/ 0 w 644400"/>
                <a:gd name="connsiteY0" fmla="*/ 895576 h 895576"/>
                <a:gd name="connsiteX1" fmla="*/ 172800 w 644400"/>
                <a:gd name="connsiteY1" fmla="*/ 6376 h 895576"/>
                <a:gd name="connsiteX2" fmla="*/ 442800 w 644400"/>
                <a:gd name="connsiteY2" fmla="*/ 495976 h 895576"/>
                <a:gd name="connsiteX3" fmla="*/ 536400 w 644400"/>
                <a:gd name="connsiteY3" fmla="*/ 492376 h 895576"/>
                <a:gd name="connsiteX4" fmla="*/ 644400 w 644400"/>
                <a:gd name="connsiteY4" fmla="*/ 470776 h 895576"/>
                <a:gd name="connsiteX0" fmla="*/ 0 w 536400"/>
                <a:gd name="connsiteY0" fmla="*/ 895576 h 895576"/>
                <a:gd name="connsiteX1" fmla="*/ 172800 w 536400"/>
                <a:gd name="connsiteY1" fmla="*/ 6376 h 895576"/>
                <a:gd name="connsiteX2" fmla="*/ 442800 w 536400"/>
                <a:gd name="connsiteY2" fmla="*/ 495976 h 895576"/>
                <a:gd name="connsiteX3" fmla="*/ 536400 w 536400"/>
                <a:gd name="connsiteY3" fmla="*/ 492376 h 895576"/>
                <a:gd name="connsiteX0" fmla="*/ 0 w 590400"/>
                <a:gd name="connsiteY0" fmla="*/ 895591 h 895591"/>
                <a:gd name="connsiteX1" fmla="*/ 172800 w 590400"/>
                <a:gd name="connsiteY1" fmla="*/ 6391 h 895591"/>
                <a:gd name="connsiteX2" fmla="*/ 442800 w 590400"/>
                <a:gd name="connsiteY2" fmla="*/ 495991 h 895591"/>
                <a:gd name="connsiteX3" fmla="*/ 590400 w 590400"/>
                <a:gd name="connsiteY3" fmla="*/ 499591 h 895591"/>
              </a:gdLst>
              <a:ahLst/>
              <a:cxnLst>
                <a:cxn ang="0">
                  <a:pos x="connsiteX0" y="connsiteY0"/>
                </a:cxn>
                <a:cxn ang="0">
                  <a:pos x="connsiteX1" y="connsiteY1"/>
                </a:cxn>
                <a:cxn ang="0">
                  <a:pos x="connsiteX2" y="connsiteY2"/>
                </a:cxn>
                <a:cxn ang="0">
                  <a:pos x="connsiteX3" y="connsiteY3"/>
                </a:cxn>
              </a:cxnLst>
              <a:rect l="l" t="t" r="r" b="b"/>
              <a:pathLst>
                <a:path w="590400" h="895591">
                  <a:moveTo>
                    <a:pt x="0" y="895591"/>
                  </a:moveTo>
                  <a:cubicBezTo>
                    <a:pt x="49500" y="484291"/>
                    <a:pt x="99000" y="72991"/>
                    <a:pt x="172800" y="6391"/>
                  </a:cubicBezTo>
                  <a:cubicBezTo>
                    <a:pt x="246600" y="-60209"/>
                    <a:pt x="373200" y="413791"/>
                    <a:pt x="442800" y="495991"/>
                  </a:cubicBezTo>
                  <a:cubicBezTo>
                    <a:pt x="512400" y="578191"/>
                    <a:pt x="556800" y="503791"/>
                    <a:pt x="590400" y="499591"/>
                  </a:cubicBezTo>
                </a:path>
              </a:pathLst>
            </a:custGeom>
            <a:noFill/>
            <a:ln w="38100" cap="flat" cmpd="sng" algn="ctr">
              <a:solidFill>
                <a:schemeClr val="accent1"/>
              </a:solidFill>
              <a:prstDash val="solid"/>
              <a:round/>
              <a:headEnd type="none" w="med" len="med"/>
              <a:tailEnd type="triangle" w="med" len="med"/>
            </a:ln>
            <a:effectLst/>
          </p:spPr>
          <p:txBody>
            <a:bodyPr rtlCol="0" anchor="ctr"/>
            <a:lstStyle/>
            <a:p>
              <a:pPr algn="ctr"/>
              <a:endParaRPr lang="en-US" sz="1400"/>
            </a:p>
          </p:txBody>
        </p:sp>
        <p:sp>
          <p:nvSpPr>
            <p:cNvPr id="61" name="Freeform 272">
              <a:extLst>
                <a:ext uri="{FF2B5EF4-FFF2-40B4-BE49-F238E27FC236}">
                  <a16:creationId xmlns:a16="http://schemas.microsoft.com/office/drawing/2014/main" id="{DB71A02F-D3CA-4CCC-AED2-EAE67F842C35}"/>
                </a:ext>
              </a:extLst>
            </p:cNvPr>
            <p:cNvSpPr/>
            <p:nvPr/>
          </p:nvSpPr>
          <p:spPr bwMode="auto">
            <a:xfrm>
              <a:off x="9855799" y="1846200"/>
              <a:ext cx="338643" cy="660889"/>
            </a:xfrm>
            <a:custGeom>
              <a:avLst/>
              <a:gdLst>
                <a:gd name="connsiteX0" fmla="*/ 0 w 334800"/>
                <a:gd name="connsiteY0" fmla="*/ 486000 h 492534"/>
                <a:gd name="connsiteX1" fmla="*/ 187200 w 334800"/>
                <a:gd name="connsiteY1" fmla="*/ 424800 h 492534"/>
                <a:gd name="connsiteX2" fmla="*/ 334800 w 334800"/>
                <a:gd name="connsiteY2" fmla="*/ 0 h 492534"/>
                <a:gd name="connsiteX0" fmla="*/ 0 w 334800"/>
                <a:gd name="connsiteY0" fmla="*/ 486000 h 492534"/>
                <a:gd name="connsiteX1" fmla="*/ 187200 w 334800"/>
                <a:gd name="connsiteY1" fmla="*/ 424800 h 492534"/>
                <a:gd name="connsiteX2" fmla="*/ 285319 w 334800"/>
                <a:gd name="connsiteY2" fmla="*/ 181027 h 492534"/>
                <a:gd name="connsiteX3" fmla="*/ 334800 w 334800"/>
                <a:gd name="connsiteY3" fmla="*/ 0 h 492534"/>
                <a:gd name="connsiteX0" fmla="*/ 0 w 334800"/>
                <a:gd name="connsiteY0" fmla="*/ 486000 h 492534"/>
                <a:gd name="connsiteX1" fmla="*/ 187200 w 334800"/>
                <a:gd name="connsiteY1" fmla="*/ 424800 h 492534"/>
                <a:gd name="connsiteX2" fmla="*/ 285319 w 334800"/>
                <a:gd name="connsiteY2" fmla="*/ 181027 h 492534"/>
                <a:gd name="connsiteX3" fmla="*/ 303319 w 334800"/>
                <a:gd name="connsiteY3" fmla="*/ 127027 h 492534"/>
                <a:gd name="connsiteX4" fmla="*/ 334800 w 334800"/>
                <a:gd name="connsiteY4" fmla="*/ 0 h 492534"/>
                <a:gd name="connsiteX0" fmla="*/ 64 w 303541"/>
                <a:gd name="connsiteY0" fmla="*/ 360155 h 508342"/>
                <a:gd name="connsiteX1" fmla="*/ 187264 w 303541"/>
                <a:gd name="connsiteY1" fmla="*/ 298955 h 508342"/>
                <a:gd name="connsiteX2" fmla="*/ 285383 w 303541"/>
                <a:gd name="connsiteY2" fmla="*/ 55182 h 508342"/>
                <a:gd name="connsiteX3" fmla="*/ 303383 w 303541"/>
                <a:gd name="connsiteY3" fmla="*/ 1182 h 508342"/>
                <a:gd name="connsiteX4" fmla="*/ 64 w 303541"/>
                <a:gd name="connsiteY4" fmla="*/ 507755 h 508342"/>
                <a:gd name="connsiteX0" fmla="*/ 69 w 291832"/>
                <a:gd name="connsiteY0" fmla="*/ 309171 h 458541"/>
                <a:gd name="connsiteX1" fmla="*/ 187269 w 291832"/>
                <a:gd name="connsiteY1" fmla="*/ 247971 h 458541"/>
                <a:gd name="connsiteX2" fmla="*/ 285388 w 291832"/>
                <a:gd name="connsiteY2" fmla="*/ 4198 h 458541"/>
                <a:gd name="connsiteX3" fmla="*/ 281788 w 291832"/>
                <a:gd name="connsiteY3" fmla="*/ 331798 h 458541"/>
                <a:gd name="connsiteX4" fmla="*/ 69 w 291832"/>
                <a:gd name="connsiteY4" fmla="*/ 456771 h 458541"/>
                <a:gd name="connsiteX0" fmla="*/ 69 w 294934"/>
                <a:gd name="connsiteY0" fmla="*/ 513035 h 662405"/>
                <a:gd name="connsiteX1" fmla="*/ 187269 w 294934"/>
                <a:gd name="connsiteY1" fmla="*/ 451835 h 662405"/>
                <a:gd name="connsiteX2" fmla="*/ 288988 w 294934"/>
                <a:gd name="connsiteY2" fmla="*/ 2862 h 662405"/>
                <a:gd name="connsiteX3" fmla="*/ 281788 w 294934"/>
                <a:gd name="connsiteY3" fmla="*/ 535662 h 662405"/>
                <a:gd name="connsiteX4" fmla="*/ 69 w 294934"/>
                <a:gd name="connsiteY4" fmla="*/ 660635 h 662405"/>
                <a:gd name="connsiteX0" fmla="*/ 69 w 327754"/>
                <a:gd name="connsiteY0" fmla="*/ 510718 h 660088"/>
                <a:gd name="connsiteX1" fmla="*/ 187269 w 327754"/>
                <a:gd name="connsiteY1" fmla="*/ 449518 h 660088"/>
                <a:gd name="connsiteX2" fmla="*/ 288988 w 327754"/>
                <a:gd name="connsiteY2" fmla="*/ 545 h 660088"/>
                <a:gd name="connsiteX3" fmla="*/ 281788 w 327754"/>
                <a:gd name="connsiteY3" fmla="*/ 533345 h 660088"/>
                <a:gd name="connsiteX4" fmla="*/ 69 w 327754"/>
                <a:gd name="connsiteY4" fmla="*/ 658318 h 660088"/>
                <a:gd name="connsiteX0" fmla="*/ 69 w 327754"/>
                <a:gd name="connsiteY0" fmla="*/ 510718 h 660088"/>
                <a:gd name="connsiteX1" fmla="*/ 187269 w 327754"/>
                <a:gd name="connsiteY1" fmla="*/ 449518 h 660088"/>
                <a:gd name="connsiteX2" fmla="*/ 288988 w 327754"/>
                <a:gd name="connsiteY2" fmla="*/ 545 h 660088"/>
                <a:gd name="connsiteX3" fmla="*/ 281788 w 327754"/>
                <a:gd name="connsiteY3" fmla="*/ 533345 h 660088"/>
                <a:gd name="connsiteX4" fmla="*/ 69 w 327754"/>
                <a:gd name="connsiteY4" fmla="*/ 658318 h 660088"/>
                <a:gd name="connsiteX0" fmla="*/ 69 w 327754"/>
                <a:gd name="connsiteY0" fmla="*/ 510718 h 660088"/>
                <a:gd name="connsiteX1" fmla="*/ 187269 w 327754"/>
                <a:gd name="connsiteY1" fmla="*/ 449518 h 660088"/>
                <a:gd name="connsiteX2" fmla="*/ 288988 w 327754"/>
                <a:gd name="connsiteY2" fmla="*/ 545 h 660088"/>
                <a:gd name="connsiteX3" fmla="*/ 281788 w 327754"/>
                <a:gd name="connsiteY3" fmla="*/ 533345 h 660088"/>
                <a:gd name="connsiteX4" fmla="*/ 69 w 327754"/>
                <a:gd name="connsiteY4" fmla="*/ 658318 h 660088"/>
                <a:gd name="connsiteX0" fmla="*/ 62 w 321701"/>
                <a:gd name="connsiteY0" fmla="*/ 510693 h 659833"/>
                <a:gd name="connsiteX1" fmla="*/ 187262 w 321701"/>
                <a:gd name="connsiteY1" fmla="*/ 449493 h 659833"/>
                <a:gd name="connsiteX2" fmla="*/ 288981 w 321701"/>
                <a:gd name="connsiteY2" fmla="*/ 520 h 659833"/>
                <a:gd name="connsiteX3" fmla="*/ 281781 w 321701"/>
                <a:gd name="connsiteY3" fmla="*/ 533320 h 659833"/>
                <a:gd name="connsiteX4" fmla="*/ 62 w 321701"/>
                <a:gd name="connsiteY4" fmla="*/ 658293 h 659833"/>
                <a:gd name="connsiteX0" fmla="*/ 62 w 321701"/>
                <a:gd name="connsiteY0" fmla="*/ 510693 h 659833"/>
                <a:gd name="connsiteX1" fmla="*/ 187262 w 321701"/>
                <a:gd name="connsiteY1" fmla="*/ 449493 h 659833"/>
                <a:gd name="connsiteX2" fmla="*/ 288981 w 321701"/>
                <a:gd name="connsiteY2" fmla="*/ 520 h 659833"/>
                <a:gd name="connsiteX3" fmla="*/ 281781 w 321701"/>
                <a:gd name="connsiteY3" fmla="*/ 533320 h 659833"/>
                <a:gd name="connsiteX4" fmla="*/ 62 w 321701"/>
                <a:gd name="connsiteY4" fmla="*/ 658293 h 659833"/>
                <a:gd name="connsiteX0" fmla="*/ 81 w 338643"/>
                <a:gd name="connsiteY0" fmla="*/ 510775 h 660889"/>
                <a:gd name="connsiteX1" fmla="*/ 187281 w 338643"/>
                <a:gd name="connsiteY1" fmla="*/ 449575 h 660889"/>
                <a:gd name="connsiteX2" fmla="*/ 289000 w 338643"/>
                <a:gd name="connsiteY2" fmla="*/ 602 h 660889"/>
                <a:gd name="connsiteX3" fmla="*/ 281800 w 338643"/>
                <a:gd name="connsiteY3" fmla="*/ 533402 h 660889"/>
                <a:gd name="connsiteX4" fmla="*/ 81 w 338643"/>
                <a:gd name="connsiteY4" fmla="*/ 658375 h 66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643" h="660889">
                  <a:moveTo>
                    <a:pt x="81" y="510775"/>
                  </a:moveTo>
                  <a:cubicBezTo>
                    <a:pt x="65781" y="520675"/>
                    <a:pt x="131481" y="530575"/>
                    <a:pt x="187281" y="449575"/>
                  </a:cubicBezTo>
                  <a:cubicBezTo>
                    <a:pt x="234834" y="398746"/>
                    <a:pt x="194047" y="21431"/>
                    <a:pt x="289000" y="602"/>
                  </a:cubicBezTo>
                  <a:cubicBezTo>
                    <a:pt x="383953" y="-20227"/>
                    <a:pt x="320353" y="505973"/>
                    <a:pt x="281800" y="533402"/>
                  </a:cubicBezTo>
                  <a:cubicBezTo>
                    <a:pt x="243247" y="560831"/>
                    <a:pt x="-5166" y="679546"/>
                    <a:pt x="81" y="658375"/>
                  </a:cubicBezTo>
                </a:path>
              </a:pathLst>
            </a:custGeom>
            <a:noFill/>
            <a:ln w="38100" cap="flat" cmpd="sng" algn="ctr">
              <a:solidFill>
                <a:schemeClr val="accent6"/>
              </a:solidFill>
              <a:prstDash val="solid"/>
              <a:round/>
              <a:headEnd type="triangle" w="med" len="med"/>
              <a:tailEnd type="triangle" w="med" len="med"/>
            </a:ln>
            <a:effectLst/>
          </p:spPr>
          <p:txBody>
            <a:bodyPr rtlCol="0" anchor="ctr"/>
            <a:lstStyle/>
            <a:p>
              <a:pPr algn="ctr"/>
              <a:endParaRPr lang="en-US" sz="1400"/>
            </a:p>
          </p:txBody>
        </p:sp>
        <p:cxnSp>
          <p:nvCxnSpPr>
            <p:cNvPr id="62" name="Straight Arrow Connector 61">
              <a:extLst>
                <a:ext uri="{FF2B5EF4-FFF2-40B4-BE49-F238E27FC236}">
                  <a16:creationId xmlns:a16="http://schemas.microsoft.com/office/drawing/2014/main" id="{7DB7C914-2B71-46CA-AD6B-F9BE24BC28C2}"/>
                </a:ext>
              </a:extLst>
            </p:cNvPr>
            <p:cNvCxnSpPr>
              <a:cxnSpLocks/>
            </p:cNvCxnSpPr>
            <p:nvPr/>
          </p:nvCxnSpPr>
          <p:spPr bwMode="auto">
            <a:xfrm>
              <a:off x="89622" y="4666564"/>
              <a:ext cx="331770" cy="0"/>
            </a:xfrm>
            <a:prstGeom prst="straightConnector1">
              <a:avLst/>
            </a:prstGeom>
            <a:solidFill>
              <a:schemeClr val="accent1"/>
            </a:solidFill>
            <a:ln w="38100" cap="flat" cmpd="sng" algn="ctr">
              <a:solidFill>
                <a:schemeClr val="accent6"/>
              </a:solidFill>
              <a:prstDash val="solid"/>
              <a:round/>
              <a:headEnd type="triangle" w="med" len="med"/>
              <a:tailEnd type="triangle" w="med" len="med"/>
            </a:ln>
            <a:effectLst/>
          </p:spPr>
        </p:cxnSp>
        <p:sp>
          <p:nvSpPr>
            <p:cNvPr id="63" name="TextBox 62">
              <a:extLst>
                <a:ext uri="{FF2B5EF4-FFF2-40B4-BE49-F238E27FC236}">
                  <a16:creationId xmlns:a16="http://schemas.microsoft.com/office/drawing/2014/main" id="{01B4E93B-FABE-46E3-80AA-F28DC691E016}"/>
                </a:ext>
              </a:extLst>
            </p:cNvPr>
            <p:cNvSpPr txBox="1"/>
            <p:nvPr/>
          </p:nvSpPr>
          <p:spPr>
            <a:xfrm>
              <a:off x="-33596" y="4304432"/>
              <a:ext cx="610189" cy="407021"/>
            </a:xfrm>
            <a:prstGeom prst="rect">
              <a:avLst/>
            </a:prstGeom>
            <a:noFill/>
          </p:spPr>
          <p:txBody>
            <a:bodyPr wrap="none" rtlCol="0">
              <a:spAutoFit/>
            </a:bodyPr>
            <a:lstStyle/>
            <a:p>
              <a:r>
                <a:rPr lang="en-US" sz="1400" b="1">
                  <a:solidFill>
                    <a:schemeClr val="accent6"/>
                  </a:solidFill>
                </a:rPr>
                <a:t>App</a:t>
              </a:r>
            </a:p>
          </p:txBody>
        </p:sp>
        <p:sp>
          <p:nvSpPr>
            <p:cNvPr id="64" name="Freeform 208">
              <a:extLst>
                <a:ext uri="{FF2B5EF4-FFF2-40B4-BE49-F238E27FC236}">
                  <a16:creationId xmlns:a16="http://schemas.microsoft.com/office/drawing/2014/main" id="{B82A51DD-5A09-4D50-8E57-AC8E4E6FA7BC}"/>
                </a:ext>
              </a:extLst>
            </p:cNvPr>
            <p:cNvSpPr/>
            <p:nvPr/>
          </p:nvSpPr>
          <p:spPr bwMode="auto">
            <a:xfrm flipV="1">
              <a:off x="105653" y="2705130"/>
              <a:ext cx="334800" cy="492534"/>
            </a:xfrm>
            <a:custGeom>
              <a:avLst/>
              <a:gdLst>
                <a:gd name="connsiteX0" fmla="*/ 0 w 334800"/>
                <a:gd name="connsiteY0" fmla="*/ 486000 h 492534"/>
                <a:gd name="connsiteX1" fmla="*/ 187200 w 334800"/>
                <a:gd name="connsiteY1" fmla="*/ 424800 h 492534"/>
                <a:gd name="connsiteX2" fmla="*/ 334800 w 334800"/>
                <a:gd name="connsiteY2" fmla="*/ 0 h 492534"/>
              </a:gdLst>
              <a:ahLst/>
              <a:cxnLst>
                <a:cxn ang="0">
                  <a:pos x="connsiteX0" y="connsiteY0"/>
                </a:cxn>
                <a:cxn ang="0">
                  <a:pos x="connsiteX1" y="connsiteY1"/>
                </a:cxn>
                <a:cxn ang="0">
                  <a:pos x="connsiteX2" y="connsiteY2"/>
                </a:cxn>
              </a:cxnLst>
              <a:rect l="l" t="t" r="r" b="b"/>
              <a:pathLst>
                <a:path w="334800" h="492534">
                  <a:moveTo>
                    <a:pt x="0" y="486000"/>
                  </a:moveTo>
                  <a:cubicBezTo>
                    <a:pt x="65700" y="495900"/>
                    <a:pt x="131400" y="505800"/>
                    <a:pt x="187200" y="424800"/>
                  </a:cubicBezTo>
                  <a:cubicBezTo>
                    <a:pt x="243000" y="343800"/>
                    <a:pt x="288900" y="171900"/>
                    <a:pt x="334800" y="0"/>
                  </a:cubicBezTo>
                </a:path>
              </a:pathLst>
            </a:custGeom>
            <a:noFill/>
            <a:ln w="38100" cap="flat" cmpd="sng" algn="ctr">
              <a:solidFill>
                <a:schemeClr val="accent6"/>
              </a:solidFill>
              <a:prstDash val="solid"/>
              <a:round/>
              <a:headEnd type="none" w="med" len="med"/>
              <a:tailEnd type="triangle" w="med" len="med"/>
            </a:ln>
            <a:effectLst/>
          </p:spPr>
          <p:txBody>
            <a:bodyPr rtlCol="0" anchor="ctr"/>
            <a:lstStyle/>
            <a:p>
              <a:pPr algn="ctr"/>
              <a:endParaRPr lang="en-US" sz="1400"/>
            </a:p>
          </p:txBody>
        </p:sp>
        <p:sp>
          <p:nvSpPr>
            <p:cNvPr id="65" name="Freeform 209">
              <a:extLst>
                <a:ext uri="{FF2B5EF4-FFF2-40B4-BE49-F238E27FC236}">
                  <a16:creationId xmlns:a16="http://schemas.microsoft.com/office/drawing/2014/main" id="{303CB1F9-D9D3-4F37-B469-9288D5903CE6}"/>
                </a:ext>
              </a:extLst>
            </p:cNvPr>
            <p:cNvSpPr/>
            <p:nvPr/>
          </p:nvSpPr>
          <p:spPr bwMode="auto">
            <a:xfrm>
              <a:off x="398607" y="3303773"/>
              <a:ext cx="2139799" cy="1019082"/>
            </a:xfrm>
            <a:custGeom>
              <a:avLst/>
              <a:gdLst>
                <a:gd name="connsiteX0" fmla="*/ 0 w 1159200"/>
                <a:gd name="connsiteY0" fmla="*/ 0 h 1019082"/>
                <a:gd name="connsiteX1" fmla="*/ 302400 w 1159200"/>
                <a:gd name="connsiteY1" fmla="*/ 1018800 h 1019082"/>
                <a:gd name="connsiteX2" fmla="*/ 878400 w 1159200"/>
                <a:gd name="connsiteY2" fmla="*/ 111600 h 1019082"/>
                <a:gd name="connsiteX3" fmla="*/ 1159200 w 1159200"/>
                <a:gd name="connsiteY3" fmla="*/ 900000 h 1019082"/>
              </a:gdLst>
              <a:ahLst/>
              <a:cxnLst>
                <a:cxn ang="0">
                  <a:pos x="connsiteX0" y="connsiteY0"/>
                </a:cxn>
                <a:cxn ang="0">
                  <a:pos x="connsiteX1" y="connsiteY1"/>
                </a:cxn>
                <a:cxn ang="0">
                  <a:pos x="connsiteX2" y="connsiteY2"/>
                </a:cxn>
                <a:cxn ang="0">
                  <a:pos x="connsiteX3" y="connsiteY3"/>
                </a:cxn>
              </a:cxnLst>
              <a:rect l="l" t="t" r="r" b="b"/>
              <a:pathLst>
                <a:path w="1159200" h="1019082">
                  <a:moveTo>
                    <a:pt x="0" y="0"/>
                  </a:moveTo>
                  <a:cubicBezTo>
                    <a:pt x="78000" y="500100"/>
                    <a:pt x="156000" y="1000200"/>
                    <a:pt x="302400" y="1018800"/>
                  </a:cubicBezTo>
                  <a:cubicBezTo>
                    <a:pt x="448800" y="1037400"/>
                    <a:pt x="735600" y="131400"/>
                    <a:pt x="878400" y="111600"/>
                  </a:cubicBezTo>
                  <a:cubicBezTo>
                    <a:pt x="1021200" y="91800"/>
                    <a:pt x="1090200" y="495900"/>
                    <a:pt x="1159200" y="900000"/>
                  </a:cubicBezTo>
                </a:path>
              </a:pathLst>
            </a:custGeom>
            <a:noFill/>
            <a:ln w="38100" cap="flat" cmpd="sng" algn="ctr">
              <a:solidFill>
                <a:schemeClr val="accent1"/>
              </a:solidFill>
              <a:prstDash val="solid"/>
              <a:round/>
              <a:headEnd type="triangle" w="med" len="med"/>
              <a:tailEnd type="none" w="med" len="med"/>
            </a:ln>
            <a:effectLst/>
          </p:spPr>
          <p:txBody>
            <a:bodyPr rtlCol="0" anchor="ctr"/>
            <a:lstStyle/>
            <a:p>
              <a:pPr algn="ctr"/>
              <a:endParaRPr lang="en-US" sz="1400"/>
            </a:p>
          </p:txBody>
        </p:sp>
        <p:sp>
          <p:nvSpPr>
            <p:cNvPr id="66" name="Freeform 210">
              <a:extLst>
                <a:ext uri="{FF2B5EF4-FFF2-40B4-BE49-F238E27FC236}">
                  <a16:creationId xmlns:a16="http://schemas.microsoft.com/office/drawing/2014/main" id="{50657CB9-4DB7-4636-B9E7-9B8780A38DA2}"/>
                </a:ext>
              </a:extLst>
            </p:cNvPr>
            <p:cNvSpPr/>
            <p:nvPr/>
          </p:nvSpPr>
          <p:spPr bwMode="auto">
            <a:xfrm>
              <a:off x="2530800" y="2888183"/>
              <a:ext cx="6785521" cy="1518848"/>
            </a:xfrm>
            <a:custGeom>
              <a:avLst/>
              <a:gdLst>
                <a:gd name="connsiteX0" fmla="*/ 0 w 8438583"/>
                <a:gd name="connsiteY0" fmla="*/ 1897200 h 2101736"/>
                <a:gd name="connsiteX1" fmla="*/ 241200 w 8438583"/>
                <a:gd name="connsiteY1" fmla="*/ 2084400 h 2101736"/>
                <a:gd name="connsiteX2" fmla="*/ 1105200 w 8438583"/>
                <a:gd name="connsiteY2" fmla="*/ 1512000 h 2101736"/>
                <a:gd name="connsiteX3" fmla="*/ 3499200 w 8438583"/>
                <a:gd name="connsiteY3" fmla="*/ 964800 h 2101736"/>
                <a:gd name="connsiteX4" fmla="*/ 4546800 w 8438583"/>
                <a:gd name="connsiteY4" fmla="*/ 1483200 h 2101736"/>
                <a:gd name="connsiteX5" fmla="*/ 5637600 w 8438583"/>
                <a:gd name="connsiteY5" fmla="*/ 907200 h 2101736"/>
                <a:gd name="connsiteX6" fmla="*/ 6498000 w 8438583"/>
                <a:gd name="connsiteY6" fmla="*/ 1281600 h 2101736"/>
                <a:gd name="connsiteX7" fmla="*/ 7563600 w 8438583"/>
                <a:gd name="connsiteY7" fmla="*/ 309600 h 2101736"/>
                <a:gd name="connsiteX8" fmla="*/ 8312400 w 8438583"/>
                <a:gd name="connsiteY8" fmla="*/ 198000 h 2101736"/>
                <a:gd name="connsiteX9" fmla="*/ 8431200 w 8438583"/>
                <a:gd name="connsiteY9" fmla="*/ 0 h 2101736"/>
                <a:gd name="connsiteX0" fmla="*/ 0 w 8432296"/>
                <a:gd name="connsiteY0" fmla="*/ 1897200 h 2101736"/>
                <a:gd name="connsiteX1" fmla="*/ 241200 w 8432296"/>
                <a:gd name="connsiteY1" fmla="*/ 2084400 h 2101736"/>
                <a:gd name="connsiteX2" fmla="*/ 1105200 w 8432296"/>
                <a:gd name="connsiteY2" fmla="*/ 1512000 h 2101736"/>
                <a:gd name="connsiteX3" fmla="*/ 3499200 w 8432296"/>
                <a:gd name="connsiteY3" fmla="*/ 964800 h 2101736"/>
                <a:gd name="connsiteX4" fmla="*/ 4546800 w 8432296"/>
                <a:gd name="connsiteY4" fmla="*/ 1483200 h 2101736"/>
                <a:gd name="connsiteX5" fmla="*/ 5637600 w 8432296"/>
                <a:gd name="connsiteY5" fmla="*/ 907200 h 2101736"/>
                <a:gd name="connsiteX6" fmla="*/ 6498000 w 8432296"/>
                <a:gd name="connsiteY6" fmla="*/ 1281600 h 2101736"/>
                <a:gd name="connsiteX7" fmla="*/ 7563600 w 8432296"/>
                <a:gd name="connsiteY7" fmla="*/ 309600 h 2101736"/>
                <a:gd name="connsiteX8" fmla="*/ 8197200 w 8432296"/>
                <a:gd name="connsiteY8" fmla="*/ 756000 h 2101736"/>
                <a:gd name="connsiteX9" fmla="*/ 8431200 w 8432296"/>
                <a:gd name="connsiteY9" fmla="*/ 0 h 2101736"/>
                <a:gd name="connsiteX0" fmla="*/ 0 w 8293645"/>
                <a:gd name="connsiteY0" fmla="*/ 1598171 h 1802707"/>
                <a:gd name="connsiteX1" fmla="*/ 241200 w 8293645"/>
                <a:gd name="connsiteY1" fmla="*/ 1785371 h 1802707"/>
                <a:gd name="connsiteX2" fmla="*/ 1105200 w 8293645"/>
                <a:gd name="connsiteY2" fmla="*/ 1212971 h 1802707"/>
                <a:gd name="connsiteX3" fmla="*/ 3499200 w 8293645"/>
                <a:gd name="connsiteY3" fmla="*/ 665771 h 1802707"/>
                <a:gd name="connsiteX4" fmla="*/ 4546800 w 8293645"/>
                <a:gd name="connsiteY4" fmla="*/ 1184171 h 1802707"/>
                <a:gd name="connsiteX5" fmla="*/ 5637600 w 8293645"/>
                <a:gd name="connsiteY5" fmla="*/ 608171 h 1802707"/>
                <a:gd name="connsiteX6" fmla="*/ 6498000 w 8293645"/>
                <a:gd name="connsiteY6" fmla="*/ 982571 h 1802707"/>
                <a:gd name="connsiteX7" fmla="*/ 7563600 w 8293645"/>
                <a:gd name="connsiteY7" fmla="*/ 10571 h 1802707"/>
                <a:gd name="connsiteX8" fmla="*/ 8197200 w 8293645"/>
                <a:gd name="connsiteY8" fmla="*/ 456971 h 1802707"/>
                <a:gd name="connsiteX9" fmla="*/ 8283600 w 8293645"/>
                <a:gd name="connsiteY9" fmla="*/ 309371 h 1802707"/>
                <a:gd name="connsiteX0" fmla="*/ 0 w 8286200"/>
                <a:gd name="connsiteY0" fmla="*/ 1597787 h 1802323"/>
                <a:gd name="connsiteX1" fmla="*/ 241200 w 8286200"/>
                <a:gd name="connsiteY1" fmla="*/ 1784987 h 1802323"/>
                <a:gd name="connsiteX2" fmla="*/ 1105200 w 8286200"/>
                <a:gd name="connsiteY2" fmla="*/ 1212587 h 1802323"/>
                <a:gd name="connsiteX3" fmla="*/ 3499200 w 8286200"/>
                <a:gd name="connsiteY3" fmla="*/ 665387 h 1802323"/>
                <a:gd name="connsiteX4" fmla="*/ 4546800 w 8286200"/>
                <a:gd name="connsiteY4" fmla="*/ 1183787 h 1802323"/>
                <a:gd name="connsiteX5" fmla="*/ 5637600 w 8286200"/>
                <a:gd name="connsiteY5" fmla="*/ 607787 h 1802323"/>
                <a:gd name="connsiteX6" fmla="*/ 6498000 w 8286200"/>
                <a:gd name="connsiteY6" fmla="*/ 982187 h 1802323"/>
                <a:gd name="connsiteX7" fmla="*/ 7563600 w 8286200"/>
                <a:gd name="connsiteY7" fmla="*/ 10187 h 1802323"/>
                <a:gd name="connsiteX8" fmla="*/ 8143200 w 8286200"/>
                <a:gd name="connsiteY8" fmla="*/ 463787 h 1802323"/>
                <a:gd name="connsiteX9" fmla="*/ 8283600 w 8286200"/>
                <a:gd name="connsiteY9" fmla="*/ 308987 h 1802323"/>
                <a:gd name="connsiteX0" fmla="*/ 0 w 8286631"/>
                <a:gd name="connsiteY0" fmla="*/ 1300675 h 1505211"/>
                <a:gd name="connsiteX1" fmla="*/ 241200 w 8286631"/>
                <a:gd name="connsiteY1" fmla="*/ 1487875 h 1505211"/>
                <a:gd name="connsiteX2" fmla="*/ 1105200 w 8286631"/>
                <a:gd name="connsiteY2" fmla="*/ 915475 h 1505211"/>
                <a:gd name="connsiteX3" fmla="*/ 3499200 w 8286631"/>
                <a:gd name="connsiteY3" fmla="*/ 368275 h 1505211"/>
                <a:gd name="connsiteX4" fmla="*/ 4546800 w 8286631"/>
                <a:gd name="connsiteY4" fmla="*/ 886675 h 1505211"/>
                <a:gd name="connsiteX5" fmla="*/ 5637600 w 8286631"/>
                <a:gd name="connsiteY5" fmla="*/ 310675 h 1505211"/>
                <a:gd name="connsiteX6" fmla="*/ 6498000 w 8286631"/>
                <a:gd name="connsiteY6" fmla="*/ 685075 h 1505211"/>
                <a:gd name="connsiteX7" fmla="*/ 7513200 w 8286631"/>
                <a:gd name="connsiteY7" fmla="*/ 19075 h 1505211"/>
                <a:gd name="connsiteX8" fmla="*/ 8143200 w 8286631"/>
                <a:gd name="connsiteY8" fmla="*/ 166675 h 1505211"/>
                <a:gd name="connsiteX9" fmla="*/ 8283600 w 8286631"/>
                <a:gd name="connsiteY9" fmla="*/ 11875 h 1505211"/>
                <a:gd name="connsiteX0" fmla="*/ 0 w 8286631"/>
                <a:gd name="connsiteY0" fmla="*/ 1300675 h 1514733"/>
                <a:gd name="connsiteX1" fmla="*/ 241200 w 8286631"/>
                <a:gd name="connsiteY1" fmla="*/ 1487875 h 1514733"/>
                <a:gd name="connsiteX2" fmla="*/ 977471 w 8286631"/>
                <a:gd name="connsiteY2" fmla="*/ 766263 h 1514733"/>
                <a:gd name="connsiteX3" fmla="*/ 3499200 w 8286631"/>
                <a:gd name="connsiteY3" fmla="*/ 368275 h 1514733"/>
                <a:gd name="connsiteX4" fmla="*/ 4546800 w 8286631"/>
                <a:gd name="connsiteY4" fmla="*/ 886675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4546800 w 8286631"/>
                <a:gd name="connsiteY4" fmla="*/ 886675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3780422 w 8286631"/>
                <a:gd name="connsiteY4" fmla="*/ 974672 h 1514733"/>
                <a:gd name="connsiteX5" fmla="*/ 5637600 w 8286631"/>
                <a:gd name="connsiteY5" fmla="*/ 310675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0675 h 1514733"/>
                <a:gd name="connsiteX1" fmla="*/ 241200 w 8286631"/>
                <a:gd name="connsiteY1" fmla="*/ 1487875 h 1514733"/>
                <a:gd name="connsiteX2" fmla="*/ 977471 w 8286631"/>
                <a:gd name="connsiteY2" fmla="*/ 766263 h 1514733"/>
                <a:gd name="connsiteX3" fmla="*/ 2567247 w 8286631"/>
                <a:gd name="connsiteY3" fmla="*/ 406534 h 1514733"/>
                <a:gd name="connsiteX4" fmla="*/ 3780422 w 8286631"/>
                <a:gd name="connsiteY4" fmla="*/ 974672 h 1514733"/>
                <a:gd name="connsiteX5" fmla="*/ 5022606 w 8286631"/>
                <a:gd name="connsiteY5" fmla="*/ 417801 h 1514733"/>
                <a:gd name="connsiteX6" fmla="*/ 6498000 w 8286631"/>
                <a:gd name="connsiteY6" fmla="*/ 685075 h 1514733"/>
                <a:gd name="connsiteX7" fmla="*/ 7513200 w 8286631"/>
                <a:gd name="connsiteY7" fmla="*/ 19075 h 1514733"/>
                <a:gd name="connsiteX8" fmla="*/ 8143200 w 8286631"/>
                <a:gd name="connsiteY8" fmla="*/ 166675 h 1514733"/>
                <a:gd name="connsiteX9" fmla="*/ 8283600 w 8286631"/>
                <a:gd name="connsiteY9" fmla="*/ 11875 h 1514733"/>
                <a:gd name="connsiteX0" fmla="*/ 0 w 8286631"/>
                <a:gd name="connsiteY0" fmla="*/ 1304790 h 1518848"/>
                <a:gd name="connsiteX1" fmla="*/ 241200 w 8286631"/>
                <a:gd name="connsiteY1" fmla="*/ 1491990 h 1518848"/>
                <a:gd name="connsiteX2" fmla="*/ 977471 w 8286631"/>
                <a:gd name="connsiteY2" fmla="*/ 770378 h 1518848"/>
                <a:gd name="connsiteX3" fmla="*/ 2567247 w 8286631"/>
                <a:gd name="connsiteY3" fmla="*/ 410649 h 1518848"/>
                <a:gd name="connsiteX4" fmla="*/ 3780422 w 8286631"/>
                <a:gd name="connsiteY4" fmla="*/ 978787 h 1518848"/>
                <a:gd name="connsiteX5" fmla="*/ 5022606 w 8286631"/>
                <a:gd name="connsiteY5" fmla="*/ 421916 h 1518848"/>
                <a:gd name="connsiteX6" fmla="*/ 6285118 w 8286631"/>
                <a:gd name="connsiteY6" fmla="*/ 761882 h 1518848"/>
                <a:gd name="connsiteX7" fmla="*/ 7513200 w 8286631"/>
                <a:gd name="connsiteY7" fmla="*/ 23190 h 1518848"/>
                <a:gd name="connsiteX8" fmla="*/ 8143200 w 8286631"/>
                <a:gd name="connsiteY8" fmla="*/ 170790 h 1518848"/>
                <a:gd name="connsiteX9" fmla="*/ 8283600 w 8286631"/>
                <a:gd name="connsiteY9" fmla="*/ 15990 h 151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6631" h="1518848">
                  <a:moveTo>
                    <a:pt x="0" y="1304790"/>
                  </a:moveTo>
                  <a:cubicBezTo>
                    <a:pt x="28500" y="1430490"/>
                    <a:pt x="78288" y="1581059"/>
                    <a:pt x="241200" y="1491990"/>
                  </a:cubicBezTo>
                  <a:cubicBezTo>
                    <a:pt x="404112" y="1402921"/>
                    <a:pt x="589797" y="950601"/>
                    <a:pt x="977471" y="770378"/>
                  </a:cubicBezTo>
                  <a:cubicBezTo>
                    <a:pt x="1365145" y="590155"/>
                    <a:pt x="2100089" y="375914"/>
                    <a:pt x="2567247" y="410649"/>
                  </a:cubicBezTo>
                  <a:cubicBezTo>
                    <a:pt x="3034405" y="445384"/>
                    <a:pt x="3371196" y="976909"/>
                    <a:pt x="3780422" y="978787"/>
                  </a:cubicBezTo>
                  <a:cubicBezTo>
                    <a:pt x="4189649" y="980665"/>
                    <a:pt x="4605157" y="458067"/>
                    <a:pt x="5022606" y="421916"/>
                  </a:cubicBezTo>
                  <a:cubicBezTo>
                    <a:pt x="5440055" y="385765"/>
                    <a:pt x="5870019" y="828336"/>
                    <a:pt x="6285118" y="761882"/>
                  </a:cubicBezTo>
                  <a:cubicBezTo>
                    <a:pt x="6700217" y="695428"/>
                    <a:pt x="7203520" y="121705"/>
                    <a:pt x="7513200" y="23190"/>
                  </a:cubicBezTo>
                  <a:cubicBezTo>
                    <a:pt x="7822880" y="-75325"/>
                    <a:pt x="8014800" y="171990"/>
                    <a:pt x="8143200" y="170790"/>
                  </a:cubicBezTo>
                  <a:cubicBezTo>
                    <a:pt x="8271600" y="169590"/>
                    <a:pt x="8296500" y="89190"/>
                    <a:pt x="8283600" y="15990"/>
                  </a:cubicBezTo>
                </a:path>
              </a:pathLst>
            </a:custGeom>
            <a:noFill/>
            <a:ln w="38100" cap="flat" cmpd="sng" algn="ctr">
              <a:solidFill>
                <a:schemeClr val="accent2"/>
              </a:solidFill>
              <a:prstDash val="solid"/>
              <a:round/>
              <a:headEnd type="triangle" w="med" len="med"/>
              <a:tailEnd type="none" w="med" len="med"/>
            </a:ln>
            <a:effectLst/>
          </p:spPr>
          <p:txBody>
            <a:bodyPr rtlCol="0" anchor="ctr"/>
            <a:lstStyle/>
            <a:p>
              <a:pPr algn="ctr"/>
              <a:endParaRPr lang="en-US" sz="1400"/>
            </a:p>
          </p:txBody>
        </p:sp>
        <p:sp>
          <p:nvSpPr>
            <p:cNvPr id="67" name="Freeform 211">
              <a:extLst>
                <a:ext uri="{FF2B5EF4-FFF2-40B4-BE49-F238E27FC236}">
                  <a16:creationId xmlns:a16="http://schemas.microsoft.com/office/drawing/2014/main" id="{A2F56498-F068-4EBC-A1BD-A1C0229C6824}"/>
                </a:ext>
              </a:extLst>
            </p:cNvPr>
            <p:cNvSpPr/>
            <p:nvPr/>
          </p:nvSpPr>
          <p:spPr bwMode="auto">
            <a:xfrm>
              <a:off x="9322801" y="1948885"/>
              <a:ext cx="513975" cy="952556"/>
            </a:xfrm>
            <a:custGeom>
              <a:avLst/>
              <a:gdLst>
                <a:gd name="connsiteX0" fmla="*/ 0 w 644400"/>
                <a:gd name="connsiteY0" fmla="*/ 895576 h 895576"/>
                <a:gd name="connsiteX1" fmla="*/ 172800 w 644400"/>
                <a:gd name="connsiteY1" fmla="*/ 6376 h 895576"/>
                <a:gd name="connsiteX2" fmla="*/ 442800 w 644400"/>
                <a:gd name="connsiteY2" fmla="*/ 495976 h 895576"/>
                <a:gd name="connsiteX3" fmla="*/ 536400 w 644400"/>
                <a:gd name="connsiteY3" fmla="*/ 492376 h 895576"/>
                <a:gd name="connsiteX4" fmla="*/ 644400 w 644400"/>
                <a:gd name="connsiteY4" fmla="*/ 470776 h 895576"/>
                <a:gd name="connsiteX0" fmla="*/ 0 w 536400"/>
                <a:gd name="connsiteY0" fmla="*/ 895576 h 895576"/>
                <a:gd name="connsiteX1" fmla="*/ 172800 w 536400"/>
                <a:gd name="connsiteY1" fmla="*/ 6376 h 895576"/>
                <a:gd name="connsiteX2" fmla="*/ 442800 w 536400"/>
                <a:gd name="connsiteY2" fmla="*/ 495976 h 895576"/>
                <a:gd name="connsiteX3" fmla="*/ 536400 w 536400"/>
                <a:gd name="connsiteY3" fmla="*/ 492376 h 895576"/>
                <a:gd name="connsiteX0" fmla="*/ 0 w 590400"/>
                <a:gd name="connsiteY0" fmla="*/ 895591 h 895591"/>
                <a:gd name="connsiteX1" fmla="*/ 172800 w 590400"/>
                <a:gd name="connsiteY1" fmla="*/ 6391 h 895591"/>
                <a:gd name="connsiteX2" fmla="*/ 442800 w 590400"/>
                <a:gd name="connsiteY2" fmla="*/ 495991 h 895591"/>
                <a:gd name="connsiteX3" fmla="*/ 590400 w 590400"/>
                <a:gd name="connsiteY3" fmla="*/ 499591 h 895591"/>
                <a:gd name="connsiteX0" fmla="*/ 0 w 590400"/>
                <a:gd name="connsiteY0" fmla="*/ 952556 h 952556"/>
                <a:gd name="connsiteX1" fmla="*/ 152124 w 590400"/>
                <a:gd name="connsiteY1" fmla="*/ 5756 h 952556"/>
                <a:gd name="connsiteX2" fmla="*/ 442800 w 590400"/>
                <a:gd name="connsiteY2" fmla="*/ 552956 h 952556"/>
                <a:gd name="connsiteX3" fmla="*/ 590400 w 590400"/>
                <a:gd name="connsiteY3" fmla="*/ 556556 h 952556"/>
              </a:gdLst>
              <a:ahLst/>
              <a:cxnLst>
                <a:cxn ang="0">
                  <a:pos x="connsiteX0" y="connsiteY0"/>
                </a:cxn>
                <a:cxn ang="0">
                  <a:pos x="connsiteX1" y="connsiteY1"/>
                </a:cxn>
                <a:cxn ang="0">
                  <a:pos x="connsiteX2" y="connsiteY2"/>
                </a:cxn>
                <a:cxn ang="0">
                  <a:pos x="connsiteX3" y="connsiteY3"/>
                </a:cxn>
              </a:cxnLst>
              <a:rect l="l" t="t" r="r" b="b"/>
              <a:pathLst>
                <a:path w="590400" h="952556">
                  <a:moveTo>
                    <a:pt x="0" y="952556"/>
                  </a:moveTo>
                  <a:cubicBezTo>
                    <a:pt x="49500" y="541256"/>
                    <a:pt x="78324" y="72356"/>
                    <a:pt x="152124" y="5756"/>
                  </a:cubicBezTo>
                  <a:cubicBezTo>
                    <a:pt x="225924" y="-60844"/>
                    <a:pt x="373200" y="470756"/>
                    <a:pt x="442800" y="552956"/>
                  </a:cubicBezTo>
                  <a:cubicBezTo>
                    <a:pt x="512400" y="635156"/>
                    <a:pt x="556800" y="560756"/>
                    <a:pt x="590400" y="556556"/>
                  </a:cubicBezTo>
                </a:path>
              </a:pathLst>
            </a:custGeom>
            <a:noFill/>
            <a:ln w="38100" cap="flat" cmpd="sng" algn="ctr">
              <a:solidFill>
                <a:schemeClr val="accent1"/>
              </a:solidFill>
              <a:prstDash val="solid"/>
              <a:round/>
              <a:headEnd type="triangle" w="med" len="med"/>
              <a:tailEnd type="none" w="med" len="med"/>
            </a:ln>
            <a:effectLst/>
          </p:spPr>
          <p:txBody>
            <a:bodyPr rtlCol="0" anchor="ctr"/>
            <a:lstStyle/>
            <a:p>
              <a:pPr algn="ctr"/>
              <a:endParaRPr lang="en-US" sz="1400"/>
            </a:p>
          </p:txBody>
        </p:sp>
        <p:sp>
          <p:nvSpPr>
            <p:cNvPr id="68" name="Freeform 212">
              <a:extLst>
                <a:ext uri="{FF2B5EF4-FFF2-40B4-BE49-F238E27FC236}">
                  <a16:creationId xmlns:a16="http://schemas.microsoft.com/office/drawing/2014/main" id="{B011ACCD-7A10-4D6C-BB0B-20DE0C0E82A5}"/>
                </a:ext>
              </a:extLst>
            </p:cNvPr>
            <p:cNvSpPr/>
            <p:nvPr/>
          </p:nvSpPr>
          <p:spPr bwMode="auto">
            <a:xfrm flipV="1">
              <a:off x="105653" y="2845530"/>
              <a:ext cx="301504" cy="492534"/>
            </a:xfrm>
            <a:custGeom>
              <a:avLst/>
              <a:gdLst>
                <a:gd name="connsiteX0" fmla="*/ 0 w 334800"/>
                <a:gd name="connsiteY0" fmla="*/ 486000 h 492534"/>
                <a:gd name="connsiteX1" fmla="*/ 187200 w 334800"/>
                <a:gd name="connsiteY1" fmla="*/ 424800 h 492534"/>
                <a:gd name="connsiteX2" fmla="*/ 334800 w 334800"/>
                <a:gd name="connsiteY2" fmla="*/ 0 h 492534"/>
              </a:gdLst>
              <a:ahLst/>
              <a:cxnLst>
                <a:cxn ang="0">
                  <a:pos x="connsiteX0" y="connsiteY0"/>
                </a:cxn>
                <a:cxn ang="0">
                  <a:pos x="connsiteX1" y="connsiteY1"/>
                </a:cxn>
                <a:cxn ang="0">
                  <a:pos x="connsiteX2" y="connsiteY2"/>
                </a:cxn>
              </a:cxnLst>
              <a:rect l="l" t="t" r="r" b="b"/>
              <a:pathLst>
                <a:path w="334800" h="492534">
                  <a:moveTo>
                    <a:pt x="0" y="486000"/>
                  </a:moveTo>
                  <a:cubicBezTo>
                    <a:pt x="65700" y="495900"/>
                    <a:pt x="131400" y="505800"/>
                    <a:pt x="187200" y="424800"/>
                  </a:cubicBezTo>
                  <a:cubicBezTo>
                    <a:pt x="243000" y="343800"/>
                    <a:pt x="288900" y="171900"/>
                    <a:pt x="334800" y="0"/>
                  </a:cubicBezTo>
                </a:path>
              </a:pathLst>
            </a:custGeom>
            <a:noFill/>
            <a:ln w="38100" cap="flat" cmpd="sng" algn="ctr">
              <a:solidFill>
                <a:schemeClr val="accent6"/>
              </a:solidFill>
              <a:prstDash val="solid"/>
              <a:round/>
              <a:headEnd type="triangle" w="med" len="med"/>
              <a:tailEnd type="none" w="med" len="med"/>
            </a:ln>
            <a:effectLst/>
          </p:spPr>
          <p:txBody>
            <a:bodyPr rtlCol="0" anchor="ctr"/>
            <a:lstStyle/>
            <a:p>
              <a:pPr algn="ctr"/>
              <a:endParaRPr lang="en-US" sz="1400"/>
            </a:p>
          </p:txBody>
        </p:sp>
      </p:grpSp>
      <p:sp>
        <p:nvSpPr>
          <p:cNvPr id="145" name="TextBox 144">
            <a:extLst>
              <a:ext uri="{FF2B5EF4-FFF2-40B4-BE49-F238E27FC236}">
                <a16:creationId xmlns:a16="http://schemas.microsoft.com/office/drawing/2014/main" id="{C23858CF-484D-47DD-89CB-2840968EBAB5}"/>
              </a:ext>
            </a:extLst>
          </p:cNvPr>
          <p:cNvSpPr txBox="1"/>
          <p:nvPr/>
        </p:nvSpPr>
        <p:spPr bwMode="auto">
          <a:xfrm>
            <a:off x="2822076" y="2870514"/>
            <a:ext cx="162118" cy="207048"/>
          </a:xfrm>
          <a:prstGeom prst="rect">
            <a:avLst/>
          </a:prstGeom>
          <a:solidFill>
            <a:schemeClr val="bg1"/>
          </a:solidFill>
          <a:ln w="19050">
            <a:solidFill>
              <a:schemeClr val="bg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bg2">
                    <a:lumMod val="50000"/>
                  </a:schemeClr>
                </a:solidFill>
                <a:effectLst/>
                <a:uLnTx/>
                <a:uFillTx/>
                <a:latin typeface="Ericsson Technical Icons" panose="00000500000000000000" pitchFamily="2" charset="0"/>
                <a:ea typeface="+mn-ea"/>
                <a:cs typeface="+mn-cs"/>
              </a:rPr>
              <a:t>B</a:t>
            </a:r>
            <a:endParaRPr kumimoji="0" lang="en-US" sz="1800" b="0" i="0" u="none" strike="noStrike" kern="1200" cap="none" spc="0" normalizeH="0" baseline="0" noProof="0">
              <a:ln>
                <a:noFill/>
              </a:ln>
              <a:solidFill>
                <a:schemeClr val="bg2">
                  <a:lumMod val="50000"/>
                </a:schemeClr>
              </a:solidFill>
              <a:effectLst/>
              <a:uLnTx/>
              <a:uFillTx/>
              <a:latin typeface="Ericsson Hilda"/>
              <a:ea typeface="+mn-ea"/>
              <a:cs typeface="+mn-cs"/>
            </a:endParaRPr>
          </a:p>
        </p:txBody>
      </p:sp>
    </p:spTree>
    <p:extLst>
      <p:ext uri="{BB962C8B-B14F-4D97-AF65-F5344CB8AC3E}">
        <p14:creationId xmlns:p14="http://schemas.microsoft.com/office/powerpoint/2010/main" val="25342889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a:t>MNO Hosting Models</a:t>
            </a:r>
          </a:p>
        </p:txBody>
      </p:sp>
      <p:grpSp>
        <p:nvGrpSpPr>
          <p:cNvPr id="165" name="Group 164">
            <a:extLst>
              <a:ext uri="{FF2B5EF4-FFF2-40B4-BE49-F238E27FC236}">
                <a16:creationId xmlns:a16="http://schemas.microsoft.com/office/drawing/2014/main" id="{7BCA913C-A3FF-4884-87C9-B5623E638F9A}"/>
              </a:ext>
            </a:extLst>
          </p:cNvPr>
          <p:cNvGrpSpPr/>
          <p:nvPr/>
        </p:nvGrpSpPr>
        <p:grpSpPr>
          <a:xfrm>
            <a:off x="152399" y="1118663"/>
            <a:ext cx="11915774" cy="5437637"/>
            <a:chOff x="479424" y="1982337"/>
            <a:chExt cx="10433514" cy="4191592"/>
          </a:xfrm>
        </p:grpSpPr>
        <p:grpSp>
          <p:nvGrpSpPr>
            <p:cNvPr id="6" name="Group 5">
              <a:extLst>
                <a:ext uri="{FF2B5EF4-FFF2-40B4-BE49-F238E27FC236}">
                  <a16:creationId xmlns:a16="http://schemas.microsoft.com/office/drawing/2014/main" id="{291A4981-5D2B-435A-8D83-F4D2C0D13075}"/>
                </a:ext>
              </a:extLst>
            </p:cNvPr>
            <p:cNvGrpSpPr/>
            <p:nvPr/>
          </p:nvGrpSpPr>
          <p:grpSpPr>
            <a:xfrm>
              <a:off x="479424" y="2451327"/>
              <a:ext cx="2605568" cy="3148284"/>
              <a:chOff x="117448" y="1651194"/>
              <a:chExt cx="3104980" cy="3424145"/>
            </a:xfrm>
          </p:grpSpPr>
          <p:grpSp>
            <p:nvGrpSpPr>
              <p:cNvPr id="7" name="Group 6">
                <a:extLst>
                  <a:ext uri="{FF2B5EF4-FFF2-40B4-BE49-F238E27FC236}">
                    <a16:creationId xmlns:a16="http://schemas.microsoft.com/office/drawing/2014/main" id="{6028E7C5-2F8D-4965-AD7A-4DBB692FC392}"/>
                  </a:ext>
                </a:extLst>
              </p:cNvPr>
              <p:cNvGrpSpPr/>
              <p:nvPr/>
            </p:nvGrpSpPr>
            <p:grpSpPr>
              <a:xfrm>
                <a:off x="184380" y="1960465"/>
                <a:ext cx="954563" cy="2912936"/>
                <a:chOff x="7419305" y="32700"/>
                <a:chExt cx="590130" cy="1168027"/>
              </a:xfrm>
            </p:grpSpPr>
            <p:sp>
              <p:nvSpPr>
                <p:cNvPr id="25" name="Rectangle 24">
                  <a:extLst>
                    <a:ext uri="{FF2B5EF4-FFF2-40B4-BE49-F238E27FC236}">
                      <a16:creationId xmlns:a16="http://schemas.microsoft.com/office/drawing/2014/main" id="{4E2A69F0-E187-448C-BC93-9DA1327BE9E6}"/>
                    </a:ext>
                  </a:extLst>
                </p:cNvPr>
                <p:cNvSpPr/>
                <p:nvPr/>
              </p:nvSpPr>
              <p:spPr bwMode="auto">
                <a:xfrm>
                  <a:off x="7419305" y="32700"/>
                  <a:ext cx="590129" cy="116802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fontAlgn="base">
                    <a:spcBef>
                      <a:spcPts val="225"/>
                    </a:spcBef>
                    <a:spcAft>
                      <a:spcPct val="0"/>
                    </a:spcAft>
                  </a:pPr>
                  <a:r>
                    <a:rPr lang="sv-SE" sz="900" err="1"/>
                    <a:t>Local</a:t>
                  </a:r>
                  <a:r>
                    <a:rPr lang="sv-SE" sz="900"/>
                    <a:t> Access site</a:t>
                  </a:r>
                  <a:endParaRPr lang="en-US" sz="900" err="1"/>
                </a:p>
              </p:txBody>
            </p:sp>
            <p:cxnSp>
              <p:nvCxnSpPr>
                <p:cNvPr id="26" name="Straight Connector 25">
                  <a:extLst>
                    <a:ext uri="{FF2B5EF4-FFF2-40B4-BE49-F238E27FC236}">
                      <a16:creationId xmlns:a16="http://schemas.microsoft.com/office/drawing/2014/main" id="{ECBB2CE0-F21F-40BC-A590-7F866B3EFEB7}"/>
                    </a:ext>
                  </a:extLst>
                </p:cNvPr>
                <p:cNvCxnSpPr>
                  <a:cxnSpLocks/>
                </p:cNvCxnSpPr>
                <p:nvPr/>
              </p:nvCxnSpPr>
              <p:spPr bwMode="auto">
                <a:xfrm>
                  <a:off x="7419306" y="1139522"/>
                  <a:ext cx="590129" cy="0"/>
                </a:xfrm>
                <a:prstGeom prst="line">
                  <a:avLst/>
                </a:prstGeom>
                <a:solidFill>
                  <a:schemeClr val="accent1"/>
                </a:solidFill>
                <a:ln w="3175" cap="flat" cmpd="sng" algn="ctr">
                  <a:solidFill>
                    <a:schemeClr val="tx1"/>
                  </a:solidFill>
                  <a:prstDash val="solid"/>
                  <a:round/>
                  <a:headEnd type="none" w="med" len="med"/>
                  <a:tailEnd type="none"/>
                </a:ln>
                <a:effectLst/>
              </p:spPr>
            </p:cxnSp>
          </p:grpSp>
          <p:grpSp>
            <p:nvGrpSpPr>
              <p:cNvPr id="9" name="Group 8">
                <a:extLst>
                  <a:ext uri="{FF2B5EF4-FFF2-40B4-BE49-F238E27FC236}">
                    <a16:creationId xmlns:a16="http://schemas.microsoft.com/office/drawing/2014/main" id="{C2CB7133-28E4-40BE-84A2-F49CF284492E}"/>
                  </a:ext>
                </a:extLst>
              </p:cNvPr>
              <p:cNvGrpSpPr/>
              <p:nvPr/>
            </p:nvGrpSpPr>
            <p:grpSpPr>
              <a:xfrm>
                <a:off x="1873661" y="1953891"/>
                <a:ext cx="1260000" cy="2919510"/>
                <a:chOff x="6239718" y="278296"/>
                <a:chExt cx="2989699" cy="922431"/>
              </a:xfrm>
            </p:grpSpPr>
            <p:sp>
              <p:nvSpPr>
                <p:cNvPr id="23" name="Rectangle 22">
                  <a:extLst>
                    <a:ext uri="{FF2B5EF4-FFF2-40B4-BE49-F238E27FC236}">
                      <a16:creationId xmlns:a16="http://schemas.microsoft.com/office/drawing/2014/main" id="{F80B440B-8B8D-4ADD-8C75-4E037975A48E}"/>
                    </a:ext>
                  </a:extLst>
                </p:cNvPr>
                <p:cNvSpPr/>
                <p:nvPr/>
              </p:nvSpPr>
              <p:spPr bwMode="auto">
                <a:xfrm>
                  <a:off x="6239718" y="278296"/>
                  <a:ext cx="2989699" cy="922431"/>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defTabSz="685800" fontAlgn="base">
                    <a:spcBef>
                      <a:spcPts val="225"/>
                    </a:spcBef>
                    <a:spcAft>
                      <a:spcPct val="0"/>
                    </a:spcAft>
                  </a:pPr>
                  <a:r>
                    <a:rPr lang="sv-SE" sz="900"/>
                    <a:t>National Access site</a:t>
                  </a:r>
                  <a:endParaRPr lang="en-US" sz="900" err="1"/>
                </a:p>
              </p:txBody>
            </p:sp>
            <p:cxnSp>
              <p:nvCxnSpPr>
                <p:cNvPr id="24" name="Straight Connector 23">
                  <a:extLst>
                    <a:ext uri="{FF2B5EF4-FFF2-40B4-BE49-F238E27FC236}">
                      <a16:creationId xmlns:a16="http://schemas.microsoft.com/office/drawing/2014/main" id="{5B586192-57D8-49CE-9653-83990B092B13}"/>
                    </a:ext>
                  </a:extLst>
                </p:cNvPr>
                <p:cNvCxnSpPr>
                  <a:cxnSpLocks/>
                </p:cNvCxnSpPr>
                <p:nvPr/>
              </p:nvCxnSpPr>
              <p:spPr bwMode="auto">
                <a:xfrm>
                  <a:off x="6239718" y="1149123"/>
                  <a:ext cx="2989699"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0" name="Rectangle 9">
                <a:extLst>
                  <a:ext uri="{FF2B5EF4-FFF2-40B4-BE49-F238E27FC236}">
                    <a16:creationId xmlns:a16="http://schemas.microsoft.com/office/drawing/2014/main" id="{7FC2EE6B-DCA9-4DF7-9E60-A3ABC00AE8A0}"/>
                  </a:ext>
                </a:extLst>
              </p:cNvPr>
              <p:cNvSpPr/>
              <p:nvPr/>
            </p:nvSpPr>
            <p:spPr bwMode="auto">
              <a:xfrm>
                <a:off x="224231" y="3670396"/>
                <a:ext cx="2801137" cy="726876"/>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fontAlgn="base">
                  <a:spcBef>
                    <a:spcPts val="225"/>
                  </a:spcBef>
                  <a:spcAft>
                    <a:spcPct val="0"/>
                  </a:spcAft>
                </a:pPr>
                <a:r>
                  <a:rPr lang="sv-SE" sz="900"/>
                  <a:t>                                    Connectivity</a:t>
                </a:r>
              </a:p>
            </p:txBody>
          </p:sp>
          <p:sp>
            <p:nvSpPr>
              <p:cNvPr id="11" name="Rectangle 10">
                <a:extLst>
                  <a:ext uri="{FF2B5EF4-FFF2-40B4-BE49-F238E27FC236}">
                    <a16:creationId xmlns:a16="http://schemas.microsoft.com/office/drawing/2014/main" id="{5DA84DC0-6AA6-46E4-B6A4-D0859C3575F9}"/>
                  </a:ext>
                </a:extLst>
              </p:cNvPr>
              <p:cNvSpPr/>
              <p:nvPr/>
            </p:nvSpPr>
            <p:spPr bwMode="auto">
              <a:xfrm>
                <a:off x="117448" y="1651194"/>
                <a:ext cx="3104980" cy="342414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Mobile network</a:t>
                </a:r>
              </a:p>
            </p:txBody>
          </p:sp>
          <p:sp>
            <p:nvSpPr>
              <p:cNvPr id="12" name="Rectangle 11">
                <a:extLst>
                  <a:ext uri="{FF2B5EF4-FFF2-40B4-BE49-F238E27FC236}">
                    <a16:creationId xmlns:a16="http://schemas.microsoft.com/office/drawing/2014/main" id="{7F19AC08-4CDE-4B7C-8B42-D81C8A4D0C52}"/>
                  </a:ext>
                </a:extLst>
              </p:cNvPr>
              <p:cNvSpPr/>
              <p:nvPr/>
            </p:nvSpPr>
            <p:spPr bwMode="auto">
              <a:xfrm>
                <a:off x="224231" y="4434931"/>
                <a:ext cx="2801137" cy="198987"/>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Distributed Cloud Infrastructure</a:t>
                </a:r>
              </a:p>
            </p:txBody>
          </p:sp>
          <p:sp>
            <p:nvSpPr>
              <p:cNvPr id="13" name="TextBox 12">
                <a:extLst>
                  <a:ext uri="{FF2B5EF4-FFF2-40B4-BE49-F238E27FC236}">
                    <a16:creationId xmlns:a16="http://schemas.microsoft.com/office/drawing/2014/main" id="{F2E4D25B-80A1-4B36-8816-B503367BC80E}"/>
                  </a:ext>
                </a:extLst>
              </p:cNvPr>
              <p:cNvSpPr txBox="1"/>
              <p:nvPr/>
            </p:nvSpPr>
            <p:spPr bwMode="auto">
              <a:xfrm>
                <a:off x="1940937" y="3848329"/>
                <a:ext cx="312636" cy="496621"/>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S</a:t>
                </a:r>
                <a:endParaRPr lang="en-US" sz="1600"/>
              </a:p>
              <a:p>
                <a:pPr algn="ctr">
                  <a:buClr>
                    <a:schemeClr val="tx1"/>
                  </a:buClr>
                </a:pPr>
                <a:r>
                  <a:rPr lang="en-US" sz="800"/>
                  <a:t>Core</a:t>
                </a:r>
                <a:br>
                  <a:rPr lang="en-US" sz="800"/>
                </a:br>
                <a:r>
                  <a:rPr lang="en-US" sz="800"/>
                  <a:t>CP</a:t>
                </a:r>
                <a:endParaRPr lang="en-US" sz="1050"/>
              </a:p>
            </p:txBody>
          </p:sp>
          <p:sp>
            <p:nvSpPr>
              <p:cNvPr id="15" name="TextBox 14">
                <a:extLst>
                  <a:ext uri="{FF2B5EF4-FFF2-40B4-BE49-F238E27FC236}">
                    <a16:creationId xmlns:a16="http://schemas.microsoft.com/office/drawing/2014/main" id="{D3AFA06D-265F-4DEC-AFFA-F79EC765CCCE}"/>
                  </a:ext>
                </a:extLst>
              </p:cNvPr>
              <p:cNvSpPr txBox="1"/>
              <p:nvPr/>
            </p:nvSpPr>
            <p:spPr bwMode="auto">
              <a:xfrm>
                <a:off x="2425358" y="3848329"/>
                <a:ext cx="311928" cy="496621"/>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G</a:t>
                </a:r>
                <a:endParaRPr lang="en-US" sz="1600"/>
              </a:p>
              <a:p>
                <a:pPr algn="ctr">
                  <a:buClr>
                    <a:schemeClr val="tx1"/>
                  </a:buClr>
                </a:pPr>
                <a:r>
                  <a:rPr lang="en-US" sz="800"/>
                  <a:t>Core </a:t>
                </a:r>
                <a:br>
                  <a:rPr lang="en-US" sz="800"/>
                </a:br>
                <a:r>
                  <a:rPr lang="en-US" sz="800"/>
                  <a:t>UP</a:t>
                </a:r>
                <a:endParaRPr lang="en-US" sz="900"/>
              </a:p>
            </p:txBody>
          </p:sp>
          <p:sp>
            <p:nvSpPr>
              <p:cNvPr id="16" name="Rectangle 15">
                <a:extLst>
                  <a:ext uri="{FF2B5EF4-FFF2-40B4-BE49-F238E27FC236}">
                    <a16:creationId xmlns:a16="http://schemas.microsoft.com/office/drawing/2014/main" id="{5331865B-F474-455F-97BB-3D5170D22F1B}"/>
                  </a:ext>
                </a:extLst>
              </p:cNvPr>
              <p:cNvSpPr/>
              <p:nvPr/>
            </p:nvSpPr>
            <p:spPr bwMode="auto">
              <a:xfrm>
                <a:off x="1190389" y="4684866"/>
                <a:ext cx="629297" cy="198983"/>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Transport</a:t>
                </a:r>
              </a:p>
            </p:txBody>
          </p:sp>
          <p:sp>
            <p:nvSpPr>
              <p:cNvPr id="17" name="Rectangle 16">
                <a:extLst>
                  <a:ext uri="{FF2B5EF4-FFF2-40B4-BE49-F238E27FC236}">
                    <a16:creationId xmlns:a16="http://schemas.microsoft.com/office/drawing/2014/main" id="{3E58EA49-96F5-444C-9412-4D74053301BC}"/>
                  </a:ext>
                </a:extLst>
              </p:cNvPr>
              <p:cNvSpPr/>
              <p:nvPr/>
            </p:nvSpPr>
            <p:spPr bwMode="auto">
              <a:xfrm>
                <a:off x="1993041" y="2030977"/>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algn="ctr" fontAlgn="base">
                  <a:spcBef>
                    <a:spcPts val="225"/>
                  </a:spcBef>
                  <a:spcAft>
                    <a:spcPct val="0"/>
                  </a:spcAft>
                </a:pPr>
                <a:r>
                  <a:rPr lang="en-US" sz="600"/>
                  <a:t>        Order Management </a:t>
                </a:r>
                <a:br>
                  <a:rPr lang="en-US" sz="600"/>
                </a:br>
                <a:r>
                  <a:rPr lang="en-US" sz="600"/>
                  <a:t>     and Monetization </a:t>
                </a:r>
                <a:endParaRPr lang="en-US" sz="700"/>
              </a:p>
            </p:txBody>
          </p:sp>
          <p:sp>
            <p:nvSpPr>
              <p:cNvPr id="18" name="TextBox 17">
                <a:extLst>
                  <a:ext uri="{FF2B5EF4-FFF2-40B4-BE49-F238E27FC236}">
                    <a16:creationId xmlns:a16="http://schemas.microsoft.com/office/drawing/2014/main" id="{51BD2B05-0B0A-4A2C-BCE3-7758544C91FC}"/>
                  </a:ext>
                </a:extLst>
              </p:cNvPr>
              <p:cNvSpPr txBox="1"/>
              <p:nvPr/>
            </p:nvSpPr>
            <p:spPr bwMode="auto">
              <a:xfrm>
                <a:off x="2030292" y="2071762"/>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19" name="Rectangle 18">
                <a:extLst>
                  <a:ext uri="{FF2B5EF4-FFF2-40B4-BE49-F238E27FC236}">
                    <a16:creationId xmlns:a16="http://schemas.microsoft.com/office/drawing/2014/main" id="{8D52A05A-6477-4CCF-81D4-1E459EEA840C}"/>
                  </a:ext>
                </a:extLst>
              </p:cNvPr>
              <p:cNvSpPr/>
              <p:nvPr/>
            </p:nvSpPr>
            <p:spPr bwMode="auto">
              <a:xfrm>
                <a:off x="1993041" y="2334734"/>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algn="ctr" fontAlgn="base">
                  <a:spcBef>
                    <a:spcPts val="225"/>
                  </a:spcBef>
                  <a:spcAft>
                    <a:spcPct val="0"/>
                  </a:spcAft>
                </a:pPr>
                <a:r>
                  <a:rPr lang="en-US" sz="600"/>
                  <a:t>       Service Orchestration, </a:t>
                </a:r>
                <a:br>
                  <a:rPr lang="en-US" sz="600"/>
                </a:br>
                <a:r>
                  <a:rPr lang="en-US" sz="600"/>
                  <a:t>       Assurance &amp;  Analytics</a:t>
                </a:r>
              </a:p>
              <a:p>
                <a:pPr algn="ctr" fontAlgn="base">
                  <a:spcBef>
                    <a:spcPts val="225"/>
                  </a:spcBef>
                  <a:spcAft>
                    <a:spcPct val="0"/>
                  </a:spcAft>
                </a:pPr>
                <a:endParaRPr lang="en-US" sz="900"/>
              </a:p>
            </p:txBody>
          </p:sp>
          <p:sp>
            <p:nvSpPr>
              <p:cNvPr id="20" name="TextBox 19">
                <a:extLst>
                  <a:ext uri="{FF2B5EF4-FFF2-40B4-BE49-F238E27FC236}">
                    <a16:creationId xmlns:a16="http://schemas.microsoft.com/office/drawing/2014/main" id="{2CB18412-ABFF-4468-A8E5-2FEC410A0386}"/>
                  </a:ext>
                </a:extLst>
              </p:cNvPr>
              <p:cNvSpPr txBox="1"/>
              <p:nvPr/>
            </p:nvSpPr>
            <p:spPr bwMode="auto">
              <a:xfrm>
                <a:off x="2030292" y="2375517"/>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21" name="Rectangle 20">
                <a:extLst>
                  <a:ext uri="{FF2B5EF4-FFF2-40B4-BE49-F238E27FC236}">
                    <a16:creationId xmlns:a16="http://schemas.microsoft.com/office/drawing/2014/main" id="{F5FBEE32-889F-4594-8979-F4634BE7068B}"/>
                  </a:ext>
                </a:extLst>
              </p:cNvPr>
              <p:cNvSpPr/>
              <p:nvPr/>
            </p:nvSpPr>
            <p:spPr bwMode="auto">
              <a:xfrm>
                <a:off x="1991815" y="2636110"/>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700"/>
                  <a:t>      </a:t>
                </a:r>
                <a:r>
                  <a:rPr lang="en-US" sz="500"/>
                  <a:t>Resource Orchestration</a:t>
                </a:r>
                <a:br>
                  <a:rPr lang="en-US" sz="500"/>
                </a:br>
                <a:r>
                  <a:rPr lang="en-US" sz="500"/>
                  <a:t>         and VNF Management</a:t>
                </a:r>
                <a:endParaRPr lang="en-US" sz="700"/>
              </a:p>
            </p:txBody>
          </p:sp>
          <p:sp>
            <p:nvSpPr>
              <p:cNvPr id="22" name="TextBox 21">
                <a:extLst>
                  <a:ext uri="{FF2B5EF4-FFF2-40B4-BE49-F238E27FC236}">
                    <a16:creationId xmlns:a16="http://schemas.microsoft.com/office/drawing/2014/main" id="{F79C58E1-4E14-4260-B5FA-46F667D7F63A}"/>
                  </a:ext>
                </a:extLst>
              </p:cNvPr>
              <p:cNvSpPr txBox="1"/>
              <p:nvPr/>
            </p:nvSpPr>
            <p:spPr bwMode="auto">
              <a:xfrm>
                <a:off x="2029066" y="2676894"/>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14" name="Rectangle 13">
                <a:extLst>
                  <a:ext uri="{FF2B5EF4-FFF2-40B4-BE49-F238E27FC236}">
                    <a16:creationId xmlns:a16="http://schemas.microsoft.com/office/drawing/2014/main" id="{A2E49DE9-7C1D-423F-85B6-B4289EF94842}"/>
                  </a:ext>
                </a:extLst>
              </p:cNvPr>
              <p:cNvSpPr/>
              <p:nvPr/>
            </p:nvSpPr>
            <p:spPr bwMode="auto">
              <a:xfrm>
                <a:off x="234238" y="2938948"/>
                <a:ext cx="2791130" cy="684226"/>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Application Platform</a:t>
                </a:r>
              </a:p>
            </p:txBody>
          </p:sp>
        </p:grpSp>
        <p:sp>
          <p:nvSpPr>
            <p:cNvPr id="27" name="TextBox 26">
              <a:extLst>
                <a:ext uri="{FF2B5EF4-FFF2-40B4-BE49-F238E27FC236}">
                  <a16:creationId xmlns:a16="http://schemas.microsoft.com/office/drawing/2014/main" id="{C4513589-FBCA-427B-8A9B-167178BB52B5}"/>
                </a:ext>
              </a:extLst>
            </p:cNvPr>
            <p:cNvSpPr txBox="1"/>
            <p:nvPr/>
          </p:nvSpPr>
          <p:spPr bwMode="auto">
            <a:xfrm>
              <a:off x="753744" y="3764661"/>
              <a:ext cx="261757" cy="418562"/>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cxnSp>
          <p:nvCxnSpPr>
            <p:cNvPr id="28" name="Straight Connector 27">
              <a:extLst>
                <a:ext uri="{FF2B5EF4-FFF2-40B4-BE49-F238E27FC236}">
                  <a16:creationId xmlns:a16="http://schemas.microsoft.com/office/drawing/2014/main" id="{BD2FBEEA-126A-4B0F-8971-16E69CC4ED45}"/>
                </a:ext>
              </a:extLst>
            </p:cNvPr>
            <p:cNvCxnSpPr>
              <a:cxnSpLocks/>
            </p:cNvCxnSpPr>
            <p:nvPr/>
          </p:nvCxnSpPr>
          <p:spPr bwMode="auto">
            <a:xfrm>
              <a:off x="3843799" y="2317534"/>
              <a:ext cx="0" cy="3856394"/>
            </a:xfrm>
            <a:prstGeom prst="line">
              <a:avLst/>
            </a:prstGeom>
            <a:solidFill>
              <a:schemeClr val="accent1"/>
            </a:solidFill>
            <a:ln w="12700" cap="flat" cmpd="sng" algn="ctr">
              <a:solidFill>
                <a:schemeClr val="tx1"/>
              </a:solidFill>
              <a:prstDash val="dash"/>
              <a:round/>
              <a:headEnd type="none" w="med" len="med"/>
              <a:tailEnd type="none"/>
            </a:ln>
            <a:effectLst/>
          </p:spPr>
        </p:cxnSp>
        <p:sp>
          <p:nvSpPr>
            <p:cNvPr id="29" name="Rectangle 28">
              <a:extLst>
                <a:ext uri="{FF2B5EF4-FFF2-40B4-BE49-F238E27FC236}">
                  <a16:creationId xmlns:a16="http://schemas.microsoft.com/office/drawing/2014/main" id="{E2567234-B6F2-4E86-8935-E2E173D1DA3E}"/>
                </a:ext>
              </a:extLst>
            </p:cNvPr>
            <p:cNvSpPr/>
            <p:nvPr/>
          </p:nvSpPr>
          <p:spPr>
            <a:xfrm>
              <a:off x="856604" y="2040584"/>
              <a:ext cx="2119491" cy="338554"/>
            </a:xfrm>
            <a:prstGeom prst="rect">
              <a:avLst/>
            </a:prstGeom>
          </p:spPr>
          <p:txBody>
            <a:bodyPr wrap="none">
              <a:spAutoFit/>
            </a:bodyPr>
            <a:lstStyle/>
            <a:p>
              <a:r>
                <a:rPr lang="sv-SE" sz="1600" b="1"/>
                <a:t>1. MNO controlled AS</a:t>
              </a:r>
            </a:p>
          </p:txBody>
        </p:sp>
        <p:grpSp>
          <p:nvGrpSpPr>
            <p:cNvPr id="30" name="Group 29">
              <a:extLst>
                <a:ext uri="{FF2B5EF4-FFF2-40B4-BE49-F238E27FC236}">
                  <a16:creationId xmlns:a16="http://schemas.microsoft.com/office/drawing/2014/main" id="{01F8EA2A-A01E-4369-81D6-155EB6BBEB1B}"/>
                </a:ext>
              </a:extLst>
            </p:cNvPr>
            <p:cNvGrpSpPr/>
            <p:nvPr/>
          </p:nvGrpSpPr>
          <p:grpSpPr>
            <a:xfrm>
              <a:off x="3082864" y="2726547"/>
              <a:ext cx="767326" cy="805012"/>
              <a:chOff x="4371418" y="1651195"/>
              <a:chExt cx="914400" cy="875549"/>
            </a:xfrm>
          </p:grpSpPr>
          <p:sp>
            <p:nvSpPr>
              <p:cNvPr id="31" name="Rectangle 30">
                <a:extLst>
                  <a:ext uri="{FF2B5EF4-FFF2-40B4-BE49-F238E27FC236}">
                    <a16:creationId xmlns:a16="http://schemas.microsoft.com/office/drawing/2014/main" id="{52D2AF74-28EB-4CBF-A7DA-53263A50484B}"/>
                  </a:ext>
                </a:extLst>
              </p:cNvPr>
              <p:cNvSpPr/>
              <p:nvPr/>
            </p:nvSpPr>
            <p:spPr bwMode="auto">
              <a:xfrm>
                <a:off x="4470867" y="1651195"/>
                <a:ext cx="707353" cy="831246"/>
              </a:xfrm>
              <a:prstGeom prst="rect">
                <a:avLst/>
              </a:prstGeom>
              <a:noFill/>
              <a:ln w="12700"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32" name="TextBox 31">
                <a:extLst>
                  <a:ext uri="{FF2B5EF4-FFF2-40B4-BE49-F238E27FC236}">
                    <a16:creationId xmlns:a16="http://schemas.microsoft.com/office/drawing/2014/main" id="{7B2BFCEF-E84B-4B37-8C67-5CEFFA038FD8}"/>
                  </a:ext>
                </a:extLst>
              </p:cNvPr>
              <p:cNvSpPr txBox="1"/>
              <p:nvPr/>
            </p:nvSpPr>
            <p:spPr bwMode="auto">
              <a:xfrm>
                <a:off x="4371418" y="2107824"/>
                <a:ext cx="914400" cy="418920"/>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ctr">
                  <a:buClr>
                    <a:schemeClr val="tx1"/>
                  </a:buClr>
                </a:pPr>
                <a:r>
                  <a:rPr lang="sv-SE" sz="900">
                    <a:solidFill>
                      <a:schemeClr val="accent1"/>
                    </a:solidFill>
                  </a:rPr>
                  <a:t>and AS </a:t>
                </a:r>
                <a:br>
                  <a:rPr lang="sv-SE" sz="900">
                    <a:solidFill>
                      <a:schemeClr val="accent1"/>
                    </a:solidFill>
                  </a:rPr>
                </a:br>
                <a:r>
                  <a:rPr lang="sv-SE" sz="900">
                    <a:solidFill>
                      <a:schemeClr val="accent1"/>
                    </a:solidFill>
                  </a:rPr>
                  <a:t>requirements</a:t>
                </a:r>
              </a:p>
            </p:txBody>
          </p:sp>
          <p:sp>
            <p:nvSpPr>
              <p:cNvPr id="33" name="TextBox 32">
                <a:extLst>
                  <a:ext uri="{FF2B5EF4-FFF2-40B4-BE49-F238E27FC236}">
                    <a16:creationId xmlns:a16="http://schemas.microsoft.com/office/drawing/2014/main" id="{24709F8A-CD66-4189-B679-0DF5E3A05FB6}"/>
                  </a:ext>
                </a:extLst>
              </p:cNvPr>
              <p:cNvSpPr txBox="1"/>
              <p:nvPr/>
            </p:nvSpPr>
            <p:spPr bwMode="auto">
              <a:xfrm>
                <a:off x="4672921" y="1704709"/>
                <a:ext cx="316679" cy="435784"/>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grpSp>
        <p:sp>
          <p:nvSpPr>
            <p:cNvPr id="34" name="Arrow: Right 33">
              <a:extLst>
                <a:ext uri="{FF2B5EF4-FFF2-40B4-BE49-F238E27FC236}">
                  <a16:creationId xmlns:a16="http://schemas.microsoft.com/office/drawing/2014/main" id="{3482D7A3-4A0F-4069-883A-C90C22EA4254}"/>
                </a:ext>
              </a:extLst>
            </p:cNvPr>
            <p:cNvSpPr/>
            <p:nvPr/>
          </p:nvSpPr>
          <p:spPr bwMode="auto">
            <a:xfrm rot="10800000">
              <a:off x="2940150" y="2870021"/>
              <a:ext cx="226169" cy="170540"/>
            </a:xfrm>
            <a:prstGeom prst="rightArrow">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35" name="Rectangle 34">
              <a:extLst>
                <a:ext uri="{FF2B5EF4-FFF2-40B4-BE49-F238E27FC236}">
                  <a16:creationId xmlns:a16="http://schemas.microsoft.com/office/drawing/2014/main" id="{A5DB4BE1-1390-4BF9-B535-34B0351CFF95}"/>
                </a:ext>
              </a:extLst>
            </p:cNvPr>
            <p:cNvSpPr/>
            <p:nvPr/>
          </p:nvSpPr>
          <p:spPr bwMode="auto">
            <a:xfrm>
              <a:off x="557189" y="5690840"/>
              <a:ext cx="3144979" cy="483089"/>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1200"/>
                <a:t>MNO in </a:t>
              </a:r>
              <a:r>
                <a:rPr lang="sv-SE" sz="1200" b="1"/>
                <a:t>full control</a:t>
              </a:r>
              <a:endParaRPr lang="sv-SE" sz="1200"/>
            </a:p>
            <a:p>
              <a:pPr algn="ctr" fontAlgn="base">
                <a:spcBef>
                  <a:spcPts val="225"/>
                </a:spcBef>
                <a:spcAft>
                  <a:spcPct val="0"/>
                </a:spcAft>
              </a:pPr>
              <a:r>
                <a:rPr lang="sv-SE" sz="1200"/>
                <a:t>No additional coordination for Traffic Routing</a:t>
              </a:r>
              <a:br>
                <a:rPr lang="sv-SE" sz="1200"/>
              </a:br>
              <a:endParaRPr lang="sv-SE" sz="1200"/>
            </a:p>
          </p:txBody>
        </p:sp>
        <p:sp>
          <p:nvSpPr>
            <p:cNvPr id="36" name="Rectangle 35">
              <a:extLst>
                <a:ext uri="{FF2B5EF4-FFF2-40B4-BE49-F238E27FC236}">
                  <a16:creationId xmlns:a16="http://schemas.microsoft.com/office/drawing/2014/main" id="{99C63B74-0B16-425C-95E9-3FB5238C8B79}"/>
                </a:ext>
              </a:extLst>
            </p:cNvPr>
            <p:cNvSpPr/>
            <p:nvPr/>
          </p:nvSpPr>
          <p:spPr bwMode="auto">
            <a:xfrm>
              <a:off x="3123111" y="2451326"/>
              <a:ext cx="669987" cy="1103712"/>
            </a:xfrm>
            <a:prstGeom prst="rect">
              <a:avLst/>
            </a:prstGeom>
            <a:no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3P</a:t>
              </a:r>
            </a:p>
          </p:txBody>
        </p:sp>
        <p:grpSp>
          <p:nvGrpSpPr>
            <p:cNvPr id="37" name="Group 36">
              <a:extLst>
                <a:ext uri="{FF2B5EF4-FFF2-40B4-BE49-F238E27FC236}">
                  <a16:creationId xmlns:a16="http://schemas.microsoft.com/office/drawing/2014/main" id="{82838EEE-20BB-4F1B-9783-0C2322EDC1C5}"/>
                </a:ext>
              </a:extLst>
            </p:cNvPr>
            <p:cNvGrpSpPr/>
            <p:nvPr/>
          </p:nvGrpSpPr>
          <p:grpSpPr>
            <a:xfrm>
              <a:off x="3025411" y="2663590"/>
              <a:ext cx="231548" cy="262103"/>
              <a:chOff x="4613944" y="3674284"/>
              <a:chExt cx="275929" cy="285068"/>
            </a:xfrm>
          </p:grpSpPr>
          <p:sp>
            <p:nvSpPr>
              <p:cNvPr id="38" name="Oval 37">
                <a:extLst>
                  <a:ext uri="{FF2B5EF4-FFF2-40B4-BE49-F238E27FC236}">
                    <a16:creationId xmlns:a16="http://schemas.microsoft.com/office/drawing/2014/main" id="{0F2BD2C1-D00E-4C07-B944-FE165F9349C7}"/>
                  </a:ext>
                </a:extLst>
              </p:cNvPr>
              <p:cNvSpPr/>
              <p:nvPr/>
            </p:nvSpPr>
            <p:spPr bwMode="auto">
              <a:xfrm>
                <a:off x="4613944" y="3680170"/>
                <a:ext cx="275929" cy="279182"/>
              </a:xfrm>
              <a:prstGeom prst="ellipse">
                <a:avLst/>
              </a:prstGeom>
              <a:solidFill>
                <a:schemeClr val="bg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39" name="TextBox 38">
                <a:extLst>
                  <a:ext uri="{FF2B5EF4-FFF2-40B4-BE49-F238E27FC236}">
                    <a16:creationId xmlns:a16="http://schemas.microsoft.com/office/drawing/2014/main" id="{A9655811-54CE-4CF6-92F3-2CA0F13739C9}"/>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1</a:t>
                </a:r>
                <a:endParaRPr lang="sv-SE" b="1"/>
              </a:p>
            </p:txBody>
          </p:sp>
        </p:grpSp>
        <p:grpSp>
          <p:nvGrpSpPr>
            <p:cNvPr id="40" name="Group 39">
              <a:extLst>
                <a:ext uri="{FF2B5EF4-FFF2-40B4-BE49-F238E27FC236}">
                  <a16:creationId xmlns:a16="http://schemas.microsoft.com/office/drawing/2014/main" id="{2E658E2C-0441-4BF1-9196-C7A2BDAB023A}"/>
                </a:ext>
              </a:extLst>
            </p:cNvPr>
            <p:cNvGrpSpPr/>
            <p:nvPr/>
          </p:nvGrpSpPr>
          <p:grpSpPr>
            <a:xfrm>
              <a:off x="753745" y="4465457"/>
              <a:ext cx="462550" cy="461227"/>
              <a:chOff x="444348" y="3841808"/>
              <a:chExt cx="551207" cy="501641"/>
            </a:xfrm>
          </p:grpSpPr>
          <p:sp>
            <p:nvSpPr>
              <p:cNvPr id="41" name="TextBox 40">
                <a:extLst>
                  <a:ext uri="{FF2B5EF4-FFF2-40B4-BE49-F238E27FC236}">
                    <a16:creationId xmlns:a16="http://schemas.microsoft.com/office/drawing/2014/main" id="{785A3623-FA74-44E8-8F83-BF0CB40E0D67}"/>
                  </a:ext>
                </a:extLst>
              </p:cNvPr>
              <p:cNvSpPr txBox="1"/>
              <p:nvPr/>
            </p:nvSpPr>
            <p:spPr bwMode="auto">
              <a:xfrm>
                <a:off x="444348" y="3841808"/>
                <a:ext cx="311928" cy="501641"/>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G</a:t>
                </a:r>
                <a:endParaRPr lang="en-US" sz="1600"/>
              </a:p>
              <a:p>
                <a:pPr algn="ctr">
                  <a:buClr>
                    <a:schemeClr val="tx1"/>
                  </a:buClr>
                </a:pPr>
                <a:r>
                  <a:rPr lang="en-US" sz="800"/>
                  <a:t>Core </a:t>
                </a:r>
                <a:br>
                  <a:rPr lang="en-US" sz="800"/>
                </a:br>
                <a:r>
                  <a:rPr lang="en-US" sz="800"/>
                  <a:t>UP</a:t>
                </a:r>
                <a:endParaRPr lang="en-US" sz="900"/>
              </a:p>
            </p:txBody>
          </p:sp>
          <p:grpSp>
            <p:nvGrpSpPr>
              <p:cNvPr id="42" name="Group 41">
                <a:extLst>
                  <a:ext uri="{FF2B5EF4-FFF2-40B4-BE49-F238E27FC236}">
                    <a16:creationId xmlns:a16="http://schemas.microsoft.com/office/drawing/2014/main" id="{80B2FD2B-3601-4A7F-949D-2325849DE996}"/>
                  </a:ext>
                </a:extLst>
              </p:cNvPr>
              <p:cNvGrpSpPr/>
              <p:nvPr/>
            </p:nvGrpSpPr>
            <p:grpSpPr>
              <a:xfrm>
                <a:off x="606403" y="3932445"/>
                <a:ext cx="389152" cy="210873"/>
                <a:chOff x="4686721" y="4237228"/>
                <a:chExt cx="389152" cy="210873"/>
              </a:xfrm>
            </p:grpSpPr>
            <p:sp>
              <p:nvSpPr>
                <p:cNvPr id="43" name="Oval 42">
                  <a:extLst>
                    <a:ext uri="{FF2B5EF4-FFF2-40B4-BE49-F238E27FC236}">
                      <a16:creationId xmlns:a16="http://schemas.microsoft.com/office/drawing/2014/main" id="{95334456-FF24-455F-85BA-3C9A3B92BE3E}"/>
                    </a:ext>
                  </a:extLst>
                </p:cNvPr>
                <p:cNvSpPr/>
                <p:nvPr/>
              </p:nvSpPr>
              <p:spPr bwMode="auto">
                <a:xfrm>
                  <a:off x="4753720" y="4239242"/>
                  <a:ext cx="243080" cy="208859"/>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fontAlgn="base">
                    <a:spcBef>
                      <a:spcPct val="50000"/>
                    </a:spcBef>
                    <a:spcAft>
                      <a:spcPct val="0"/>
                    </a:spcAft>
                  </a:pPr>
                  <a:endParaRPr lang="en-US" sz="400">
                    <a:solidFill>
                      <a:schemeClr val="bg1"/>
                    </a:solidFill>
                  </a:endParaRPr>
                </a:p>
              </p:txBody>
            </p:sp>
            <p:sp>
              <p:nvSpPr>
                <p:cNvPr id="44" name="Rectangle 43">
                  <a:extLst>
                    <a:ext uri="{FF2B5EF4-FFF2-40B4-BE49-F238E27FC236}">
                      <a16:creationId xmlns:a16="http://schemas.microsoft.com/office/drawing/2014/main" id="{AA6236EF-B088-41FE-96E9-71A42488DDF9}"/>
                    </a:ext>
                  </a:extLst>
                </p:cNvPr>
                <p:cNvSpPr/>
                <p:nvPr/>
              </p:nvSpPr>
              <p:spPr>
                <a:xfrm>
                  <a:off x="4686721" y="4237228"/>
                  <a:ext cx="389152" cy="167724"/>
                </a:xfrm>
                <a:prstGeom prst="rect">
                  <a:avLst/>
                </a:prstGeom>
              </p:spPr>
              <p:txBody>
                <a:bodyPr wrap="square">
                  <a:spAutoFit/>
                </a:bodyPr>
                <a:lstStyle/>
                <a:p>
                  <a:r>
                    <a:rPr lang="sv-SE" sz="700" b="1">
                      <a:solidFill>
                        <a:schemeClr val="bg1"/>
                      </a:solidFill>
                    </a:rPr>
                    <a:t>LBO</a:t>
                  </a:r>
                  <a:endParaRPr lang="en-US" sz="700" b="1">
                    <a:solidFill>
                      <a:schemeClr val="bg1"/>
                    </a:solidFill>
                  </a:endParaRPr>
                </a:p>
              </p:txBody>
            </p:sp>
          </p:grpSp>
        </p:grpSp>
        <p:grpSp>
          <p:nvGrpSpPr>
            <p:cNvPr id="45" name="Group 44">
              <a:extLst>
                <a:ext uri="{FF2B5EF4-FFF2-40B4-BE49-F238E27FC236}">
                  <a16:creationId xmlns:a16="http://schemas.microsoft.com/office/drawing/2014/main" id="{73709569-83DC-4644-8CAF-CB5CA72502F1}"/>
                </a:ext>
              </a:extLst>
            </p:cNvPr>
            <p:cNvGrpSpPr/>
            <p:nvPr/>
          </p:nvGrpSpPr>
          <p:grpSpPr>
            <a:xfrm>
              <a:off x="1801210" y="3211315"/>
              <a:ext cx="231548" cy="259286"/>
              <a:chOff x="4613944" y="3680170"/>
              <a:chExt cx="275929" cy="282005"/>
            </a:xfrm>
          </p:grpSpPr>
          <p:sp>
            <p:nvSpPr>
              <p:cNvPr id="46" name="Oval 45">
                <a:extLst>
                  <a:ext uri="{FF2B5EF4-FFF2-40B4-BE49-F238E27FC236}">
                    <a16:creationId xmlns:a16="http://schemas.microsoft.com/office/drawing/2014/main" id="{7889CD0B-E81C-4348-B174-A02A849027DB}"/>
                  </a:ext>
                </a:extLst>
              </p:cNvPr>
              <p:cNvSpPr/>
              <p:nvPr/>
            </p:nvSpPr>
            <p:spPr bwMode="auto">
              <a:xfrm>
                <a:off x="4613944" y="3680170"/>
                <a:ext cx="275929" cy="279182"/>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47" name="TextBox 46">
                <a:extLst>
                  <a:ext uri="{FF2B5EF4-FFF2-40B4-BE49-F238E27FC236}">
                    <a16:creationId xmlns:a16="http://schemas.microsoft.com/office/drawing/2014/main" id="{7CBB1C7B-2FAC-43AD-815D-DB93619C99FA}"/>
                  </a:ext>
                </a:extLst>
              </p:cNvPr>
              <p:cNvSpPr txBox="1"/>
              <p:nvPr/>
            </p:nvSpPr>
            <p:spPr bwMode="auto">
              <a:xfrm>
                <a:off x="4641987" y="3682993"/>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2</a:t>
                </a:r>
              </a:p>
            </p:txBody>
          </p:sp>
        </p:grpSp>
        <p:sp>
          <p:nvSpPr>
            <p:cNvPr id="48" name="Freeform: Shape 47">
              <a:extLst>
                <a:ext uri="{FF2B5EF4-FFF2-40B4-BE49-F238E27FC236}">
                  <a16:creationId xmlns:a16="http://schemas.microsoft.com/office/drawing/2014/main" id="{0656F218-13A0-4DC8-89DE-C56E61ED3232}"/>
                </a:ext>
              </a:extLst>
            </p:cNvPr>
            <p:cNvSpPr/>
            <p:nvPr/>
          </p:nvSpPr>
          <p:spPr bwMode="auto">
            <a:xfrm>
              <a:off x="1000112" y="3370546"/>
              <a:ext cx="804347" cy="1091478"/>
            </a:xfrm>
            <a:custGeom>
              <a:avLst/>
              <a:gdLst>
                <a:gd name="connsiteX0" fmla="*/ 958516 w 958516"/>
                <a:gd name="connsiteY0" fmla="*/ 0 h 1187116"/>
                <a:gd name="connsiteX1" fmla="*/ 421105 w 958516"/>
                <a:gd name="connsiteY1" fmla="*/ 184484 h 1187116"/>
                <a:gd name="connsiteX2" fmla="*/ 128337 w 958516"/>
                <a:gd name="connsiteY2" fmla="*/ 697831 h 1187116"/>
                <a:gd name="connsiteX3" fmla="*/ 0 w 958516"/>
                <a:gd name="connsiteY3" fmla="*/ 1187116 h 1187116"/>
              </a:gdLst>
              <a:ahLst/>
              <a:cxnLst>
                <a:cxn ang="0">
                  <a:pos x="connsiteX0" y="connsiteY0"/>
                </a:cxn>
                <a:cxn ang="0">
                  <a:pos x="connsiteX1" y="connsiteY1"/>
                </a:cxn>
                <a:cxn ang="0">
                  <a:pos x="connsiteX2" y="connsiteY2"/>
                </a:cxn>
                <a:cxn ang="0">
                  <a:pos x="connsiteX3" y="connsiteY3"/>
                </a:cxn>
              </a:cxnLst>
              <a:rect l="l" t="t" r="r" b="b"/>
              <a:pathLst>
                <a:path w="958516" h="1187116">
                  <a:moveTo>
                    <a:pt x="958516" y="0"/>
                  </a:moveTo>
                  <a:cubicBezTo>
                    <a:pt x="758992" y="34089"/>
                    <a:pt x="559468" y="68179"/>
                    <a:pt x="421105" y="184484"/>
                  </a:cubicBezTo>
                  <a:cubicBezTo>
                    <a:pt x="282742" y="300789"/>
                    <a:pt x="198521" y="530726"/>
                    <a:pt x="128337" y="697831"/>
                  </a:cubicBezTo>
                  <a:cubicBezTo>
                    <a:pt x="58153" y="864936"/>
                    <a:pt x="29076" y="1026026"/>
                    <a:pt x="0" y="1187116"/>
                  </a:cubicBezTo>
                </a:path>
              </a:pathLst>
            </a:custGeom>
            <a:noFill/>
            <a:ln w="19050" cap="flat" cmpd="sng" algn="ctr">
              <a:solidFill>
                <a:schemeClr val="tx1"/>
              </a:solidFill>
              <a:prstDash val="solid"/>
              <a:round/>
              <a:headEnd type="none" w="med" len="med"/>
              <a:tailEnd type="triangle" w="med" len="med"/>
            </a:ln>
            <a:effectLst/>
          </p:spPr>
          <p:txBody>
            <a:bodyPr rtlCol="0" anchor="ctr"/>
            <a:lstStyle/>
            <a:p>
              <a:pPr algn="ctr"/>
              <a:endParaRPr lang="sv-SE" sz="1600"/>
            </a:p>
          </p:txBody>
        </p:sp>
        <p:sp>
          <p:nvSpPr>
            <p:cNvPr id="49" name="Freeform: Shape 48">
              <a:extLst>
                <a:ext uri="{FF2B5EF4-FFF2-40B4-BE49-F238E27FC236}">
                  <a16:creationId xmlns:a16="http://schemas.microsoft.com/office/drawing/2014/main" id="{DACB45F4-B67E-43E0-813C-00E9DB68E7A8}"/>
                </a:ext>
              </a:extLst>
            </p:cNvPr>
            <p:cNvSpPr/>
            <p:nvPr/>
          </p:nvSpPr>
          <p:spPr bwMode="auto">
            <a:xfrm>
              <a:off x="895783" y="3322608"/>
              <a:ext cx="905310" cy="435117"/>
            </a:xfrm>
            <a:custGeom>
              <a:avLst/>
              <a:gdLst>
                <a:gd name="connsiteX0" fmla="*/ 1078831 w 1078831"/>
                <a:gd name="connsiteY0" fmla="*/ 0 h 473242"/>
                <a:gd name="connsiteX1" fmla="*/ 597568 w 1078831"/>
                <a:gd name="connsiteY1" fmla="*/ 96253 h 473242"/>
                <a:gd name="connsiteX2" fmla="*/ 292768 w 1078831"/>
                <a:gd name="connsiteY2" fmla="*/ 212558 h 473242"/>
                <a:gd name="connsiteX3" fmla="*/ 0 w 1078831"/>
                <a:gd name="connsiteY3" fmla="*/ 473242 h 473242"/>
              </a:gdLst>
              <a:ahLst/>
              <a:cxnLst>
                <a:cxn ang="0">
                  <a:pos x="connsiteX0" y="connsiteY0"/>
                </a:cxn>
                <a:cxn ang="0">
                  <a:pos x="connsiteX1" y="connsiteY1"/>
                </a:cxn>
                <a:cxn ang="0">
                  <a:pos x="connsiteX2" y="connsiteY2"/>
                </a:cxn>
                <a:cxn ang="0">
                  <a:pos x="connsiteX3" y="connsiteY3"/>
                </a:cxn>
              </a:cxnLst>
              <a:rect l="l" t="t" r="r" b="b"/>
              <a:pathLst>
                <a:path w="1078831" h="473242">
                  <a:moveTo>
                    <a:pt x="1078831" y="0"/>
                  </a:moveTo>
                  <a:cubicBezTo>
                    <a:pt x="903705" y="30413"/>
                    <a:pt x="728579" y="60827"/>
                    <a:pt x="597568" y="96253"/>
                  </a:cubicBezTo>
                  <a:cubicBezTo>
                    <a:pt x="466557" y="131679"/>
                    <a:pt x="392363" y="149727"/>
                    <a:pt x="292768" y="212558"/>
                  </a:cubicBezTo>
                  <a:cubicBezTo>
                    <a:pt x="193173" y="275390"/>
                    <a:pt x="96586" y="374316"/>
                    <a:pt x="0" y="473242"/>
                  </a:cubicBezTo>
                </a:path>
              </a:pathLst>
            </a:custGeom>
            <a:noFill/>
            <a:ln w="19050" cap="flat" cmpd="sng" algn="ctr">
              <a:solidFill>
                <a:schemeClr val="tx1"/>
              </a:solidFill>
              <a:prstDash val="solid"/>
              <a:round/>
              <a:headEnd type="none" w="med" len="med"/>
              <a:tailEnd type="triangle" w="med" len="med"/>
            </a:ln>
            <a:effectLst/>
          </p:spPr>
          <p:txBody>
            <a:bodyPr rtlCol="0" anchor="ctr"/>
            <a:lstStyle/>
            <a:p>
              <a:pPr algn="ctr"/>
              <a:endParaRPr lang="sv-SE" sz="1600"/>
            </a:p>
          </p:txBody>
        </p:sp>
        <p:grpSp>
          <p:nvGrpSpPr>
            <p:cNvPr id="50" name="Group 49">
              <a:extLst>
                <a:ext uri="{FF2B5EF4-FFF2-40B4-BE49-F238E27FC236}">
                  <a16:creationId xmlns:a16="http://schemas.microsoft.com/office/drawing/2014/main" id="{FEA83A2F-3065-412E-B8FB-C350616EDA24}"/>
                </a:ext>
              </a:extLst>
            </p:cNvPr>
            <p:cNvGrpSpPr/>
            <p:nvPr/>
          </p:nvGrpSpPr>
          <p:grpSpPr>
            <a:xfrm>
              <a:off x="3908963" y="2460222"/>
              <a:ext cx="2605568" cy="3148284"/>
              <a:chOff x="117448" y="1651194"/>
              <a:chExt cx="3104980" cy="3424145"/>
            </a:xfrm>
          </p:grpSpPr>
          <p:grpSp>
            <p:nvGrpSpPr>
              <p:cNvPr id="51" name="Group 50">
                <a:extLst>
                  <a:ext uri="{FF2B5EF4-FFF2-40B4-BE49-F238E27FC236}">
                    <a16:creationId xmlns:a16="http://schemas.microsoft.com/office/drawing/2014/main" id="{BBE76BCE-35B5-4AA6-8DB4-7318D0E36C34}"/>
                  </a:ext>
                </a:extLst>
              </p:cNvPr>
              <p:cNvGrpSpPr/>
              <p:nvPr/>
            </p:nvGrpSpPr>
            <p:grpSpPr>
              <a:xfrm>
                <a:off x="184380" y="1960465"/>
                <a:ext cx="954563" cy="2912936"/>
                <a:chOff x="7419305" y="32700"/>
                <a:chExt cx="590130" cy="1168027"/>
              </a:xfrm>
            </p:grpSpPr>
            <p:sp>
              <p:nvSpPr>
                <p:cNvPr id="67" name="Rectangle 66">
                  <a:extLst>
                    <a:ext uri="{FF2B5EF4-FFF2-40B4-BE49-F238E27FC236}">
                      <a16:creationId xmlns:a16="http://schemas.microsoft.com/office/drawing/2014/main" id="{E6DB90D7-205C-4AE1-A575-835AB2C47A2E}"/>
                    </a:ext>
                  </a:extLst>
                </p:cNvPr>
                <p:cNvSpPr/>
                <p:nvPr/>
              </p:nvSpPr>
              <p:spPr bwMode="auto">
                <a:xfrm>
                  <a:off x="7419305" y="32700"/>
                  <a:ext cx="590129" cy="116802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fontAlgn="base">
                    <a:spcBef>
                      <a:spcPts val="225"/>
                    </a:spcBef>
                    <a:spcAft>
                      <a:spcPct val="0"/>
                    </a:spcAft>
                  </a:pPr>
                  <a:r>
                    <a:rPr lang="sv-SE" sz="900"/>
                    <a:t>Local Access site</a:t>
                  </a:r>
                  <a:endParaRPr lang="en-US" sz="900" err="1"/>
                </a:p>
              </p:txBody>
            </p:sp>
            <p:cxnSp>
              <p:nvCxnSpPr>
                <p:cNvPr id="68" name="Straight Connector 67">
                  <a:extLst>
                    <a:ext uri="{FF2B5EF4-FFF2-40B4-BE49-F238E27FC236}">
                      <a16:creationId xmlns:a16="http://schemas.microsoft.com/office/drawing/2014/main" id="{F8B186FC-DC7D-429B-ACF2-AA6A5EDA818F}"/>
                    </a:ext>
                  </a:extLst>
                </p:cNvPr>
                <p:cNvCxnSpPr>
                  <a:cxnSpLocks/>
                </p:cNvCxnSpPr>
                <p:nvPr/>
              </p:nvCxnSpPr>
              <p:spPr bwMode="auto">
                <a:xfrm>
                  <a:off x="7419306" y="1135536"/>
                  <a:ext cx="590129" cy="0"/>
                </a:xfrm>
                <a:prstGeom prst="line">
                  <a:avLst/>
                </a:prstGeom>
                <a:solidFill>
                  <a:schemeClr val="accent1"/>
                </a:solidFill>
                <a:ln w="3175" cap="flat" cmpd="sng" algn="ctr">
                  <a:solidFill>
                    <a:schemeClr val="tx1"/>
                  </a:solidFill>
                  <a:prstDash val="solid"/>
                  <a:round/>
                  <a:headEnd type="none" w="med" len="med"/>
                  <a:tailEnd type="none"/>
                </a:ln>
                <a:effectLst/>
              </p:spPr>
            </p:cxnSp>
          </p:grpSp>
          <p:grpSp>
            <p:nvGrpSpPr>
              <p:cNvPr id="52" name="Group 51">
                <a:extLst>
                  <a:ext uri="{FF2B5EF4-FFF2-40B4-BE49-F238E27FC236}">
                    <a16:creationId xmlns:a16="http://schemas.microsoft.com/office/drawing/2014/main" id="{5844F2ED-8798-45F7-80F3-D509018E97F1}"/>
                  </a:ext>
                </a:extLst>
              </p:cNvPr>
              <p:cNvGrpSpPr/>
              <p:nvPr/>
            </p:nvGrpSpPr>
            <p:grpSpPr>
              <a:xfrm>
                <a:off x="1873661" y="1953891"/>
                <a:ext cx="1260000" cy="2919510"/>
                <a:chOff x="6239718" y="278296"/>
                <a:chExt cx="2989699" cy="922431"/>
              </a:xfrm>
            </p:grpSpPr>
            <p:sp>
              <p:nvSpPr>
                <p:cNvPr id="65" name="Rectangle 64">
                  <a:extLst>
                    <a:ext uri="{FF2B5EF4-FFF2-40B4-BE49-F238E27FC236}">
                      <a16:creationId xmlns:a16="http://schemas.microsoft.com/office/drawing/2014/main" id="{10C687B0-7316-4B32-958A-FF50CFAC29E3}"/>
                    </a:ext>
                  </a:extLst>
                </p:cNvPr>
                <p:cNvSpPr/>
                <p:nvPr/>
              </p:nvSpPr>
              <p:spPr bwMode="auto">
                <a:xfrm>
                  <a:off x="6239718" y="278296"/>
                  <a:ext cx="2989699" cy="922431"/>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defTabSz="685800" fontAlgn="base">
                    <a:spcBef>
                      <a:spcPts val="225"/>
                    </a:spcBef>
                    <a:spcAft>
                      <a:spcPct val="0"/>
                    </a:spcAft>
                  </a:pPr>
                  <a:r>
                    <a:rPr lang="sv-SE" sz="900"/>
                    <a:t>National Access site</a:t>
                  </a:r>
                  <a:endParaRPr lang="en-US" sz="900" err="1"/>
                </a:p>
              </p:txBody>
            </p:sp>
            <p:cxnSp>
              <p:nvCxnSpPr>
                <p:cNvPr id="66" name="Straight Connector 65">
                  <a:extLst>
                    <a:ext uri="{FF2B5EF4-FFF2-40B4-BE49-F238E27FC236}">
                      <a16:creationId xmlns:a16="http://schemas.microsoft.com/office/drawing/2014/main" id="{C5AC3B22-C57F-46C8-90CF-03B757BD411C}"/>
                    </a:ext>
                  </a:extLst>
                </p:cNvPr>
                <p:cNvCxnSpPr>
                  <a:cxnSpLocks/>
                </p:cNvCxnSpPr>
                <p:nvPr/>
              </p:nvCxnSpPr>
              <p:spPr bwMode="auto">
                <a:xfrm>
                  <a:off x="6239718" y="1149123"/>
                  <a:ext cx="2989699"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53" name="Rectangle 52">
                <a:extLst>
                  <a:ext uri="{FF2B5EF4-FFF2-40B4-BE49-F238E27FC236}">
                    <a16:creationId xmlns:a16="http://schemas.microsoft.com/office/drawing/2014/main" id="{77F5F0A7-18AC-4AFF-AACF-A82B6B766109}"/>
                  </a:ext>
                </a:extLst>
              </p:cNvPr>
              <p:cNvSpPr/>
              <p:nvPr/>
            </p:nvSpPr>
            <p:spPr bwMode="auto">
              <a:xfrm>
                <a:off x="224231" y="3670396"/>
                <a:ext cx="2801137" cy="726876"/>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fontAlgn="base">
                  <a:spcBef>
                    <a:spcPts val="225"/>
                  </a:spcBef>
                  <a:spcAft>
                    <a:spcPct val="0"/>
                  </a:spcAft>
                </a:pPr>
                <a:r>
                  <a:rPr lang="sv-SE" sz="900"/>
                  <a:t>                                    Connectivity</a:t>
                </a:r>
              </a:p>
            </p:txBody>
          </p:sp>
          <p:sp>
            <p:nvSpPr>
              <p:cNvPr id="54" name="Rectangle 53">
                <a:extLst>
                  <a:ext uri="{FF2B5EF4-FFF2-40B4-BE49-F238E27FC236}">
                    <a16:creationId xmlns:a16="http://schemas.microsoft.com/office/drawing/2014/main" id="{D1855DE3-A5A3-44EF-8C49-D759969DCCE3}"/>
                  </a:ext>
                </a:extLst>
              </p:cNvPr>
              <p:cNvSpPr/>
              <p:nvPr/>
            </p:nvSpPr>
            <p:spPr bwMode="auto">
              <a:xfrm>
                <a:off x="117448" y="1651194"/>
                <a:ext cx="3104980" cy="342414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Mobile network</a:t>
                </a:r>
              </a:p>
            </p:txBody>
          </p:sp>
          <p:sp>
            <p:nvSpPr>
              <p:cNvPr id="55" name="Rectangle 54">
                <a:extLst>
                  <a:ext uri="{FF2B5EF4-FFF2-40B4-BE49-F238E27FC236}">
                    <a16:creationId xmlns:a16="http://schemas.microsoft.com/office/drawing/2014/main" id="{2E5D3FCE-3898-4A99-A4DB-0F9DE9DFE17F}"/>
                  </a:ext>
                </a:extLst>
              </p:cNvPr>
              <p:cNvSpPr/>
              <p:nvPr/>
            </p:nvSpPr>
            <p:spPr bwMode="auto">
              <a:xfrm>
                <a:off x="224231" y="4434931"/>
                <a:ext cx="2801137" cy="198987"/>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Distributed Cloud Infrastructure</a:t>
                </a:r>
              </a:p>
            </p:txBody>
          </p:sp>
          <p:sp>
            <p:nvSpPr>
              <p:cNvPr id="56" name="TextBox 55">
                <a:extLst>
                  <a:ext uri="{FF2B5EF4-FFF2-40B4-BE49-F238E27FC236}">
                    <a16:creationId xmlns:a16="http://schemas.microsoft.com/office/drawing/2014/main" id="{432BD8E7-CD54-42B8-B520-247513A1A01E}"/>
                  </a:ext>
                </a:extLst>
              </p:cNvPr>
              <p:cNvSpPr txBox="1"/>
              <p:nvPr/>
            </p:nvSpPr>
            <p:spPr bwMode="auto">
              <a:xfrm>
                <a:off x="1940937" y="3848329"/>
                <a:ext cx="312636" cy="496621"/>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S</a:t>
                </a:r>
                <a:endParaRPr lang="en-US" sz="1600"/>
              </a:p>
              <a:p>
                <a:pPr algn="ctr">
                  <a:buClr>
                    <a:schemeClr val="tx1"/>
                  </a:buClr>
                </a:pPr>
                <a:r>
                  <a:rPr lang="en-US" sz="800"/>
                  <a:t>Core</a:t>
                </a:r>
                <a:br>
                  <a:rPr lang="en-US" sz="800"/>
                </a:br>
                <a:r>
                  <a:rPr lang="en-US" sz="800"/>
                  <a:t>CP</a:t>
                </a:r>
                <a:endParaRPr lang="en-US" sz="1050"/>
              </a:p>
            </p:txBody>
          </p:sp>
          <p:sp>
            <p:nvSpPr>
              <p:cNvPr id="57" name="TextBox 56">
                <a:extLst>
                  <a:ext uri="{FF2B5EF4-FFF2-40B4-BE49-F238E27FC236}">
                    <a16:creationId xmlns:a16="http://schemas.microsoft.com/office/drawing/2014/main" id="{C13F7763-4638-4910-B1F5-F0C799FA3FE7}"/>
                  </a:ext>
                </a:extLst>
              </p:cNvPr>
              <p:cNvSpPr txBox="1"/>
              <p:nvPr/>
            </p:nvSpPr>
            <p:spPr bwMode="auto">
              <a:xfrm>
                <a:off x="2425358" y="3848329"/>
                <a:ext cx="311928" cy="496621"/>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G</a:t>
                </a:r>
                <a:endParaRPr lang="en-US" sz="1600"/>
              </a:p>
              <a:p>
                <a:pPr algn="ctr">
                  <a:buClr>
                    <a:schemeClr val="tx1"/>
                  </a:buClr>
                </a:pPr>
                <a:r>
                  <a:rPr lang="en-US" sz="800"/>
                  <a:t>Core </a:t>
                </a:r>
                <a:br>
                  <a:rPr lang="en-US" sz="800"/>
                </a:br>
                <a:r>
                  <a:rPr lang="en-US" sz="800"/>
                  <a:t>UP</a:t>
                </a:r>
                <a:endParaRPr lang="en-US" sz="900"/>
              </a:p>
            </p:txBody>
          </p:sp>
          <p:sp>
            <p:nvSpPr>
              <p:cNvPr id="58" name="Rectangle 57">
                <a:extLst>
                  <a:ext uri="{FF2B5EF4-FFF2-40B4-BE49-F238E27FC236}">
                    <a16:creationId xmlns:a16="http://schemas.microsoft.com/office/drawing/2014/main" id="{9263B524-A0A0-4F8E-B30E-AACAD5AE8B1E}"/>
                  </a:ext>
                </a:extLst>
              </p:cNvPr>
              <p:cNvSpPr/>
              <p:nvPr/>
            </p:nvSpPr>
            <p:spPr bwMode="auto">
              <a:xfrm>
                <a:off x="1190389" y="4684866"/>
                <a:ext cx="629297" cy="198983"/>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Transport</a:t>
                </a:r>
              </a:p>
            </p:txBody>
          </p:sp>
          <p:sp>
            <p:nvSpPr>
              <p:cNvPr id="59" name="Rectangle 58">
                <a:extLst>
                  <a:ext uri="{FF2B5EF4-FFF2-40B4-BE49-F238E27FC236}">
                    <a16:creationId xmlns:a16="http://schemas.microsoft.com/office/drawing/2014/main" id="{04255801-EEC5-4A53-8D11-71679D39F9AB}"/>
                  </a:ext>
                </a:extLst>
              </p:cNvPr>
              <p:cNvSpPr/>
              <p:nvPr/>
            </p:nvSpPr>
            <p:spPr bwMode="auto">
              <a:xfrm>
                <a:off x="1993041" y="2030977"/>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600"/>
                  <a:t>        Order Management </a:t>
                </a:r>
                <a:br>
                  <a:rPr lang="en-US" sz="600"/>
                </a:br>
                <a:r>
                  <a:rPr lang="en-US" sz="600"/>
                  <a:t>        and Monetization </a:t>
                </a:r>
                <a:endParaRPr lang="en-US" sz="700"/>
              </a:p>
            </p:txBody>
          </p:sp>
          <p:sp>
            <p:nvSpPr>
              <p:cNvPr id="60" name="TextBox 59">
                <a:extLst>
                  <a:ext uri="{FF2B5EF4-FFF2-40B4-BE49-F238E27FC236}">
                    <a16:creationId xmlns:a16="http://schemas.microsoft.com/office/drawing/2014/main" id="{C9540279-7993-4591-865F-76F4FF0DDA61}"/>
                  </a:ext>
                </a:extLst>
              </p:cNvPr>
              <p:cNvSpPr txBox="1"/>
              <p:nvPr/>
            </p:nvSpPr>
            <p:spPr bwMode="auto">
              <a:xfrm>
                <a:off x="2030292" y="2071762"/>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61" name="Rectangle 60">
                <a:extLst>
                  <a:ext uri="{FF2B5EF4-FFF2-40B4-BE49-F238E27FC236}">
                    <a16:creationId xmlns:a16="http://schemas.microsoft.com/office/drawing/2014/main" id="{5D346834-E1FD-4E53-8C22-40AE55834E71}"/>
                  </a:ext>
                </a:extLst>
              </p:cNvPr>
              <p:cNvSpPr/>
              <p:nvPr/>
            </p:nvSpPr>
            <p:spPr bwMode="auto">
              <a:xfrm>
                <a:off x="1993041" y="2334734"/>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algn="ctr" fontAlgn="base">
                  <a:spcBef>
                    <a:spcPts val="225"/>
                  </a:spcBef>
                  <a:spcAft>
                    <a:spcPct val="0"/>
                  </a:spcAft>
                </a:pPr>
                <a:r>
                  <a:rPr lang="en-US" sz="600"/>
                  <a:t>       Service Orchestration, </a:t>
                </a:r>
                <a:br>
                  <a:rPr lang="en-US" sz="600"/>
                </a:br>
                <a:r>
                  <a:rPr lang="en-US" sz="600"/>
                  <a:t>       Assurance &amp;  Analytics</a:t>
                </a:r>
              </a:p>
            </p:txBody>
          </p:sp>
          <p:sp>
            <p:nvSpPr>
              <p:cNvPr id="62" name="TextBox 61">
                <a:extLst>
                  <a:ext uri="{FF2B5EF4-FFF2-40B4-BE49-F238E27FC236}">
                    <a16:creationId xmlns:a16="http://schemas.microsoft.com/office/drawing/2014/main" id="{13D57EB9-DA0E-4F21-9CBE-6481EF39E0E7}"/>
                  </a:ext>
                </a:extLst>
              </p:cNvPr>
              <p:cNvSpPr txBox="1"/>
              <p:nvPr/>
            </p:nvSpPr>
            <p:spPr bwMode="auto">
              <a:xfrm>
                <a:off x="2030292" y="2375517"/>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63" name="Rectangle 62">
                <a:extLst>
                  <a:ext uri="{FF2B5EF4-FFF2-40B4-BE49-F238E27FC236}">
                    <a16:creationId xmlns:a16="http://schemas.microsoft.com/office/drawing/2014/main" id="{7CBE3400-D1DB-4922-8AB5-FA67DDDF8A1B}"/>
                  </a:ext>
                </a:extLst>
              </p:cNvPr>
              <p:cNvSpPr/>
              <p:nvPr/>
            </p:nvSpPr>
            <p:spPr bwMode="auto">
              <a:xfrm>
                <a:off x="1991815" y="2636110"/>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500"/>
                  <a:t>         Resource Orchestration</a:t>
                </a:r>
                <a:br>
                  <a:rPr lang="en-US" sz="500"/>
                </a:br>
                <a:r>
                  <a:rPr lang="en-US" sz="500"/>
                  <a:t>         and VNF Management</a:t>
                </a:r>
              </a:p>
            </p:txBody>
          </p:sp>
          <p:sp>
            <p:nvSpPr>
              <p:cNvPr id="64" name="TextBox 63">
                <a:extLst>
                  <a:ext uri="{FF2B5EF4-FFF2-40B4-BE49-F238E27FC236}">
                    <a16:creationId xmlns:a16="http://schemas.microsoft.com/office/drawing/2014/main" id="{B5A138BD-DF4B-431D-B411-C389231BCA76}"/>
                  </a:ext>
                </a:extLst>
              </p:cNvPr>
              <p:cNvSpPr txBox="1"/>
              <p:nvPr/>
            </p:nvSpPr>
            <p:spPr bwMode="auto">
              <a:xfrm>
                <a:off x="2029066" y="2676894"/>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grpSp>
        <p:cxnSp>
          <p:nvCxnSpPr>
            <p:cNvPr id="69" name="Straight Connector 68">
              <a:extLst>
                <a:ext uri="{FF2B5EF4-FFF2-40B4-BE49-F238E27FC236}">
                  <a16:creationId xmlns:a16="http://schemas.microsoft.com/office/drawing/2014/main" id="{4DEEEB2D-D178-4BE9-9CCF-9A755D20B493}"/>
                </a:ext>
              </a:extLst>
            </p:cNvPr>
            <p:cNvCxnSpPr>
              <a:cxnSpLocks/>
            </p:cNvCxnSpPr>
            <p:nvPr/>
          </p:nvCxnSpPr>
          <p:spPr bwMode="auto">
            <a:xfrm>
              <a:off x="7273338" y="2326428"/>
              <a:ext cx="0" cy="3847500"/>
            </a:xfrm>
            <a:prstGeom prst="line">
              <a:avLst/>
            </a:prstGeom>
            <a:solidFill>
              <a:schemeClr val="accent1"/>
            </a:solidFill>
            <a:ln w="12700" cap="flat" cmpd="sng" algn="ctr">
              <a:solidFill>
                <a:schemeClr val="tx1"/>
              </a:solidFill>
              <a:prstDash val="dash"/>
              <a:round/>
              <a:headEnd type="none" w="med" len="med"/>
              <a:tailEnd type="none"/>
            </a:ln>
            <a:effectLst/>
          </p:spPr>
        </p:cxnSp>
        <p:sp>
          <p:nvSpPr>
            <p:cNvPr id="70" name="Rectangle 69">
              <a:extLst>
                <a:ext uri="{FF2B5EF4-FFF2-40B4-BE49-F238E27FC236}">
                  <a16:creationId xmlns:a16="http://schemas.microsoft.com/office/drawing/2014/main" id="{692E5E23-8C0D-4B82-BF63-183E617B8F28}"/>
                </a:ext>
              </a:extLst>
            </p:cNvPr>
            <p:cNvSpPr/>
            <p:nvPr/>
          </p:nvSpPr>
          <p:spPr>
            <a:xfrm>
              <a:off x="3934632" y="1982337"/>
              <a:ext cx="3163045" cy="307777"/>
            </a:xfrm>
            <a:prstGeom prst="rect">
              <a:avLst/>
            </a:prstGeom>
          </p:spPr>
          <p:txBody>
            <a:bodyPr wrap="none">
              <a:spAutoFit/>
            </a:bodyPr>
            <a:lstStyle/>
            <a:p>
              <a:r>
                <a:rPr lang="sv-SE" sz="1400" b="1"/>
                <a:t>2a. MNO owned Application Platform</a:t>
              </a:r>
            </a:p>
          </p:txBody>
        </p:sp>
        <p:sp>
          <p:nvSpPr>
            <p:cNvPr id="71" name="TextBox 70">
              <a:extLst>
                <a:ext uri="{FF2B5EF4-FFF2-40B4-BE49-F238E27FC236}">
                  <a16:creationId xmlns:a16="http://schemas.microsoft.com/office/drawing/2014/main" id="{B709EF1A-95AD-4676-B96D-8D8562176083}"/>
                </a:ext>
              </a:extLst>
            </p:cNvPr>
            <p:cNvSpPr txBox="1"/>
            <p:nvPr/>
          </p:nvSpPr>
          <p:spPr bwMode="auto">
            <a:xfrm>
              <a:off x="6765413" y="3800192"/>
              <a:ext cx="265743" cy="400676"/>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sp>
          <p:nvSpPr>
            <p:cNvPr id="72" name="Arrow: Right 71">
              <a:extLst>
                <a:ext uri="{FF2B5EF4-FFF2-40B4-BE49-F238E27FC236}">
                  <a16:creationId xmlns:a16="http://schemas.microsoft.com/office/drawing/2014/main" id="{FEFF36FF-2EB8-449F-8350-085E6EBAFB78}"/>
                </a:ext>
              </a:extLst>
            </p:cNvPr>
            <p:cNvSpPr/>
            <p:nvPr/>
          </p:nvSpPr>
          <p:spPr bwMode="auto">
            <a:xfrm rot="10800000">
              <a:off x="6369689" y="2878918"/>
              <a:ext cx="226169" cy="170540"/>
            </a:xfrm>
            <a:prstGeom prst="rightArrow">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73" name="Rectangle 72">
              <a:extLst>
                <a:ext uri="{FF2B5EF4-FFF2-40B4-BE49-F238E27FC236}">
                  <a16:creationId xmlns:a16="http://schemas.microsoft.com/office/drawing/2014/main" id="{391DF201-30B7-48BA-BB31-7AF9F76FD530}"/>
                </a:ext>
              </a:extLst>
            </p:cNvPr>
            <p:cNvSpPr/>
            <p:nvPr/>
          </p:nvSpPr>
          <p:spPr bwMode="auto">
            <a:xfrm>
              <a:off x="4015192" y="5690839"/>
              <a:ext cx="3090518" cy="483089"/>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1200" b="1">
                  <a:sym typeface="Wingdings" panose="05000000000000000000" pitchFamily="2" charset="2"/>
                </a:rPr>
                <a:t>No coordinated control</a:t>
              </a:r>
            </a:p>
            <a:p>
              <a:pPr algn="ctr" fontAlgn="base">
                <a:spcBef>
                  <a:spcPts val="225"/>
                </a:spcBef>
                <a:spcAft>
                  <a:spcPct val="0"/>
                </a:spcAft>
              </a:pPr>
              <a:r>
                <a:rPr lang="sv-SE" sz="1200">
                  <a:sym typeface="Wingdings" panose="05000000000000000000" pitchFamily="2" charset="2"/>
                </a:rPr>
                <a:t>Coordination needed for Traffic Routing</a:t>
              </a:r>
              <a:endParaRPr lang="sv-SE" sz="1200"/>
            </a:p>
          </p:txBody>
        </p:sp>
        <p:sp>
          <p:nvSpPr>
            <p:cNvPr id="74" name="Rectangle 73">
              <a:extLst>
                <a:ext uri="{FF2B5EF4-FFF2-40B4-BE49-F238E27FC236}">
                  <a16:creationId xmlns:a16="http://schemas.microsoft.com/office/drawing/2014/main" id="{7F10C711-C897-4038-BB45-C4A3024C71A1}"/>
                </a:ext>
              </a:extLst>
            </p:cNvPr>
            <p:cNvSpPr/>
            <p:nvPr/>
          </p:nvSpPr>
          <p:spPr bwMode="auto">
            <a:xfrm>
              <a:off x="6552650" y="2460222"/>
              <a:ext cx="669987" cy="1847632"/>
            </a:xfrm>
            <a:prstGeom prst="rect">
              <a:avLst/>
            </a:prstGeom>
            <a:no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3P</a:t>
              </a:r>
            </a:p>
          </p:txBody>
        </p:sp>
        <p:grpSp>
          <p:nvGrpSpPr>
            <p:cNvPr id="75" name="Group 74">
              <a:extLst>
                <a:ext uri="{FF2B5EF4-FFF2-40B4-BE49-F238E27FC236}">
                  <a16:creationId xmlns:a16="http://schemas.microsoft.com/office/drawing/2014/main" id="{79C2BD5E-EA97-4F75-A6A1-47382513504E}"/>
                </a:ext>
              </a:extLst>
            </p:cNvPr>
            <p:cNvGrpSpPr/>
            <p:nvPr/>
          </p:nvGrpSpPr>
          <p:grpSpPr>
            <a:xfrm>
              <a:off x="4183285" y="4474352"/>
              <a:ext cx="462550" cy="462608"/>
              <a:chOff x="444348" y="3841808"/>
              <a:chExt cx="551207" cy="503142"/>
            </a:xfrm>
          </p:grpSpPr>
          <p:sp>
            <p:nvSpPr>
              <p:cNvPr id="76" name="TextBox 75">
                <a:extLst>
                  <a:ext uri="{FF2B5EF4-FFF2-40B4-BE49-F238E27FC236}">
                    <a16:creationId xmlns:a16="http://schemas.microsoft.com/office/drawing/2014/main" id="{A3A54599-13DA-434A-A205-E658DA402837}"/>
                  </a:ext>
                </a:extLst>
              </p:cNvPr>
              <p:cNvSpPr txBox="1"/>
              <p:nvPr/>
            </p:nvSpPr>
            <p:spPr bwMode="auto">
              <a:xfrm>
                <a:off x="444348" y="3841808"/>
                <a:ext cx="311928" cy="503142"/>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G</a:t>
                </a:r>
                <a:endParaRPr lang="en-US" sz="1600"/>
              </a:p>
              <a:p>
                <a:pPr algn="ctr">
                  <a:buClr>
                    <a:schemeClr val="tx1"/>
                  </a:buClr>
                </a:pPr>
                <a:r>
                  <a:rPr lang="en-US" sz="800"/>
                  <a:t>Core </a:t>
                </a:r>
                <a:br>
                  <a:rPr lang="en-US" sz="800"/>
                </a:br>
                <a:r>
                  <a:rPr lang="en-US" sz="800"/>
                  <a:t>UP</a:t>
                </a:r>
                <a:endParaRPr lang="en-US" sz="900"/>
              </a:p>
            </p:txBody>
          </p:sp>
          <p:grpSp>
            <p:nvGrpSpPr>
              <p:cNvPr id="77" name="Group 76">
                <a:extLst>
                  <a:ext uri="{FF2B5EF4-FFF2-40B4-BE49-F238E27FC236}">
                    <a16:creationId xmlns:a16="http://schemas.microsoft.com/office/drawing/2014/main" id="{AFDA65F5-B50D-4A56-B266-2AADD45940D0}"/>
                  </a:ext>
                </a:extLst>
              </p:cNvPr>
              <p:cNvGrpSpPr/>
              <p:nvPr/>
            </p:nvGrpSpPr>
            <p:grpSpPr>
              <a:xfrm>
                <a:off x="606403" y="3932445"/>
                <a:ext cx="389152" cy="210873"/>
                <a:chOff x="4686721" y="4237228"/>
                <a:chExt cx="389152" cy="210873"/>
              </a:xfrm>
            </p:grpSpPr>
            <p:sp>
              <p:nvSpPr>
                <p:cNvPr id="78" name="Oval 77">
                  <a:extLst>
                    <a:ext uri="{FF2B5EF4-FFF2-40B4-BE49-F238E27FC236}">
                      <a16:creationId xmlns:a16="http://schemas.microsoft.com/office/drawing/2014/main" id="{DCA227F0-0377-4024-BB71-ABFE1B994623}"/>
                    </a:ext>
                  </a:extLst>
                </p:cNvPr>
                <p:cNvSpPr/>
                <p:nvPr/>
              </p:nvSpPr>
              <p:spPr bwMode="auto">
                <a:xfrm>
                  <a:off x="4753720" y="4239242"/>
                  <a:ext cx="243080" cy="208859"/>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fontAlgn="base">
                    <a:spcBef>
                      <a:spcPct val="50000"/>
                    </a:spcBef>
                    <a:spcAft>
                      <a:spcPct val="0"/>
                    </a:spcAft>
                  </a:pPr>
                  <a:endParaRPr lang="en-US" sz="400">
                    <a:solidFill>
                      <a:schemeClr val="bg1"/>
                    </a:solidFill>
                  </a:endParaRPr>
                </a:p>
              </p:txBody>
            </p:sp>
            <p:sp>
              <p:nvSpPr>
                <p:cNvPr id="79" name="Rectangle 78">
                  <a:extLst>
                    <a:ext uri="{FF2B5EF4-FFF2-40B4-BE49-F238E27FC236}">
                      <a16:creationId xmlns:a16="http://schemas.microsoft.com/office/drawing/2014/main" id="{B2DF40F2-3301-43FE-8A03-1765D2F4EC27}"/>
                    </a:ext>
                  </a:extLst>
                </p:cNvPr>
                <p:cNvSpPr/>
                <p:nvPr/>
              </p:nvSpPr>
              <p:spPr>
                <a:xfrm>
                  <a:off x="4686721" y="4237228"/>
                  <a:ext cx="389152" cy="167724"/>
                </a:xfrm>
                <a:prstGeom prst="rect">
                  <a:avLst/>
                </a:prstGeom>
              </p:spPr>
              <p:txBody>
                <a:bodyPr wrap="square">
                  <a:spAutoFit/>
                </a:bodyPr>
                <a:lstStyle/>
                <a:p>
                  <a:r>
                    <a:rPr lang="sv-SE" sz="700" b="1">
                      <a:solidFill>
                        <a:schemeClr val="bg1"/>
                      </a:solidFill>
                    </a:rPr>
                    <a:t>LBO</a:t>
                  </a:r>
                  <a:endParaRPr lang="en-US" sz="700" b="1">
                    <a:solidFill>
                      <a:schemeClr val="bg1"/>
                    </a:solidFill>
                  </a:endParaRPr>
                </a:p>
              </p:txBody>
            </p:sp>
          </p:grpSp>
        </p:grpSp>
        <p:grpSp>
          <p:nvGrpSpPr>
            <p:cNvPr id="80" name="Group 79">
              <a:extLst>
                <a:ext uri="{FF2B5EF4-FFF2-40B4-BE49-F238E27FC236}">
                  <a16:creationId xmlns:a16="http://schemas.microsoft.com/office/drawing/2014/main" id="{B5E10876-F32E-46A0-8E51-109DFEB481CB}"/>
                </a:ext>
              </a:extLst>
            </p:cNvPr>
            <p:cNvGrpSpPr/>
            <p:nvPr/>
          </p:nvGrpSpPr>
          <p:grpSpPr>
            <a:xfrm>
              <a:off x="5230749" y="3220210"/>
              <a:ext cx="231548" cy="259286"/>
              <a:chOff x="4613944" y="3680170"/>
              <a:chExt cx="275929" cy="282005"/>
            </a:xfrm>
          </p:grpSpPr>
          <p:sp>
            <p:nvSpPr>
              <p:cNvPr id="81" name="Oval 80">
                <a:extLst>
                  <a:ext uri="{FF2B5EF4-FFF2-40B4-BE49-F238E27FC236}">
                    <a16:creationId xmlns:a16="http://schemas.microsoft.com/office/drawing/2014/main" id="{48B9B228-7A0B-4042-8E2F-E7487AE1FD15}"/>
                  </a:ext>
                </a:extLst>
              </p:cNvPr>
              <p:cNvSpPr/>
              <p:nvPr/>
            </p:nvSpPr>
            <p:spPr bwMode="auto">
              <a:xfrm>
                <a:off x="4613944" y="3680170"/>
                <a:ext cx="275929" cy="279182"/>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82" name="TextBox 81">
                <a:extLst>
                  <a:ext uri="{FF2B5EF4-FFF2-40B4-BE49-F238E27FC236}">
                    <a16:creationId xmlns:a16="http://schemas.microsoft.com/office/drawing/2014/main" id="{0F89B4DE-D30C-48E3-8134-E768F59E5143}"/>
                  </a:ext>
                </a:extLst>
              </p:cNvPr>
              <p:cNvSpPr txBox="1"/>
              <p:nvPr/>
            </p:nvSpPr>
            <p:spPr bwMode="auto">
              <a:xfrm>
                <a:off x="4641987" y="3682993"/>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2</a:t>
                </a:r>
              </a:p>
            </p:txBody>
          </p:sp>
        </p:grpSp>
        <p:sp>
          <p:nvSpPr>
            <p:cNvPr id="83" name="Rectangle 82">
              <a:extLst>
                <a:ext uri="{FF2B5EF4-FFF2-40B4-BE49-F238E27FC236}">
                  <a16:creationId xmlns:a16="http://schemas.microsoft.com/office/drawing/2014/main" id="{E9F0A85B-D717-4057-B3F7-3D683BF53BA1}"/>
                </a:ext>
              </a:extLst>
            </p:cNvPr>
            <p:cNvSpPr/>
            <p:nvPr/>
          </p:nvSpPr>
          <p:spPr bwMode="auto">
            <a:xfrm>
              <a:off x="6595855" y="2810670"/>
              <a:ext cx="601511" cy="404129"/>
            </a:xfrm>
            <a:prstGeom prst="rect">
              <a:avLst/>
            </a:prstGeom>
            <a:solidFill>
              <a:schemeClr val="bg1">
                <a:alpha val="70000"/>
              </a:schemeClr>
            </a:solidFill>
            <a:ln w="12700"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3P </a:t>
              </a:r>
              <a:br>
                <a:rPr lang="sv-SE" sz="900"/>
              </a:br>
              <a:r>
                <a:rPr lang="sv-SE" sz="900"/>
                <a:t>Application </a:t>
              </a:r>
              <a:br>
                <a:rPr lang="sv-SE" sz="900"/>
              </a:br>
              <a:r>
                <a:rPr lang="sv-SE" sz="900"/>
                <a:t>Platform</a:t>
              </a:r>
            </a:p>
          </p:txBody>
        </p:sp>
        <p:grpSp>
          <p:nvGrpSpPr>
            <p:cNvPr id="84" name="Group 83">
              <a:extLst>
                <a:ext uri="{FF2B5EF4-FFF2-40B4-BE49-F238E27FC236}">
                  <a16:creationId xmlns:a16="http://schemas.microsoft.com/office/drawing/2014/main" id="{7963357B-2D99-488D-A2B1-FDC509022131}"/>
                </a:ext>
              </a:extLst>
            </p:cNvPr>
            <p:cNvGrpSpPr/>
            <p:nvPr/>
          </p:nvGrpSpPr>
          <p:grpSpPr>
            <a:xfrm>
              <a:off x="6454951" y="2672486"/>
              <a:ext cx="231548" cy="262103"/>
              <a:chOff x="4613944" y="3674284"/>
              <a:chExt cx="275929" cy="285068"/>
            </a:xfrm>
          </p:grpSpPr>
          <p:sp>
            <p:nvSpPr>
              <p:cNvPr id="85" name="Oval 84">
                <a:extLst>
                  <a:ext uri="{FF2B5EF4-FFF2-40B4-BE49-F238E27FC236}">
                    <a16:creationId xmlns:a16="http://schemas.microsoft.com/office/drawing/2014/main" id="{5BA476E5-7748-4684-B8C6-BC19C3BB56DE}"/>
                  </a:ext>
                </a:extLst>
              </p:cNvPr>
              <p:cNvSpPr/>
              <p:nvPr/>
            </p:nvSpPr>
            <p:spPr bwMode="auto">
              <a:xfrm>
                <a:off x="4613944" y="3680170"/>
                <a:ext cx="275929" cy="279182"/>
              </a:xfrm>
              <a:prstGeom prst="ellipse">
                <a:avLst/>
              </a:prstGeom>
              <a:solidFill>
                <a:schemeClr val="bg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86" name="TextBox 85">
                <a:extLst>
                  <a:ext uri="{FF2B5EF4-FFF2-40B4-BE49-F238E27FC236}">
                    <a16:creationId xmlns:a16="http://schemas.microsoft.com/office/drawing/2014/main" id="{212B364E-400D-4C76-9D13-0CCFD2E1DCAA}"/>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1</a:t>
                </a:r>
                <a:endParaRPr lang="sv-SE" b="1"/>
              </a:p>
            </p:txBody>
          </p:sp>
        </p:grpSp>
        <p:sp>
          <p:nvSpPr>
            <p:cNvPr id="87" name="Rectangle 86">
              <a:extLst>
                <a:ext uri="{FF2B5EF4-FFF2-40B4-BE49-F238E27FC236}">
                  <a16:creationId xmlns:a16="http://schemas.microsoft.com/office/drawing/2014/main" id="{A95ABF26-39AD-47F5-ABED-B21DF1FF74DB}"/>
                </a:ext>
              </a:extLst>
            </p:cNvPr>
            <p:cNvSpPr/>
            <p:nvPr/>
          </p:nvSpPr>
          <p:spPr bwMode="auto">
            <a:xfrm>
              <a:off x="3998570" y="3656479"/>
              <a:ext cx="2350596" cy="631435"/>
            </a:xfrm>
            <a:prstGeom prst="rect">
              <a:avLst/>
            </a:prstGeom>
            <a:solidFill>
              <a:schemeClr val="bg1">
                <a:alpha val="70000"/>
              </a:schemeClr>
            </a:solidFill>
            <a:ln w="12700"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        3P Application Platform</a:t>
              </a:r>
            </a:p>
          </p:txBody>
        </p:sp>
        <p:sp>
          <p:nvSpPr>
            <p:cNvPr id="88" name="Freeform: Shape 87">
              <a:extLst>
                <a:ext uri="{FF2B5EF4-FFF2-40B4-BE49-F238E27FC236}">
                  <a16:creationId xmlns:a16="http://schemas.microsoft.com/office/drawing/2014/main" id="{AD8EB891-C30E-4D36-B0DB-F1A903D4964C}"/>
                </a:ext>
              </a:extLst>
            </p:cNvPr>
            <p:cNvSpPr/>
            <p:nvPr/>
          </p:nvSpPr>
          <p:spPr bwMode="auto">
            <a:xfrm>
              <a:off x="5022383" y="3379440"/>
              <a:ext cx="211614" cy="277040"/>
            </a:xfrm>
            <a:custGeom>
              <a:avLst/>
              <a:gdLst>
                <a:gd name="connsiteX0" fmla="*/ 958516 w 958516"/>
                <a:gd name="connsiteY0" fmla="*/ 0 h 1187116"/>
                <a:gd name="connsiteX1" fmla="*/ 421105 w 958516"/>
                <a:gd name="connsiteY1" fmla="*/ 184484 h 1187116"/>
                <a:gd name="connsiteX2" fmla="*/ 128337 w 958516"/>
                <a:gd name="connsiteY2" fmla="*/ 697831 h 1187116"/>
                <a:gd name="connsiteX3" fmla="*/ 0 w 958516"/>
                <a:gd name="connsiteY3" fmla="*/ 1187116 h 1187116"/>
              </a:gdLst>
              <a:ahLst/>
              <a:cxnLst>
                <a:cxn ang="0">
                  <a:pos x="connsiteX0" y="connsiteY0"/>
                </a:cxn>
                <a:cxn ang="0">
                  <a:pos x="connsiteX1" y="connsiteY1"/>
                </a:cxn>
                <a:cxn ang="0">
                  <a:pos x="connsiteX2" y="connsiteY2"/>
                </a:cxn>
                <a:cxn ang="0">
                  <a:pos x="connsiteX3" y="connsiteY3"/>
                </a:cxn>
              </a:cxnLst>
              <a:rect l="l" t="t" r="r" b="b"/>
              <a:pathLst>
                <a:path w="958516" h="1187116">
                  <a:moveTo>
                    <a:pt x="958516" y="0"/>
                  </a:moveTo>
                  <a:cubicBezTo>
                    <a:pt x="758992" y="34089"/>
                    <a:pt x="559468" y="68179"/>
                    <a:pt x="421105" y="184484"/>
                  </a:cubicBezTo>
                  <a:cubicBezTo>
                    <a:pt x="282742" y="300789"/>
                    <a:pt x="198521" y="530726"/>
                    <a:pt x="128337" y="697831"/>
                  </a:cubicBezTo>
                  <a:cubicBezTo>
                    <a:pt x="58153" y="864936"/>
                    <a:pt x="29076" y="1026026"/>
                    <a:pt x="0" y="1187116"/>
                  </a:cubicBezTo>
                </a:path>
              </a:pathLst>
            </a:custGeom>
            <a:noFill/>
            <a:ln w="19050" cap="flat" cmpd="sng" algn="ctr">
              <a:solidFill>
                <a:schemeClr val="tx1"/>
              </a:solidFill>
              <a:prstDash val="solid"/>
              <a:round/>
              <a:headEnd type="none" w="med" len="med"/>
              <a:tailEnd type="triangle" w="med" len="med"/>
            </a:ln>
            <a:effectLst/>
          </p:spPr>
          <p:txBody>
            <a:bodyPr rtlCol="0" anchor="ctr"/>
            <a:lstStyle/>
            <a:p>
              <a:pPr algn="ctr"/>
              <a:endParaRPr lang="sv-SE" sz="1600"/>
            </a:p>
          </p:txBody>
        </p:sp>
        <p:sp>
          <p:nvSpPr>
            <p:cNvPr id="89" name="TextBox 88">
              <a:extLst>
                <a:ext uri="{FF2B5EF4-FFF2-40B4-BE49-F238E27FC236}">
                  <a16:creationId xmlns:a16="http://schemas.microsoft.com/office/drawing/2014/main" id="{324E0FD1-19CE-4F6E-BBEE-BF7965179BB4}"/>
                </a:ext>
              </a:extLst>
            </p:cNvPr>
            <p:cNvSpPr txBox="1"/>
            <p:nvPr/>
          </p:nvSpPr>
          <p:spPr bwMode="auto">
            <a:xfrm>
              <a:off x="6820035" y="3540571"/>
              <a:ext cx="178015" cy="205438"/>
            </a:xfrm>
            <a:prstGeom prst="rect">
              <a:avLst/>
            </a:prstGeom>
            <a:solidFill>
              <a:schemeClr val="bg1"/>
            </a:solidFill>
            <a:ln w="1905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solidFill>
                    <a:schemeClr val="accent1"/>
                  </a:solidFill>
                  <a:latin typeface="Ericsson Technical Icons" panose="00000500000000000000" pitchFamily="2" charset="0"/>
                </a:rPr>
                <a:t>M</a:t>
              </a:r>
              <a:endParaRPr lang="en-US" sz="1600">
                <a:solidFill>
                  <a:schemeClr val="accent1"/>
                </a:solidFill>
              </a:endParaRPr>
            </a:p>
          </p:txBody>
        </p:sp>
        <p:sp>
          <p:nvSpPr>
            <p:cNvPr id="90" name="TextBox 89">
              <a:extLst>
                <a:ext uri="{FF2B5EF4-FFF2-40B4-BE49-F238E27FC236}">
                  <a16:creationId xmlns:a16="http://schemas.microsoft.com/office/drawing/2014/main" id="{66DAB984-7BF2-4FF0-96AF-71A037C798F3}"/>
                </a:ext>
              </a:extLst>
            </p:cNvPr>
            <p:cNvSpPr txBox="1"/>
            <p:nvPr/>
          </p:nvSpPr>
          <p:spPr bwMode="auto">
            <a:xfrm>
              <a:off x="4196180" y="3808386"/>
              <a:ext cx="261757" cy="418562"/>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cxnSp>
          <p:nvCxnSpPr>
            <p:cNvPr id="91" name="Straight Arrow Connector 90">
              <a:extLst>
                <a:ext uri="{FF2B5EF4-FFF2-40B4-BE49-F238E27FC236}">
                  <a16:creationId xmlns:a16="http://schemas.microsoft.com/office/drawing/2014/main" id="{2222690D-822C-4844-A705-576E934CBB56}"/>
                </a:ext>
              </a:extLst>
            </p:cNvPr>
            <p:cNvCxnSpPr>
              <a:stCxn id="71" idx="1"/>
            </p:cNvCxnSpPr>
            <p:nvPr/>
          </p:nvCxnSpPr>
          <p:spPr bwMode="auto">
            <a:xfrm flipH="1">
              <a:off x="4457938" y="4000531"/>
              <a:ext cx="2307476" cy="4216"/>
            </a:xfrm>
            <a:prstGeom prst="straightConnector1">
              <a:avLst/>
            </a:prstGeom>
            <a:solidFill>
              <a:schemeClr val="accent1"/>
            </a:solidFill>
            <a:ln w="19050" cap="flat" cmpd="sng" algn="ctr">
              <a:solidFill>
                <a:schemeClr val="accent1"/>
              </a:solidFill>
              <a:prstDash val="solid"/>
              <a:round/>
              <a:headEnd type="none" w="med" len="med"/>
              <a:tailEnd type="triangle"/>
            </a:ln>
            <a:effectLst/>
          </p:spPr>
        </p:cxnSp>
        <p:grpSp>
          <p:nvGrpSpPr>
            <p:cNvPr id="92" name="Group 91">
              <a:extLst>
                <a:ext uri="{FF2B5EF4-FFF2-40B4-BE49-F238E27FC236}">
                  <a16:creationId xmlns:a16="http://schemas.microsoft.com/office/drawing/2014/main" id="{D0DCB009-6F94-48A9-89C3-8E0CF796D78F}"/>
                </a:ext>
              </a:extLst>
            </p:cNvPr>
            <p:cNvGrpSpPr/>
            <p:nvPr/>
          </p:nvGrpSpPr>
          <p:grpSpPr>
            <a:xfrm>
              <a:off x="6255339" y="3762007"/>
              <a:ext cx="231548" cy="262103"/>
              <a:chOff x="4613944" y="3674284"/>
              <a:chExt cx="275929" cy="285068"/>
            </a:xfrm>
          </p:grpSpPr>
          <p:sp>
            <p:nvSpPr>
              <p:cNvPr id="93" name="Oval 92">
                <a:extLst>
                  <a:ext uri="{FF2B5EF4-FFF2-40B4-BE49-F238E27FC236}">
                    <a16:creationId xmlns:a16="http://schemas.microsoft.com/office/drawing/2014/main" id="{4FF4C2C4-C5CC-4986-BFCA-4D30AE03BAAF}"/>
                  </a:ext>
                </a:extLst>
              </p:cNvPr>
              <p:cNvSpPr/>
              <p:nvPr/>
            </p:nvSpPr>
            <p:spPr bwMode="auto">
              <a:xfrm>
                <a:off x="4613944" y="3680170"/>
                <a:ext cx="275929" cy="279182"/>
              </a:xfrm>
              <a:prstGeom prst="ellipse">
                <a:avLst/>
              </a:prstGeom>
              <a:solidFill>
                <a:schemeClr val="bg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94" name="TextBox 93">
                <a:extLst>
                  <a:ext uri="{FF2B5EF4-FFF2-40B4-BE49-F238E27FC236}">
                    <a16:creationId xmlns:a16="http://schemas.microsoft.com/office/drawing/2014/main" id="{AF0DE365-383C-454C-9128-174A58FDDD2C}"/>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3</a:t>
                </a:r>
              </a:p>
            </p:txBody>
          </p:sp>
        </p:grpSp>
        <p:grpSp>
          <p:nvGrpSpPr>
            <p:cNvPr id="95" name="Group 94">
              <a:extLst>
                <a:ext uri="{FF2B5EF4-FFF2-40B4-BE49-F238E27FC236}">
                  <a16:creationId xmlns:a16="http://schemas.microsoft.com/office/drawing/2014/main" id="{4D4DC9BA-18AD-4F09-A3ED-49F66BE5B19C}"/>
                </a:ext>
              </a:extLst>
            </p:cNvPr>
            <p:cNvGrpSpPr/>
            <p:nvPr/>
          </p:nvGrpSpPr>
          <p:grpSpPr>
            <a:xfrm>
              <a:off x="5228688" y="2930649"/>
              <a:ext cx="231548" cy="262103"/>
              <a:chOff x="4613944" y="3674284"/>
              <a:chExt cx="275929" cy="285068"/>
            </a:xfrm>
          </p:grpSpPr>
          <p:sp>
            <p:nvSpPr>
              <p:cNvPr id="96" name="Oval 95">
                <a:extLst>
                  <a:ext uri="{FF2B5EF4-FFF2-40B4-BE49-F238E27FC236}">
                    <a16:creationId xmlns:a16="http://schemas.microsoft.com/office/drawing/2014/main" id="{D52A6CE8-08D9-4F16-A930-B7034435FF4D}"/>
                  </a:ext>
                </a:extLst>
              </p:cNvPr>
              <p:cNvSpPr/>
              <p:nvPr/>
            </p:nvSpPr>
            <p:spPr bwMode="auto">
              <a:xfrm>
                <a:off x="4613944" y="3680170"/>
                <a:ext cx="275929" cy="279182"/>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97" name="TextBox 96">
                <a:extLst>
                  <a:ext uri="{FF2B5EF4-FFF2-40B4-BE49-F238E27FC236}">
                    <a16:creationId xmlns:a16="http://schemas.microsoft.com/office/drawing/2014/main" id="{46B728F1-A10D-45E1-BADB-AAD09FAF097E}"/>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4</a:t>
                </a:r>
              </a:p>
            </p:txBody>
          </p:sp>
        </p:grpSp>
        <p:sp>
          <p:nvSpPr>
            <p:cNvPr id="98" name="Freeform: Shape 97">
              <a:extLst>
                <a:ext uri="{FF2B5EF4-FFF2-40B4-BE49-F238E27FC236}">
                  <a16:creationId xmlns:a16="http://schemas.microsoft.com/office/drawing/2014/main" id="{7EC52982-635E-405E-88AC-5587DEF4F95A}"/>
                </a:ext>
              </a:extLst>
            </p:cNvPr>
            <p:cNvSpPr/>
            <p:nvPr/>
          </p:nvSpPr>
          <p:spPr bwMode="auto">
            <a:xfrm>
              <a:off x="4044580" y="3064124"/>
              <a:ext cx="1183358" cy="1506660"/>
            </a:xfrm>
            <a:custGeom>
              <a:avLst/>
              <a:gdLst>
                <a:gd name="connsiteX0" fmla="*/ 1410173 w 1410173"/>
                <a:gd name="connsiteY0" fmla="*/ 0 h 1638677"/>
                <a:gd name="connsiteX1" fmla="*/ 332810 w 1410173"/>
                <a:gd name="connsiteY1" fmla="*/ 316871 h 1638677"/>
                <a:gd name="connsiteX2" fmla="*/ 24993 w 1410173"/>
                <a:gd name="connsiteY2" fmla="*/ 760491 h 1638677"/>
                <a:gd name="connsiteX3" fmla="*/ 34046 w 1410173"/>
                <a:gd name="connsiteY3" fmla="*/ 1421394 h 1638677"/>
                <a:gd name="connsiteX4" fmla="*/ 160795 w 1410173"/>
                <a:gd name="connsiteY4" fmla="*/ 1638677 h 163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173" h="1638677">
                  <a:moveTo>
                    <a:pt x="1410173" y="0"/>
                  </a:moveTo>
                  <a:cubicBezTo>
                    <a:pt x="986923" y="95061"/>
                    <a:pt x="563673" y="190123"/>
                    <a:pt x="332810" y="316871"/>
                  </a:cubicBezTo>
                  <a:cubicBezTo>
                    <a:pt x="101947" y="443620"/>
                    <a:pt x="74787" y="576404"/>
                    <a:pt x="24993" y="760491"/>
                  </a:cubicBezTo>
                  <a:cubicBezTo>
                    <a:pt x="-24801" y="944578"/>
                    <a:pt x="11412" y="1275030"/>
                    <a:pt x="34046" y="1421394"/>
                  </a:cubicBezTo>
                  <a:cubicBezTo>
                    <a:pt x="56680" y="1567758"/>
                    <a:pt x="108737" y="1603217"/>
                    <a:pt x="160795" y="1638677"/>
                  </a:cubicBezTo>
                </a:path>
              </a:pathLst>
            </a:custGeom>
            <a:noFill/>
            <a:ln w="19050" cap="flat" cmpd="sng" algn="ctr">
              <a:solidFill>
                <a:schemeClr val="tx1"/>
              </a:solidFill>
              <a:prstDash val="solid"/>
              <a:round/>
              <a:headEnd type="none" w="med" len="med"/>
              <a:tailEnd type="triangl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sv-SE" sz="1600"/>
            </a:p>
          </p:txBody>
        </p:sp>
        <p:grpSp>
          <p:nvGrpSpPr>
            <p:cNvPr id="99" name="Group 98">
              <a:extLst>
                <a:ext uri="{FF2B5EF4-FFF2-40B4-BE49-F238E27FC236}">
                  <a16:creationId xmlns:a16="http://schemas.microsoft.com/office/drawing/2014/main" id="{937A7A8A-CFFB-4AC6-A84C-3B2C75DA2A93}"/>
                </a:ext>
              </a:extLst>
            </p:cNvPr>
            <p:cNvGrpSpPr/>
            <p:nvPr/>
          </p:nvGrpSpPr>
          <p:grpSpPr>
            <a:xfrm>
              <a:off x="7380651" y="2735682"/>
              <a:ext cx="801029" cy="2678260"/>
              <a:chOff x="7419305" y="32700"/>
              <a:chExt cx="590130" cy="1168027"/>
            </a:xfrm>
          </p:grpSpPr>
          <p:sp>
            <p:nvSpPr>
              <p:cNvPr id="100" name="Rectangle 99">
                <a:extLst>
                  <a:ext uri="{FF2B5EF4-FFF2-40B4-BE49-F238E27FC236}">
                    <a16:creationId xmlns:a16="http://schemas.microsoft.com/office/drawing/2014/main" id="{81866E50-F3B2-4705-95D8-8A9C457B7805}"/>
                  </a:ext>
                </a:extLst>
              </p:cNvPr>
              <p:cNvSpPr/>
              <p:nvPr/>
            </p:nvSpPr>
            <p:spPr bwMode="auto">
              <a:xfrm>
                <a:off x="7419305" y="32700"/>
                <a:ext cx="590129" cy="116802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fontAlgn="base">
                  <a:spcBef>
                    <a:spcPts val="225"/>
                  </a:spcBef>
                  <a:spcAft>
                    <a:spcPct val="0"/>
                  </a:spcAft>
                </a:pPr>
                <a:r>
                  <a:rPr lang="sv-SE" sz="900"/>
                  <a:t>Local Access site</a:t>
                </a:r>
                <a:endParaRPr lang="en-US" sz="900" err="1"/>
              </a:p>
            </p:txBody>
          </p:sp>
          <p:cxnSp>
            <p:nvCxnSpPr>
              <p:cNvPr id="101" name="Straight Connector 100">
                <a:extLst>
                  <a:ext uri="{FF2B5EF4-FFF2-40B4-BE49-F238E27FC236}">
                    <a16:creationId xmlns:a16="http://schemas.microsoft.com/office/drawing/2014/main" id="{3576AD50-8896-41EC-9F39-E30C4C05E9A7}"/>
                  </a:ext>
                </a:extLst>
              </p:cNvPr>
              <p:cNvCxnSpPr>
                <a:cxnSpLocks/>
              </p:cNvCxnSpPr>
              <p:nvPr/>
            </p:nvCxnSpPr>
            <p:spPr bwMode="auto">
              <a:xfrm>
                <a:off x="7419306" y="1135536"/>
                <a:ext cx="590129"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02" name="Rectangle 101">
              <a:extLst>
                <a:ext uri="{FF2B5EF4-FFF2-40B4-BE49-F238E27FC236}">
                  <a16:creationId xmlns:a16="http://schemas.microsoft.com/office/drawing/2014/main" id="{E1D84502-AAE9-46CB-9540-D3681A87FB34}"/>
                </a:ext>
              </a:extLst>
            </p:cNvPr>
            <p:cNvSpPr/>
            <p:nvPr/>
          </p:nvSpPr>
          <p:spPr bwMode="auto">
            <a:xfrm>
              <a:off x="9372085" y="2451324"/>
              <a:ext cx="1228966" cy="3148286"/>
            </a:xfrm>
            <a:prstGeom prst="rect">
              <a:avLst/>
            </a:prstGeom>
            <a:no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3P</a:t>
              </a:r>
            </a:p>
          </p:txBody>
        </p:sp>
        <p:sp>
          <p:nvSpPr>
            <p:cNvPr id="103" name="Rectangle 102">
              <a:extLst>
                <a:ext uri="{FF2B5EF4-FFF2-40B4-BE49-F238E27FC236}">
                  <a16:creationId xmlns:a16="http://schemas.microsoft.com/office/drawing/2014/main" id="{41EC690E-C290-4535-AE34-1AD3C3902A68}"/>
                </a:ext>
              </a:extLst>
            </p:cNvPr>
            <p:cNvSpPr/>
            <p:nvPr/>
          </p:nvSpPr>
          <p:spPr>
            <a:xfrm>
              <a:off x="7488603" y="2026425"/>
              <a:ext cx="3424335" cy="338554"/>
            </a:xfrm>
            <a:prstGeom prst="rect">
              <a:avLst/>
            </a:prstGeom>
          </p:spPr>
          <p:txBody>
            <a:bodyPr wrap="none">
              <a:spAutoFit/>
            </a:bodyPr>
            <a:lstStyle/>
            <a:p>
              <a:r>
                <a:rPr lang="sv-SE" sz="1600" b="1"/>
                <a:t>3. Mainly/only IP-based interaction</a:t>
              </a:r>
            </a:p>
          </p:txBody>
        </p:sp>
        <p:sp>
          <p:nvSpPr>
            <p:cNvPr id="104" name="Rectangle 103">
              <a:extLst>
                <a:ext uri="{FF2B5EF4-FFF2-40B4-BE49-F238E27FC236}">
                  <a16:creationId xmlns:a16="http://schemas.microsoft.com/office/drawing/2014/main" id="{2EEAD5B9-9C4D-43E7-AB6E-1DC5282CB18F}"/>
                </a:ext>
              </a:extLst>
            </p:cNvPr>
            <p:cNvSpPr/>
            <p:nvPr/>
          </p:nvSpPr>
          <p:spPr bwMode="auto">
            <a:xfrm>
              <a:off x="6734279" y="4508190"/>
              <a:ext cx="404621" cy="288122"/>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b="1">
                  <a:solidFill>
                    <a:schemeClr val="bg1"/>
                  </a:solidFill>
                </a:rPr>
                <a:t>Expo</a:t>
              </a:r>
              <a:br>
                <a:rPr lang="sv-SE" sz="900" b="1">
                  <a:solidFill>
                    <a:schemeClr val="bg1"/>
                  </a:solidFill>
                </a:rPr>
              </a:br>
              <a:r>
                <a:rPr lang="sv-SE" sz="900" b="1">
                  <a:solidFill>
                    <a:schemeClr val="bg1"/>
                  </a:solidFill>
                </a:rPr>
                <a:t>sure</a:t>
              </a:r>
              <a:endParaRPr lang="sv-SE" sz="1000" b="1">
                <a:solidFill>
                  <a:schemeClr val="bg1"/>
                </a:solidFill>
              </a:endParaRPr>
            </a:p>
          </p:txBody>
        </p:sp>
        <p:grpSp>
          <p:nvGrpSpPr>
            <p:cNvPr id="105" name="Group 104">
              <a:extLst>
                <a:ext uri="{FF2B5EF4-FFF2-40B4-BE49-F238E27FC236}">
                  <a16:creationId xmlns:a16="http://schemas.microsoft.com/office/drawing/2014/main" id="{84253BA6-B89C-44BA-A3F2-8FD1450446CA}"/>
                </a:ext>
              </a:extLst>
            </p:cNvPr>
            <p:cNvGrpSpPr/>
            <p:nvPr/>
          </p:nvGrpSpPr>
          <p:grpSpPr>
            <a:xfrm>
              <a:off x="7324484" y="2451329"/>
              <a:ext cx="2014170" cy="3148286"/>
              <a:chOff x="8202082" y="1651195"/>
              <a:chExt cx="2400226" cy="3424145"/>
            </a:xfrm>
          </p:grpSpPr>
          <p:grpSp>
            <p:nvGrpSpPr>
              <p:cNvPr id="106" name="Group 105">
                <a:extLst>
                  <a:ext uri="{FF2B5EF4-FFF2-40B4-BE49-F238E27FC236}">
                    <a16:creationId xmlns:a16="http://schemas.microsoft.com/office/drawing/2014/main" id="{15474481-F6D6-4E25-ADB7-1787C6DC432F}"/>
                  </a:ext>
                </a:extLst>
              </p:cNvPr>
              <p:cNvGrpSpPr/>
              <p:nvPr/>
            </p:nvGrpSpPr>
            <p:grpSpPr>
              <a:xfrm>
                <a:off x="9297404" y="1962945"/>
                <a:ext cx="1260000" cy="1706830"/>
                <a:chOff x="6239718" y="278296"/>
                <a:chExt cx="2989699" cy="539279"/>
              </a:xfrm>
            </p:grpSpPr>
            <p:sp>
              <p:nvSpPr>
                <p:cNvPr id="117" name="Rectangle 116">
                  <a:extLst>
                    <a:ext uri="{FF2B5EF4-FFF2-40B4-BE49-F238E27FC236}">
                      <a16:creationId xmlns:a16="http://schemas.microsoft.com/office/drawing/2014/main" id="{701C1F00-5742-4767-9D5C-C20C30B6F4B3}"/>
                    </a:ext>
                  </a:extLst>
                </p:cNvPr>
                <p:cNvSpPr/>
                <p:nvPr/>
              </p:nvSpPr>
              <p:spPr bwMode="auto">
                <a:xfrm>
                  <a:off x="6239718" y="278296"/>
                  <a:ext cx="2989699" cy="539279"/>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defTabSz="685800" fontAlgn="base">
                    <a:spcBef>
                      <a:spcPts val="225"/>
                    </a:spcBef>
                    <a:spcAft>
                      <a:spcPct val="0"/>
                    </a:spcAft>
                  </a:pPr>
                  <a:r>
                    <a:rPr lang="sv-SE" sz="900"/>
                    <a:t>National Access site</a:t>
                  </a:r>
                  <a:endParaRPr lang="en-US" sz="900" err="1"/>
                </a:p>
              </p:txBody>
            </p:sp>
            <p:cxnSp>
              <p:nvCxnSpPr>
                <p:cNvPr id="118" name="Straight Connector 117">
                  <a:extLst>
                    <a:ext uri="{FF2B5EF4-FFF2-40B4-BE49-F238E27FC236}">
                      <a16:creationId xmlns:a16="http://schemas.microsoft.com/office/drawing/2014/main" id="{5EF495C0-95B9-4F53-9A32-7D42A5FD9E56}"/>
                    </a:ext>
                  </a:extLst>
                </p:cNvPr>
                <p:cNvCxnSpPr>
                  <a:cxnSpLocks/>
                </p:cNvCxnSpPr>
                <p:nvPr/>
              </p:nvCxnSpPr>
              <p:spPr bwMode="auto">
                <a:xfrm>
                  <a:off x="6239718" y="767844"/>
                  <a:ext cx="2989699"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07" name="Rectangle 106">
                <a:extLst>
                  <a:ext uri="{FF2B5EF4-FFF2-40B4-BE49-F238E27FC236}">
                    <a16:creationId xmlns:a16="http://schemas.microsoft.com/office/drawing/2014/main" id="{45C59638-4B4B-4D6B-ADA5-3CB801384A1C}"/>
                  </a:ext>
                </a:extLst>
              </p:cNvPr>
              <p:cNvSpPr/>
              <p:nvPr/>
            </p:nvSpPr>
            <p:spPr bwMode="auto">
              <a:xfrm>
                <a:off x="8202082" y="1651195"/>
                <a:ext cx="2400226" cy="342414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buClr>
                    <a:schemeClr val="tx1"/>
                  </a:buClr>
                </a:pPr>
                <a:r>
                  <a:rPr lang="en-US" sz="1200"/>
                  <a:t>Mobile network</a:t>
                </a:r>
              </a:p>
            </p:txBody>
          </p:sp>
          <p:sp>
            <p:nvSpPr>
              <p:cNvPr id="108" name="Rectangle 107">
                <a:extLst>
                  <a:ext uri="{FF2B5EF4-FFF2-40B4-BE49-F238E27FC236}">
                    <a16:creationId xmlns:a16="http://schemas.microsoft.com/office/drawing/2014/main" id="{43330043-8E0A-472C-835E-7FB65CC75844}"/>
                  </a:ext>
                </a:extLst>
              </p:cNvPr>
              <p:cNvSpPr/>
              <p:nvPr/>
            </p:nvSpPr>
            <p:spPr bwMode="auto">
              <a:xfrm>
                <a:off x="8281706" y="4434933"/>
                <a:ext cx="914710" cy="198986"/>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DCI</a:t>
                </a:r>
              </a:p>
            </p:txBody>
          </p:sp>
          <p:sp>
            <p:nvSpPr>
              <p:cNvPr id="109" name="Rectangle 108">
                <a:extLst>
                  <a:ext uri="{FF2B5EF4-FFF2-40B4-BE49-F238E27FC236}">
                    <a16:creationId xmlns:a16="http://schemas.microsoft.com/office/drawing/2014/main" id="{5EF3793F-4162-4064-9983-E36E5CFC374B}"/>
                  </a:ext>
                </a:extLst>
              </p:cNvPr>
              <p:cNvSpPr/>
              <p:nvPr/>
            </p:nvSpPr>
            <p:spPr bwMode="auto">
              <a:xfrm>
                <a:off x="9275022" y="4684867"/>
                <a:ext cx="629297" cy="198983"/>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Transport</a:t>
                </a:r>
              </a:p>
            </p:txBody>
          </p:sp>
          <p:sp>
            <p:nvSpPr>
              <p:cNvPr id="110" name="Rectangle 109">
                <a:extLst>
                  <a:ext uri="{FF2B5EF4-FFF2-40B4-BE49-F238E27FC236}">
                    <a16:creationId xmlns:a16="http://schemas.microsoft.com/office/drawing/2014/main" id="{9F977F09-0012-42A2-9682-5283505041C5}"/>
                  </a:ext>
                </a:extLst>
              </p:cNvPr>
              <p:cNvSpPr/>
              <p:nvPr/>
            </p:nvSpPr>
            <p:spPr bwMode="auto">
              <a:xfrm>
                <a:off x="9416784" y="2040031"/>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600"/>
                  <a:t>        Order Management </a:t>
                </a:r>
                <a:br>
                  <a:rPr lang="en-US" sz="600"/>
                </a:br>
                <a:r>
                  <a:rPr lang="en-US" sz="600"/>
                  <a:t>         and Monetization </a:t>
                </a:r>
                <a:endParaRPr lang="en-US" sz="700"/>
              </a:p>
            </p:txBody>
          </p:sp>
          <p:sp>
            <p:nvSpPr>
              <p:cNvPr id="111" name="TextBox 110">
                <a:extLst>
                  <a:ext uri="{FF2B5EF4-FFF2-40B4-BE49-F238E27FC236}">
                    <a16:creationId xmlns:a16="http://schemas.microsoft.com/office/drawing/2014/main" id="{D3EAB52D-FEFD-4D10-BE04-A6799737AB63}"/>
                  </a:ext>
                </a:extLst>
              </p:cNvPr>
              <p:cNvSpPr txBox="1"/>
              <p:nvPr/>
            </p:nvSpPr>
            <p:spPr bwMode="auto">
              <a:xfrm>
                <a:off x="9455191" y="2080816"/>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112" name="Rectangle 111">
                <a:extLst>
                  <a:ext uri="{FF2B5EF4-FFF2-40B4-BE49-F238E27FC236}">
                    <a16:creationId xmlns:a16="http://schemas.microsoft.com/office/drawing/2014/main" id="{8F55D2D1-4F85-4A0E-B093-24952D5A5E3D}"/>
                  </a:ext>
                </a:extLst>
              </p:cNvPr>
              <p:cNvSpPr/>
              <p:nvPr/>
            </p:nvSpPr>
            <p:spPr bwMode="auto">
              <a:xfrm>
                <a:off x="9416784" y="2343788"/>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600"/>
                  <a:t>       </a:t>
                </a:r>
                <a:r>
                  <a:rPr lang="en-US" sz="500"/>
                  <a:t>Service Orchestration, </a:t>
                </a:r>
                <a:br>
                  <a:rPr lang="en-US" sz="500"/>
                </a:br>
                <a:r>
                  <a:rPr lang="en-US" sz="500"/>
                  <a:t>         Assurance &amp;  Analytics</a:t>
                </a:r>
              </a:p>
              <a:p>
                <a:pPr algn="ctr" fontAlgn="base">
                  <a:spcBef>
                    <a:spcPts val="225"/>
                  </a:spcBef>
                  <a:spcAft>
                    <a:spcPct val="0"/>
                  </a:spcAft>
                </a:pPr>
                <a:endParaRPr lang="en-US" sz="900"/>
              </a:p>
            </p:txBody>
          </p:sp>
          <p:sp>
            <p:nvSpPr>
              <p:cNvPr id="113" name="TextBox 112">
                <a:extLst>
                  <a:ext uri="{FF2B5EF4-FFF2-40B4-BE49-F238E27FC236}">
                    <a16:creationId xmlns:a16="http://schemas.microsoft.com/office/drawing/2014/main" id="{0051D8D7-A3A5-42FD-BB86-E24782221C3D}"/>
                  </a:ext>
                </a:extLst>
              </p:cNvPr>
              <p:cNvSpPr txBox="1"/>
              <p:nvPr/>
            </p:nvSpPr>
            <p:spPr bwMode="auto">
              <a:xfrm>
                <a:off x="9455191" y="2384571"/>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114" name="Rectangle 113">
                <a:extLst>
                  <a:ext uri="{FF2B5EF4-FFF2-40B4-BE49-F238E27FC236}">
                    <a16:creationId xmlns:a16="http://schemas.microsoft.com/office/drawing/2014/main" id="{B124F1FA-2B42-49AF-9930-E9EE7C32F84E}"/>
                  </a:ext>
                </a:extLst>
              </p:cNvPr>
              <p:cNvSpPr/>
              <p:nvPr/>
            </p:nvSpPr>
            <p:spPr bwMode="auto">
              <a:xfrm>
                <a:off x="9415558" y="2645164"/>
                <a:ext cx="1013369" cy="248175"/>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t" anchorCtr="0" forceAA="0" compatLnSpc="1">
                <a:prstTxWarp prst="textNoShape">
                  <a:avLst/>
                </a:prstTxWarp>
                <a:noAutofit/>
              </a:bodyPr>
              <a:lstStyle/>
              <a:p>
                <a:pPr fontAlgn="base">
                  <a:spcBef>
                    <a:spcPts val="225"/>
                  </a:spcBef>
                  <a:spcAft>
                    <a:spcPct val="0"/>
                  </a:spcAft>
                </a:pPr>
                <a:r>
                  <a:rPr lang="en-US" sz="500"/>
                  <a:t>        Resource Orchestration</a:t>
                </a:r>
                <a:br>
                  <a:rPr lang="en-US" sz="500"/>
                </a:br>
                <a:r>
                  <a:rPr lang="en-US" sz="500"/>
                  <a:t>         and VNF Management</a:t>
                </a:r>
              </a:p>
            </p:txBody>
          </p:sp>
          <p:sp>
            <p:nvSpPr>
              <p:cNvPr id="115" name="TextBox 114">
                <a:extLst>
                  <a:ext uri="{FF2B5EF4-FFF2-40B4-BE49-F238E27FC236}">
                    <a16:creationId xmlns:a16="http://schemas.microsoft.com/office/drawing/2014/main" id="{2A89A980-118B-40F7-A890-FE58F7C30775}"/>
                  </a:ext>
                </a:extLst>
              </p:cNvPr>
              <p:cNvSpPr txBox="1"/>
              <p:nvPr/>
            </p:nvSpPr>
            <p:spPr bwMode="auto">
              <a:xfrm>
                <a:off x="9453965" y="2685948"/>
                <a:ext cx="144442" cy="166333"/>
              </a:xfrm>
              <a:prstGeom prst="rect">
                <a:avLst/>
              </a:prstGeom>
              <a:solidFill>
                <a:schemeClr val="bg1"/>
              </a:solidFill>
              <a:ln w="1905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latin typeface="Ericsson Technical Icons" panose="00000500000000000000" pitchFamily="2" charset="0"/>
                  </a:rPr>
                  <a:t>M</a:t>
                </a:r>
                <a:endParaRPr lang="en-US" sz="1600"/>
              </a:p>
            </p:txBody>
          </p:sp>
          <p:sp>
            <p:nvSpPr>
              <p:cNvPr id="116" name="Rectangle 115">
                <a:extLst>
                  <a:ext uri="{FF2B5EF4-FFF2-40B4-BE49-F238E27FC236}">
                    <a16:creationId xmlns:a16="http://schemas.microsoft.com/office/drawing/2014/main" id="{A15271D2-B315-42CC-BE37-4B2619F4ADBA}"/>
                  </a:ext>
                </a:extLst>
              </p:cNvPr>
              <p:cNvSpPr/>
              <p:nvPr/>
            </p:nvSpPr>
            <p:spPr>
              <a:xfrm>
                <a:off x="8682489" y="3926760"/>
                <a:ext cx="389152" cy="368219"/>
              </a:xfrm>
              <a:prstGeom prst="rect">
                <a:avLst/>
              </a:prstGeom>
            </p:spPr>
            <p:txBody>
              <a:bodyPr wrap="square">
                <a:spAutoFit/>
              </a:bodyPr>
              <a:lstStyle/>
              <a:p>
                <a:r>
                  <a:rPr lang="sv-SE" sz="800" b="1">
                    <a:solidFill>
                      <a:schemeClr val="bg1"/>
                    </a:solidFill>
                  </a:rPr>
                  <a:t>LBO</a:t>
                </a:r>
                <a:endParaRPr lang="en-US" sz="800" b="1">
                  <a:solidFill>
                    <a:schemeClr val="bg1"/>
                  </a:solidFill>
                </a:endParaRPr>
              </a:p>
            </p:txBody>
          </p:sp>
        </p:grpSp>
        <p:sp>
          <p:nvSpPr>
            <p:cNvPr id="119" name="Rectangle 118">
              <a:extLst>
                <a:ext uri="{FF2B5EF4-FFF2-40B4-BE49-F238E27FC236}">
                  <a16:creationId xmlns:a16="http://schemas.microsoft.com/office/drawing/2014/main" id="{DCDBE010-AF50-4663-9364-14CBD2DDD7AC}"/>
                </a:ext>
              </a:extLst>
            </p:cNvPr>
            <p:cNvSpPr/>
            <p:nvPr/>
          </p:nvSpPr>
          <p:spPr bwMode="auto">
            <a:xfrm>
              <a:off x="7449886" y="5690839"/>
              <a:ext cx="2982671" cy="483089"/>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1200" b="1">
                  <a:sym typeface="Wingdings" panose="05000000000000000000" pitchFamily="2" charset="2"/>
                </a:rPr>
                <a:t>No coordinated control</a:t>
              </a:r>
            </a:p>
            <a:p>
              <a:pPr algn="ctr" fontAlgn="base">
                <a:spcBef>
                  <a:spcPts val="225"/>
                </a:spcBef>
                <a:spcAft>
                  <a:spcPct val="0"/>
                </a:spcAft>
              </a:pPr>
              <a:r>
                <a:rPr lang="sv-SE" sz="1200">
                  <a:sym typeface="Wingdings" panose="05000000000000000000" pitchFamily="2" charset="2"/>
                </a:rPr>
                <a:t>Coordination needed for Traffic Routing</a:t>
              </a:r>
              <a:endParaRPr lang="sv-SE" sz="1200"/>
            </a:p>
          </p:txBody>
        </p:sp>
        <p:grpSp>
          <p:nvGrpSpPr>
            <p:cNvPr id="120" name="Group 119">
              <a:extLst>
                <a:ext uri="{FF2B5EF4-FFF2-40B4-BE49-F238E27FC236}">
                  <a16:creationId xmlns:a16="http://schemas.microsoft.com/office/drawing/2014/main" id="{658FC607-72CF-4CD9-A048-F6A06B8856F7}"/>
                </a:ext>
              </a:extLst>
            </p:cNvPr>
            <p:cNvGrpSpPr/>
            <p:nvPr/>
          </p:nvGrpSpPr>
          <p:grpSpPr>
            <a:xfrm>
              <a:off x="8774585" y="4337922"/>
              <a:ext cx="1770682" cy="1076245"/>
              <a:chOff x="7419305" y="32700"/>
              <a:chExt cx="590130" cy="1168027"/>
            </a:xfrm>
          </p:grpSpPr>
          <p:sp>
            <p:nvSpPr>
              <p:cNvPr id="121" name="Rectangle 120">
                <a:extLst>
                  <a:ext uri="{FF2B5EF4-FFF2-40B4-BE49-F238E27FC236}">
                    <a16:creationId xmlns:a16="http://schemas.microsoft.com/office/drawing/2014/main" id="{DD1EB8BE-C33B-49B5-AE1E-B5B14091D3BF}"/>
                  </a:ext>
                </a:extLst>
              </p:cNvPr>
              <p:cNvSpPr/>
              <p:nvPr/>
            </p:nvSpPr>
            <p:spPr bwMode="auto">
              <a:xfrm>
                <a:off x="7419305" y="32700"/>
                <a:ext cx="590129" cy="116802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0" bIns="0" numCol="1" spcCol="0" rtlCol="0" fromWordArt="0" anchor="b" anchorCtr="0" forceAA="0" compatLnSpc="1">
                <a:prstTxWarp prst="textNoShape">
                  <a:avLst/>
                </a:prstTxWarp>
                <a:noAutofit/>
              </a:bodyPr>
              <a:lstStyle/>
              <a:p>
                <a:pPr algn="ctr" fontAlgn="base">
                  <a:spcBef>
                    <a:spcPts val="225"/>
                  </a:spcBef>
                  <a:spcAft>
                    <a:spcPct val="0"/>
                  </a:spcAft>
                </a:pPr>
                <a:r>
                  <a:rPr lang="sv-SE" sz="900"/>
                  <a:t>Local Access </a:t>
                </a:r>
                <a:r>
                  <a:rPr lang="sv-SE" sz="900">
                    <a:solidFill>
                      <a:schemeClr val="accent1"/>
                    </a:solidFill>
                  </a:rPr>
                  <a:t>or other Distributed site</a:t>
                </a:r>
                <a:endParaRPr lang="en-US" sz="900" err="1">
                  <a:solidFill>
                    <a:schemeClr val="accent1"/>
                  </a:solidFill>
                </a:endParaRPr>
              </a:p>
            </p:txBody>
          </p:sp>
          <p:cxnSp>
            <p:nvCxnSpPr>
              <p:cNvPr id="122" name="Straight Connector 121">
                <a:extLst>
                  <a:ext uri="{FF2B5EF4-FFF2-40B4-BE49-F238E27FC236}">
                    <a16:creationId xmlns:a16="http://schemas.microsoft.com/office/drawing/2014/main" id="{2171F530-D1D2-40FD-B24D-0B2636B6EFF1}"/>
                  </a:ext>
                </a:extLst>
              </p:cNvPr>
              <p:cNvCxnSpPr>
                <a:cxnSpLocks/>
              </p:cNvCxnSpPr>
              <p:nvPr/>
            </p:nvCxnSpPr>
            <p:spPr bwMode="auto">
              <a:xfrm>
                <a:off x="7419306" y="1026995"/>
                <a:ext cx="590129"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23" name="Rectangle 122">
              <a:extLst>
                <a:ext uri="{FF2B5EF4-FFF2-40B4-BE49-F238E27FC236}">
                  <a16:creationId xmlns:a16="http://schemas.microsoft.com/office/drawing/2014/main" id="{6353ABF3-E26F-4520-91B1-FA726AFC0AEF}"/>
                </a:ext>
              </a:extLst>
            </p:cNvPr>
            <p:cNvSpPr/>
            <p:nvPr/>
          </p:nvSpPr>
          <p:spPr bwMode="auto">
            <a:xfrm>
              <a:off x="8830375" y="4441952"/>
              <a:ext cx="1653231" cy="671623"/>
            </a:xfrm>
            <a:prstGeom prst="rect">
              <a:avLst/>
            </a:prstGeom>
            <a:solidFill>
              <a:schemeClr val="bg1">
                <a:alpha val="70000"/>
              </a:schemeClr>
            </a:solidFill>
            <a:ln w="12700"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        3P Application Platform</a:t>
              </a:r>
            </a:p>
          </p:txBody>
        </p:sp>
        <p:sp>
          <p:nvSpPr>
            <p:cNvPr id="124" name="TextBox 123">
              <a:extLst>
                <a:ext uri="{FF2B5EF4-FFF2-40B4-BE49-F238E27FC236}">
                  <a16:creationId xmlns:a16="http://schemas.microsoft.com/office/drawing/2014/main" id="{E178C859-DF59-413F-9EE7-B24F271D5A8C}"/>
                </a:ext>
              </a:extLst>
            </p:cNvPr>
            <p:cNvSpPr txBox="1"/>
            <p:nvPr/>
          </p:nvSpPr>
          <p:spPr bwMode="auto">
            <a:xfrm>
              <a:off x="9867099" y="3491253"/>
              <a:ext cx="178015" cy="205438"/>
            </a:xfrm>
            <a:prstGeom prst="rect">
              <a:avLst/>
            </a:prstGeom>
            <a:solidFill>
              <a:schemeClr val="bg1"/>
            </a:solidFill>
            <a:ln w="1905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50">
                  <a:solidFill>
                    <a:schemeClr val="accent1"/>
                  </a:solidFill>
                  <a:latin typeface="Ericsson Technical Icons" panose="00000500000000000000" pitchFamily="2" charset="0"/>
                </a:rPr>
                <a:t>M</a:t>
              </a:r>
              <a:endParaRPr lang="en-US" sz="1600">
                <a:solidFill>
                  <a:schemeClr val="accent1"/>
                </a:solidFill>
              </a:endParaRPr>
            </a:p>
          </p:txBody>
        </p:sp>
        <p:sp>
          <p:nvSpPr>
            <p:cNvPr id="125" name="TextBox 124">
              <a:extLst>
                <a:ext uri="{FF2B5EF4-FFF2-40B4-BE49-F238E27FC236}">
                  <a16:creationId xmlns:a16="http://schemas.microsoft.com/office/drawing/2014/main" id="{61B07E45-D3FA-4265-805F-5E2A3DD764E0}"/>
                </a:ext>
              </a:extLst>
            </p:cNvPr>
            <p:cNvSpPr txBox="1"/>
            <p:nvPr/>
          </p:nvSpPr>
          <p:spPr bwMode="auto">
            <a:xfrm>
              <a:off x="9811198" y="3757724"/>
              <a:ext cx="265743" cy="400676"/>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sp>
          <p:nvSpPr>
            <p:cNvPr id="126" name="TextBox 125">
              <a:extLst>
                <a:ext uri="{FF2B5EF4-FFF2-40B4-BE49-F238E27FC236}">
                  <a16:creationId xmlns:a16="http://schemas.microsoft.com/office/drawing/2014/main" id="{FC3EBCF5-BC2B-4F1E-9BF7-A28F98EF9AE0}"/>
                </a:ext>
              </a:extLst>
            </p:cNvPr>
            <p:cNvSpPr txBox="1"/>
            <p:nvPr/>
          </p:nvSpPr>
          <p:spPr bwMode="auto">
            <a:xfrm>
              <a:off x="9557605" y="4653860"/>
              <a:ext cx="265743" cy="400676"/>
            </a:xfrm>
            <a:prstGeom prst="rect">
              <a:avLst/>
            </a:prstGeom>
            <a:solidFill>
              <a:schemeClr val="bg1"/>
            </a:solidFill>
            <a:ln w="12700">
              <a:solidFill>
                <a:schemeClr val="accent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200">
                  <a:solidFill>
                    <a:schemeClr val="accent1"/>
                  </a:solidFill>
                  <a:latin typeface="Ericsson Technical Icons" panose="00000500000000000000" pitchFamily="2" charset="0"/>
                </a:rPr>
                <a:t>S</a:t>
              </a:r>
              <a:endParaRPr lang="en-US" sz="1200">
                <a:solidFill>
                  <a:schemeClr val="accent1"/>
                </a:solidFill>
              </a:endParaRPr>
            </a:p>
            <a:p>
              <a:pPr algn="ctr">
                <a:buClr>
                  <a:schemeClr val="tx1"/>
                </a:buClr>
              </a:pPr>
              <a:r>
                <a:rPr lang="en-US" sz="800"/>
                <a:t>AS</a:t>
              </a:r>
            </a:p>
          </p:txBody>
        </p:sp>
        <p:sp>
          <p:nvSpPr>
            <p:cNvPr id="127" name="Rectangle 126">
              <a:extLst>
                <a:ext uri="{FF2B5EF4-FFF2-40B4-BE49-F238E27FC236}">
                  <a16:creationId xmlns:a16="http://schemas.microsoft.com/office/drawing/2014/main" id="{DD3C7557-7433-45EE-8C9E-7F083A5A35A1}"/>
                </a:ext>
              </a:extLst>
            </p:cNvPr>
            <p:cNvSpPr/>
            <p:nvPr/>
          </p:nvSpPr>
          <p:spPr bwMode="auto">
            <a:xfrm>
              <a:off x="8378378" y="4325090"/>
              <a:ext cx="364931" cy="288122"/>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b="1">
                  <a:solidFill>
                    <a:schemeClr val="bg1"/>
                  </a:solidFill>
                </a:rPr>
                <a:t>Expo</a:t>
              </a:r>
              <a:br>
                <a:rPr lang="sv-SE" sz="900" b="1">
                  <a:solidFill>
                    <a:schemeClr val="bg1"/>
                  </a:solidFill>
                </a:rPr>
              </a:br>
              <a:r>
                <a:rPr lang="sv-SE" sz="900" b="1">
                  <a:solidFill>
                    <a:schemeClr val="bg1"/>
                  </a:solidFill>
                </a:rPr>
                <a:t>sure</a:t>
              </a:r>
              <a:endParaRPr lang="sv-SE" sz="1000" b="1">
                <a:solidFill>
                  <a:schemeClr val="bg1"/>
                </a:solidFill>
              </a:endParaRPr>
            </a:p>
          </p:txBody>
        </p:sp>
        <p:cxnSp>
          <p:nvCxnSpPr>
            <p:cNvPr id="128" name="Straight Connector 127">
              <a:extLst>
                <a:ext uri="{FF2B5EF4-FFF2-40B4-BE49-F238E27FC236}">
                  <a16:creationId xmlns:a16="http://schemas.microsoft.com/office/drawing/2014/main" id="{85846EFC-EC71-4AE5-9D19-0D6D02A1905C}"/>
                </a:ext>
              </a:extLst>
            </p:cNvPr>
            <p:cNvCxnSpPr>
              <a:cxnSpLocks/>
            </p:cNvCxnSpPr>
            <p:nvPr/>
          </p:nvCxnSpPr>
          <p:spPr bwMode="auto">
            <a:xfrm flipH="1">
              <a:off x="9372087" y="5254085"/>
              <a:ext cx="1176680" cy="0"/>
            </a:xfrm>
            <a:prstGeom prst="line">
              <a:avLst/>
            </a:prstGeom>
            <a:solidFill>
              <a:schemeClr val="accent1"/>
            </a:solidFill>
            <a:ln w="6350" cap="flat" cmpd="sng" algn="ctr">
              <a:solidFill>
                <a:schemeClr val="accent1"/>
              </a:solidFill>
              <a:prstDash val="solid"/>
              <a:round/>
              <a:headEnd type="none" w="med" len="med"/>
              <a:tailEnd type="none"/>
            </a:ln>
            <a:effectLst/>
          </p:spPr>
        </p:cxnSp>
        <p:grpSp>
          <p:nvGrpSpPr>
            <p:cNvPr id="129" name="Group 128">
              <a:extLst>
                <a:ext uri="{FF2B5EF4-FFF2-40B4-BE49-F238E27FC236}">
                  <a16:creationId xmlns:a16="http://schemas.microsoft.com/office/drawing/2014/main" id="{B089DE31-2615-4406-BCA3-8719EE0EB691}"/>
                </a:ext>
              </a:extLst>
            </p:cNvPr>
            <p:cNvGrpSpPr/>
            <p:nvPr/>
          </p:nvGrpSpPr>
          <p:grpSpPr>
            <a:xfrm>
              <a:off x="8223360" y="4693709"/>
              <a:ext cx="528081" cy="383393"/>
              <a:chOff x="9038846" y="4514377"/>
              <a:chExt cx="2250397" cy="1719278"/>
            </a:xfrm>
          </p:grpSpPr>
          <p:sp>
            <p:nvSpPr>
              <p:cNvPr id="130" name="Freeform 34">
                <a:extLst>
                  <a:ext uri="{FF2B5EF4-FFF2-40B4-BE49-F238E27FC236}">
                    <a16:creationId xmlns:a16="http://schemas.microsoft.com/office/drawing/2014/main" id="{E57746BD-812C-44F9-A6E0-AE272DFC3779}"/>
                  </a:ext>
                </a:extLst>
              </p:cNvPr>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endParaRPr lang="en-US" sz="1050" b="1"/>
              </a:p>
            </p:txBody>
          </p:sp>
          <p:sp>
            <p:nvSpPr>
              <p:cNvPr id="131" name="Text Box 35">
                <a:extLst>
                  <a:ext uri="{FF2B5EF4-FFF2-40B4-BE49-F238E27FC236}">
                    <a16:creationId xmlns:a16="http://schemas.microsoft.com/office/drawing/2014/main" id="{DC42D6F7-D406-4F3D-B04A-AC0FE397B8C5}"/>
                  </a:ext>
                </a:extLst>
              </p:cNvPr>
              <p:cNvSpPr txBox="1">
                <a:spLocks noChangeAspect="1" noChangeArrowheads="1"/>
              </p:cNvSpPr>
              <p:nvPr/>
            </p:nvSpPr>
            <p:spPr bwMode="auto">
              <a:xfrm>
                <a:off x="9876014" y="4915190"/>
                <a:ext cx="594312" cy="99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50" b="1">
                    <a:latin typeface="+mn-lt"/>
                    <a:ea typeface="MS PGothic" pitchFamily="34" charset="-128"/>
                  </a:rPr>
                  <a:t>IP</a:t>
                </a:r>
              </a:p>
            </p:txBody>
          </p:sp>
        </p:grpSp>
        <p:grpSp>
          <p:nvGrpSpPr>
            <p:cNvPr id="132" name="Group 131">
              <a:extLst>
                <a:ext uri="{FF2B5EF4-FFF2-40B4-BE49-F238E27FC236}">
                  <a16:creationId xmlns:a16="http://schemas.microsoft.com/office/drawing/2014/main" id="{511E0D9F-2115-4724-8E70-AF4041EE4BEA}"/>
                </a:ext>
              </a:extLst>
            </p:cNvPr>
            <p:cNvGrpSpPr/>
            <p:nvPr/>
          </p:nvGrpSpPr>
          <p:grpSpPr>
            <a:xfrm>
              <a:off x="10270642" y="4414382"/>
              <a:ext cx="231548" cy="262103"/>
              <a:chOff x="4613944" y="3674284"/>
              <a:chExt cx="275929" cy="285068"/>
            </a:xfrm>
          </p:grpSpPr>
          <p:sp>
            <p:nvSpPr>
              <p:cNvPr id="133" name="Oval 132">
                <a:extLst>
                  <a:ext uri="{FF2B5EF4-FFF2-40B4-BE49-F238E27FC236}">
                    <a16:creationId xmlns:a16="http://schemas.microsoft.com/office/drawing/2014/main" id="{11751381-52E4-4F2C-8DAF-651683633A93}"/>
                  </a:ext>
                </a:extLst>
              </p:cNvPr>
              <p:cNvSpPr/>
              <p:nvPr/>
            </p:nvSpPr>
            <p:spPr bwMode="auto">
              <a:xfrm>
                <a:off x="4613944" y="3680170"/>
                <a:ext cx="275929" cy="279182"/>
              </a:xfrm>
              <a:prstGeom prst="ellipse">
                <a:avLst/>
              </a:prstGeom>
              <a:solidFill>
                <a:schemeClr val="bg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134" name="TextBox 133">
                <a:extLst>
                  <a:ext uri="{FF2B5EF4-FFF2-40B4-BE49-F238E27FC236}">
                    <a16:creationId xmlns:a16="http://schemas.microsoft.com/office/drawing/2014/main" id="{D47A15CE-392E-40FD-9DE0-DED82BE45BF4}"/>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1</a:t>
                </a:r>
                <a:endParaRPr lang="sv-SE" b="1"/>
              </a:p>
            </p:txBody>
          </p:sp>
        </p:grpSp>
        <p:grpSp>
          <p:nvGrpSpPr>
            <p:cNvPr id="135" name="Group 134">
              <a:extLst>
                <a:ext uri="{FF2B5EF4-FFF2-40B4-BE49-F238E27FC236}">
                  <a16:creationId xmlns:a16="http://schemas.microsoft.com/office/drawing/2014/main" id="{052F15E2-34EB-4461-9388-41C6E7F71953}"/>
                </a:ext>
              </a:extLst>
            </p:cNvPr>
            <p:cNvGrpSpPr/>
            <p:nvPr/>
          </p:nvGrpSpPr>
          <p:grpSpPr>
            <a:xfrm>
              <a:off x="9576148" y="4100492"/>
              <a:ext cx="231548" cy="262103"/>
              <a:chOff x="4613944" y="3674284"/>
              <a:chExt cx="275929" cy="285068"/>
            </a:xfrm>
          </p:grpSpPr>
          <p:sp>
            <p:nvSpPr>
              <p:cNvPr id="136" name="Oval 135">
                <a:extLst>
                  <a:ext uri="{FF2B5EF4-FFF2-40B4-BE49-F238E27FC236}">
                    <a16:creationId xmlns:a16="http://schemas.microsoft.com/office/drawing/2014/main" id="{E4C9E350-1451-455D-B0F1-1F20C0B57548}"/>
                  </a:ext>
                </a:extLst>
              </p:cNvPr>
              <p:cNvSpPr/>
              <p:nvPr/>
            </p:nvSpPr>
            <p:spPr bwMode="auto">
              <a:xfrm>
                <a:off x="4613944" y="3680170"/>
                <a:ext cx="275929" cy="279182"/>
              </a:xfrm>
              <a:prstGeom prst="ellipse">
                <a:avLst/>
              </a:prstGeom>
              <a:solidFill>
                <a:schemeClr val="bg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137" name="TextBox 136">
                <a:extLst>
                  <a:ext uri="{FF2B5EF4-FFF2-40B4-BE49-F238E27FC236}">
                    <a16:creationId xmlns:a16="http://schemas.microsoft.com/office/drawing/2014/main" id="{A1AD1F83-3644-4BA1-9EF6-66EB51EB8A00}"/>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2</a:t>
                </a:r>
              </a:p>
            </p:txBody>
          </p:sp>
        </p:grpSp>
        <p:sp>
          <p:nvSpPr>
            <p:cNvPr id="138" name="Freeform: Shape 137">
              <a:extLst>
                <a:ext uri="{FF2B5EF4-FFF2-40B4-BE49-F238E27FC236}">
                  <a16:creationId xmlns:a16="http://schemas.microsoft.com/office/drawing/2014/main" id="{B681AB28-FADB-4B36-8971-B6695850F942}"/>
                </a:ext>
              </a:extLst>
            </p:cNvPr>
            <p:cNvSpPr/>
            <p:nvPr/>
          </p:nvSpPr>
          <p:spPr bwMode="auto">
            <a:xfrm>
              <a:off x="9734488" y="4167979"/>
              <a:ext cx="134303" cy="488426"/>
            </a:xfrm>
            <a:custGeom>
              <a:avLst/>
              <a:gdLst>
                <a:gd name="connsiteX0" fmla="*/ 160045 w 160045"/>
                <a:gd name="connsiteY0" fmla="*/ 0 h 531223"/>
                <a:gd name="connsiteX1" fmla="*/ 20708 w 160045"/>
                <a:gd name="connsiteY1" fmla="*/ 269966 h 531223"/>
                <a:gd name="connsiteX2" fmla="*/ 3291 w 160045"/>
                <a:gd name="connsiteY2" fmla="*/ 531223 h 531223"/>
              </a:gdLst>
              <a:ahLst/>
              <a:cxnLst>
                <a:cxn ang="0">
                  <a:pos x="connsiteX0" y="connsiteY0"/>
                </a:cxn>
                <a:cxn ang="0">
                  <a:pos x="connsiteX1" y="connsiteY1"/>
                </a:cxn>
                <a:cxn ang="0">
                  <a:pos x="connsiteX2" y="connsiteY2"/>
                </a:cxn>
              </a:cxnLst>
              <a:rect l="l" t="t" r="r" b="b"/>
              <a:pathLst>
                <a:path w="160045" h="531223">
                  <a:moveTo>
                    <a:pt x="160045" y="0"/>
                  </a:moveTo>
                  <a:cubicBezTo>
                    <a:pt x="103439" y="90714"/>
                    <a:pt x="46834" y="181429"/>
                    <a:pt x="20708" y="269966"/>
                  </a:cubicBezTo>
                  <a:cubicBezTo>
                    <a:pt x="-5418" y="358503"/>
                    <a:pt x="-1064" y="444863"/>
                    <a:pt x="3291" y="531223"/>
                  </a:cubicBezTo>
                </a:path>
              </a:pathLst>
            </a:custGeom>
            <a:noFill/>
            <a:ln w="19050" cap="flat" cmpd="sng" algn="ctr">
              <a:solidFill>
                <a:schemeClr val="accent1"/>
              </a:solidFill>
              <a:prstDash val="solid"/>
              <a:round/>
              <a:headEnd type="none" w="med" len="med"/>
              <a:tailEnd type="triangle"/>
            </a:ln>
            <a:effectLst/>
          </p:spPr>
          <p:txBody>
            <a:bodyPr rtlCol="0" anchor="ctr"/>
            <a:lstStyle/>
            <a:p>
              <a:pPr algn="ctr"/>
              <a:endParaRPr lang="sv-SE" sz="1600"/>
            </a:p>
          </p:txBody>
        </p:sp>
        <p:grpSp>
          <p:nvGrpSpPr>
            <p:cNvPr id="139" name="Group 138">
              <a:extLst>
                <a:ext uri="{FF2B5EF4-FFF2-40B4-BE49-F238E27FC236}">
                  <a16:creationId xmlns:a16="http://schemas.microsoft.com/office/drawing/2014/main" id="{F72FA437-148D-4A0B-874E-4C6AE60BACD8}"/>
                </a:ext>
              </a:extLst>
            </p:cNvPr>
            <p:cNvGrpSpPr/>
            <p:nvPr/>
          </p:nvGrpSpPr>
          <p:grpSpPr>
            <a:xfrm>
              <a:off x="8096883" y="3220227"/>
              <a:ext cx="231548" cy="262103"/>
              <a:chOff x="4613944" y="3674284"/>
              <a:chExt cx="275929" cy="285068"/>
            </a:xfrm>
          </p:grpSpPr>
          <p:sp>
            <p:nvSpPr>
              <p:cNvPr id="140" name="Oval 139">
                <a:extLst>
                  <a:ext uri="{FF2B5EF4-FFF2-40B4-BE49-F238E27FC236}">
                    <a16:creationId xmlns:a16="http://schemas.microsoft.com/office/drawing/2014/main" id="{2C679F5C-A211-471C-A43B-CACA7D175C35}"/>
                  </a:ext>
                </a:extLst>
              </p:cNvPr>
              <p:cNvSpPr/>
              <p:nvPr/>
            </p:nvSpPr>
            <p:spPr bwMode="auto">
              <a:xfrm>
                <a:off x="4613944" y="3680170"/>
                <a:ext cx="275929" cy="279182"/>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marL="267891" indent="-267891" defTabSz="685800" fontAlgn="base">
                  <a:spcBef>
                    <a:spcPts val="225"/>
                  </a:spcBef>
                  <a:spcAft>
                    <a:spcPct val="0"/>
                  </a:spcAft>
                  <a:buFont typeface="Ericsson Hilda" panose="00000500000000000000" pitchFamily="2" charset="0"/>
                  <a:buChar char="—"/>
                </a:pPr>
                <a:endParaRPr lang="sv-SE" err="1">
                  <a:solidFill>
                    <a:schemeClr val="bg1"/>
                  </a:solidFill>
                </a:endParaRPr>
              </a:p>
            </p:txBody>
          </p:sp>
          <p:sp>
            <p:nvSpPr>
              <p:cNvPr id="141" name="TextBox 140">
                <a:extLst>
                  <a:ext uri="{FF2B5EF4-FFF2-40B4-BE49-F238E27FC236}">
                    <a16:creationId xmlns:a16="http://schemas.microsoft.com/office/drawing/2014/main" id="{0226C124-70F4-4D73-AD52-E4113298573E}"/>
                  </a:ext>
                </a:extLst>
              </p:cNvPr>
              <p:cNvSpPr txBox="1"/>
              <p:nvPr/>
            </p:nvSpPr>
            <p:spPr bwMode="auto">
              <a:xfrm>
                <a:off x="4633278" y="3674284"/>
                <a:ext cx="189035" cy="279182"/>
              </a:xfrm>
              <a:prstGeom prst="rect">
                <a:avLst/>
              </a:prstGeom>
              <a:noFill/>
              <a:ln w="12700">
                <a:noFill/>
                <a:miter lim="800000"/>
                <a:headEnd/>
                <a:tailEnd/>
              </a:ln>
            </p:spPr>
            <p:txBody>
              <a:bodyPr vert="horz" wrap="none" lIns="54000" tIns="27000" rIns="54864" bIns="27432" numCol="1" rtlCol="0" anchor="t" anchorCtr="0" compatLnSpc="1">
                <a:prstTxWarp prst="textNoShape">
                  <a:avLst/>
                </a:prstTxWarp>
                <a:noAutofit/>
              </a:bodyPr>
              <a:lstStyle/>
              <a:p>
                <a:pPr algn="l">
                  <a:buClr>
                    <a:schemeClr val="tx1"/>
                  </a:buClr>
                </a:pPr>
                <a:r>
                  <a:rPr lang="sv-SE" sz="1200" b="1"/>
                  <a:t>3</a:t>
                </a:r>
              </a:p>
            </p:txBody>
          </p:sp>
        </p:grpSp>
        <p:sp>
          <p:nvSpPr>
            <p:cNvPr id="146" name="Rectangle 145">
              <a:extLst>
                <a:ext uri="{FF2B5EF4-FFF2-40B4-BE49-F238E27FC236}">
                  <a16:creationId xmlns:a16="http://schemas.microsoft.com/office/drawing/2014/main" id="{21A1DBF5-3C4E-4E5F-94F0-3289182C696E}"/>
                </a:ext>
              </a:extLst>
            </p:cNvPr>
            <p:cNvSpPr/>
            <p:nvPr/>
          </p:nvSpPr>
          <p:spPr bwMode="auto">
            <a:xfrm>
              <a:off x="6304123" y="4328103"/>
              <a:ext cx="45045" cy="648068"/>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endParaRPr lang="sv-SE" sz="1000" b="1">
                <a:solidFill>
                  <a:schemeClr val="bg1"/>
                </a:solidFill>
              </a:endParaRPr>
            </a:p>
          </p:txBody>
        </p:sp>
        <p:cxnSp>
          <p:nvCxnSpPr>
            <p:cNvPr id="147" name="Straight Arrow Connector 146">
              <a:extLst>
                <a:ext uri="{FF2B5EF4-FFF2-40B4-BE49-F238E27FC236}">
                  <a16:creationId xmlns:a16="http://schemas.microsoft.com/office/drawing/2014/main" id="{D2B512C4-C0C1-4ED1-9753-0E815DDC971E}"/>
                </a:ext>
              </a:extLst>
            </p:cNvPr>
            <p:cNvCxnSpPr>
              <a:cxnSpLocks/>
              <a:stCxn id="104" idx="1"/>
              <a:endCxn id="146" idx="3"/>
            </p:cNvCxnSpPr>
            <p:nvPr/>
          </p:nvCxnSpPr>
          <p:spPr bwMode="auto">
            <a:xfrm flipH="1" flipV="1">
              <a:off x="6349167" y="4652137"/>
              <a:ext cx="385112" cy="115"/>
            </a:xfrm>
            <a:prstGeom prst="straightConnector1">
              <a:avLst/>
            </a:prstGeom>
            <a:solidFill>
              <a:schemeClr val="accent1"/>
            </a:solidFill>
            <a:ln w="19050" cap="flat" cmpd="sng" algn="ctr">
              <a:solidFill>
                <a:schemeClr val="accent1"/>
              </a:solidFill>
              <a:prstDash val="solid"/>
              <a:round/>
              <a:headEnd type="none" w="med" len="med"/>
              <a:tailEnd type="triangle"/>
            </a:ln>
            <a:effectLst/>
          </p:spPr>
        </p:cxnSp>
        <p:sp>
          <p:nvSpPr>
            <p:cNvPr id="148" name="Rectangle 147">
              <a:extLst>
                <a:ext uri="{FF2B5EF4-FFF2-40B4-BE49-F238E27FC236}">
                  <a16:creationId xmlns:a16="http://schemas.microsoft.com/office/drawing/2014/main" id="{EFC04B4D-6B12-43F5-AD1F-AA2A9AC065D5}"/>
                </a:ext>
              </a:extLst>
            </p:cNvPr>
            <p:cNvSpPr/>
            <p:nvPr/>
          </p:nvSpPr>
          <p:spPr bwMode="auto">
            <a:xfrm>
              <a:off x="7400405" y="4305385"/>
              <a:ext cx="758345" cy="668316"/>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Connectivity</a:t>
              </a:r>
            </a:p>
          </p:txBody>
        </p:sp>
        <p:sp>
          <p:nvSpPr>
            <p:cNvPr id="149" name="Freeform: Shape 148">
              <a:extLst>
                <a:ext uri="{FF2B5EF4-FFF2-40B4-BE49-F238E27FC236}">
                  <a16:creationId xmlns:a16="http://schemas.microsoft.com/office/drawing/2014/main" id="{E3BCA59F-8CDD-48E9-88D2-78D429E23AEC}"/>
                </a:ext>
              </a:extLst>
            </p:cNvPr>
            <p:cNvSpPr/>
            <p:nvPr/>
          </p:nvSpPr>
          <p:spPr bwMode="auto">
            <a:xfrm>
              <a:off x="7778742" y="3471369"/>
              <a:ext cx="401932" cy="984859"/>
            </a:xfrm>
            <a:custGeom>
              <a:avLst/>
              <a:gdLst>
                <a:gd name="connsiteX0" fmla="*/ 478971 w 478971"/>
                <a:gd name="connsiteY0" fmla="*/ 0 h 1071154"/>
                <a:gd name="connsiteX1" fmla="*/ 139337 w 478971"/>
                <a:gd name="connsiteY1" fmla="*/ 461554 h 1071154"/>
                <a:gd name="connsiteX2" fmla="*/ 0 w 478971"/>
                <a:gd name="connsiteY2" fmla="*/ 1071154 h 1071154"/>
              </a:gdLst>
              <a:ahLst/>
              <a:cxnLst>
                <a:cxn ang="0">
                  <a:pos x="connsiteX0" y="connsiteY0"/>
                </a:cxn>
                <a:cxn ang="0">
                  <a:pos x="connsiteX1" y="connsiteY1"/>
                </a:cxn>
                <a:cxn ang="0">
                  <a:pos x="connsiteX2" y="connsiteY2"/>
                </a:cxn>
              </a:cxnLst>
              <a:rect l="l" t="t" r="r" b="b"/>
              <a:pathLst>
                <a:path w="478971" h="1071154">
                  <a:moveTo>
                    <a:pt x="478971" y="0"/>
                  </a:moveTo>
                  <a:cubicBezTo>
                    <a:pt x="349068" y="141514"/>
                    <a:pt x="219165" y="283028"/>
                    <a:pt x="139337" y="461554"/>
                  </a:cubicBezTo>
                  <a:cubicBezTo>
                    <a:pt x="59509" y="640080"/>
                    <a:pt x="29754" y="855617"/>
                    <a:pt x="0" y="1071154"/>
                  </a:cubicBezTo>
                </a:path>
              </a:pathLst>
            </a:custGeom>
            <a:noFill/>
            <a:ln w="19050" cap="flat" cmpd="sng" algn="ctr">
              <a:solidFill>
                <a:schemeClr val="tx1"/>
              </a:solidFill>
              <a:prstDash val="solid"/>
              <a:round/>
              <a:headEnd type="none" w="med" len="med"/>
              <a:tailEnd type="triangle"/>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sv-SE" sz="1600"/>
            </a:p>
          </p:txBody>
        </p:sp>
        <p:sp>
          <p:nvSpPr>
            <p:cNvPr id="150" name="TextBox 149">
              <a:extLst>
                <a:ext uri="{FF2B5EF4-FFF2-40B4-BE49-F238E27FC236}">
                  <a16:creationId xmlns:a16="http://schemas.microsoft.com/office/drawing/2014/main" id="{8407B834-6B8C-4B64-8B69-DA1823667B23}"/>
                </a:ext>
              </a:extLst>
            </p:cNvPr>
            <p:cNvSpPr txBox="1"/>
            <p:nvPr/>
          </p:nvSpPr>
          <p:spPr bwMode="auto">
            <a:xfrm>
              <a:off x="7591632" y="4460230"/>
              <a:ext cx="261757" cy="466455"/>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600">
                  <a:latin typeface="Ericsson Technical Icons" panose="00000500000000000000" pitchFamily="2" charset="0"/>
                </a:rPr>
                <a:t>G</a:t>
              </a:r>
              <a:endParaRPr lang="en-US" sz="1600"/>
            </a:p>
            <a:p>
              <a:pPr algn="ctr">
                <a:buClr>
                  <a:schemeClr val="tx1"/>
                </a:buClr>
              </a:pPr>
              <a:r>
                <a:rPr lang="en-US" sz="800"/>
                <a:t>Core </a:t>
              </a:r>
              <a:br>
                <a:rPr lang="en-US" sz="800"/>
              </a:br>
              <a:r>
                <a:rPr lang="en-US" sz="800"/>
                <a:t>UP</a:t>
              </a:r>
              <a:endParaRPr lang="en-US" sz="900"/>
            </a:p>
          </p:txBody>
        </p:sp>
        <p:sp>
          <p:nvSpPr>
            <p:cNvPr id="151" name="Oval 150">
              <a:extLst>
                <a:ext uri="{FF2B5EF4-FFF2-40B4-BE49-F238E27FC236}">
                  <a16:creationId xmlns:a16="http://schemas.microsoft.com/office/drawing/2014/main" id="{D4E87EDC-9408-40FE-86FB-095D447388B0}"/>
                </a:ext>
              </a:extLst>
            </p:cNvPr>
            <p:cNvSpPr/>
            <p:nvPr/>
          </p:nvSpPr>
          <p:spPr bwMode="auto">
            <a:xfrm>
              <a:off x="7783845" y="4545416"/>
              <a:ext cx="203983" cy="192032"/>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US" sz="700" b="1">
                  <a:solidFill>
                    <a:schemeClr val="bg1"/>
                  </a:solidFill>
                </a:rPr>
                <a:t>LBO</a:t>
              </a:r>
              <a:endParaRPr lang="en-US" sz="300" b="1">
                <a:solidFill>
                  <a:schemeClr val="bg1"/>
                </a:solidFill>
              </a:endParaRPr>
            </a:p>
          </p:txBody>
        </p:sp>
        <p:sp>
          <p:nvSpPr>
            <p:cNvPr id="152" name="Rectangle 151">
              <a:extLst>
                <a:ext uri="{FF2B5EF4-FFF2-40B4-BE49-F238E27FC236}">
                  <a16:creationId xmlns:a16="http://schemas.microsoft.com/office/drawing/2014/main" id="{6BB53278-1D31-40C9-99FE-C95471F2D1E5}"/>
                </a:ext>
              </a:extLst>
            </p:cNvPr>
            <p:cNvSpPr/>
            <p:nvPr/>
          </p:nvSpPr>
          <p:spPr bwMode="auto">
            <a:xfrm>
              <a:off x="8106350" y="4315558"/>
              <a:ext cx="44052" cy="658142"/>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endParaRPr lang="sv-SE" sz="1000" b="1">
                <a:solidFill>
                  <a:schemeClr val="bg1"/>
                </a:solidFill>
              </a:endParaRPr>
            </a:p>
          </p:txBody>
        </p:sp>
        <p:cxnSp>
          <p:nvCxnSpPr>
            <p:cNvPr id="153" name="Straight Arrow Connector 152">
              <a:extLst>
                <a:ext uri="{FF2B5EF4-FFF2-40B4-BE49-F238E27FC236}">
                  <a16:creationId xmlns:a16="http://schemas.microsoft.com/office/drawing/2014/main" id="{91FF4DAC-42D2-415E-9433-EE59272063DA}"/>
                </a:ext>
              </a:extLst>
            </p:cNvPr>
            <p:cNvCxnSpPr>
              <a:cxnSpLocks/>
              <a:stCxn id="127" idx="1"/>
            </p:cNvCxnSpPr>
            <p:nvPr/>
          </p:nvCxnSpPr>
          <p:spPr bwMode="auto">
            <a:xfrm flipH="1">
              <a:off x="8153905" y="4469152"/>
              <a:ext cx="224474" cy="15713"/>
            </a:xfrm>
            <a:prstGeom prst="straightConnector1">
              <a:avLst/>
            </a:prstGeom>
            <a:solidFill>
              <a:schemeClr val="accent1"/>
            </a:solidFill>
            <a:ln w="19050" cap="flat" cmpd="sng" algn="ctr">
              <a:solidFill>
                <a:schemeClr val="accent1"/>
              </a:solidFill>
              <a:prstDash val="solid"/>
              <a:round/>
              <a:headEnd type="none" w="med" len="med"/>
              <a:tailEnd type="triangle"/>
            </a:ln>
            <a:effectLst/>
          </p:spPr>
        </p:cxnSp>
        <p:sp>
          <p:nvSpPr>
            <p:cNvPr id="154" name="Rectangle 153">
              <a:extLst>
                <a:ext uri="{FF2B5EF4-FFF2-40B4-BE49-F238E27FC236}">
                  <a16:creationId xmlns:a16="http://schemas.microsoft.com/office/drawing/2014/main" id="{18E067E6-F0B7-4D21-A604-D7ADA6AB69BA}"/>
                </a:ext>
              </a:extLst>
            </p:cNvPr>
            <p:cNvSpPr/>
            <p:nvPr/>
          </p:nvSpPr>
          <p:spPr bwMode="auto">
            <a:xfrm>
              <a:off x="8261226" y="3623357"/>
              <a:ext cx="1012082" cy="519843"/>
            </a:xfrm>
            <a:prstGeom prst="rect">
              <a:avLst/>
            </a:prstGeom>
            <a:solidFill>
              <a:schemeClr val="bg2">
                <a:alpha val="70000"/>
              </a:schemeClr>
            </a:solid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r>
                <a:rPr lang="sv-SE" sz="900"/>
                <a:t>Connectivity</a:t>
              </a:r>
            </a:p>
          </p:txBody>
        </p:sp>
        <p:sp>
          <p:nvSpPr>
            <p:cNvPr id="155" name="Rectangle 154">
              <a:extLst>
                <a:ext uri="{FF2B5EF4-FFF2-40B4-BE49-F238E27FC236}">
                  <a16:creationId xmlns:a16="http://schemas.microsoft.com/office/drawing/2014/main" id="{EBAEDC33-1D83-4BAC-B81A-FD302F70AC68}"/>
                </a:ext>
              </a:extLst>
            </p:cNvPr>
            <p:cNvSpPr/>
            <p:nvPr/>
          </p:nvSpPr>
          <p:spPr bwMode="auto">
            <a:xfrm>
              <a:off x="9223381" y="3631723"/>
              <a:ext cx="43794" cy="511478"/>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54000" tIns="27000" rIns="54864" bIns="27432" numCol="1" spcCol="0" rtlCol="0" fromWordArt="0" anchor="t" anchorCtr="0" forceAA="0" compatLnSpc="1">
              <a:prstTxWarp prst="textNoShape">
                <a:avLst/>
              </a:prstTxWarp>
              <a:noAutofit/>
            </a:bodyPr>
            <a:lstStyle/>
            <a:p>
              <a:pPr algn="ctr" fontAlgn="base">
                <a:spcBef>
                  <a:spcPts val="225"/>
                </a:spcBef>
                <a:spcAft>
                  <a:spcPct val="0"/>
                </a:spcAft>
              </a:pPr>
              <a:endParaRPr lang="sv-SE" sz="1000" b="1">
                <a:solidFill>
                  <a:schemeClr val="bg1"/>
                </a:solidFill>
              </a:endParaRPr>
            </a:p>
          </p:txBody>
        </p:sp>
        <p:sp>
          <p:nvSpPr>
            <p:cNvPr id="156" name="TextBox 155">
              <a:extLst>
                <a:ext uri="{FF2B5EF4-FFF2-40B4-BE49-F238E27FC236}">
                  <a16:creationId xmlns:a16="http://schemas.microsoft.com/office/drawing/2014/main" id="{4BF20675-1D01-4F5D-BEBD-2711025B3E9A}"/>
                </a:ext>
              </a:extLst>
            </p:cNvPr>
            <p:cNvSpPr txBox="1"/>
            <p:nvPr/>
          </p:nvSpPr>
          <p:spPr bwMode="auto">
            <a:xfrm>
              <a:off x="8398848" y="3773030"/>
              <a:ext cx="262351" cy="339283"/>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00">
                  <a:latin typeface="Ericsson Technical Icons" panose="00000500000000000000" pitchFamily="2" charset="0"/>
                </a:rPr>
                <a:t>S</a:t>
              </a:r>
              <a:endParaRPr lang="en-US" sz="1000"/>
            </a:p>
            <a:p>
              <a:pPr algn="ctr">
                <a:buClr>
                  <a:schemeClr val="tx1"/>
                </a:buClr>
              </a:pPr>
              <a:r>
                <a:rPr lang="en-US" sz="600"/>
                <a:t>Core</a:t>
              </a:r>
              <a:br>
                <a:rPr lang="en-US" sz="600"/>
              </a:br>
              <a:r>
                <a:rPr lang="en-US" sz="600"/>
                <a:t>CP</a:t>
              </a:r>
              <a:endParaRPr lang="en-US" sz="900"/>
            </a:p>
          </p:txBody>
        </p:sp>
        <p:sp>
          <p:nvSpPr>
            <p:cNvPr id="157" name="TextBox 156">
              <a:extLst>
                <a:ext uri="{FF2B5EF4-FFF2-40B4-BE49-F238E27FC236}">
                  <a16:creationId xmlns:a16="http://schemas.microsoft.com/office/drawing/2014/main" id="{FC80A5CF-F806-4CF6-B931-9288E1F9DF11}"/>
                </a:ext>
              </a:extLst>
            </p:cNvPr>
            <p:cNvSpPr txBox="1"/>
            <p:nvPr/>
          </p:nvSpPr>
          <p:spPr bwMode="auto">
            <a:xfrm>
              <a:off x="8805353" y="3773030"/>
              <a:ext cx="261757" cy="339283"/>
            </a:xfrm>
            <a:prstGeom prst="rect">
              <a:avLst/>
            </a:prstGeom>
            <a:solidFill>
              <a:schemeClr val="bg1"/>
            </a:solidFill>
            <a:ln w="12700">
              <a:solidFill>
                <a:schemeClr val="tx1"/>
              </a:solidFill>
              <a:prstDash val="sysDot"/>
              <a:miter lim="800000"/>
              <a:headEnd/>
              <a:tailEnd/>
            </a:ln>
          </p:spPr>
          <p:txBody>
            <a:bodyPr vert="horz" wrap="square" lIns="0" tIns="13500" rIns="0" bIns="0" numCol="1" rtlCol="0" anchor="t" anchorCtr="0" compatLnSpc="1">
              <a:prstTxWarp prst="textNoShape">
                <a:avLst/>
              </a:prstTxWarp>
              <a:noAutofit/>
            </a:bodyPr>
            <a:lstStyle/>
            <a:p>
              <a:pPr algn="ctr">
                <a:buClr>
                  <a:schemeClr val="tx1"/>
                </a:buClr>
              </a:pPr>
              <a:r>
                <a:rPr lang="en-US" sz="1000">
                  <a:latin typeface="Ericsson Technical Icons" panose="00000500000000000000" pitchFamily="2" charset="0"/>
                </a:rPr>
                <a:t>G</a:t>
              </a:r>
              <a:endParaRPr lang="en-US" sz="1000"/>
            </a:p>
            <a:p>
              <a:pPr algn="ctr">
                <a:buClr>
                  <a:schemeClr val="tx1"/>
                </a:buClr>
              </a:pPr>
              <a:r>
                <a:rPr lang="en-US" sz="600"/>
                <a:t>Core </a:t>
              </a:r>
              <a:br>
                <a:rPr lang="en-US" sz="600"/>
              </a:br>
              <a:r>
                <a:rPr lang="en-US" sz="600"/>
                <a:t>UP</a:t>
              </a:r>
              <a:endParaRPr lang="en-US" sz="800"/>
            </a:p>
          </p:txBody>
        </p:sp>
        <p:cxnSp>
          <p:nvCxnSpPr>
            <p:cNvPr id="158" name="Straight Arrow Connector 157">
              <a:extLst>
                <a:ext uri="{FF2B5EF4-FFF2-40B4-BE49-F238E27FC236}">
                  <a16:creationId xmlns:a16="http://schemas.microsoft.com/office/drawing/2014/main" id="{7E876631-258D-4A54-B94A-C12219426BC7}"/>
                </a:ext>
              </a:extLst>
            </p:cNvPr>
            <p:cNvCxnSpPr>
              <a:cxnSpLocks/>
              <a:endCxn id="155" idx="1"/>
            </p:cNvCxnSpPr>
            <p:nvPr/>
          </p:nvCxnSpPr>
          <p:spPr bwMode="auto">
            <a:xfrm flipV="1">
              <a:off x="8629167" y="3887460"/>
              <a:ext cx="594213" cy="485646"/>
            </a:xfrm>
            <a:prstGeom prst="straightConnector1">
              <a:avLst/>
            </a:prstGeom>
            <a:solidFill>
              <a:schemeClr val="accent1"/>
            </a:solidFill>
            <a:ln w="19050" cap="flat" cmpd="sng" algn="ctr">
              <a:solidFill>
                <a:schemeClr val="accent1"/>
              </a:solidFill>
              <a:prstDash val="solid"/>
              <a:round/>
              <a:headEnd type="none" w="med" len="med"/>
              <a:tailEnd type="triangle"/>
            </a:ln>
            <a:effectLst/>
          </p:spPr>
        </p:cxnSp>
        <p:sp>
          <p:nvSpPr>
            <p:cNvPr id="159" name="Rectangle 158">
              <a:extLst>
                <a:ext uri="{FF2B5EF4-FFF2-40B4-BE49-F238E27FC236}">
                  <a16:creationId xmlns:a16="http://schemas.microsoft.com/office/drawing/2014/main" id="{337E84A9-5ED5-48A9-9CCC-C273751CAC7B}"/>
                </a:ext>
              </a:extLst>
            </p:cNvPr>
            <p:cNvSpPr/>
            <p:nvPr/>
          </p:nvSpPr>
          <p:spPr>
            <a:xfrm>
              <a:off x="3934632" y="2153829"/>
              <a:ext cx="3409908" cy="307777"/>
            </a:xfrm>
            <a:prstGeom prst="rect">
              <a:avLst/>
            </a:prstGeom>
          </p:spPr>
          <p:txBody>
            <a:bodyPr wrap="none">
              <a:spAutoFit/>
            </a:bodyPr>
            <a:lstStyle/>
            <a:p>
              <a:r>
                <a:rPr lang="sv-SE" sz="1400" b="1"/>
                <a:t>2b. MNO hosted 3P Application Platform</a:t>
              </a:r>
            </a:p>
          </p:txBody>
        </p:sp>
      </p:grpSp>
    </p:spTree>
    <p:extLst>
      <p:ext uri="{BB962C8B-B14F-4D97-AF65-F5344CB8AC3E}">
        <p14:creationId xmlns:p14="http://schemas.microsoft.com/office/powerpoint/2010/main" val="25749599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5BCA04D-388E-4257-8924-1D3C64B3F4E6}"/>
              </a:ext>
            </a:extLst>
          </p:cNvPr>
          <p:cNvSpPr>
            <a:spLocks noGrp="1"/>
          </p:cNvSpPr>
          <p:nvPr>
            <p:ph type="title"/>
          </p:nvPr>
        </p:nvSpPr>
        <p:spPr>
          <a:xfrm>
            <a:off x="479424" y="476250"/>
            <a:ext cx="10919475" cy="1081088"/>
          </a:xfrm>
        </p:spPr>
        <p:txBody>
          <a:bodyPr/>
          <a:lstStyle/>
          <a:p>
            <a:r>
              <a:rPr lang="sv-SE"/>
              <a:t>The Traffic Routing Challenge </a:t>
            </a:r>
          </a:p>
        </p:txBody>
      </p:sp>
      <p:sp>
        <p:nvSpPr>
          <p:cNvPr id="21" name="Freeform 88">
            <a:extLst>
              <a:ext uri="{FF2B5EF4-FFF2-40B4-BE49-F238E27FC236}">
                <a16:creationId xmlns:a16="http://schemas.microsoft.com/office/drawing/2014/main" id="{0E4451CC-E4FA-4FB7-98B4-EAB3AF69AECF}"/>
              </a:ext>
            </a:extLst>
          </p:cNvPr>
          <p:cNvSpPr>
            <a:spLocks/>
          </p:cNvSpPr>
          <p:nvPr/>
        </p:nvSpPr>
        <p:spPr bwMode="auto">
          <a:xfrm rot="2583056" flipH="1">
            <a:off x="662241" y="3911436"/>
            <a:ext cx="380335" cy="205890"/>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254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a:latin typeface="+mn-lt"/>
              <a:cs typeface="+mn-cs"/>
            </a:endParaRPr>
          </a:p>
        </p:txBody>
      </p:sp>
      <p:grpSp>
        <p:nvGrpSpPr>
          <p:cNvPr id="27" name="Group 26">
            <a:extLst>
              <a:ext uri="{FF2B5EF4-FFF2-40B4-BE49-F238E27FC236}">
                <a16:creationId xmlns:a16="http://schemas.microsoft.com/office/drawing/2014/main" id="{0ED11D4A-2BB4-4E72-9CC6-251DDC0DEAC0}"/>
              </a:ext>
            </a:extLst>
          </p:cNvPr>
          <p:cNvGrpSpPr/>
          <p:nvPr/>
        </p:nvGrpSpPr>
        <p:grpSpPr>
          <a:xfrm>
            <a:off x="1099678" y="2420598"/>
            <a:ext cx="4685398" cy="2877195"/>
            <a:chOff x="1912157" y="2083377"/>
            <a:chExt cx="4786075" cy="3760248"/>
          </a:xfrm>
        </p:grpSpPr>
        <p:sp>
          <p:nvSpPr>
            <p:cNvPr id="23" name="Rectangle 22">
              <a:extLst>
                <a:ext uri="{FF2B5EF4-FFF2-40B4-BE49-F238E27FC236}">
                  <a16:creationId xmlns:a16="http://schemas.microsoft.com/office/drawing/2014/main" id="{34229115-1C4E-4372-8203-3AD0E51EF0D2}"/>
                </a:ext>
              </a:extLst>
            </p:cNvPr>
            <p:cNvSpPr/>
            <p:nvPr/>
          </p:nvSpPr>
          <p:spPr bwMode="auto">
            <a:xfrm>
              <a:off x="1912157" y="2104343"/>
              <a:ext cx="4786075" cy="3739282"/>
            </a:xfrm>
            <a:prstGeom prst="rect">
              <a:avLst/>
            </a:prstGeom>
            <a:solidFill>
              <a:schemeClr val="bg2"/>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4" name="Rectangle 23">
              <a:extLst>
                <a:ext uri="{FF2B5EF4-FFF2-40B4-BE49-F238E27FC236}">
                  <a16:creationId xmlns:a16="http://schemas.microsoft.com/office/drawing/2014/main" id="{9BC18439-30E4-40F2-AFFE-8A23B0BEC516}"/>
                </a:ext>
              </a:extLst>
            </p:cNvPr>
            <p:cNvSpPr/>
            <p:nvPr/>
          </p:nvSpPr>
          <p:spPr>
            <a:xfrm>
              <a:off x="1984432" y="2083377"/>
              <a:ext cx="1400346" cy="442461"/>
            </a:xfrm>
            <a:prstGeom prst="rect">
              <a:avLst/>
            </a:prstGeom>
          </p:spPr>
          <p:txBody>
            <a:bodyPr wrap="none">
              <a:spAutoFit/>
            </a:bodyPr>
            <a:lstStyle/>
            <a:p>
              <a:pPr algn="ctr">
                <a:buClr>
                  <a:schemeClr val="tx1"/>
                </a:buClr>
              </a:pPr>
              <a:r>
                <a:rPr lang="en-US" sz="1600"/>
                <a:t>5GS network</a:t>
              </a:r>
            </a:p>
          </p:txBody>
        </p:sp>
      </p:grpSp>
      <p:sp>
        <p:nvSpPr>
          <p:cNvPr id="50" name="Freeform: Shape 49">
            <a:extLst>
              <a:ext uri="{FF2B5EF4-FFF2-40B4-BE49-F238E27FC236}">
                <a16:creationId xmlns:a16="http://schemas.microsoft.com/office/drawing/2014/main" id="{8C52C4F1-AC5C-411D-A79F-5D95F6AA8E56}"/>
              </a:ext>
            </a:extLst>
          </p:cNvPr>
          <p:cNvSpPr/>
          <p:nvPr/>
        </p:nvSpPr>
        <p:spPr bwMode="auto">
          <a:xfrm>
            <a:off x="1130173" y="1173708"/>
            <a:ext cx="7800696" cy="5418161"/>
          </a:xfrm>
          <a:custGeom>
            <a:avLst/>
            <a:gdLst>
              <a:gd name="connsiteX0" fmla="*/ 0 w 7697337"/>
              <a:gd name="connsiteY0" fmla="*/ 1016758 h 5418161"/>
              <a:gd name="connsiteX1" fmla="*/ 13648 w 7697337"/>
              <a:gd name="connsiteY1" fmla="*/ 6824 h 5418161"/>
              <a:gd name="connsiteX2" fmla="*/ 7697337 w 7697337"/>
              <a:gd name="connsiteY2" fmla="*/ 0 h 5418161"/>
              <a:gd name="connsiteX3" fmla="*/ 7697337 w 7697337"/>
              <a:gd name="connsiteY3" fmla="*/ 5404514 h 5418161"/>
              <a:gd name="connsiteX4" fmla="*/ 6824 w 7697337"/>
              <a:gd name="connsiteY4" fmla="*/ 5418161 h 5418161"/>
              <a:gd name="connsiteX5" fmla="*/ 0 w 7697337"/>
              <a:gd name="connsiteY5" fmla="*/ 4435522 h 5418161"/>
              <a:gd name="connsiteX6" fmla="*/ 4960961 w 7697337"/>
              <a:gd name="connsiteY6" fmla="*/ 4435522 h 5418161"/>
              <a:gd name="connsiteX7" fmla="*/ 4960961 w 7697337"/>
              <a:gd name="connsiteY7" fmla="*/ 1037230 h 5418161"/>
              <a:gd name="connsiteX8" fmla="*/ 0 w 7697337"/>
              <a:gd name="connsiteY8" fmla="*/ 1016758 h 541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97337" h="5418161">
                <a:moveTo>
                  <a:pt x="0" y="1016758"/>
                </a:moveTo>
                <a:lnTo>
                  <a:pt x="13648" y="6824"/>
                </a:lnTo>
                <a:lnTo>
                  <a:pt x="7697337" y="0"/>
                </a:lnTo>
                <a:lnTo>
                  <a:pt x="7697337" y="5404514"/>
                </a:lnTo>
                <a:lnTo>
                  <a:pt x="6824" y="5418161"/>
                </a:lnTo>
                <a:cubicBezTo>
                  <a:pt x="4549" y="5090615"/>
                  <a:pt x="2275" y="4763068"/>
                  <a:pt x="0" y="4435522"/>
                </a:cubicBezTo>
                <a:lnTo>
                  <a:pt x="4960961" y="4435522"/>
                </a:lnTo>
                <a:lnTo>
                  <a:pt x="4960961" y="1037230"/>
                </a:lnTo>
                <a:lnTo>
                  <a:pt x="0" y="1016758"/>
                </a:lnTo>
                <a:close/>
              </a:path>
            </a:pathLst>
          </a:cu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6" name="Rectangle 25">
            <a:extLst>
              <a:ext uri="{FF2B5EF4-FFF2-40B4-BE49-F238E27FC236}">
                <a16:creationId xmlns:a16="http://schemas.microsoft.com/office/drawing/2014/main" id="{AF55A248-F245-411D-9052-E2EE4AFA1C8B}"/>
              </a:ext>
            </a:extLst>
          </p:cNvPr>
          <p:cNvSpPr/>
          <p:nvPr/>
        </p:nvSpPr>
        <p:spPr>
          <a:xfrm>
            <a:off x="7140124" y="1175505"/>
            <a:ext cx="907621" cy="338554"/>
          </a:xfrm>
          <a:prstGeom prst="rect">
            <a:avLst/>
          </a:prstGeom>
        </p:spPr>
        <p:txBody>
          <a:bodyPr wrap="none">
            <a:spAutoFit/>
          </a:bodyPr>
          <a:lstStyle/>
          <a:p>
            <a:pPr>
              <a:buClr>
                <a:schemeClr val="tx1"/>
              </a:buClr>
            </a:pPr>
            <a:r>
              <a:rPr lang="en-US" sz="1600"/>
              <a:t>Internet</a:t>
            </a:r>
          </a:p>
        </p:txBody>
      </p:sp>
      <p:grpSp>
        <p:nvGrpSpPr>
          <p:cNvPr id="51" name="Group 50">
            <a:extLst>
              <a:ext uri="{FF2B5EF4-FFF2-40B4-BE49-F238E27FC236}">
                <a16:creationId xmlns:a16="http://schemas.microsoft.com/office/drawing/2014/main" id="{D26BDFA3-D84C-4485-9D03-12B0912B35CF}"/>
              </a:ext>
            </a:extLst>
          </p:cNvPr>
          <p:cNvGrpSpPr/>
          <p:nvPr/>
        </p:nvGrpSpPr>
        <p:grpSpPr>
          <a:xfrm>
            <a:off x="5763843" y="4534705"/>
            <a:ext cx="411506" cy="549378"/>
            <a:chOff x="7055768" y="2649905"/>
            <a:chExt cx="411506" cy="549378"/>
          </a:xfrm>
        </p:grpSpPr>
        <p:grpSp>
          <p:nvGrpSpPr>
            <p:cNvPr id="52" name="Group 51">
              <a:extLst>
                <a:ext uri="{FF2B5EF4-FFF2-40B4-BE49-F238E27FC236}">
                  <a16:creationId xmlns:a16="http://schemas.microsoft.com/office/drawing/2014/main" id="{71DCF5F7-66AF-4704-820B-23DC6D3B7332}"/>
                </a:ext>
              </a:extLst>
            </p:cNvPr>
            <p:cNvGrpSpPr/>
            <p:nvPr/>
          </p:nvGrpSpPr>
          <p:grpSpPr>
            <a:xfrm>
              <a:off x="7055768" y="2649905"/>
              <a:ext cx="411506" cy="549378"/>
              <a:chOff x="7419306" y="774484"/>
              <a:chExt cx="316786" cy="426242"/>
            </a:xfrm>
          </p:grpSpPr>
          <p:sp>
            <p:nvSpPr>
              <p:cNvPr id="54" name="Rectangle 53">
                <a:extLst>
                  <a:ext uri="{FF2B5EF4-FFF2-40B4-BE49-F238E27FC236}">
                    <a16:creationId xmlns:a16="http://schemas.microsoft.com/office/drawing/2014/main" id="{9AC94A14-6B9B-45E9-965C-E1B350831F8D}"/>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900"/>
                  <a:t>  </a:t>
                </a:r>
                <a:r>
                  <a:rPr lang="sv-SE" sz="800"/>
                  <a:t>IXP</a:t>
                </a:r>
                <a:endParaRPr kumimoji="0" lang="en-US" sz="900" b="0" i="0" u="none" strike="noStrike" cap="none" normalizeH="0" baseline="0" err="1">
                  <a:ln>
                    <a:noFill/>
                  </a:ln>
                  <a:effectLst/>
                </a:endParaRPr>
              </a:p>
            </p:txBody>
          </p:sp>
          <p:cxnSp>
            <p:nvCxnSpPr>
              <p:cNvPr id="55" name="Straight Connector 54">
                <a:extLst>
                  <a:ext uri="{FF2B5EF4-FFF2-40B4-BE49-F238E27FC236}">
                    <a16:creationId xmlns:a16="http://schemas.microsoft.com/office/drawing/2014/main" id="{8355D95E-A343-4DF8-BA9A-90EA3A98A690}"/>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53" name="TextBox 52">
              <a:extLst>
                <a:ext uri="{FF2B5EF4-FFF2-40B4-BE49-F238E27FC236}">
                  <a16:creationId xmlns:a16="http://schemas.microsoft.com/office/drawing/2014/main" id="{A9F65AE1-42E5-4E73-9DCA-C3108B671B11}"/>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56" name="Group 55">
            <a:extLst>
              <a:ext uri="{FF2B5EF4-FFF2-40B4-BE49-F238E27FC236}">
                <a16:creationId xmlns:a16="http://schemas.microsoft.com/office/drawing/2014/main" id="{37D8054F-B22C-46AC-8ADA-8D27E9B81447}"/>
              </a:ext>
            </a:extLst>
          </p:cNvPr>
          <p:cNvGrpSpPr/>
          <p:nvPr/>
        </p:nvGrpSpPr>
        <p:grpSpPr>
          <a:xfrm>
            <a:off x="5763843" y="2737016"/>
            <a:ext cx="411506" cy="549378"/>
            <a:chOff x="7055768" y="2649905"/>
            <a:chExt cx="411506" cy="549378"/>
          </a:xfrm>
        </p:grpSpPr>
        <p:grpSp>
          <p:nvGrpSpPr>
            <p:cNvPr id="57" name="Group 56">
              <a:extLst>
                <a:ext uri="{FF2B5EF4-FFF2-40B4-BE49-F238E27FC236}">
                  <a16:creationId xmlns:a16="http://schemas.microsoft.com/office/drawing/2014/main" id="{2B0D6033-06D1-4E45-B6C4-1B02E9DA9B79}"/>
                </a:ext>
              </a:extLst>
            </p:cNvPr>
            <p:cNvGrpSpPr/>
            <p:nvPr/>
          </p:nvGrpSpPr>
          <p:grpSpPr>
            <a:xfrm>
              <a:off x="7055768" y="2649905"/>
              <a:ext cx="411506" cy="549378"/>
              <a:chOff x="7419306" y="774484"/>
              <a:chExt cx="316786" cy="426242"/>
            </a:xfrm>
          </p:grpSpPr>
          <p:sp>
            <p:nvSpPr>
              <p:cNvPr id="59" name="Rectangle 58">
                <a:extLst>
                  <a:ext uri="{FF2B5EF4-FFF2-40B4-BE49-F238E27FC236}">
                    <a16:creationId xmlns:a16="http://schemas.microsoft.com/office/drawing/2014/main" id="{19A7E3F9-E289-4679-BEDC-3BE2632ACD3F}"/>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800"/>
                  <a:t>  IXP</a:t>
                </a:r>
                <a:endParaRPr kumimoji="0" lang="en-US" sz="800" b="0" i="0" u="none" strike="noStrike" cap="none" normalizeH="0" baseline="0" err="1">
                  <a:ln>
                    <a:noFill/>
                  </a:ln>
                  <a:effectLst/>
                </a:endParaRPr>
              </a:p>
            </p:txBody>
          </p:sp>
          <p:cxnSp>
            <p:nvCxnSpPr>
              <p:cNvPr id="60" name="Straight Connector 59">
                <a:extLst>
                  <a:ext uri="{FF2B5EF4-FFF2-40B4-BE49-F238E27FC236}">
                    <a16:creationId xmlns:a16="http://schemas.microsoft.com/office/drawing/2014/main" id="{1663F817-69EE-4F1B-98DD-C005752B24DE}"/>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58" name="TextBox 57">
              <a:extLst>
                <a:ext uri="{FF2B5EF4-FFF2-40B4-BE49-F238E27FC236}">
                  <a16:creationId xmlns:a16="http://schemas.microsoft.com/office/drawing/2014/main" id="{A1C687FB-2F69-4F26-AEC4-09A52C324739}"/>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61" name="Group 60">
            <a:extLst>
              <a:ext uri="{FF2B5EF4-FFF2-40B4-BE49-F238E27FC236}">
                <a16:creationId xmlns:a16="http://schemas.microsoft.com/office/drawing/2014/main" id="{2002F67C-AA80-4C5E-B109-C9453C8F1E1C}"/>
              </a:ext>
            </a:extLst>
          </p:cNvPr>
          <p:cNvGrpSpPr/>
          <p:nvPr/>
        </p:nvGrpSpPr>
        <p:grpSpPr>
          <a:xfrm>
            <a:off x="2768552" y="2042326"/>
            <a:ext cx="411506" cy="549378"/>
            <a:chOff x="7055768" y="2649905"/>
            <a:chExt cx="411506" cy="549378"/>
          </a:xfrm>
        </p:grpSpPr>
        <p:grpSp>
          <p:nvGrpSpPr>
            <p:cNvPr id="62" name="Group 61">
              <a:extLst>
                <a:ext uri="{FF2B5EF4-FFF2-40B4-BE49-F238E27FC236}">
                  <a16:creationId xmlns:a16="http://schemas.microsoft.com/office/drawing/2014/main" id="{06B1C385-456E-4F7D-B521-CC47229E388A}"/>
                </a:ext>
              </a:extLst>
            </p:cNvPr>
            <p:cNvGrpSpPr/>
            <p:nvPr/>
          </p:nvGrpSpPr>
          <p:grpSpPr>
            <a:xfrm>
              <a:off x="7055768" y="2649905"/>
              <a:ext cx="411506" cy="549378"/>
              <a:chOff x="7419306" y="774484"/>
              <a:chExt cx="316786" cy="426242"/>
            </a:xfrm>
          </p:grpSpPr>
          <p:sp>
            <p:nvSpPr>
              <p:cNvPr id="64" name="Rectangle 63">
                <a:extLst>
                  <a:ext uri="{FF2B5EF4-FFF2-40B4-BE49-F238E27FC236}">
                    <a16:creationId xmlns:a16="http://schemas.microsoft.com/office/drawing/2014/main" id="{A59A0067-B114-4EC6-BE52-4F0546E24D86}"/>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800"/>
                  <a:t>  IXP</a:t>
                </a:r>
                <a:endParaRPr kumimoji="0" lang="en-US" sz="800" b="0" i="0" u="none" strike="noStrike" cap="none" normalizeH="0" baseline="0" err="1">
                  <a:ln>
                    <a:noFill/>
                  </a:ln>
                  <a:effectLst/>
                </a:endParaRPr>
              </a:p>
            </p:txBody>
          </p:sp>
          <p:cxnSp>
            <p:nvCxnSpPr>
              <p:cNvPr id="65" name="Straight Connector 64">
                <a:extLst>
                  <a:ext uri="{FF2B5EF4-FFF2-40B4-BE49-F238E27FC236}">
                    <a16:creationId xmlns:a16="http://schemas.microsoft.com/office/drawing/2014/main" id="{89B23974-85D1-4789-80DF-97DD5324EDAA}"/>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63" name="TextBox 62">
              <a:extLst>
                <a:ext uri="{FF2B5EF4-FFF2-40B4-BE49-F238E27FC236}">
                  <a16:creationId xmlns:a16="http://schemas.microsoft.com/office/drawing/2014/main" id="{684FCB59-2001-43AC-BC6C-2252C9E6D728}"/>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71" name="Group 70">
            <a:extLst>
              <a:ext uri="{FF2B5EF4-FFF2-40B4-BE49-F238E27FC236}">
                <a16:creationId xmlns:a16="http://schemas.microsoft.com/office/drawing/2014/main" id="{82F9B492-81D8-427B-ADC5-EED0E87EF0A9}"/>
              </a:ext>
            </a:extLst>
          </p:cNvPr>
          <p:cNvGrpSpPr/>
          <p:nvPr/>
        </p:nvGrpSpPr>
        <p:grpSpPr>
          <a:xfrm>
            <a:off x="3913723" y="2042326"/>
            <a:ext cx="411506" cy="549378"/>
            <a:chOff x="7055768" y="2649905"/>
            <a:chExt cx="411506" cy="549378"/>
          </a:xfrm>
        </p:grpSpPr>
        <p:grpSp>
          <p:nvGrpSpPr>
            <p:cNvPr id="72" name="Group 71">
              <a:extLst>
                <a:ext uri="{FF2B5EF4-FFF2-40B4-BE49-F238E27FC236}">
                  <a16:creationId xmlns:a16="http://schemas.microsoft.com/office/drawing/2014/main" id="{8BC59F45-DE31-4F7D-93AF-F14D807AA0CA}"/>
                </a:ext>
              </a:extLst>
            </p:cNvPr>
            <p:cNvGrpSpPr/>
            <p:nvPr/>
          </p:nvGrpSpPr>
          <p:grpSpPr>
            <a:xfrm>
              <a:off x="7055768" y="2649905"/>
              <a:ext cx="411506" cy="549378"/>
              <a:chOff x="7419306" y="774484"/>
              <a:chExt cx="316786" cy="426242"/>
            </a:xfrm>
          </p:grpSpPr>
          <p:sp>
            <p:nvSpPr>
              <p:cNvPr id="74" name="Rectangle 73">
                <a:extLst>
                  <a:ext uri="{FF2B5EF4-FFF2-40B4-BE49-F238E27FC236}">
                    <a16:creationId xmlns:a16="http://schemas.microsoft.com/office/drawing/2014/main" id="{05D89282-8303-4DE7-A747-0D4221100027}"/>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900"/>
                  <a:t>  </a:t>
                </a:r>
                <a:r>
                  <a:rPr lang="sv-SE" sz="800"/>
                  <a:t>IXP</a:t>
                </a:r>
                <a:endParaRPr kumimoji="0" lang="en-US" sz="900" b="0" i="0" u="none" strike="noStrike" cap="none" normalizeH="0" baseline="0" err="1">
                  <a:ln>
                    <a:noFill/>
                  </a:ln>
                  <a:effectLst/>
                </a:endParaRPr>
              </a:p>
            </p:txBody>
          </p:sp>
          <p:cxnSp>
            <p:nvCxnSpPr>
              <p:cNvPr id="75" name="Straight Connector 74">
                <a:extLst>
                  <a:ext uri="{FF2B5EF4-FFF2-40B4-BE49-F238E27FC236}">
                    <a16:creationId xmlns:a16="http://schemas.microsoft.com/office/drawing/2014/main" id="{24CFFA82-D2B4-4263-8D47-83A782FE29C3}"/>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73" name="TextBox 72">
              <a:extLst>
                <a:ext uri="{FF2B5EF4-FFF2-40B4-BE49-F238E27FC236}">
                  <a16:creationId xmlns:a16="http://schemas.microsoft.com/office/drawing/2014/main" id="{92364B15-1DE2-4554-9DEF-A0652C509230}"/>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81" name="Group 80">
            <a:extLst>
              <a:ext uri="{FF2B5EF4-FFF2-40B4-BE49-F238E27FC236}">
                <a16:creationId xmlns:a16="http://schemas.microsoft.com/office/drawing/2014/main" id="{C0C34F9A-8BA4-4A61-AB83-51456AA61B49}"/>
              </a:ext>
            </a:extLst>
          </p:cNvPr>
          <p:cNvGrpSpPr/>
          <p:nvPr/>
        </p:nvGrpSpPr>
        <p:grpSpPr>
          <a:xfrm>
            <a:off x="2770824" y="5204069"/>
            <a:ext cx="411506" cy="549378"/>
            <a:chOff x="7055768" y="2649905"/>
            <a:chExt cx="411506" cy="549378"/>
          </a:xfrm>
        </p:grpSpPr>
        <p:grpSp>
          <p:nvGrpSpPr>
            <p:cNvPr id="82" name="Group 81">
              <a:extLst>
                <a:ext uri="{FF2B5EF4-FFF2-40B4-BE49-F238E27FC236}">
                  <a16:creationId xmlns:a16="http://schemas.microsoft.com/office/drawing/2014/main" id="{B24B3E82-C768-44BE-B2B5-56670BA454EF}"/>
                </a:ext>
              </a:extLst>
            </p:cNvPr>
            <p:cNvGrpSpPr/>
            <p:nvPr/>
          </p:nvGrpSpPr>
          <p:grpSpPr>
            <a:xfrm>
              <a:off x="7055768" y="2649905"/>
              <a:ext cx="411506" cy="549378"/>
              <a:chOff x="7419306" y="774484"/>
              <a:chExt cx="316786" cy="426242"/>
            </a:xfrm>
          </p:grpSpPr>
          <p:sp>
            <p:nvSpPr>
              <p:cNvPr id="84" name="Rectangle 83">
                <a:extLst>
                  <a:ext uri="{FF2B5EF4-FFF2-40B4-BE49-F238E27FC236}">
                    <a16:creationId xmlns:a16="http://schemas.microsoft.com/office/drawing/2014/main" id="{566B874A-040A-44C2-9CA1-EF37B3D5390D}"/>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900"/>
                  <a:t>  </a:t>
                </a:r>
                <a:r>
                  <a:rPr lang="sv-SE" sz="800"/>
                  <a:t>IXP</a:t>
                </a:r>
                <a:endParaRPr kumimoji="0" lang="en-US" sz="900" b="0" i="0" u="none" strike="noStrike" cap="none" normalizeH="0" baseline="0" err="1">
                  <a:ln>
                    <a:noFill/>
                  </a:ln>
                  <a:effectLst/>
                </a:endParaRPr>
              </a:p>
            </p:txBody>
          </p:sp>
          <p:cxnSp>
            <p:nvCxnSpPr>
              <p:cNvPr id="85" name="Straight Connector 84">
                <a:extLst>
                  <a:ext uri="{FF2B5EF4-FFF2-40B4-BE49-F238E27FC236}">
                    <a16:creationId xmlns:a16="http://schemas.microsoft.com/office/drawing/2014/main" id="{BEE0824E-37C8-4931-A3FB-C1E103CC77A0}"/>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83" name="TextBox 82">
              <a:extLst>
                <a:ext uri="{FF2B5EF4-FFF2-40B4-BE49-F238E27FC236}">
                  <a16:creationId xmlns:a16="http://schemas.microsoft.com/office/drawing/2014/main" id="{CB3373FA-F95D-44BE-816C-31844F4465FC}"/>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86" name="Group 85">
            <a:extLst>
              <a:ext uri="{FF2B5EF4-FFF2-40B4-BE49-F238E27FC236}">
                <a16:creationId xmlns:a16="http://schemas.microsoft.com/office/drawing/2014/main" id="{041C052E-3E1A-4F48-A631-2EC2135A8BEC}"/>
              </a:ext>
            </a:extLst>
          </p:cNvPr>
          <p:cNvGrpSpPr/>
          <p:nvPr/>
        </p:nvGrpSpPr>
        <p:grpSpPr>
          <a:xfrm>
            <a:off x="3924016" y="5204069"/>
            <a:ext cx="411506" cy="549378"/>
            <a:chOff x="7055768" y="2649905"/>
            <a:chExt cx="411506" cy="549378"/>
          </a:xfrm>
        </p:grpSpPr>
        <p:grpSp>
          <p:nvGrpSpPr>
            <p:cNvPr id="87" name="Group 86">
              <a:extLst>
                <a:ext uri="{FF2B5EF4-FFF2-40B4-BE49-F238E27FC236}">
                  <a16:creationId xmlns:a16="http://schemas.microsoft.com/office/drawing/2014/main" id="{D6D964CB-385A-411E-9D63-374DBE04B6FF}"/>
                </a:ext>
              </a:extLst>
            </p:cNvPr>
            <p:cNvGrpSpPr/>
            <p:nvPr/>
          </p:nvGrpSpPr>
          <p:grpSpPr>
            <a:xfrm>
              <a:off x="7055768" y="2649905"/>
              <a:ext cx="411506" cy="549378"/>
              <a:chOff x="7419306" y="774484"/>
              <a:chExt cx="316786" cy="426242"/>
            </a:xfrm>
          </p:grpSpPr>
          <p:sp>
            <p:nvSpPr>
              <p:cNvPr id="89" name="Rectangle 88">
                <a:extLst>
                  <a:ext uri="{FF2B5EF4-FFF2-40B4-BE49-F238E27FC236}">
                    <a16:creationId xmlns:a16="http://schemas.microsoft.com/office/drawing/2014/main" id="{AD303555-12BC-4FDD-A3EC-1E15402CC309}"/>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900"/>
                  <a:t>  </a:t>
                </a:r>
                <a:r>
                  <a:rPr lang="sv-SE" sz="800"/>
                  <a:t>IXP</a:t>
                </a:r>
                <a:endParaRPr kumimoji="0" lang="en-US" sz="900" b="0" i="0" u="none" strike="noStrike" cap="none" normalizeH="0" baseline="0" err="1">
                  <a:ln>
                    <a:noFill/>
                  </a:ln>
                  <a:effectLst/>
                </a:endParaRPr>
              </a:p>
            </p:txBody>
          </p:sp>
          <p:cxnSp>
            <p:nvCxnSpPr>
              <p:cNvPr id="90" name="Straight Connector 89">
                <a:extLst>
                  <a:ext uri="{FF2B5EF4-FFF2-40B4-BE49-F238E27FC236}">
                    <a16:creationId xmlns:a16="http://schemas.microsoft.com/office/drawing/2014/main" id="{B57DB08E-15F0-4AD1-B517-15513D28B619}"/>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88" name="TextBox 87">
              <a:extLst>
                <a:ext uri="{FF2B5EF4-FFF2-40B4-BE49-F238E27FC236}">
                  <a16:creationId xmlns:a16="http://schemas.microsoft.com/office/drawing/2014/main" id="{0C5B75EA-2C25-485C-BD7E-31275DAEC3D4}"/>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grpSp>
        <p:nvGrpSpPr>
          <p:cNvPr id="101" name="Group 100">
            <a:extLst>
              <a:ext uri="{FF2B5EF4-FFF2-40B4-BE49-F238E27FC236}">
                <a16:creationId xmlns:a16="http://schemas.microsoft.com/office/drawing/2014/main" id="{38F0E386-4404-4063-A0E2-5E2637941FE2}"/>
              </a:ext>
            </a:extLst>
          </p:cNvPr>
          <p:cNvGrpSpPr/>
          <p:nvPr/>
        </p:nvGrpSpPr>
        <p:grpSpPr>
          <a:xfrm>
            <a:off x="7186303" y="2291175"/>
            <a:ext cx="801098" cy="715270"/>
            <a:chOff x="8070186" y="1638969"/>
            <a:chExt cx="801098" cy="715270"/>
          </a:xfrm>
        </p:grpSpPr>
        <p:grpSp>
          <p:nvGrpSpPr>
            <p:cNvPr id="97" name="Group 96">
              <a:extLst>
                <a:ext uri="{FF2B5EF4-FFF2-40B4-BE49-F238E27FC236}">
                  <a16:creationId xmlns:a16="http://schemas.microsoft.com/office/drawing/2014/main" id="{E65248AE-5DF0-44E5-9B1A-F073937A31B6}"/>
                </a:ext>
              </a:extLst>
            </p:cNvPr>
            <p:cNvGrpSpPr/>
            <p:nvPr/>
          </p:nvGrpSpPr>
          <p:grpSpPr>
            <a:xfrm>
              <a:off x="8070186" y="1638969"/>
              <a:ext cx="801098" cy="715270"/>
              <a:chOff x="6239718" y="711567"/>
              <a:chExt cx="2020432" cy="489160"/>
            </a:xfrm>
          </p:grpSpPr>
          <p:sp>
            <p:nvSpPr>
              <p:cNvPr id="99" name="Rectangle 98">
                <a:extLst>
                  <a:ext uri="{FF2B5EF4-FFF2-40B4-BE49-F238E27FC236}">
                    <a16:creationId xmlns:a16="http://schemas.microsoft.com/office/drawing/2014/main" id="{E601E31A-6BBD-473E-A7E3-5B5F3A81D715}"/>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100" name="Straight Connector 99">
                <a:extLst>
                  <a:ext uri="{FF2B5EF4-FFF2-40B4-BE49-F238E27FC236}">
                    <a16:creationId xmlns:a16="http://schemas.microsoft.com/office/drawing/2014/main" id="{213503F9-7000-42BE-A404-548887624CFC}"/>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95" name="TextBox 94">
              <a:extLst>
                <a:ext uri="{FF2B5EF4-FFF2-40B4-BE49-F238E27FC236}">
                  <a16:creationId xmlns:a16="http://schemas.microsoft.com/office/drawing/2014/main" id="{70EC06A2-5977-4519-B366-30F6205ACD2B}"/>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96" name="TextBox 95">
              <a:extLst>
                <a:ext uri="{FF2B5EF4-FFF2-40B4-BE49-F238E27FC236}">
                  <a16:creationId xmlns:a16="http://schemas.microsoft.com/office/drawing/2014/main" id="{4BF112D7-A7A7-4021-8F6C-AA842C33B864}"/>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102" name="Group 101">
            <a:extLst>
              <a:ext uri="{FF2B5EF4-FFF2-40B4-BE49-F238E27FC236}">
                <a16:creationId xmlns:a16="http://schemas.microsoft.com/office/drawing/2014/main" id="{E0C3CB76-FE15-4995-906B-7E0F4A49DEEC}"/>
              </a:ext>
            </a:extLst>
          </p:cNvPr>
          <p:cNvGrpSpPr/>
          <p:nvPr/>
        </p:nvGrpSpPr>
        <p:grpSpPr>
          <a:xfrm>
            <a:off x="2582535" y="5815174"/>
            <a:ext cx="801098" cy="715270"/>
            <a:chOff x="8070186" y="1638969"/>
            <a:chExt cx="801098" cy="715270"/>
          </a:xfrm>
        </p:grpSpPr>
        <p:grpSp>
          <p:nvGrpSpPr>
            <p:cNvPr id="103" name="Group 102">
              <a:extLst>
                <a:ext uri="{FF2B5EF4-FFF2-40B4-BE49-F238E27FC236}">
                  <a16:creationId xmlns:a16="http://schemas.microsoft.com/office/drawing/2014/main" id="{E9D0CC1C-1FB0-4CF4-9454-DC1F31D8A922}"/>
                </a:ext>
              </a:extLst>
            </p:cNvPr>
            <p:cNvGrpSpPr/>
            <p:nvPr/>
          </p:nvGrpSpPr>
          <p:grpSpPr>
            <a:xfrm>
              <a:off x="8070186" y="1638969"/>
              <a:ext cx="801098" cy="715270"/>
              <a:chOff x="6239718" y="711567"/>
              <a:chExt cx="2020432" cy="489160"/>
            </a:xfrm>
          </p:grpSpPr>
          <p:sp>
            <p:nvSpPr>
              <p:cNvPr id="106" name="Rectangle 105">
                <a:extLst>
                  <a:ext uri="{FF2B5EF4-FFF2-40B4-BE49-F238E27FC236}">
                    <a16:creationId xmlns:a16="http://schemas.microsoft.com/office/drawing/2014/main" id="{B51F5632-A2E9-4EF9-AEF8-56A817263396}"/>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107" name="Straight Connector 106">
                <a:extLst>
                  <a:ext uri="{FF2B5EF4-FFF2-40B4-BE49-F238E27FC236}">
                    <a16:creationId xmlns:a16="http://schemas.microsoft.com/office/drawing/2014/main" id="{2537807D-ED2C-444B-8BDF-C84C43F80846}"/>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04" name="TextBox 103">
              <a:extLst>
                <a:ext uri="{FF2B5EF4-FFF2-40B4-BE49-F238E27FC236}">
                  <a16:creationId xmlns:a16="http://schemas.microsoft.com/office/drawing/2014/main" id="{89271CDA-C230-4156-9527-FEA692D0D565}"/>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105" name="TextBox 104">
              <a:extLst>
                <a:ext uri="{FF2B5EF4-FFF2-40B4-BE49-F238E27FC236}">
                  <a16:creationId xmlns:a16="http://schemas.microsoft.com/office/drawing/2014/main" id="{38C3E855-7CE8-4FB5-A9A6-8AD5C199BC21}"/>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108" name="Group 107">
            <a:extLst>
              <a:ext uri="{FF2B5EF4-FFF2-40B4-BE49-F238E27FC236}">
                <a16:creationId xmlns:a16="http://schemas.microsoft.com/office/drawing/2014/main" id="{0F706AC0-1ECB-425C-861E-ABB73F95232E}"/>
              </a:ext>
            </a:extLst>
          </p:cNvPr>
          <p:cNvGrpSpPr/>
          <p:nvPr/>
        </p:nvGrpSpPr>
        <p:grpSpPr>
          <a:xfrm>
            <a:off x="2566606" y="1251766"/>
            <a:ext cx="801098" cy="715270"/>
            <a:chOff x="8070186" y="1638969"/>
            <a:chExt cx="801098" cy="715270"/>
          </a:xfrm>
        </p:grpSpPr>
        <p:grpSp>
          <p:nvGrpSpPr>
            <p:cNvPr id="109" name="Group 108">
              <a:extLst>
                <a:ext uri="{FF2B5EF4-FFF2-40B4-BE49-F238E27FC236}">
                  <a16:creationId xmlns:a16="http://schemas.microsoft.com/office/drawing/2014/main" id="{290DC729-2F15-4935-8313-ECA9467F42F9}"/>
                </a:ext>
              </a:extLst>
            </p:cNvPr>
            <p:cNvGrpSpPr/>
            <p:nvPr/>
          </p:nvGrpSpPr>
          <p:grpSpPr>
            <a:xfrm>
              <a:off x="8070186" y="1638969"/>
              <a:ext cx="801098" cy="715270"/>
              <a:chOff x="6239718" y="711567"/>
              <a:chExt cx="2020432" cy="489160"/>
            </a:xfrm>
          </p:grpSpPr>
          <p:sp>
            <p:nvSpPr>
              <p:cNvPr id="112" name="Rectangle 111">
                <a:extLst>
                  <a:ext uri="{FF2B5EF4-FFF2-40B4-BE49-F238E27FC236}">
                    <a16:creationId xmlns:a16="http://schemas.microsoft.com/office/drawing/2014/main" id="{26E5A86C-3DE5-449A-B721-981304DAD421}"/>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113" name="Straight Connector 112">
                <a:extLst>
                  <a:ext uri="{FF2B5EF4-FFF2-40B4-BE49-F238E27FC236}">
                    <a16:creationId xmlns:a16="http://schemas.microsoft.com/office/drawing/2014/main" id="{297EA544-BB03-4211-9609-0F77E141C20F}"/>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10" name="TextBox 109">
              <a:extLst>
                <a:ext uri="{FF2B5EF4-FFF2-40B4-BE49-F238E27FC236}">
                  <a16:creationId xmlns:a16="http://schemas.microsoft.com/office/drawing/2014/main" id="{4549727A-396E-4C2F-A4F1-F52ED33947A7}"/>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111" name="TextBox 110">
              <a:extLst>
                <a:ext uri="{FF2B5EF4-FFF2-40B4-BE49-F238E27FC236}">
                  <a16:creationId xmlns:a16="http://schemas.microsoft.com/office/drawing/2014/main" id="{869FF1D0-1021-480D-AD37-3FE9A87B24F5}"/>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114" name="Group 113">
            <a:extLst>
              <a:ext uri="{FF2B5EF4-FFF2-40B4-BE49-F238E27FC236}">
                <a16:creationId xmlns:a16="http://schemas.microsoft.com/office/drawing/2014/main" id="{CC8D70AC-F3E4-4DBD-80FE-6BAACBD22002}"/>
              </a:ext>
            </a:extLst>
          </p:cNvPr>
          <p:cNvGrpSpPr/>
          <p:nvPr/>
        </p:nvGrpSpPr>
        <p:grpSpPr>
          <a:xfrm>
            <a:off x="7186303" y="4915926"/>
            <a:ext cx="801098" cy="715270"/>
            <a:chOff x="8070186" y="1638969"/>
            <a:chExt cx="801098" cy="715270"/>
          </a:xfrm>
        </p:grpSpPr>
        <p:grpSp>
          <p:nvGrpSpPr>
            <p:cNvPr id="115" name="Group 114">
              <a:extLst>
                <a:ext uri="{FF2B5EF4-FFF2-40B4-BE49-F238E27FC236}">
                  <a16:creationId xmlns:a16="http://schemas.microsoft.com/office/drawing/2014/main" id="{920D1A88-6A36-4AD2-8126-9C7431C3D26C}"/>
                </a:ext>
              </a:extLst>
            </p:cNvPr>
            <p:cNvGrpSpPr/>
            <p:nvPr/>
          </p:nvGrpSpPr>
          <p:grpSpPr>
            <a:xfrm>
              <a:off x="8070186" y="1638969"/>
              <a:ext cx="801098" cy="715270"/>
              <a:chOff x="6239718" y="711567"/>
              <a:chExt cx="2020432" cy="489160"/>
            </a:xfrm>
          </p:grpSpPr>
          <p:sp>
            <p:nvSpPr>
              <p:cNvPr id="118" name="Rectangle 117">
                <a:extLst>
                  <a:ext uri="{FF2B5EF4-FFF2-40B4-BE49-F238E27FC236}">
                    <a16:creationId xmlns:a16="http://schemas.microsoft.com/office/drawing/2014/main" id="{844A5FAB-E718-4CEE-8393-12EF1CDA9234}"/>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119" name="Straight Connector 118">
                <a:extLst>
                  <a:ext uri="{FF2B5EF4-FFF2-40B4-BE49-F238E27FC236}">
                    <a16:creationId xmlns:a16="http://schemas.microsoft.com/office/drawing/2014/main" id="{BA658A3D-59DA-4053-9FB0-4F1173684AE2}"/>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16" name="TextBox 115">
              <a:extLst>
                <a:ext uri="{FF2B5EF4-FFF2-40B4-BE49-F238E27FC236}">
                  <a16:creationId xmlns:a16="http://schemas.microsoft.com/office/drawing/2014/main" id="{6090A64E-DC4C-4CE6-AAB6-A14A78D79C3E}"/>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117" name="TextBox 116">
              <a:extLst>
                <a:ext uri="{FF2B5EF4-FFF2-40B4-BE49-F238E27FC236}">
                  <a16:creationId xmlns:a16="http://schemas.microsoft.com/office/drawing/2014/main" id="{86DE868F-E584-4D9D-BB8E-BF2DB8951367}"/>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120" name="Group 119">
            <a:extLst>
              <a:ext uri="{FF2B5EF4-FFF2-40B4-BE49-F238E27FC236}">
                <a16:creationId xmlns:a16="http://schemas.microsoft.com/office/drawing/2014/main" id="{6BE627DE-F786-445E-96ED-779776CEA666}"/>
              </a:ext>
            </a:extLst>
          </p:cNvPr>
          <p:cNvGrpSpPr/>
          <p:nvPr/>
        </p:nvGrpSpPr>
        <p:grpSpPr>
          <a:xfrm>
            <a:off x="7186303" y="3633990"/>
            <a:ext cx="801098" cy="715270"/>
            <a:chOff x="8070186" y="1638969"/>
            <a:chExt cx="801098" cy="715270"/>
          </a:xfrm>
        </p:grpSpPr>
        <p:grpSp>
          <p:nvGrpSpPr>
            <p:cNvPr id="121" name="Group 120">
              <a:extLst>
                <a:ext uri="{FF2B5EF4-FFF2-40B4-BE49-F238E27FC236}">
                  <a16:creationId xmlns:a16="http://schemas.microsoft.com/office/drawing/2014/main" id="{AE922240-0805-4035-A9DB-63064F93FD03}"/>
                </a:ext>
              </a:extLst>
            </p:cNvPr>
            <p:cNvGrpSpPr/>
            <p:nvPr/>
          </p:nvGrpSpPr>
          <p:grpSpPr>
            <a:xfrm>
              <a:off x="8070186" y="1638969"/>
              <a:ext cx="801098" cy="715270"/>
              <a:chOff x="6239718" y="711567"/>
              <a:chExt cx="2020432" cy="489160"/>
            </a:xfrm>
          </p:grpSpPr>
          <p:sp>
            <p:nvSpPr>
              <p:cNvPr id="124" name="Rectangle 123">
                <a:extLst>
                  <a:ext uri="{FF2B5EF4-FFF2-40B4-BE49-F238E27FC236}">
                    <a16:creationId xmlns:a16="http://schemas.microsoft.com/office/drawing/2014/main" id="{23439683-E84D-42E9-83E7-32CAEDB7CFE9}"/>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125" name="Straight Connector 124">
                <a:extLst>
                  <a:ext uri="{FF2B5EF4-FFF2-40B4-BE49-F238E27FC236}">
                    <a16:creationId xmlns:a16="http://schemas.microsoft.com/office/drawing/2014/main" id="{DFEF24F5-29B4-4D75-9F5F-281761D74996}"/>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122" name="TextBox 121">
              <a:extLst>
                <a:ext uri="{FF2B5EF4-FFF2-40B4-BE49-F238E27FC236}">
                  <a16:creationId xmlns:a16="http://schemas.microsoft.com/office/drawing/2014/main" id="{1A4356C4-48AC-411A-9D62-B8F2605E830A}"/>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123" name="TextBox 122">
              <a:extLst>
                <a:ext uri="{FF2B5EF4-FFF2-40B4-BE49-F238E27FC236}">
                  <a16:creationId xmlns:a16="http://schemas.microsoft.com/office/drawing/2014/main" id="{334132BC-96C0-4386-9B53-2FD512970026}"/>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128" name="Group 127">
            <a:extLst>
              <a:ext uri="{FF2B5EF4-FFF2-40B4-BE49-F238E27FC236}">
                <a16:creationId xmlns:a16="http://schemas.microsoft.com/office/drawing/2014/main" id="{C3B464E8-FF0A-43CF-8C62-9F6BFD67DA73}"/>
              </a:ext>
            </a:extLst>
          </p:cNvPr>
          <p:cNvGrpSpPr/>
          <p:nvPr/>
        </p:nvGrpSpPr>
        <p:grpSpPr>
          <a:xfrm>
            <a:off x="152408" y="3479021"/>
            <a:ext cx="418481" cy="620089"/>
            <a:chOff x="369579" y="3374748"/>
            <a:chExt cx="418481" cy="620089"/>
          </a:xfrm>
        </p:grpSpPr>
        <p:sp>
          <p:nvSpPr>
            <p:cNvPr id="20" name="Freeform 6">
              <a:extLst>
                <a:ext uri="{FF2B5EF4-FFF2-40B4-BE49-F238E27FC236}">
                  <a16:creationId xmlns:a16="http://schemas.microsoft.com/office/drawing/2014/main" id="{ACCB54B6-FA5A-4A64-9A28-677CF75E0259}"/>
                </a:ext>
              </a:extLst>
            </p:cNvPr>
            <p:cNvSpPr>
              <a:spLocks noEditPoints="1"/>
            </p:cNvSpPr>
            <p:nvPr/>
          </p:nvSpPr>
          <p:spPr bwMode="auto">
            <a:xfrm>
              <a:off x="369579" y="3374748"/>
              <a:ext cx="418481" cy="620089"/>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sp>
          <p:nvSpPr>
            <p:cNvPr id="126" name="Rectangle 125">
              <a:extLst>
                <a:ext uri="{FF2B5EF4-FFF2-40B4-BE49-F238E27FC236}">
                  <a16:creationId xmlns:a16="http://schemas.microsoft.com/office/drawing/2014/main" id="{20697EF7-BD47-401B-ABE0-4B4FD9BA3D81}"/>
                </a:ext>
              </a:extLst>
            </p:cNvPr>
            <p:cNvSpPr/>
            <p:nvPr/>
          </p:nvSpPr>
          <p:spPr bwMode="auto">
            <a:xfrm>
              <a:off x="394801" y="3722689"/>
              <a:ext cx="363793" cy="11108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27" name="Rectangle 126">
              <a:extLst>
                <a:ext uri="{FF2B5EF4-FFF2-40B4-BE49-F238E27FC236}">
                  <a16:creationId xmlns:a16="http://schemas.microsoft.com/office/drawing/2014/main" id="{82D99B85-F680-4EC9-A59C-2E19861B9B87}"/>
                </a:ext>
              </a:extLst>
            </p:cNvPr>
            <p:cNvSpPr/>
            <p:nvPr/>
          </p:nvSpPr>
          <p:spPr bwMode="auto">
            <a:xfrm>
              <a:off x="394801" y="3506148"/>
              <a:ext cx="363793" cy="13475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cxnSp>
        <p:nvCxnSpPr>
          <p:cNvPr id="442" name="Straight Connector 441">
            <a:extLst>
              <a:ext uri="{FF2B5EF4-FFF2-40B4-BE49-F238E27FC236}">
                <a16:creationId xmlns:a16="http://schemas.microsoft.com/office/drawing/2014/main" id="{8585FD84-5972-4A23-BDCD-A1F72C38506E}"/>
              </a:ext>
            </a:extLst>
          </p:cNvPr>
          <p:cNvCxnSpPr>
            <a:cxnSpLocks/>
          </p:cNvCxnSpPr>
          <p:nvPr/>
        </p:nvCxnSpPr>
        <p:spPr bwMode="auto">
          <a:xfrm flipH="1" flipV="1">
            <a:off x="6156194" y="1179033"/>
            <a:ext cx="1555" cy="103190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45" name="Straight Connector 444">
            <a:extLst>
              <a:ext uri="{FF2B5EF4-FFF2-40B4-BE49-F238E27FC236}">
                <a16:creationId xmlns:a16="http://schemas.microsoft.com/office/drawing/2014/main" id="{9AA6906C-1EC5-4A30-8A4A-CC408EC86702}"/>
              </a:ext>
            </a:extLst>
          </p:cNvPr>
          <p:cNvCxnSpPr>
            <a:cxnSpLocks/>
          </p:cNvCxnSpPr>
          <p:nvPr/>
        </p:nvCxnSpPr>
        <p:spPr bwMode="auto">
          <a:xfrm flipH="1" flipV="1">
            <a:off x="6157749" y="5548712"/>
            <a:ext cx="1555" cy="1031906"/>
          </a:xfrm>
          <a:prstGeom prst="line">
            <a:avLst/>
          </a:prstGeom>
          <a:solidFill>
            <a:schemeClr val="accent1"/>
          </a:solidFill>
          <a:ln w="12700" cap="flat" cmpd="sng" algn="ctr">
            <a:solidFill>
              <a:schemeClr val="tx1"/>
            </a:solidFill>
            <a:prstDash val="solid"/>
            <a:round/>
            <a:headEnd type="none" w="med" len="med"/>
            <a:tailEnd type="none"/>
          </a:ln>
          <a:effectLst/>
        </p:spPr>
      </p:cxnSp>
      <p:grpSp>
        <p:nvGrpSpPr>
          <p:cNvPr id="446" name="Group 445">
            <a:extLst>
              <a:ext uri="{FF2B5EF4-FFF2-40B4-BE49-F238E27FC236}">
                <a16:creationId xmlns:a16="http://schemas.microsoft.com/office/drawing/2014/main" id="{E89370E1-C038-4FFD-9A0A-3D785C912B9F}"/>
              </a:ext>
            </a:extLst>
          </p:cNvPr>
          <p:cNvGrpSpPr/>
          <p:nvPr/>
        </p:nvGrpSpPr>
        <p:grpSpPr>
          <a:xfrm>
            <a:off x="3724631" y="1225525"/>
            <a:ext cx="801098" cy="715270"/>
            <a:chOff x="8070186" y="1638969"/>
            <a:chExt cx="801098" cy="715270"/>
          </a:xfrm>
        </p:grpSpPr>
        <p:grpSp>
          <p:nvGrpSpPr>
            <p:cNvPr id="447" name="Group 446">
              <a:extLst>
                <a:ext uri="{FF2B5EF4-FFF2-40B4-BE49-F238E27FC236}">
                  <a16:creationId xmlns:a16="http://schemas.microsoft.com/office/drawing/2014/main" id="{DE4FB8FF-45CB-48D0-9446-683052A33073}"/>
                </a:ext>
              </a:extLst>
            </p:cNvPr>
            <p:cNvGrpSpPr/>
            <p:nvPr/>
          </p:nvGrpSpPr>
          <p:grpSpPr>
            <a:xfrm>
              <a:off x="8070186" y="1638969"/>
              <a:ext cx="801098" cy="715270"/>
              <a:chOff x="6239718" y="711567"/>
              <a:chExt cx="2020432" cy="489160"/>
            </a:xfrm>
          </p:grpSpPr>
          <p:sp>
            <p:nvSpPr>
              <p:cNvPr id="450" name="Rectangle 449">
                <a:extLst>
                  <a:ext uri="{FF2B5EF4-FFF2-40B4-BE49-F238E27FC236}">
                    <a16:creationId xmlns:a16="http://schemas.microsoft.com/office/drawing/2014/main" id="{E80D64A8-2A36-44CA-8283-4F33563D2EF7}"/>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451" name="Straight Connector 450">
                <a:extLst>
                  <a:ext uri="{FF2B5EF4-FFF2-40B4-BE49-F238E27FC236}">
                    <a16:creationId xmlns:a16="http://schemas.microsoft.com/office/drawing/2014/main" id="{E35813CC-4E4A-4FF1-8B93-71295E512A43}"/>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448" name="TextBox 447">
              <a:extLst>
                <a:ext uri="{FF2B5EF4-FFF2-40B4-BE49-F238E27FC236}">
                  <a16:creationId xmlns:a16="http://schemas.microsoft.com/office/drawing/2014/main" id="{DC39EA6B-64F0-4CDB-94D3-4C007870B070}"/>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449" name="TextBox 448">
              <a:extLst>
                <a:ext uri="{FF2B5EF4-FFF2-40B4-BE49-F238E27FC236}">
                  <a16:creationId xmlns:a16="http://schemas.microsoft.com/office/drawing/2014/main" id="{3B1DFE8A-BE53-44E2-AE85-996E1CCE8675}"/>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grpSp>
        <p:nvGrpSpPr>
          <p:cNvPr id="452" name="Group 451">
            <a:extLst>
              <a:ext uri="{FF2B5EF4-FFF2-40B4-BE49-F238E27FC236}">
                <a16:creationId xmlns:a16="http://schemas.microsoft.com/office/drawing/2014/main" id="{643315AD-07E4-4F27-930B-E1BA06FADC62}"/>
              </a:ext>
            </a:extLst>
          </p:cNvPr>
          <p:cNvGrpSpPr/>
          <p:nvPr/>
        </p:nvGrpSpPr>
        <p:grpSpPr>
          <a:xfrm>
            <a:off x="3717830" y="5815174"/>
            <a:ext cx="801098" cy="715270"/>
            <a:chOff x="8070186" y="1638969"/>
            <a:chExt cx="801098" cy="715270"/>
          </a:xfrm>
        </p:grpSpPr>
        <p:grpSp>
          <p:nvGrpSpPr>
            <p:cNvPr id="453" name="Group 452">
              <a:extLst>
                <a:ext uri="{FF2B5EF4-FFF2-40B4-BE49-F238E27FC236}">
                  <a16:creationId xmlns:a16="http://schemas.microsoft.com/office/drawing/2014/main" id="{783BFCB9-D582-4427-AA16-55A56803ED8E}"/>
                </a:ext>
              </a:extLst>
            </p:cNvPr>
            <p:cNvGrpSpPr/>
            <p:nvPr/>
          </p:nvGrpSpPr>
          <p:grpSpPr>
            <a:xfrm>
              <a:off x="8070186" y="1638969"/>
              <a:ext cx="801098" cy="715270"/>
              <a:chOff x="6239718" y="711567"/>
              <a:chExt cx="2020432" cy="489160"/>
            </a:xfrm>
          </p:grpSpPr>
          <p:sp>
            <p:nvSpPr>
              <p:cNvPr id="456" name="Rectangle 455">
                <a:extLst>
                  <a:ext uri="{FF2B5EF4-FFF2-40B4-BE49-F238E27FC236}">
                    <a16:creationId xmlns:a16="http://schemas.microsoft.com/office/drawing/2014/main" id="{4A70077D-5D36-470D-A68F-C9E06744E145}"/>
                  </a:ext>
                </a:extLst>
              </p:cNvPr>
              <p:cNvSpPr/>
              <p:nvPr/>
            </p:nvSpPr>
            <p:spPr bwMode="auto">
              <a:xfrm>
                <a:off x="6239721" y="711567"/>
                <a:ext cx="2020429" cy="48916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900"/>
                  <a:t>AS site </a:t>
                </a:r>
                <a:endParaRPr kumimoji="0" lang="en-US" sz="900" b="0" i="0" u="none" strike="noStrike" cap="none" normalizeH="0" baseline="0" err="1">
                  <a:ln>
                    <a:noFill/>
                  </a:ln>
                  <a:effectLst/>
                </a:endParaRPr>
              </a:p>
            </p:txBody>
          </p:sp>
          <p:cxnSp>
            <p:nvCxnSpPr>
              <p:cNvPr id="457" name="Straight Connector 456">
                <a:extLst>
                  <a:ext uri="{FF2B5EF4-FFF2-40B4-BE49-F238E27FC236}">
                    <a16:creationId xmlns:a16="http://schemas.microsoft.com/office/drawing/2014/main" id="{33232AB0-F502-4E24-A070-89C2BD8DF188}"/>
                  </a:ext>
                </a:extLst>
              </p:cNvPr>
              <p:cNvCxnSpPr>
                <a:cxnSpLocks/>
              </p:cNvCxnSpPr>
              <p:nvPr/>
            </p:nvCxnSpPr>
            <p:spPr bwMode="auto">
              <a:xfrm>
                <a:off x="6239718" y="1104936"/>
                <a:ext cx="2020432" cy="0"/>
              </a:xfrm>
              <a:prstGeom prst="line">
                <a:avLst/>
              </a:prstGeom>
              <a:solidFill>
                <a:schemeClr val="accent1"/>
              </a:solidFill>
              <a:ln w="3175" cap="flat" cmpd="sng" algn="ctr">
                <a:solidFill>
                  <a:schemeClr val="tx1"/>
                </a:solidFill>
                <a:prstDash val="solid"/>
                <a:round/>
                <a:headEnd type="none" w="med" len="med"/>
                <a:tailEnd type="none"/>
              </a:ln>
              <a:effectLst/>
            </p:spPr>
          </p:cxnSp>
        </p:grpSp>
        <p:sp>
          <p:nvSpPr>
            <p:cNvPr id="454" name="TextBox 453">
              <a:extLst>
                <a:ext uri="{FF2B5EF4-FFF2-40B4-BE49-F238E27FC236}">
                  <a16:creationId xmlns:a16="http://schemas.microsoft.com/office/drawing/2014/main" id="{3BA3B358-3444-4F22-85EC-4B15D413D11F}"/>
                </a:ext>
              </a:extLst>
            </p:cNvPr>
            <p:cNvSpPr txBox="1"/>
            <p:nvPr/>
          </p:nvSpPr>
          <p:spPr bwMode="auto">
            <a:xfrm>
              <a:off x="8141042"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AS</a:t>
              </a:r>
              <a:endParaRPr lang="en-US" sz="500"/>
            </a:p>
          </p:txBody>
        </p:sp>
        <p:sp>
          <p:nvSpPr>
            <p:cNvPr id="455" name="TextBox 454">
              <a:extLst>
                <a:ext uri="{FF2B5EF4-FFF2-40B4-BE49-F238E27FC236}">
                  <a16:creationId xmlns:a16="http://schemas.microsoft.com/office/drawing/2014/main" id="{51075B6A-69AA-4A33-BEA6-A13A370E7A3A}"/>
                </a:ext>
              </a:extLst>
            </p:cNvPr>
            <p:cNvSpPr txBox="1"/>
            <p:nvPr/>
          </p:nvSpPr>
          <p:spPr bwMode="auto">
            <a:xfrm>
              <a:off x="8510005" y="1758271"/>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900"/>
                <a:t>DNS</a:t>
              </a:r>
              <a:endParaRPr lang="en-US" sz="500"/>
            </a:p>
          </p:txBody>
        </p:sp>
      </p:grpSp>
      <p:sp>
        <p:nvSpPr>
          <p:cNvPr id="458" name="Rectangle 457">
            <a:extLst>
              <a:ext uri="{FF2B5EF4-FFF2-40B4-BE49-F238E27FC236}">
                <a16:creationId xmlns:a16="http://schemas.microsoft.com/office/drawing/2014/main" id="{014C5DF5-DC6E-43FD-92F5-BE9849E606FC}"/>
              </a:ext>
            </a:extLst>
          </p:cNvPr>
          <p:cNvSpPr/>
          <p:nvPr/>
        </p:nvSpPr>
        <p:spPr bwMode="auto">
          <a:xfrm>
            <a:off x="8981980" y="1177358"/>
            <a:ext cx="3110102" cy="102495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1600"/>
              <a:t>Separate domains:</a:t>
            </a:r>
            <a:br>
              <a:rPr lang="sv-SE" sz="1600"/>
            </a:br>
            <a:r>
              <a:rPr lang="sv-SE" sz="1600"/>
              <a:t>Mobile network connects to Internet via IXPs and fully based on rules of Internet </a:t>
            </a:r>
            <a:endParaRPr kumimoji="0" lang="sv-SE" sz="1600" b="0" i="0" u="none" strike="noStrike" cap="none" normalizeH="0" baseline="0">
              <a:ln>
                <a:noFill/>
              </a:ln>
              <a:effectLst/>
              <a:latin typeface="+mn-lt"/>
            </a:endParaRPr>
          </a:p>
        </p:txBody>
      </p:sp>
      <p:grpSp>
        <p:nvGrpSpPr>
          <p:cNvPr id="459" name="Group 458">
            <a:extLst>
              <a:ext uri="{FF2B5EF4-FFF2-40B4-BE49-F238E27FC236}">
                <a16:creationId xmlns:a16="http://schemas.microsoft.com/office/drawing/2014/main" id="{A6F64A75-5823-4A8F-B97B-07EF593708E2}"/>
              </a:ext>
            </a:extLst>
          </p:cNvPr>
          <p:cNvGrpSpPr/>
          <p:nvPr/>
        </p:nvGrpSpPr>
        <p:grpSpPr>
          <a:xfrm>
            <a:off x="5762472" y="3606262"/>
            <a:ext cx="411506" cy="549378"/>
            <a:chOff x="7055768" y="2649905"/>
            <a:chExt cx="411506" cy="549378"/>
          </a:xfrm>
        </p:grpSpPr>
        <p:grpSp>
          <p:nvGrpSpPr>
            <p:cNvPr id="460" name="Group 459">
              <a:extLst>
                <a:ext uri="{FF2B5EF4-FFF2-40B4-BE49-F238E27FC236}">
                  <a16:creationId xmlns:a16="http://schemas.microsoft.com/office/drawing/2014/main" id="{6580A471-CB7A-4BFA-BD42-B857A72C2EA6}"/>
                </a:ext>
              </a:extLst>
            </p:cNvPr>
            <p:cNvGrpSpPr/>
            <p:nvPr/>
          </p:nvGrpSpPr>
          <p:grpSpPr>
            <a:xfrm>
              <a:off x="7055768" y="2649905"/>
              <a:ext cx="411506" cy="549378"/>
              <a:chOff x="7419306" y="774484"/>
              <a:chExt cx="316786" cy="426242"/>
            </a:xfrm>
          </p:grpSpPr>
          <p:sp>
            <p:nvSpPr>
              <p:cNvPr id="462" name="Rectangle 461">
                <a:extLst>
                  <a:ext uri="{FF2B5EF4-FFF2-40B4-BE49-F238E27FC236}">
                    <a16:creationId xmlns:a16="http://schemas.microsoft.com/office/drawing/2014/main" id="{2C23F994-1460-41D3-97C0-C01D318DD9C9}"/>
                  </a:ext>
                </a:extLst>
              </p:cNvPr>
              <p:cNvSpPr/>
              <p:nvPr/>
            </p:nvSpPr>
            <p:spPr bwMode="auto">
              <a:xfrm>
                <a:off x="7419307" y="774484"/>
                <a:ext cx="316785" cy="426242"/>
              </a:xfrm>
              <a:prstGeom prst="rect">
                <a:avLst/>
              </a:prstGeom>
              <a:solidFill>
                <a:schemeClr val="bg1"/>
              </a:solidFill>
              <a:ln w="31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defTabSz="914400" rtl="0" eaLnBrk="1" fontAlgn="base" latinLnBrk="0" hangingPunct="1">
                  <a:lnSpc>
                    <a:spcPct val="100000"/>
                  </a:lnSpc>
                  <a:spcBef>
                    <a:spcPts val="300"/>
                  </a:spcBef>
                  <a:spcAft>
                    <a:spcPct val="0"/>
                  </a:spcAft>
                  <a:buClrTx/>
                  <a:buSzTx/>
                  <a:tabLst/>
                </a:pPr>
                <a:r>
                  <a:rPr lang="sv-SE" sz="800"/>
                  <a:t>  IXP</a:t>
                </a:r>
                <a:endParaRPr kumimoji="0" lang="en-US" sz="800" b="0" i="0" u="none" strike="noStrike" cap="none" normalizeH="0" baseline="0" err="1">
                  <a:ln>
                    <a:noFill/>
                  </a:ln>
                  <a:effectLst/>
                </a:endParaRPr>
              </a:p>
            </p:txBody>
          </p:sp>
          <p:cxnSp>
            <p:nvCxnSpPr>
              <p:cNvPr id="463" name="Straight Connector 462">
                <a:extLst>
                  <a:ext uri="{FF2B5EF4-FFF2-40B4-BE49-F238E27FC236}">
                    <a16:creationId xmlns:a16="http://schemas.microsoft.com/office/drawing/2014/main" id="{D68A8A4D-4A27-4CA0-8596-517DA20BFAD9}"/>
                  </a:ext>
                </a:extLst>
              </p:cNvPr>
              <p:cNvCxnSpPr>
                <a:cxnSpLocks/>
              </p:cNvCxnSpPr>
              <p:nvPr/>
            </p:nvCxnSpPr>
            <p:spPr bwMode="auto">
              <a:xfrm>
                <a:off x="7419306" y="1090359"/>
                <a:ext cx="316785" cy="0"/>
              </a:xfrm>
              <a:prstGeom prst="line">
                <a:avLst/>
              </a:prstGeom>
              <a:solidFill>
                <a:schemeClr val="accent1"/>
              </a:solidFill>
              <a:ln w="3175" cap="flat" cmpd="sng" algn="ctr">
                <a:solidFill>
                  <a:schemeClr val="accent2"/>
                </a:solidFill>
                <a:prstDash val="solid"/>
                <a:round/>
                <a:headEnd type="none" w="med" len="med"/>
                <a:tailEnd type="none"/>
              </a:ln>
              <a:effectLst/>
            </p:spPr>
          </p:cxnSp>
        </p:grpSp>
        <p:sp>
          <p:nvSpPr>
            <p:cNvPr id="461" name="TextBox 460">
              <a:extLst>
                <a:ext uri="{FF2B5EF4-FFF2-40B4-BE49-F238E27FC236}">
                  <a16:creationId xmlns:a16="http://schemas.microsoft.com/office/drawing/2014/main" id="{3D70544A-9DA1-475E-ACA0-ECC9F9D30EB2}"/>
                </a:ext>
              </a:extLst>
            </p:cNvPr>
            <p:cNvSpPr txBox="1"/>
            <p:nvPr/>
          </p:nvSpPr>
          <p:spPr bwMode="auto">
            <a:xfrm>
              <a:off x="7137211" y="2707910"/>
              <a:ext cx="256118" cy="310414"/>
            </a:xfrm>
            <a:prstGeom prst="rect">
              <a:avLst/>
            </a:prstGeom>
            <a:solidFill>
              <a:schemeClr val="bg1"/>
            </a:solidFill>
            <a:ln w="9525">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a:latin typeface="Ericsson Technical Icons" panose="00000500000000000000" pitchFamily="2" charset="0"/>
                </a:rPr>
                <a:t>R</a:t>
              </a:r>
              <a:endParaRPr lang="en-US" sz="1400"/>
            </a:p>
          </p:txBody>
        </p:sp>
      </p:grpSp>
      <p:sp>
        <p:nvSpPr>
          <p:cNvPr id="464" name="Rectangle 463">
            <a:extLst>
              <a:ext uri="{FF2B5EF4-FFF2-40B4-BE49-F238E27FC236}">
                <a16:creationId xmlns:a16="http://schemas.microsoft.com/office/drawing/2014/main" id="{D918F1EE-803D-48EE-BCBE-40196C8F5A4B}"/>
              </a:ext>
            </a:extLst>
          </p:cNvPr>
          <p:cNvSpPr/>
          <p:nvPr/>
        </p:nvSpPr>
        <p:spPr bwMode="auto">
          <a:xfrm>
            <a:off x="8981980" y="2270807"/>
            <a:ext cx="3110102" cy="103133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1600"/>
              <a:t>Mobile network selects UE anchor point, AS selection follows – no coordination between selections</a:t>
            </a:r>
            <a:endParaRPr kumimoji="0" lang="sv-SE" sz="1600" b="0" i="0" u="none" strike="noStrike" cap="none" normalizeH="0" baseline="0">
              <a:ln>
                <a:noFill/>
              </a:ln>
              <a:effectLst/>
              <a:latin typeface="+mn-lt"/>
            </a:endParaRPr>
          </a:p>
        </p:txBody>
      </p:sp>
      <p:sp>
        <p:nvSpPr>
          <p:cNvPr id="473" name="Rectangle 472">
            <a:extLst>
              <a:ext uri="{FF2B5EF4-FFF2-40B4-BE49-F238E27FC236}">
                <a16:creationId xmlns:a16="http://schemas.microsoft.com/office/drawing/2014/main" id="{5B9AA32D-53A7-497F-9448-917778C34C37}"/>
              </a:ext>
            </a:extLst>
          </p:cNvPr>
          <p:cNvSpPr/>
          <p:nvPr/>
        </p:nvSpPr>
        <p:spPr bwMode="auto">
          <a:xfrm>
            <a:off x="4838650" y="2746894"/>
            <a:ext cx="795685" cy="235128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a:ln>
                <a:noFill/>
              </a:ln>
              <a:solidFill>
                <a:schemeClr val="bg1"/>
              </a:solidFill>
              <a:effectLst/>
              <a:latin typeface="+mn-lt"/>
            </a:endParaRPr>
          </a:p>
        </p:txBody>
      </p:sp>
      <p:sp>
        <p:nvSpPr>
          <p:cNvPr id="474" name="Rectangle 473">
            <a:extLst>
              <a:ext uri="{FF2B5EF4-FFF2-40B4-BE49-F238E27FC236}">
                <a16:creationId xmlns:a16="http://schemas.microsoft.com/office/drawing/2014/main" id="{F2F74748-5812-4644-A928-E68C69635A30}"/>
              </a:ext>
            </a:extLst>
          </p:cNvPr>
          <p:cNvSpPr/>
          <p:nvPr/>
        </p:nvSpPr>
        <p:spPr bwMode="auto">
          <a:xfrm>
            <a:off x="3717055" y="2746894"/>
            <a:ext cx="795685" cy="235128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5" name="Rectangle 474">
            <a:extLst>
              <a:ext uri="{FF2B5EF4-FFF2-40B4-BE49-F238E27FC236}">
                <a16:creationId xmlns:a16="http://schemas.microsoft.com/office/drawing/2014/main" id="{B4B233F6-9B6E-4AA1-B28F-7419A256F563}"/>
              </a:ext>
            </a:extLst>
          </p:cNvPr>
          <p:cNvSpPr/>
          <p:nvPr/>
        </p:nvSpPr>
        <p:spPr bwMode="auto">
          <a:xfrm>
            <a:off x="2608060" y="2746894"/>
            <a:ext cx="795685" cy="235128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6" name="Rectangle 475">
            <a:extLst>
              <a:ext uri="{FF2B5EF4-FFF2-40B4-BE49-F238E27FC236}">
                <a16:creationId xmlns:a16="http://schemas.microsoft.com/office/drawing/2014/main" id="{4B0DDDF7-B186-4284-B308-1DDF60843EBF}"/>
              </a:ext>
            </a:extLst>
          </p:cNvPr>
          <p:cNvSpPr/>
          <p:nvPr/>
        </p:nvSpPr>
        <p:spPr bwMode="auto">
          <a:xfrm>
            <a:off x="1469246" y="2746894"/>
            <a:ext cx="795685" cy="235128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7" name="TextBox 476">
            <a:extLst>
              <a:ext uri="{FF2B5EF4-FFF2-40B4-BE49-F238E27FC236}">
                <a16:creationId xmlns:a16="http://schemas.microsoft.com/office/drawing/2014/main" id="{A1316522-43CE-4A06-8175-396931225B3B}"/>
              </a:ext>
            </a:extLst>
          </p:cNvPr>
          <p:cNvSpPr txBox="1"/>
          <p:nvPr/>
        </p:nvSpPr>
        <p:spPr bwMode="auto">
          <a:xfrm>
            <a:off x="4795334" y="4649162"/>
            <a:ext cx="914400" cy="402696"/>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National</a:t>
            </a:r>
            <a:br>
              <a:rPr lang="sv-SE" sz="1200"/>
            </a:br>
            <a:r>
              <a:rPr lang="sv-SE" sz="1200"/>
              <a:t>sites</a:t>
            </a:r>
          </a:p>
        </p:txBody>
      </p:sp>
      <p:sp>
        <p:nvSpPr>
          <p:cNvPr id="478" name="TextBox 477">
            <a:extLst>
              <a:ext uri="{FF2B5EF4-FFF2-40B4-BE49-F238E27FC236}">
                <a16:creationId xmlns:a16="http://schemas.microsoft.com/office/drawing/2014/main" id="{7915F02F-5C7D-4E6A-AE8D-E5DEFE04F8C9}"/>
              </a:ext>
            </a:extLst>
          </p:cNvPr>
          <p:cNvSpPr txBox="1"/>
          <p:nvPr/>
        </p:nvSpPr>
        <p:spPr bwMode="auto">
          <a:xfrm>
            <a:off x="3673769" y="4649162"/>
            <a:ext cx="914400" cy="402696"/>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Regional</a:t>
            </a:r>
            <a:br>
              <a:rPr lang="sv-SE" sz="1200"/>
            </a:br>
            <a:r>
              <a:rPr lang="sv-SE" sz="1200"/>
              <a:t>sites</a:t>
            </a:r>
          </a:p>
        </p:txBody>
      </p:sp>
      <p:sp>
        <p:nvSpPr>
          <p:cNvPr id="479" name="TextBox 478">
            <a:extLst>
              <a:ext uri="{FF2B5EF4-FFF2-40B4-BE49-F238E27FC236}">
                <a16:creationId xmlns:a16="http://schemas.microsoft.com/office/drawing/2014/main" id="{ED833C4D-BD7B-400A-B7D1-5BF63F2F5BDA}"/>
              </a:ext>
            </a:extLst>
          </p:cNvPr>
          <p:cNvSpPr txBox="1"/>
          <p:nvPr/>
        </p:nvSpPr>
        <p:spPr bwMode="auto">
          <a:xfrm>
            <a:off x="2540014" y="4649162"/>
            <a:ext cx="914400" cy="402696"/>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Local</a:t>
            </a:r>
            <a:br>
              <a:rPr lang="sv-SE" sz="1200"/>
            </a:br>
            <a:r>
              <a:rPr lang="sv-SE" sz="1200"/>
              <a:t>sites</a:t>
            </a:r>
          </a:p>
        </p:txBody>
      </p:sp>
      <p:sp>
        <p:nvSpPr>
          <p:cNvPr id="480" name="TextBox 479">
            <a:extLst>
              <a:ext uri="{FF2B5EF4-FFF2-40B4-BE49-F238E27FC236}">
                <a16:creationId xmlns:a16="http://schemas.microsoft.com/office/drawing/2014/main" id="{6E2FF683-EB88-44FF-8E83-EA6C911138BC}"/>
              </a:ext>
            </a:extLst>
          </p:cNvPr>
          <p:cNvSpPr txBox="1"/>
          <p:nvPr/>
        </p:nvSpPr>
        <p:spPr bwMode="auto">
          <a:xfrm>
            <a:off x="1418449" y="4649162"/>
            <a:ext cx="914400" cy="402696"/>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Radio</a:t>
            </a:r>
            <a:br>
              <a:rPr lang="sv-SE" sz="1200"/>
            </a:br>
            <a:r>
              <a:rPr lang="sv-SE" sz="1200"/>
              <a:t>sites</a:t>
            </a:r>
          </a:p>
        </p:txBody>
      </p:sp>
      <p:grpSp>
        <p:nvGrpSpPr>
          <p:cNvPr id="472" name="Group 471">
            <a:extLst>
              <a:ext uri="{FF2B5EF4-FFF2-40B4-BE49-F238E27FC236}">
                <a16:creationId xmlns:a16="http://schemas.microsoft.com/office/drawing/2014/main" id="{42807532-6A32-4C74-83E8-76EF113AEDAF}"/>
              </a:ext>
            </a:extLst>
          </p:cNvPr>
          <p:cNvGrpSpPr/>
          <p:nvPr/>
        </p:nvGrpSpPr>
        <p:grpSpPr>
          <a:xfrm>
            <a:off x="5352910" y="3657595"/>
            <a:ext cx="242976" cy="312235"/>
            <a:chOff x="578533" y="5583474"/>
            <a:chExt cx="242976" cy="312235"/>
          </a:xfrm>
        </p:grpSpPr>
        <p:grpSp>
          <p:nvGrpSpPr>
            <p:cNvPr id="469" name="Group 468">
              <a:extLst>
                <a:ext uri="{FF2B5EF4-FFF2-40B4-BE49-F238E27FC236}">
                  <a16:creationId xmlns:a16="http://schemas.microsoft.com/office/drawing/2014/main" id="{3A220417-426F-410F-866B-25EC9EB66424}"/>
                </a:ext>
              </a:extLst>
            </p:cNvPr>
            <p:cNvGrpSpPr/>
            <p:nvPr/>
          </p:nvGrpSpPr>
          <p:grpSpPr>
            <a:xfrm>
              <a:off x="578533" y="5583474"/>
              <a:ext cx="242976" cy="312235"/>
              <a:chOff x="5229125" y="3046121"/>
              <a:chExt cx="242976" cy="312235"/>
            </a:xfrm>
          </p:grpSpPr>
          <p:sp>
            <p:nvSpPr>
              <p:cNvPr id="470" name="Rectangle 469">
                <a:extLst>
                  <a:ext uri="{FF2B5EF4-FFF2-40B4-BE49-F238E27FC236}">
                    <a16:creationId xmlns:a16="http://schemas.microsoft.com/office/drawing/2014/main" id="{C59C2D3B-D481-4776-8787-9D12289B601B}"/>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471" name="Picture 470">
                <a:extLst>
                  <a:ext uri="{FF2B5EF4-FFF2-40B4-BE49-F238E27FC236}">
                    <a16:creationId xmlns:a16="http://schemas.microsoft.com/office/drawing/2014/main" id="{F667F7BA-47F8-4834-9F77-58B7DE406EC3}"/>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466" name="Freeform 6">
              <a:extLst>
                <a:ext uri="{FF2B5EF4-FFF2-40B4-BE49-F238E27FC236}">
                  <a16:creationId xmlns:a16="http://schemas.microsoft.com/office/drawing/2014/main" id="{2E30435A-C9BC-4F35-9521-D800F525C7BF}"/>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sp>
        <p:nvSpPr>
          <p:cNvPr id="440" name="Rectangle 439">
            <a:extLst>
              <a:ext uri="{FF2B5EF4-FFF2-40B4-BE49-F238E27FC236}">
                <a16:creationId xmlns:a16="http://schemas.microsoft.com/office/drawing/2014/main" id="{BFCC184D-697D-4FBD-BE50-5EC9C9B93E6E}"/>
              </a:ext>
            </a:extLst>
          </p:cNvPr>
          <p:cNvSpPr/>
          <p:nvPr/>
        </p:nvSpPr>
        <p:spPr bwMode="auto">
          <a:xfrm>
            <a:off x="1011618" y="1104553"/>
            <a:ext cx="5134683" cy="118662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84" name="Rectangle 483">
            <a:extLst>
              <a:ext uri="{FF2B5EF4-FFF2-40B4-BE49-F238E27FC236}">
                <a16:creationId xmlns:a16="http://schemas.microsoft.com/office/drawing/2014/main" id="{B169D016-46A1-4EB9-9127-B751E731A5F7}"/>
              </a:ext>
            </a:extLst>
          </p:cNvPr>
          <p:cNvSpPr/>
          <p:nvPr/>
        </p:nvSpPr>
        <p:spPr bwMode="auto">
          <a:xfrm>
            <a:off x="8981980" y="4050642"/>
            <a:ext cx="3110102" cy="553998"/>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1600"/>
              <a:t>Distribution of applications can happen in different ways</a:t>
            </a:r>
            <a:endParaRPr kumimoji="0" lang="sv-SE" sz="1600" b="0" i="0" u="none" strike="noStrike" cap="none" normalizeH="0" baseline="0">
              <a:ln>
                <a:noFill/>
              </a:ln>
              <a:effectLst/>
              <a:latin typeface="+mn-lt"/>
            </a:endParaRPr>
          </a:p>
        </p:txBody>
      </p:sp>
      <p:grpSp>
        <p:nvGrpSpPr>
          <p:cNvPr id="485" name="Group 484">
            <a:extLst>
              <a:ext uri="{FF2B5EF4-FFF2-40B4-BE49-F238E27FC236}">
                <a16:creationId xmlns:a16="http://schemas.microsoft.com/office/drawing/2014/main" id="{3523A1E9-6590-46C8-93AC-438B6BDB8309}"/>
              </a:ext>
            </a:extLst>
          </p:cNvPr>
          <p:cNvGrpSpPr/>
          <p:nvPr/>
        </p:nvGrpSpPr>
        <p:grpSpPr>
          <a:xfrm>
            <a:off x="4866738" y="2794987"/>
            <a:ext cx="737802" cy="430529"/>
            <a:chOff x="7561654" y="4943986"/>
            <a:chExt cx="737802" cy="430529"/>
          </a:xfrm>
        </p:grpSpPr>
        <p:sp>
          <p:nvSpPr>
            <p:cNvPr id="486" name="Rectangle 485">
              <a:extLst>
                <a:ext uri="{FF2B5EF4-FFF2-40B4-BE49-F238E27FC236}">
                  <a16:creationId xmlns:a16="http://schemas.microsoft.com/office/drawing/2014/main" id="{D77ADDAC-CE08-4846-892E-0B1772E4C0A0}"/>
                </a:ext>
              </a:extLst>
            </p:cNvPr>
            <p:cNvSpPr/>
            <p:nvPr/>
          </p:nvSpPr>
          <p:spPr bwMode="auto">
            <a:xfrm>
              <a:off x="7561654" y="4943986"/>
              <a:ext cx="737802" cy="430529"/>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endParaRPr kumimoji="0" lang="en-US" sz="900" b="0" i="0" u="none" strike="noStrike" cap="none" normalizeH="0" baseline="0" err="1">
                <a:ln>
                  <a:noFill/>
                </a:ln>
                <a:effectLst/>
              </a:endParaRPr>
            </a:p>
          </p:txBody>
        </p:sp>
        <p:sp>
          <p:nvSpPr>
            <p:cNvPr id="487" name="TextBox 486">
              <a:extLst>
                <a:ext uri="{FF2B5EF4-FFF2-40B4-BE49-F238E27FC236}">
                  <a16:creationId xmlns:a16="http://schemas.microsoft.com/office/drawing/2014/main" id="{420D3B00-DA5A-41FD-8484-28EE5BD12BAD}"/>
                </a:ext>
              </a:extLst>
            </p:cNvPr>
            <p:cNvSpPr txBox="1"/>
            <p:nvPr/>
          </p:nvSpPr>
          <p:spPr bwMode="auto">
            <a:xfrm>
              <a:off x="7594800"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AS</a:t>
              </a:r>
              <a:endParaRPr lang="en-US" sz="500"/>
            </a:p>
          </p:txBody>
        </p:sp>
        <p:sp>
          <p:nvSpPr>
            <p:cNvPr id="488" name="TextBox 487">
              <a:extLst>
                <a:ext uri="{FF2B5EF4-FFF2-40B4-BE49-F238E27FC236}">
                  <a16:creationId xmlns:a16="http://schemas.microsoft.com/office/drawing/2014/main" id="{A8AE9F75-CD79-468B-A502-2410465140B9}"/>
                </a:ext>
              </a:extLst>
            </p:cNvPr>
            <p:cNvSpPr txBox="1"/>
            <p:nvPr/>
          </p:nvSpPr>
          <p:spPr bwMode="auto">
            <a:xfrm>
              <a:off x="7963763"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DNS</a:t>
              </a:r>
              <a:endParaRPr lang="en-US" sz="500"/>
            </a:p>
          </p:txBody>
        </p:sp>
      </p:grpSp>
      <p:grpSp>
        <p:nvGrpSpPr>
          <p:cNvPr id="489" name="Group 488">
            <a:extLst>
              <a:ext uri="{FF2B5EF4-FFF2-40B4-BE49-F238E27FC236}">
                <a16:creationId xmlns:a16="http://schemas.microsoft.com/office/drawing/2014/main" id="{CD85900F-A27C-4C59-B6F9-F602677804A3}"/>
              </a:ext>
            </a:extLst>
          </p:cNvPr>
          <p:cNvGrpSpPr/>
          <p:nvPr/>
        </p:nvGrpSpPr>
        <p:grpSpPr>
          <a:xfrm>
            <a:off x="3746874" y="2805540"/>
            <a:ext cx="737802" cy="430529"/>
            <a:chOff x="7561654" y="4943986"/>
            <a:chExt cx="737802" cy="430529"/>
          </a:xfrm>
        </p:grpSpPr>
        <p:sp>
          <p:nvSpPr>
            <p:cNvPr id="490" name="Rectangle 489">
              <a:extLst>
                <a:ext uri="{FF2B5EF4-FFF2-40B4-BE49-F238E27FC236}">
                  <a16:creationId xmlns:a16="http://schemas.microsoft.com/office/drawing/2014/main" id="{6385E926-BB76-4D12-BF85-1269012FB7B7}"/>
                </a:ext>
              </a:extLst>
            </p:cNvPr>
            <p:cNvSpPr/>
            <p:nvPr/>
          </p:nvSpPr>
          <p:spPr bwMode="auto">
            <a:xfrm>
              <a:off x="7561654" y="4943986"/>
              <a:ext cx="737802" cy="430529"/>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endParaRPr kumimoji="0" lang="en-US" sz="900" b="0" i="0" u="none" strike="noStrike" cap="none" normalizeH="0" baseline="0" err="1">
                <a:ln>
                  <a:noFill/>
                </a:ln>
                <a:effectLst/>
              </a:endParaRPr>
            </a:p>
          </p:txBody>
        </p:sp>
        <p:sp>
          <p:nvSpPr>
            <p:cNvPr id="491" name="TextBox 490">
              <a:extLst>
                <a:ext uri="{FF2B5EF4-FFF2-40B4-BE49-F238E27FC236}">
                  <a16:creationId xmlns:a16="http://schemas.microsoft.com/office/drawing/2014/main" id="{8BBEFF68-53F3-4B34-87BF-5E727528E3B9}"/>
                </a:ext>
              </a:extLst>
            </p:cNvPr>
            <p:cNvSpPr txBox="1"/>
            <p:nvPr/>
          </p:nvSpPr>
          <p:spPr bwMode="auto">
            <a:xfrm>
              <a:off x="7594800"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AS</a:t>
              </a:r>
              <a:endParaRPr lang="en-US" sz="500"/>
            </a:p>
          </p:txBody>
        </p:sp>
        <p:sp>
          <p:nvSpPr>
            <p:cNvPr id="492" name="TextBox 491">
              <a:extLst>
                <a:ext uri="{FF2B5EF4-FFF2-40B4-BE49-F238E27FC236}">
                  <a16:creationId xmlns:a16="http://schemas.microsoft.com/office/drawing/2014/main" id="{F8370821-68E8-4A3C-8302-A158541F78A3}"/>
                </a:ext>
              </a:extLst>
            </p:cNvPr>
            <p:cNvSpPr txBox="1"/>
            <p:nvPr/>
          </p:nvSpPr>
          <p:spPr bwMode="auto">
            <a:xfrm>
              <a:off x="7963763"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DNS</a:t>
              </a:r>
              <a:endParaRPr lang="en-US" sz="500"/>
            </a:p>
          </p:txBody>
        </p:sp>
      </p:grpSp>
      <p:grpSp>
        <p:nvGrpSpPr>
          <p:cNvPr id="493" name="Group 492">
            <a:extLst>
              <a:ext uri="{FF2B5EF4-FFF2-40B4-BE49-F238E27FC236}">
                <a16:creationId xmlns:a16="http://schemas.microsoft.com/office/drawing/2014/main" id="{2AE5368A-828E-4C82-97E9-83A70986ABCB}"/>
              </a:ext>
            </a:extLst>
          </p:cNvPr>
          <p:cNvGrpSpPr/>
          <p:nvPr/>
        </p:nvGrpSpPr>
        <p:grpSpPr>
          <a:xfrm>
            <a:off x="2634761" y="2810655"/>
            <a:ext cx="737802" cy="430529"/>
            <a:chOff x="7561654" y="4943986"/>
            <a:chExt cx="737802" cy="430529"/>
          </a:xfrm>
        </p:grpSpPr>
        <p:sp>
          <p:nvSpPr>
            <p:cNvPr id="494" name="Rectangle 493">
              <a:extLst>
                <a:ext uri="{FF2B5EF4-FFF2-40B4-BE49-F238E27FC236}">
                  <a16:creationId xmlns:a16="http://schemas.microsoft.com/office/drawing/2014/main" id="{25BA86A7-3D19-4E4F-BCC0-7459BF832BE1}"/>
                </a:ext>
              </a:extLst>
            </p:cNvPr>
            <p:cNvSpPr/>
            <p:nvPr/>
          </p:nvSpPr>
          <p:spPr bwMode="auto">
            <a:xfrm>
              <a:off x="7561654" y="4943986"/>
              <a:ext cx="737802" cy="430529"/>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endParaRPr kumimoji="0" lang="en-US" sz="900" b="0" i="0" u="none" strike="noStrike" cap="none" normalizeH="0" baseline="0" err="1">
                <a:ln>
                  <a:noFill/>
                </a:ln>
                <a:effectLst/>
              </a:endParaRPr>
            </a:p>
          </p:txBody>
        </p:sp>
        <p:sp>
          <p:nvSpPr>
            <p:cNvPr id="495" name="TextBox 494">
              <a:extLst>
                <a:ext uri="{FF2B5EF4-FFF2-40B4-BE49-F238E27FC236}">
                  <a16:creationId xmlns:a16="http://schemas.microsoft.com/office/drawing/2014/main" id="{D1651B21-2D2A-4CB3-BE16-EB223159337C}"/>
                </a:ext>
              </a:extLst>
            </p:cNvPr>
            <p:cNvSpPr txBox="1"/>
            <p:nvPr/>
          </p:nvSpPr>
          <p:spPr bwMode="auto">
            <a:xfrm>
              <a:off x="7594800"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AS</a:t>
              </a:r>
              <a:endParaRPr lang="en-US" sz="500"/>
            </a:p>
          </p:txBody>
        </p:sp>
        <p:sp>
          <p:nvSpPr>
            <p:cNvPr id="496" name="TextBox 495">
              <a:extLst>
                <a:ext uri="{FF2B5EF4-FFF2-40B4-BE49-F238E27FC236}">
                  <a16:creationId xmlns:a16="http://schemas.microsoft.com/office/drawing/2014/main" id="{71CE3D8D-FD71-49E8-B507-12A2BB3CFAF7}"/>
                </a:ext>
              </a:extLst>
            </p:cNvPr>
            <p:cNvSpPr txBox="1"/>
            <p:nvPr/>
          </p:nvSpPr>
          <p:spPr bwMode="auto">
            <a:xfrm>
              <a:off x="7963763" y="4976520"/>
              <a:ext cx="298371" cy="366373"/>
            </a:xfrm>
            <a:prstGeom prst="rect">
              <a:avLst/>
            </a:prstGeom>
            <a:solidFill>
              <a:schemeClr val="bg1"/>
            </a:solidFill>
            <a:ln w="9525">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100">
                  <a:solidFill>
                    <a:schemeClr val="accent1"/>
                  </a:solidFill>
                  <a:latin typeface="Ericsson Technical Icons" panose="00000500000000000000" pitchFamily="2" charset="0"/>
                </a:rPr>
                <a:t>S</a:t>
              </a:r>
              <a:br>
                <a:rPr lang="en-US" sz="1100">
                  <a:latin typeface="Ericsson Technical Icons" panose="00000500000000000000" pitchFamily="2" charset="0"/>
                </a:rPr>
              </a:br>
              <a:r>
                <a:rPr lang="en-US" sz="800"/>
                <a:t>DNS</a:t>
              </a:r>
              <a:endParaRPr lang="en-US" sz="500"/>
            </a:p>
          </p:txBody>
        </p:sp>
      </p:grpSp>
      <p:sp>
        <p:nvSpPr>
          <p:cNvPr id="92" name="Rectangle 91">
            <a:extLst>
              <a:ext uri="{FF2B5EF4-FFF2-40B4-BE49-F238E27FC236}">
                <a16:creationId xmlns:a16="http://schemas.microsoft.com/office/drawing/2014/main" id="{C6051940-7B70-474A-9207-DC0EDE2FF2D7}"/>
              </a:ext>
            </a:extLst>
          </p:cNvPr>
          <p:cNvSpPr/>
          <p:nvPr/>
        </p:nvSpPr>
        <p:spPr>
          <a:xfrm>
            <a:off x="10641044" y="6511534"/>
            <a:ext cx="1451038" cy="338554"/>
          </a:xfrm>
          <a:prstGeom prst="rect">
            <a:avLst/>
          </a:prstGeom>
        </p:spPr>
        <p:txBody>
          <a:bodyPr wrap="none">
            <a:spAutoFit/>
          </a:bodyPr>
          <a:lstStyle/>
          <a:p>
            <a:pPr fontAlgn="base">
              <a:spcBef>
                <a:spcPts val="300"/>
              </a:spcBef>
              <a:spcAft>
                <a:spcPct val="0"/>
              </a:spcAft>
            </a:pPr>
            <a:r>
              <a:rPr lang="sv-SE" sz="800"/>
              <a:t>IXP Internet eXchange Point</a:t>
            </a:r>
            <a:br>
              <a:rPr lang="sv-SE" sz="800"/>
            </a:br>
            <a:r>
              <a:rPr lang="sv-SE" sz="800"/>
              <a:t>AS   Application Server</a:t>
            </a:r>
            <a:endParaRPr lang="en-US" sz="800"/>
          </a:p>
        </p:txBody>
      </p:sp>
      <p:grpSp>
        <p:nvGrpSpPr>
          <p:cNvPr id="7" name="Group 6">
            <a:extLst>
              <a:ext uri="{FF2B5EF4-FFF2-40B4-BE49-F238E27FC236}">
                <a16:creationId xmlns:a16="http://schemas.microsoft.com/office/drawing/2014/main" id="{92642D6F-D0F4-45AB-A521-653E3B9D1327}"/>
              </a:ext>
            </a:extLst>
          </p:cNvPr>
          <p:cNvGrpSpPr/>
          <p:nvPr/>
        </p:nvGrpSpPr>
        <p:grpSpPr>
          <a:xfrm>
            <a:off x="1820543" y="3349101"/>
            <a:ext cx="3532366" cy="510528"/>
            <a:chOff x="2694480" y="3530293"/>
            <a:chExt cx="3228481" cy="510528"/>
          </a:xfrm>
        </p:grpSpPr>
        <p:cxnSp>
          <p:nvCxnSpPr>
            <p:cNvPr id="132" name="Straight Arrow Connector 131">
              <a:extLst>
                <a:ext uri="{FF2B5EF4-FFF2-40B4-BE49-F238E27FC236}">
                  <a16:creationId xmlns:a16="http://schemas.microsoft.com/office/drawing/2014/main" id="{0559C86E-FABF-4F97-8933-DFE3E661793D}"/>
                </a:ext>
              </a:extLst>
            </p:cNvPr>
            <p:cNvCxnSpPr>
              <a:cxnSpLocks/>
              <a:endCxn id="470" idx="1"/>
            </p:cNvCxnSpPr>
            <p:nvPr/>
          </p:nvCxnSpPr>
          <p:spPr bwMode="auto">
            <a:xfrm>
              <a:off x="4761833" y="3805205"/>
              <a:ext cx="1161128" cy="189700"/>
            </a:xfrm>
            <a:prstGeom prst="straightConnector1">
              <a:avLst/>
            </a:prstGeom>
            <a:solidFill>
              <a:schemeClr val="accent1"/>
            </a:solidFill>
            <a:ln w="31750" cap="flat" cmpd="sng" algn="ctr">
              <a:solidFill>
                <a:schemeClr val="tx1">
                  <a:lumMod val="75000"/>
                  <a:lumOff val="25000"/>
                </a:schemeClr>
              </a:solidFill>
              <a:prstDash val="solid"/>
              <a:round/>
              <a:headEnd type="none" w="med" len="med"/>
              <a:tailEnd type="triangle"/>
            </a:ln>
            <a:effectLst/>
          </p:spPr>
        </p:cxnSp>
        <p:sp>
          <p:nvSpPr>
            <p:cNvPr id="133" name="Rectangle: Rounded Corners 132">
              <a:extLst>
                <a:ext uri="{FF2B5EF4-FFF2-40B4-BE49-F238E27FC236}">
                  <a16:creationId xmlns:a16="http://schemas.microsoft.com/office/drawing/2014/main" id="{C386CC1C-1DBB-46C2-8CBE-53F953E045FC}"/>
                </a:ext>
              </a:extLst>
            </p:cNvPr>
            <p:cNvSpPr/>
            <p:nvPr/>
          </p:nvSpPr>
          <p:spPr bwMode="auto">
            <a:xfrm>
              <a:off x="2694480" y="3530293"/>
              <a:ext cx="2067800" cy="510528"/>
            </a:xfrm>
            <a:prstGeom prst="roundRect">
              <a:avLst/>
            </a:prstGeom>
            <a:solidFill>
              <a:schemeClr val="tx1">
                <a:lumMod val="75000"/>
                <a:lumOff val="25000"/>
              </a:schemeClr>
            </a:solidFill>
            <a:ln w="3175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1400">
                  <a:solidFill>
                    <a:schemeClr val="bg1"/>
                  </a:solidFill>
                </a:rPr>
                <a:t>1. Mobile network internal</a:t>
              </a:r>
              <a:br>
                <a:rPr lang="sv-SE" sz="1400">
                  <a:solidFill>
                    <a:schemeClr val="bg1"/>
                  </a:solidFill>
                </a:rPr>
              </a:br>
              <a:r>
                <a:rPr lang="sv-SE" sz="1400">
                  <a:solidFill>
                    <a:schemeClr val="bg1"/>
                  </a:solidFill>
                </a:rPr>
                <a:t>selection of UE anchor</a:t>
              </a:r>
              <a:endParaRPr kumimoji="0" lang="sv-SE" sz="1400" b="0" i="0" u="none" strike="noStrike" cap="none" normalizeH="0" baseline="0">
                <a:ln>
                  <a:noFill/>
                </a:ln>
                <a:solidFill>
                  <a:schemeClr val="bg1"/>
                </a:solidFill>
                <a:effectLst/>
                <a:latin typeface="+mn-lt"/>
              </a:endParaRPr>
            </a:p>
          </p:txBody>
        </p:sp>
      </p:grpSp>
      <p:grpSp>
        <p:nvGrpSpPr>
          <p:cNvPr id="12" name="Group 11">
            <a:extLst>
              <a:ext uri="{FF2B5EF4-FFF2-40B4-BE49-F238E27FC236}">
                <a16:creationId xmlns:a16="http://schemas.microsoft.com/office/drawing/2014/main" id="{AFFC91C8-0499-4985-BF37-5613C99D88E5}"/>
              </a:ext>
            </a:extLst>
          </p:cNvPr>
          <p:cNvGrpSpPr/>
          <p:nvPr/>
        </p:nvGrpSpPr>
        <p:grpSpPr>
          <a:xfrm>
            <a:off x="6367937" y="1711200"/>
            <a:ext cx="2397763" cy="2042092"/>
            <a:chOff x="6367937" y="1711200"/>
            <a:chExt cx="2397763" cy="2042092"/>
          </a:xfrm>
        </p:grpSpPr>
        <p:cxnSp>
          <p:nvCxnSpPr>
            <p:cNvPr id="139" name="Straight Arrow Connector 138">
              <a:extLst>
                <a:ext uri="{FF2B5EF4-FFF2-40B4-BE49-F238E27FC236}">
                  <a16:creationId xmlns:a16="http://schemas.microsoft.com/office/drawing/2014/main" id="{A09A71C9-B9EE-4AFD-839B-F8A90A00126A}"/>
                </a:ext>
              </a:extLst>
            </p:cNvPr>
            <p:cNvCxnSpPr>
              <a:cxnSpLocks/>
              <a:endCxn id="122" idx="0"/>
            </p:cNvCxnSpPr>
            <p:nvPr/>
          </p:nvCxnSpPr>
          <p:spPr bwMode="auto">
            <a:xfrm>
              <a:off x="6871341" y="2210939"/>
              <a:ext cx="535004" cy="1542353"/>
            </a:xfrm>
            <a:prstGeom prst="straightConnector1">
              <a:avLst/>
            </a:prstGeom>
            <a:solidFill>
              <a:schemeClr val="accent1"/>
            </a:solidFill>
            <a:ln w="31750" cap="flat" cmpd="sng" algn="ctr">
              <a:solidFill>
                <a:schemeClr val="accent1"/>
              </a:solidFill>
              <a:prstDash val="solid"/>
              <a:round/>
              <a:headEnd type="none" w="med" len="med"/>
              <a:tailEnd type="triangle"/>
            </a:ln>
            <a:effectLst/>
          </p:spPr>
        </p:cxnSp>
        <p:sp>
          <p:nvSpPr>
            <p:cNvPr id="140" name="Rectangle: Rounded Corners 139">
              <a:extLst>
                <a:ext uri="{FF2B5EF4-FFF2-40B4-BE49-F238E27FC236}">
                  <a16:creationId xmlns:a16="http://schemas.microsoft.com/office/drawing/2014/main" id="{CF93960E-EC9E-4A1F-B452-9C223A535EA9}"/>
                </a:ext>
              </a:extLst>
            </p:cNvPr>
            <p:cNvSpPr/>
            <p:nvPr/>
          </p:nvSpPr>
          <p:spPr bwMode="auto">
            <a:xfrm>
              <a:off x="6367937" y="1711200"/>
              <a:ext cx="2397763" cy="507915"/>
            </a:xfrm>
            <a:prstGeom prst="roundRect">
              <a:avLst/>
            </a:prstGeom>
            <a:solidFill>
              <a:schemeClr val="accent1"/>
            </a:solidFill>
            <a:ln w="3175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lang="sv-SE" sz="1400">
                  <a:solidFill>
                    <a:schemeClr val="bg1"/>
                  </a:solidFill>
                </a:rPr>
                <a:t>2. Application level selection of AS using DNS</a:t>
              </a:r>
              <a:endParaRPr kumimoji="0" lang="sv-SE" sz="1400" b="0" i="0" u="none" strike="noStrike" cap="none" normalizeH="0" baseline="0">
                <a:ln>
                  <a:noFill/>
                </a:ln>
                <a:solidFill>
                  <a:schemeClr val="bg1"/>
                </a:solidFill>
                <a:effectLst/>
                <a:latin typeface="+mn-lt"/>
              </a:endParaRPr>
            </a:p>
          </p:txBody>
        </p:sp>
      </p:grpSp>
      <p:sp>
        <p:nvSpPr>
          <p:cNvPr id="145" name="Rectangle 144">
            <a:extLst>
              <a:ext uri="{FF2B5EF4-FFF2-40B4-BE49-F238E27FC236}">
                <a16:creationId xmlns:a16="http://schemas.microsoft.com/office/drawing/2014/main" id="{8A4856BF-D0FD-47D6-8148-9497EC823B9B}"/>
              </a:ext>
            </a:extLst>
          </p:cNvPr>
          <p:cNvSpPr/>
          <p:nvPr/>
        </p:nvSpPr>
        <p:spPr bwMode="auto">
          <a:xfrm>
            <a:off x="8972536" y="3367587"/>
            <a:ext cx="3110102" cy="553997"/>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1600"/>
              <a:t>Traffic Routing is trivial in this case</a:t>
            </a:r>
            <a:endParaRPr kumimoji="0" lang="sv-SE" sz="1600" b="0" i="0" u="none" strike="noStrike" cap="none" normalizeH="0" baseline="0">
              <a:ln>
                <a:noFill/>
              </a:ln>
              <a:effectLst/>
              <a:latin typeface="+mn-lt"/>
            </a:endParaRPr>
          </a:p>
        </p:txBody>
      </p:sp>
      <p:cxnSp>
        <p:nvCxnSpPr>
          <p:cNvPr id="14" name="Straight Connector 13">
            <a:extLst>
              <a:ext uri="{FF2B5EF4-FFF2-40B4-BE49-F238E27FC236}">
                <a16:creationId xmlns:a16="http://schemas.microsoft.com/office/drawing/2014/main" id="{D322CE86-B9BF-4234-8A9B-FC879391E57C}"/>
              </a:ext>
            </a:extLst>
          </p:cNvPr>
          <p:cNvCxnSpPr>
            <a:cxnSpLocks/>
          </p:cNvCxnSpPr>
          <p:nvPr/>
        </p:nvCxnSpPr>
        <p:spPr bwMode="auto">
          <a:xfrm>
            <a:off x="9181807" y="3985249"/>
            <a:ext cx="2750548" cy="0"/>
          </a:xfrm>
          <a:prstGeom prst="line">
            <a:avLst/>
          </a:prstGeom>
          <a:solidFill>
            <a:schemeClr val="accent1"/>
          </a:solidFill>
          <a:ln w="28575" cap="flat" cmpd="sng" algn="ctr">
            <a:solidFill>
              <a:schemeClr val="tx1"/>
            </a:solidFill>
            <a:prstDash val="dash"/>
            <a:round/>
            <a:headEnd type="none" w="med" len="med"/>
            <a:tailEnd type="none"/>
          </a:ln>
          <a:effectLst/>
        </p:spPr>
      </p:cxnSp>
      <p:grpSp>
        <p:nvGrpSpPr>
          <p:cNvPr id="19" name="Group 18">
            <a:extLst>
              <a:ext uri="{FF2B5EF4-FFF2-40B4-BE49-F238E27FC236}">
                <a16:creationId xmlns:a16="http://schemas.microsoft.com/office/drawing/2014/main" id="{CDCDC85A-5267-48D3-856F-113A8F6D3B50}"/>
              </a:ext>
            </a:extLst>
          </p:cNvPr>
          <p:cNvGrpSpPr/>
          <p:nvPr/>
        </p:nvGrpSpPr>
        <p:grpSpPr>
          <a:xfrm>
            <a:off x="106096" y="4107685"/>
            <a:ext cx="1130849" cy="566477"/>
            <a:chOff x="106096" y="4107685"/>
            <a:chExt cx="1130849" cy="566477"/>
          </a:xfrm>
        </p:grpSpPr>
        <p:sp>
          <p:nvSpPr>
            <p:cNvPr id="148" name="TextBox 147">
              <a:extLst>
                <a:ext uri="{FF2B5EF4-FFF2-40B4-BE49-F238E27FC236}">
                  <a16:creationId xmlns:a16="http://schemas.microsoft.com/office/drawing/2014/main" id="{977A6C85-E9D4-4056-89D5-7BCF80746E4E}"/>
                </a:ext>
              </a:extLst>
            </p:cNvPr>
            <p:cNvSpPr txBox="1"/>
            <p:nvPr/>
          </p:nvSpPr>
          <p:spPr bwMode="auto">
            <a:xfrm>
              <a:off x="106096" y="4271466"/>
              <a:ext cx="914400" cy="402696"/>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800"/>
                <a:t>User Plane tunnel</a:t>
              </a:r>
            </a:p>
          </p:txBody>
        </p:sp>
        <p:cxnSp>
          <p:nvCxnSpPr>
            <p:cNvPr id="16" name="Straight Arrow Connector 15">
              <a:extLst>
                <a:ext uri="{FF2B5EF4-FFF2-40B4-BE49-F238E27FC236}">
                  <a16:creationId xmlns:a16="http://schemas.microsoft.com/office/drawing/2014/main" id="{BE5487ED-95E0-443F-B72C-DD2FAEF06D6C}"/>
                </a:ext>
              </a:extLst>
            </p:cNvPr>
            <p:cNvCxnSpPr>
              <a:cxnSpLocks/>
            </p:cNvCxnSpPr>
            <p:nvPr/>
          </p:nvCxnSpPr>
          <p:spPr bwMode="auto">
            <a:xfrm flipV="1">
              <a:off x="875928" y="4107685"/>
              <a:ext cx="361017" cy="173261"/>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grpSp>
      <p:sp>
        <p:nvSpPr>
          <p:cNvPr id="156" name="Rectangle 155">
            <a:extLst>
              <a:ext uri="{FF2B5EF4-FFF2-40B4-BE49-F238E27FC236}">
                <a16:creationId xmlns:a16="http://schemas.microsoft.com/office/drawing/2014/main" id="{FACFC6E1-7219-4B0B-9A7C-FDAE4DF47E3F}"/>
              </a:ext>
            </a:extLst>
          </p:cNvPr>
          <p:cNvSpPr/>
          <p:nvPr/>
        </p:nvSpPr>
        <p:spPr bwMode="auto">
          <a:xfrm>
            <a:off x="8981980" y="4678960"/>
            <a:ext cx="3110102" cy="575291"/>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1600"/>
              <a:t>Optimal Traffic Routing needs support in the mobile network</a:t>
            </a:r>
          </a:p>
        </p:txBody>
      </p:sp>
      <p:grpSp>
        <p:nvGrpSpPr>
          <p:cNvPr id="149" name="Group 148">
            <a:extLst>
              <a:ext uri="{FF2B5EF4-FFF2-40B4-BE49-F238E27FC236}">
                <a16:creationId xmlns:a16="http://schemas.microsoft.com/office/drawing/2014/main" id="{9EABA798-6824-49A6-8902-21D5D9D6810E}"/>
              </a:ext>
            </a:extLst>
          </p:cNvPr>
          <p:cNvGrpSpPr/>
          <p:nvPr/>
        </p:nvGrpSpPr>
        <p:grpSpPr>
          <a:xfrm>
            <a:off x="4005459" y="4153498"/>
            <a:ext cx="242976" cy="312235"/>
            <a:chOff x="578533" y="5583474"/>
            <a:chExt cx="242976" cy="312235"/>
          </a:xfrm>
        </p:grpSpPr>
        <p:grpSp>
          <p:nvGrpSpPr>
            <p:cNvPr id="150" name="Group 149">
              <a:extLst>
                <a:ext uri="{FF2B5EF4-FFF2-40B4-BE49-F238E27FC236}">
                  <a16:creationId xmlns:a16="http://schemas.microsoft.com/office/drawing/2014/main" id="{A6EB85A6-86A6-427A-803A-64412767DCE7}"/>
                </a:ext>
              </a:extLst>
            </p:cNvPr>
            <p:cNvGrpSpPr/>
            <p:nvPr/>
          </p:nvGrpSpPr>
          <p:grpSpPr>
            <a:xfrm>
              <a:off x="578533" y="5583474"/>
              <a:ext cx="242976" cy="312235"/>
              <a:chOff x="5229125" y="3046121"/>
              <a:chExt cx="242976" cy="312235"/>
            </a:xfrm>
          </p:grpSpPr>
          <p:sp>
            <p:nvSpPr>
              <p:cNvPr id="152" name="Rectangle 151">
                <a:extLst>
                  <a:ext uri="{FF2B5EF4-FFF2-40B4-BE49-F238E27FC236}">
                    <a16:creationId xmlns:a16="http://schemas.microsoft.com/office/drawing/2014/main" id="{272B1EC1-5968-41CE-9F5E-2DBE1EF9A428}"/>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153" name="Picture 152">
                <a:extLst>
                  <a:ext uri="{FF2B5EF4-FFF2-40B4-BE49-F238E27FC236}">
                    <a16:creationId xmlns:a16="http://schemas.microsoft.com/office/drawing/2014/main" id="{E779C47F-BB23-473A-B621-583D72A3DC93}"/>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151" name="Freeform 6">
              <a:extLst>
                <a:ext uri="{FF2B5EF4-FFF2-40B4-BE49-F238E27FC236}">
                  <a16:creationId xmlns:a16="http://schemas.microsoft.com/office/drawing/2014/main" id="{7A270BF0-7E46-4EF9-A576-D0BCAD6E6365}"/>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grpSp>
        <p:nvGrpSpPr>
          <p:cNvPr id="158" name="Group 157">
            <a:extLst>
              <a:ext uri="{FF2B5EF4-FFF2-40B4-BE49-F238E27FC236}">
                <a16:creationId xmlns:a16="http://schemas.microsoft.com/office/drawing/2014/main" id="{FC506303-F1E0-455D-AABC-560169295436}"/>
              </a:ext>
            </a:extLst>
          </p:cNvPr>
          <p:cNvGrpSpPr/>
          <p:nvPr/>
        </p:nvGrpSpPr>
        <p:grpSpPr>
          <a:xfrm>
            <a:off x="2884937" y="4153498"/>
            <a:ext cx="242976" cy="312235"/>
            <a:chOff x="578533" y="5583474"/>
            <a:chExt cx="242976" cy="312235"/>
          </a:xfrm>
        </p:grpSpPr>
        <p:grpSp>
          <p:nvGrpSpPr>
            <p:cNvPr id="160" name="Group 159">
              <a:extLst>
                <a:ext uri="{FF2B5EF4-FFF2-40B4-BE49-F238E27FC236}">
                  <a16:creationId xmlns:a16="http://schemas.microsoft.com/office/drawing/2014/main" id="{47106158-0FFB-4CE2-9BCD-84C09F88B2CF}"/>
                </a:ext>
              </a:extLst>
            </p:cNvPr>
            <p:cNvGrpSpPr/>
            <p:nvPr/>
          </p:nvGrpSpPr>
          <p:grpSpPr>
            <a:xfrm>
              <a:off x="578533" y="5583474"/>
              <a:ext cx="242976" cy="312235"/>
              <a:chOff x="5229125" y="3046121"/>
              <a:chExt cx="242976" cy="312235"/>
            </a:xfrm>
          </p:grpSpPr>
          <p:sp>
            <p:nvSpPr>
              <p:cNvPr id="162" name="Rectangle 161">
                <a:extLst>
                  <a:ext uri="{FF2B5EF4-FFF2-40B4-BE49-F238E27FC236}">
                    <a16:creationId xmlns:a16="http://schemas.microsoft.com/office/drawing/2014/main" id="{1502C108-E047-4DE7-90F1-F9935E4F6C02}"/>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163" name="Picture 162">
                <a:extLst>
                  <a:ext uri="{FF2B5EF4-FFF2-40B4-BE49-F238E27FC236}">
                    <a16:creationId xmlns:a16="http://schemas.microsoft.com/office/drawing/2014/main" id="{D8B4171A-DE91-4102-AC9E-6F9FFADE070D}"/>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161" name="Freeform 6">
              <a:extLst>
                <a:ext uri="{FF2B5EF4-FFF2-40B4-BE49-F238E27FC236}">
                  <a16:creationId xmlns:a16="http://schemas.microsoft.com/office/drawing/2014/main" id="{AA0647B5-135F-4CC8-ADBE-42C9C5130013}"/>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sp>
        <p:nvSpPr>
          <p:cNvPr id="483" name="Freeform: Shape 482">
            <a:extLst>
              <a:ext uri="{FF2B5EF4-FFF2-40B4-BE49-F238E27FC236}">
                <a16:creationId xmlns:a16="http://schemas.microsoft.com/office/drawing/2014/main" id="{5079FBA3-9977-40CD-9555-5A5CA026F80C}"/>
              </a:ext>
            </a:extLst>
          </p:cNvPr>
          <p:cNvSpPr/>
          <p:nvPr/>
        </p:nvSpPr>
        <p:spPr bwMode="auto">
          <a:xfrm>
            <a:off x="360947" y="3631357"/>
            <a:ext cx="6994358" cy="613219"/>
          </a:xfrm>
          <a:custGeom>
            <a:avLst/>
            <a:gdLst>
              <a:gd name="connsiteX0" fmla="*/ 0 w 6994358"/>
              <a:gd name="connsiteY0" fmla="*/ 26242 h 663478"/>
              <a:gd name="connsiteX1" fmla="*/ 465221 w 6994358"/>
              <a:gd name="connsiteY1" fmla="*/ 26242 h 663478"/>
              <a:gd name="connsiteX2" fmla="*/ 994611 w 6994358"/>
              <a:gd name="connsiteY2" fmla="*/ 298958 h 663478"/>
              <a:gd name="connsiteX3" fmla="*/ 2165685 w 6994358"/>
              <a:gd name="connsiteY3" fmla="*/ 627821 h 663478"/>
              <a:gd name="connsiteX4" fmla="*/ 3433011 w 6994358"/>
              <a:gd name="connsiteY4" fmla="*/ 651884 h 663478"/>
              <a:gd name="connsiteX5" fmla="*/ 4355432 w 6994358"/>
              <a:gd name="connsiteY5" fmla="*/ 603758 h 663478"/>
              <a:gd name="connsiteX6" fmla="*/ 4716379 w 6994358"/>
              <a:gd name="connsiteY6" fmla="*/ 419274 h 663478"/>
              <a:gd name="connsiteX7" fmla="*/ 5085348 w 6994358"/>
              <a:gd name="connsiteY7" fmla="*/ 186663 h 663478"/>
              <a:gd name="connsiteX8" fmla="*/ 5454316 w 6994358"/>
              <a:gd name="connsiteY8" fmla="*/ 138537 h 663478"/>
              <a:gd name="connsiteX9" fmla="*/ 6994358 w 6994358"/>
              <a:gd name="connsiteY9" fmla="*/ 194684 h 66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4358" h="663478">
                <a:moveTo>
                  <a:pt x="0" y="26242"/>
                </a:moveTo>
                <a:cubicBezTo>
                  <a:pt x="149726" y="3515"/>
                  <a:pt x="299453" y="-19211"/>
                  <a:pt x="465221" y="26242"/>
                </a:cubicBezTo>
                <a:cubicBezTo>
                  <a:pt x="630990" y="71695"/>
                  <a:pt x="711200" y="198695"/>
                  <a:pt x="994611" y="298958"/>
                </a:cubicBezTo>
                <a:cubicBezTo>
                  <a:pt x="1278022" y="399221"/>
                  <a:pt x="1759285" y="569000"/>
                  <a:pt x="2165685" y="627821"/>
                </a:cubicBezTo>
                <a:cubicBezTo>
                  <a:pt x="2572085" y="686642"/>
                  <a:pt x="3068053" y="655894"/>
                  <a:pt x="3433011" y="651884"/>
                </a:cubicBezTo>
                <a:cubicBezTo>
                  <a:pt x="3797969" y="647874"/>
                  <a:pt x="4141537" y="642526"/>
                  <a:pt x="4355432" y="603758"/>
                </a:cubicBezTo>
                <a:cubicBezTo>
                  <a:pt x="4569327" y="564990"/>
                  <a:pt x="4594726" y="488790"/>
                  <a:pt x="4716379" y="419274"/>
                </a:cubicBezTo>
                <a:cubicBezTo>
                  <a:pt x="4838032" y="349758"/>
                  <a:pt x="4962359" y="233452"/>
                  <a:pt x="5085348" y="186663"/>
                </a:cubicBezTo>
                <a:cubicBezTo>
                  <a:pt x="5208337" y="139874"/>
                  <a:pt x="5136148" y="137200"/>
                  <a:pt x="5454316" y="138537"/>
                </a:cubicBezTo>
                <a:cubicBezTo>
                  <a:pt x="5772484" y="139874"/>
                  <a:pt x="6383421" y="167279"/>
                  <a:pt x="6994358" y="194684"/>
                </a:cubicBezTo>
              </a:path>
            </a:pathLst>
          </a:custGeom>
          <a:noFill/>
          <a:ln w="38100" cap="flat" cmpd="sng" algn="ctr">
            <a:solidFill>
              <a:schemeClr val="accent1"/>
            </a:solidFill>
            <a:prstDash val="solid"/>
            <a:round/>
            <a:headEnd type="oval" w="med" len="med"/>
            <a:tailEnd type="oval" w="med" len="med"/>
          </a:ln>
          <a:effectLst/>
        </p:spPr>
        <p:txBody>
          <a:bodyPr rtlCol="0" anchor="ctr"/>
          <a:lstStyle/>
          <a:p>
            <a:pPr algn="ctr"/>
            <a:endParaRPr lang="sv-SE"/>
          </a:p>
        </p:txBody>
      </p:sp>
      <p:sp>
        <p:nvSpPr>
          <p:cNvPr id="6" name="Freeform: Shape 5">
            <a:extLst>
              <a:ext uri="{FF2B5EF4-FFF2-40B4-BE49-F238E27FC236}">
                <a16:creationId xmlns:a16="http://schemas.microsoft.com/office/drawing/2014/main" id="{2E61FB36-DD83-495F-B1E6-2835A5BFC8F2}"/>
              </a:ext>
            </a:extLst>
          </p:cNvPr>
          <p:cNvSpPr/>
          <p:nvPr/>
        </p:nvSpPr>
        <p:spPr bwMode="auto">
          <a:xfrm>
            <a:off x="357809" y="3861073"/>
            <a:ext cx="2647784" cy="575756"/>
          </a:xfrm>
          <a:custGeom>
            <a:avLst/>
            <a:gdLst>
              <a:gd name="connsiteX0" fmla="*/ 0 w 2631881"/>
              <a:gd name="connsiteY0" fmla="*/ 11213 h 583707"/>
              <a:gd name="connsiteX1" fmla="*/ 214685 w 2631881"/>
              <a:gd name="connsiteY1" fmla="*/ 3262 h 583707"/>
              <a:gd name="connsiteX2" fmla="*/ 453224 w 2631881"/>
              <a:gd name="connsiteY2" fmla="*/ 3262 h 583707"/>
              <a:gd name="connsiteX3" fmla="*/ 580445 w 2631881"/>
              <a:gd name="connsiteY3" fmla="*/ 43018 h 583707"/>
              <a:gd name="connsiteX4" fmla="*/ 755374 w 2631881"/>
              <a:gd name="connsiteY4" fmla="*/ 146385 h 583707"/>
              <a:gd name="connsiteX5" fmla="*/ 1041621 w 2631881"/>
              <a:gd name="connsiteY5" fmla="*/ 337217 h 583707"/>
              <a:gd name="connsiteX6" fmla="*/ 1351721 w 2631881"/>
              <a:gd name="connsiteY6" fmla="*/ 472389 h 583707"/>
              <a:gd name="connsiteX7" fmla="*/ 1749287 w 2631881"/>
              <a:gd name="connsiteY7" fmla="*/ 520097 h 583707"/>
              <a:gd name="connsiteX8" fmla="*/ 2393342 w 2631881"/>
              <a:gd name="connsiteY8" fmla="*/ 567805 h 583707"/>
              <a:gd name="connsiteX9" fmla="*/ 2631881 w 2631881"/>
              <a:gd name="connsiteY9" fmla="*/ 583707 h 58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1881" h="583707">
                <a:moveTo>
                  <a:pt x="0" y="11213"/>
                </a:moveTo>
                <a:cubicBezTo>
                  <a:pt x="69574" y="7900"/>
                  <a:pt x="139148" y="4587"/>
                  <a:pt x="214685" y="3262"/>
                </a:cubicBezTo>
                <a:cubicBezTo>
                  <a:pt x="290222" y="1937"/>
                  <a:pt x="392264" y="-3364"/>
                  <a:pt x="453224" y="3262"/>
                </a:cubicBezTo>
                <a:cubicBezTo>
                  <a:pt x="514184" y="9888"/>
                  <a:pt x="530087" y="19164"/>
                  <a:pt x="580445" y="43018"/>
                </a:cubicBezTo>
                <a:cubicBezTo>
                  <a:pt x="630803" y="66872"/>
                  <a:pt x="678511" y="97352"/>
                  <a:pt x="755374" y="146385"/>
                </a:cubicBezTo>
                <a:cubicBezTo>
                  <a:pt x="832237" y="195418"/>
                  <a:pt x="942230" y="282883"/>
                  <a:pt x="1041621" y="337217"/>
                </a:cubicBezTo>
                <a:cubicBezTo>
                  <a:pt x="1141012" y="391551"/>
                  <a:pt x="1233777" y="441909"/>
                  <a:pt x="1351721" y="472389"/>
                </a:cubicBezTo>
                <a:cubicBezTo>
                  <a:pt x="1469665" y="502869"/>
                  <a:pt x="1575684" y="504194"/>
                  <a:pt x="1749287" y="520097"/>
                </a:cubicBezTo>
                <a:cubicBezTo>
                  <a:pt x="1922891" y="536000"/>
                  <a:pt x="2393342" y="567805"/>
                  <a:pt x="2393342" y="567805"/>
                </a:cubicBezTo>
                <a:lnTo>
                  <a:pt x="2631881" y="583707"/>
                </a:lnTo>
              </a:path>
            </a:pathLst>
          </a:custGeom>
          <a:noFill/>
          <a:ln w="38100" cap="flat" cmpd="sng" algn="ctr">
            <a:solidFill>
              <a:schemeClr val="tx1"/>
            </a:solidFill>
            <a:prstDash val="solid"/>
            <a:round/>
            <a:headEnd type="oval" w="med" len="med"/>
            <a:tailEnd type="none" w="med" len="med"/>
          </a:ln>
          <a:effectLst/>
        </p:spPr>
        <p:txBody>
          <a:bodyPr rtlCol="0" anchor="ctr"/>
          <a:lstStyle/>
          <a:p>
            <a:pPr algn="ctr"/>
            <a:endParaRPr lang="sv-SE"/>
          </a:p>
        </p:txBody>
      </p:sp>
      <p:sp>
        <p:nvSpPr>
          <p:cNvPr id="9" name="Freeform: Shape 8">
            <a:extLst>
              <a:ext uri="{FF2B5EF4-FFF2-40B4-BE49-F238E27FC236}">
                <a16:creationId xmlns:a16="http://schemas.microsoft.com/office/drawing/2014/main" id="{5A8F3553-7BB8-4E6C-8B79-1FAC503A4FF6}"/>
              </a:ext>
            </a:extLst>
          </p:cNvPr>
          <p:cNvSpPr/>
          <p:nvPr/>
        </p:nvSpPr>
        <p:spPr bwMode="auto">
          <a:xfrm>
            <a:off x="3005593" y="4436828"/>
            <a:ext cx="1144988" cy="0"/>
          </a:xfrm>
          <a:custGeom>
            <a:avLst/>
            <a:gdLst>
              <a:gd name="connsiteX0" fmla="*/ 0 w 1144988"/>
              <a:gd name="connsiteY0" fmla="*/ 0 h 0"/>
              <a:gd name="connsiteX1" fmla="*/ 397565 w 1144988"/>
              <a:gd name="connsiteY1" fmla="*/ 0 h 0"/>
              <a:gd name="connsiteX2" fmla="*/ 1144988 w 1144988"/>
              <a:gd name="connsiteY2" fmla="*/ 0 h 0"/>
            </a:gdLst>
            <a:ahLst/>
            <a:cxnLst>
              <a:cxn ang="0">
                <a:pos x="connsiteX0" y="connsiteY0"/>
              </a:cxn>
              <a:cxn ang="0">
                <a:pos x="connsiteX1" y="connsiteY1"/>
              </a:cxn>
              <a:cxn ang="0">
                <a:pos x="connsiteX2" y="connsiteY2"/>
              </a:cxn>
            </a:cxnLst>
            <a:rect l="l" t="t" r="r" b="b"/>
            <a:pathLst>
              <a:path w="1144988">
                <a:moveTo>
                  <a:pt x="0" y="0"/>
                </a:moveTo>
                <a:lnTo>
                  <a:pt x="397565" y="0"/>
                </a:lnTo>
                <a:lnTo>
                  <a:pt x="1144988" y="0"/>
                </a:lnTo>
              </a:path>
            </a:pathLst>
          </a:custGeom>
          <a:noFill/>
          <a:ln w="38100" cap="flat" cmpd="sng" algn="ctr">
            <a:solidFill>
              <a:schemeClr val="tx1"/>
            </a:solidFill>
            <a:prstDash val="solid"/>
            <a:round/>
            <a:headEnd type="none" w="med" len="med"/>
            <a:tailEnd type="none" w="med" len="med"/>
          </a:ln>
          <a:effectLst/>
        </p:spPr>
        <p:txBody>
          <a:bodyPr rtlCol="0" anchor="ctr"/>
          <a:lstStyle/>
          <a:p>
            <a:pPr algn="ctr"/>
            <a:endParaRPr lang="sv-SE"/>
          </a:p>
        </p:txBody>
      </p:sp>
      <p:sp>
        <p:nvSpPr>
          <p:cNvPr id="10" name="Freeform: Shape 9">
            <a:extLst>
              <a:ext uri="{FF2B5EF4-FFF2-40B4-BE49-F238E27FC236}">
                <a16:creationId xmlns:a16="http://schemas.microsoft.com/office/drawing/2014/main" id="{956BB177-CAA9-46BF-B689-431BECE28FCF}"/>
              </a:ext>
            </a:extLst>
          </p:cNvPr>
          <p:cNvSpPr/>
          <p:nvPr/>
        </p:nvSpPr>
        <p:spPr bwMode="auto">
          <a:xfrm>
            <a:off x="4143469" y="3941931"/>
            <a:ext cx="1342931" cy="515391"/>
          </a:xfrm>
          <a:custGeom>
            <a:avLst/>
            <a:gdLst>
              <a:gd name="connsiteX0" fmla="*/ 0 w 1335819"/>
              <a:gd name="connsiteY0" fmla="*/ 477078 h 498868"/>
              <a:gd name="connsiteX1" fmla="*/ 429370 w 1335819"/>
              <a:gd name="connsiteY1" fmla="*/ 492981 h 498868"/>
              <a:gd name="connsiteX2" fmla="*/ 803082 w 1335819"/>
              <a:gd name="connsiteY2" fmla="*/ 389614 h 498868"/>
              <a:gd name="connsiteX3" fmla="*/ 1335819 w 1335819"/>
              <a:gd name="connsiteY3" fmla="*/ 0 h 498868"/>
            </a:gdLst>
            <a:ahLst/>
            <a:cxnLst>
              <a:cxn ang="0">
                <a:pos x="connsiteX0" y="connsiteY0"/>
              </a:cxn>
              <a:cxn ang="0">
                <a:pos x="connsiteX1" y="connsiteY1"/>
              </a:cxn>
              <a:cxn ang="0">
                <a:pos x="connsiteX2" y="connsiteY2"/>
              </a:cxn>
              <a:cxn ang="0">
                <a:pos x="connsiteX3" y="connsiteY3"/>
              </a:cxn>
            </a:cxnLst>
            <a:rect l="l" t="t" r="r" b="b"/>
            <a:pathLst>
              <a:path w="1335819" h="498868">
                <a:moveTo>
                  <a:pt x="0" y="477078"/>
                </a:moveTo>
                <a:cubicBezTo>
                  <a:pt x="147761" y="492318"/>
                  <a:pt x="295523" y="507558"/>
                  <a:pt x="429370" y="492981"/>
                </a:cubicBezTo>
                <a:cubicBezTo>
                  <a:pt x="563217" y="478404"/>
                  <a:pt x="652007" y="471777"/>
                  <a:pt x="803082" y="389614"/>
                </a:cubicBezTo>
                <a:cubicBezTo>
                  <a:pt x="954157" y="307450"/>
                  <a:pt x="1144988" y="153725"/>
                  <a:pt x="1335819" y="0"/>
                </a:cubicBezTo>
              </a:path>
            </a:pathLst>
          </a:custGeom>
          <a:noFill/>
          <a:ln w="38100" cap="flat" cmpd="sng" algn="ctr">
            <a:solidFill>
              <a:schemeClr val="tx1"/>
            </a:solidFill>
            <a:prstDash val="solid"/>
            <a:round/>
            <a:headEnd type="none" w="med" len="med"/>
            <a:tailEnd type="oval" w="med" len="med"/>
          </a:ln>
          <a:effectLst/>
        </p:spPr>
        <p:txBody>
          <a:bodyPr rtlCol="0" anchor="ctr"/>
          <a:lstStyle/>
          <a:p>
            <a:pPr algn="ctr"/>
            <a:endParaRPr lang="sv-SE"/>
          </a:p>
        </p:txBody>
      </p:sp>
      <p:sp>
        <p:nvSpPr>
          <p:cNvPr id="11" name="Oval 10">
            <a:extLst>
              <a:ext uri="{FF2B5EF4-FFF2-40B4-BE49-F238E27FC236}">
                <a16:creationId xmlns:a16="http://schemas.microsoft.com/office/drawing/2014/main" id="{D8B7A408-1C33-490B-9AA4-B40E350D160B}"/>
              </a:ext>
            </a:extLst>
          </p:cNvPr>
          <p:cNvSpPr/>
          <p:nvPr/>
        </p:nvSpPr>
        <p:spPr bwMode="auto">
          <a:xfrm>
            <a:off x="4070141" y="4381518"/>
            <a:ext cx="116162" cy="98112"/>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65" name="Oval 164">
            <a:extLst>
              <a:ext uri="{FF2B5EF4-FFF2-40B4-BE49-F238E27FC236}">
                <a16:creationId xmlns:a16="http://schemas.microsoft.com/office/drawing/2014/main" id="{7701E108-2856-4183-9D10-F973DE17B1AA}"/>
              </a:ext>
            </a:extLst>
          </p:cNvPr>
          <p:cNvSpPr/>
          <p:nvPr/>
        </p:nvSpPr>
        <p:spPr bwMode="auto">
          <a:xfrm>
            <a:off x="2951966" y="4381518"/>
            <a:ext cx="116162" cy="98112"/>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5" name="Freeform: Shape 14">
            <a:extLst>
              <a:ext uri="{FF2B5EF4-FFF2-40B4-BE49-F238E27FC236}">
                <a16:creationId xmlns:a16="http://schemas.microsoft.com/office/drawing/2014/main" id="{D6A011B0-7441-4A4F-A66D-F8B0D5345D4C}"/>
              </a:ext>
            </a:extLst>
          </p:cNvPr>
          <p:cNvSpPr/>
          <p:nvPr/>
        </p:nvSpPr>
        <p:spPr bwMode="auto">
          <a:xfrm>
            <a:off x="357447" y="2938549"/>
            <a:ext cx="3900211" cy="1300641"/>
          </a:xfrm>
          <a:custGeom>
            <a:avLst/>
            <a:gdLst>
              <a:gd name="connsiteX0" fmla="*/ 0 w 3900211"/>
              <a:gd name="connsiteY0" fmla="*/ 719051 h 1300641"/>
              <a:gd name="connsiteX1" fmla="*/ 361604 w 3900211"/>
              <a:gd name="connsiteY1" fmla="*/ 698269 h 1300641"/>
              <a:gd name="connsiteX2" fmla="*/ 727364 w 3900211"/>
              <a:gd name="connsiteY2" fmla="*/ 852055 h 1300641"/>
              <a:gd name="connsiteX3" fmla="*/ 1475509 w 3900211"/>
              <a:gd name="connsiteY3" fmla="*/ 1130531 h 1300641"/>
              <a:gd name="connsiteX4" fmla="*/ 2223655 w 3900211"/>
              <a:gd name="connsiteY4" fmla="*/ 1284316 h 1300641"/>
              <a:gd name="connsiteX5" fmla="*/ 3221182 w 3900211"/>
              <a:gd name="connsiteY5" fmla="*/ 1292629 h 1300641"/>
              <a:gd name="connsiteX6" fmla="*/ 3740728 w 3900211"/>
              <a:gd name="connsiteY6" fmla="*/ 1271847 h 1300641"/>
              <a:gd name="connsiteX7" fmla="*/ 3869575 w 3900211"/>
              <a:gd name="connsiteY7" fmla="*/ 989215 h 1300641"/>
              <a:gd name="connsiteX8" fmla="*/ 3873731 w 3900211"/>
              <a:gd name="connsiteY8" fmla="*/ 615142 h 1300641"/>
              <a:gd name="connsiteX9" fmla="*/ 3570317 w 3900211"/>
              <a:gd name="connsiteY9" fmla="*/ 0 h 130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0211" h="1300641">
                <a:moveTo>
                  <a:pt x="0" y="719051"/>
                </a:moveTo>
                <a:cubicBezTo>
                  <a:pt x="120188" y="697576"/>
                  <a:pt x="240377" y="676102"/>
                  <a:pt x="361604" y="698269"/>
                </a:cubicBezTo>
                <a:cubicBezTo>
                  <a:pt x="482831" y="720436"/>
                  <a:pt x="541713" y="780011"/>
                  <a:pt x="727364" y="852055"/>
                </a:cubicBezTo>
                <a:cubicBezTo>
                  <a:pt x="913015" y="924099"/>
                  <a:pt x="1226127" y="1058488"/>
                  <a:pt x="1475509" y="1130531"/>
                </a:cubicBezTo>
                <a:cubicBezTo>
                  <a:pt x="1724891" y="1202574"/>
                  <a:pt x="1932710" y="1257300"/>
                  <a:pt x="2223655" y="1284316"/>
                </a:cubicBezTo>
                <a:cubicBezTo>
                  <a:pt x="2514600" y="1311332"/>
                  <a:pt x="2968337" y="1294707"/>
                  <a:pt x="3221182" y="1292629"/>
                </a:cubicBezTo>
                <a:cubicBezTo>
                  <a:pt x="3474027" y="1290551"/>
                  <a:pt x="3632663" y="1322416"/>
                  <a:pt x="3740728" y="1271847"/>
                </a:cubicBezTo>
                <a:cubicBezTo>
                  <a:pt x="3848793" y="1221278"/>
                  <a:pt x="3847408" y="1098666"/>
                  <a:pt x="3869575" y="989215"/>
                </a:cubicBezTo>
                <a:cubicBezTo>
                  <a:pt x="3891742" y="879764"/>
                  <a:pt x="3923607" y="780011"/>
                  <a:pt x="3873731" y="615142"/>
                </a:cubicBezTo>
                <a:cubicBezTo>
                  <a:pt x="3823855" y="450273"/>
                  <a:pt x="3697086" y="225136"/>
                  <a:pt x="3570317" y="0"/>
                </a:cubicBezTo>
              </a:path>
            </a:pathLst>
          </a:custGeom>
          <a:noFill/>
          <a:ln w="38100" cap="flat" cmpd="sng" algn="ctr">
            <a:solidFill>
              <a:schemeClr val="accent1"/>
            </a:solidFill>
            <a:prstDash val="solid"/>
            <a:round/>
            <a:headEnd type="oval" w="med" len="med"/>
            <a:tailEnd type="oval" w="med" len="med"/>
          </a:ln>
          <a:effectLst/>
        </p:spPr>
        <p:txBody>
          <a:bodyPr rtlCol="0" anchor="ctr"/>
          <a:lstStyle/>
          <a:p>
            <a:pPr algn="ctr"/>
            <a:endParaRPr lang="sv-SE"/>
          </a:p>
        </p:txBody>
      </p:sp>
      <p:sp>
        <p:nvSpPr>
          <p:cNvPr id="17" name="Freeform: Shape 16">
            <a:extLst>
              <a:ext uri="{FF2B5EF4-FFF2-40B4-BE49-F238E27FC236}">
                <a16:creationId xmlns:a16="http://schemas.microsoft.com/office/drawing/2014/main" id="{D89CBE6B-3E2E-43AA-9959-D730BCBCDEDF}"/>
              </a:ext>
            </a:extLst>
          </p:cNvPr>
          <p:cNvSpPr/>
          <p:nvPr/>
        </p:nvSpPr>
        <p:spPr bwMode="auto">
          <a:xfrm>
            <a:off x="339213" y="3625822"/>
            <a:ext cx="2703855" cy="2443139"/>
          </a:xfrm>
          <a:custGeom>
            <a:avLst/>
            <a:gdLst>
              <a:gd name="connsiteX0" fmla="*/ 0 w 2703855"/>
              <a:gd name="connsiteY0" fmla="*/ 17030 h 2443139"/>
              <a:gd name="connsiteX1" fmla="*/ 442452 w 2703855"/>
              <a:gd name="connsiteY1" fmla="*/ 17030 h 2443139"/>
              <a:gd name="connsiteX2" fmla="*/ 855406 w 2703855"/>
              <a:gd name="connsiteY2" fmla="*/ 194010 h 2443139"/>
              <a:gd name="connsiteX3" fmla="*/ 1666568 w 2703855"/>
              <a:gd name="connsiteY3" fmla="*/ 488978 h 2443139"/>
              <a:gd name="connsiteX4" fmla="*/ 2145890 w 2703855"/>
              <a:gd name="connsiteY4" fmla="*/ 577468 h 2443139"/>
              <a:gd name="connsiteX5" fmla="*/ 2507226 w 2703855"/>
              <a:gd name="connsiteY5" fmla="*/ 621713 h 2443139"/>
              <a:gd name="connsiteX6" fmla="*/ 2595716 w 2703855"/>
              <a:gd name="connsiteY6" fmla="*/ 614339 h 2443139"/>
              <a:gd name="connsiteX7" fmla="*/ 2684206 w 2703855"/>
              <a:gd name="connsiteY7" fmla="*/ 813443 h 2443139"/>
              <a:gd name="connsiteX8" fmla="*/ 2684206 w 2703855"/>
              <a:gd name="connsiteY8" fmla="*/ 1388630 h 2443139"/>
              <a:gd name="connsiteX9" fmla="*/ 2470355 w 2703855"/>
              <a:gd name="connsiteY9" fmla="*/ 2443139 h 244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3855" h="2443139">
                <a:moveTo>
                  <a:pt x="0" y="17030"/>
                </a:moveTo>
                <a:cubicBezTo>
                  <a:pt x="149942" y="2281"/>
                  <a:pt x="299884" y="-12467"/>
                  <a:pt x="442452" y="17030"/>
                </a:cubicBezTo>
                <a:cubicBezTo>
                  <a:pt x="585020" y="46527"/>
                  <a:pt x="651387" y="115352"/>
                  <a:pt x="855406" y="194010"/>
                </a:cubicBezTo>
                <a:cubicBezTo>
                  <a:pt x="1059425" y="272668"/>
                  <a:pt x="1451487" y="425068"/>
                  <a:pt x="1666568" y="488978"/>
                </a:cubicBezTo>
                <a:cubicBezTo>
                  <a:pt x="1881649" y="552888"/>
                  <a:pt x="2005780" y="555346"/>
                  <a:pt x="2145890" y="577468"/>
                </a:cubicBezTo>
                <a:cubicBezTo>
                  <a:pt x="2286000" y="599590"/>
                  <a:pt x="2432255" y="615568"/>
                  <a:pt x="2507226" y="621713"/>
                </a:cubicBezTo>
                <a:cubicBezTo>
                  <a:pt x="2582197" y="627858"/>
                  <a:pt x="2566219" y="582384"/>
                  <a:pt x="2595716" y="614339"/>
                </a:cubicBezTo>
                <a:cubicBezTo>
                  <a:pt x="2625213" y="646294"/>
                  <a:pt x="2669458" y="684394"/>
                  <a:pt x="2684206" y="813443"/>
                </a:cubicBezTo>
                <a:cubicBezTo>
                  <a:pt x="2698954" y="942492"/>
                  <a:pt x="2719848" y="1117014"/>
                  <a:pt x="2684206" y="1388630"/>
                </a:cubicBezTo>
                <a:cubicBezTo>
                  <a:pt x="2648564" y="1660246"/>
                  <a:pt x="2559459" y="2051692"/>
                  <a:pt x="2470355" y="2443139"/>
                </a:cubicBezTo>
              </a:path>
            </a:pathLst>
          </a:custGeom>
          <a:noFill/>
          <a:ln w="38100" cap="flat" cmpd="sng" algn="ctr">
            <a:solidFill>
              <a:schemeClr val="accent1"/>
            </a:solidFill>
            <a:prstDash val="solid"/>
            <a:round/>
            <a:headEnd type="oval" w="med" len="med"/>
            <a:tailEnd type="oval"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444" name="Rectangle 443">
            <a:extLst>
              <a:ext uri="{FF2B5EF4-FFF2-40B4-BE49-F238E27FC236}">
                <a16:creationId xmlns:a16="http://schemas.microsoft.com/office/drawing/2014/main" id="{A8D9BACC-A0BE-4BDA-8305-66632E401DB3}"/>
              </a:ext>
            </a:extLst>
          </p:cNvPr>
          <p:cNvSpPr/>
          <p:nvPr/>
        </p:nvSpPr>
        <p:spPr bwMode="auto">
          <a:xfrm>
            <a:off x="1009420" y="5500340"/>
            <a:ext cx="5134683" cy="112406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Tree>
    <p:extLst>
      <p:ext uri="{BB962C8B-B14F-4D97-AF65-F5344CB8AC3E}">
        <p14:creationId xmlns:p14="http://schemas.microsoft.com/office/powerpoint/2010/main" val="2107073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subTnLst>
                                    <p:set>
                                      <p:cBhvr override="childStyle">
                                        <p:cTn dur="1" fill="hold" display="0" masterRel="nextClick" afterEffect="1"/>
                                        <p:tgtEl>
                                          <p:spTgt spid="19"/>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xit" presetSubtype="0" fill="hold" nodeType="withEffect">
                                  <p:stCondLst>
                                    <p:cond delay="0"/>
                                  </p:stCondLst>
                                  <p:childTnLst>
                                    <p:set>
                                      <p:cBhvr>
                                        <p:cTn id="32" dur="1" fill="hold">
                                          <p:stCondLst>
                                            <p:cond delay="0"/>
                                          </p:stCondLst>
                                        </p:cTn>
                                        <p:tgtEl>
                                          <p:spTgt spid="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84"/>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483"/>
                                        </p:tgtEl>
                                        <p:attrNameLst>
                                          <p:attrName>style.visibility</p:attrName>
                                        </p:attrNameLst>
                                      </p:cBhvr>
                                      <p:to>
                                        <p:strVal val="hidden"/>
                                      </p:to>
                                    </p:set>
                                  </p:childTnLst>
                                </p:cTn>
                              </p:par>
                              <p:par>
                                <p:cTn id="39" presetID="1" presetClass="exit" presetSubtype="0" fill="hold" grpId="2" nodeType="withEffect">
                                  <p:stCondLst>
                                    <p:cond delay="0"/>
                                  </p:stCondLst>
                                  <p:childTnLst>
                                    <p:set>
                                      <p:cBhvr>
                                        <p:cTn id="40" dur="1" fill="hold">
                                          <p:stCondLst>
                                            <p:cond delay="0"/>
                                          </p:stCondLst>
                                        </p:cTn>
                                        <p:tgtEl>
                                          <p:spTgt spid="6"/>
                                        </p:tgtEl>
                                        <p:attrNameLst>
                                          <p:attrName>style.visibility</p:attrName>
                                        </p:attrNameLst>
                                      </p:cBhvr>
                                      <p:to>
                                        <p:strVal val="hidden"/>
                                      </p:to>
                                    </p:set>
                                  </p:childTnLst>
                                </p:cTn>
                              </p:par>
                              <p:par>
                                <p:cTn id="41" presetID="1" presetClass="exit" presetSubtype="0" fill="hold" grpId="2" nodeType="withEffect">
                                  <p:stCondLst>
                                    <p:cond delay="0"/>
                                  </p:stCondLst>
                                  <p:childTnLst>
                                    <p:set>
                                      <p:cBhvr>
                                        <p:cTn id="42" dur="1" fill="hold">
                                          <p:stCondLst>
                                            <p:cond delay="0"/>
                                          </p:stCondLst>
                                        </p:cTn>
                                        <p:tgtEl>
                                          <p:spTgt spid="9"/>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472"/>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6"/>
                                        </p:tgtEl>
                                        <p:attrNameLst>
                                          <p:attrName>style.visibility</p:attrName>
                                        </p:attrNameLst>
                                      </p:cBhvr>
                                      <p:to>
                                        <p:strVal val="visible"/>
                                      </p:to>
                                    </p:set>
                                  </p:childTnLst>
                                </p:cTn>
                              </p:par>
                              <p:par>
                                <p:cTn id="53" presetID="1" presetClass="exit" presetSubtype="0" fill="hold" grpId="0" nodeType="withEffect">
                                  <p:stCondLst>
                                    <p:cond delay="0"/>
                                  </p:stCondLst>
                                  <p:childTnLst>
                                    <p:set>
                                      <p:cBhvr>
                                        <p:cTn id="54" dur="1" fill="hold">
                                          <p:stCondLst>
                                            <p:cond delay="0"/>
                                          </p:stCondLst>
                                        </p:cTn>
                                        <p:tgtEl>
                                          <p:spTgt spid="444"/>
                                        </p:tgtEl>
                                        <p:attrNameLst>
                                          <p:attrName>style.visibility</p:attrName>
                                        </p:attrNameLst>
                                      </p:cBhvr>
                                      <p:to>
                                        <p:strVal val="hidden"/>
                                      </p:to>
                                    </p:set>
                                  </p:childTnLst>
                                </p:cTn>
                              </p:par>
                              <p:par>
                                <p:cTn id="55" presetID="1" presetClass="exit" presetSubtype="0" fill="hold" grpId="0" nodeType="withEffect">
                                  <p:stCondLst>
                                    <p:cond delay="0"/>
                                  </p:stCondLst>
                                  <p:childTnLst>
                                    <p:set>
                                      <p:cBhvr>
                                        <p:cTn id="56" dur="1" fill="hold">
                                          <p:stCondLst>
                                            <p:cond delay="0"/>
                                          </p:stCondLst>
                                        </p:cTn>
                                        <p:tgtEl>
                                          <p:spTgt spid="440"/>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442"/>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445"/>
                                        </p:tgtEl>
                                        <p:attrNameLst>
                                          <p:attrName>style.visibility</p:attrName>
                                        </p:attrNameLst>
                                      </p:cBhvr>
                                      <p:to>
                                        <p:strVal val="hidden"/>
                                      </p:to>
                                    </p:set>
                                  </p:childTnLst>
                                </p:cTn>
                              </p:par>
                            </p:childTnLst>
                          </p:cTn>
                        </p:par>
                        <p:par>
                          <p:cTn id="61" fill="hold">
                            <p:stCondLst>
                              <p:cond delay="0"/>
                            </p:stCondLst>
                            <p:childTnLst>
                              <p:par>
                                <p:cTn id="62" presetID="1" presetClass="entr" presetSubtype="0" fill="hold" nodeType="afterEffect">
                                  <p:stCondLst>
                                    <p:cond delay="500"/>
                                  </p:stCondLst>
                                  <p:childTnLst>
                                    <p:set>
                                      <p:cBhvr>
                                        <p:cTn id="63" dur="1" fill="hold">
                                          <p:stCondLst>
                                            <p:cond delay="0"/>
                                          </p:stCondLst>
                                        </p:cTn>
                                        <p:tgtEl>
                                          <p:spTgt spid="61"/>
                                        </p:tgtEl>
                                        <p:attrNameLst>
                                          <p:attrName>style.visibility</p:attrName>
                                        </p:attrNameLst>
                                      </p:cBhvr>
                                      <p:to>
                                        <p:strVal val="visible"/>
                                      </p:to>
                                    </p:set>
                                  </p:childTnLst>
                                </p:cTn>
                              </p:par>
                            </p:childTnLst>
                          </p:cTn>
                        </p:par>
                        <p:par>
                          <p:cTn id="64" fill="hold">
                            <p:stCondLst>
                              <p:cond delay="500"/>
                            </p:stCondLst>
                            <p:childTnLst>
                              <p:par>
                                <p:cTn id="65" presetID="1" presetClass="entr" presetSubtype="0" fill="hold" nodeType="afterEffect">
                                  <p:stCondLst>
                                    <p:cond delay="0"/>
                                  </p:stCondLst>
                                  <p:childTnLst>
                                    <p:set>
                                      <p:cBhvr>
                                        <p:cTn id="66" dur="1" fill="hold">
                                          <p:stCondLst>
                                            <p:cond delay="0"/>
                                          </p:stCondLst>
                                        </p:cTn>
                                        <p:tgtEl>
                                          <p:spTgt spid="108"/>
                                        </p:tgtEl>
                                        <p:attrNameLst>
                                          <p:attrName>style.visibility</p:attrName>
                                        </p:attrNameLst>
                                      </p:cBhvr>
                                      <p:to>
                                        <p:strVal val="visible"/>
                                      </p:to>
                                    </p:set>
                                  </p:childTnLst>
                                </p:cTn>
                              </p:par>
                            </p:childTnLst>
                          </p:cTn>
                        </p:par>
                        <p:par>
                          <p:cTn id="67" fill="hold">
                            <p:stCondLst>
                              <p:cond delay="500"/>
                            </p:stCondLst>
                            <p:childTnLst>
                              <p:par>
                                <p:cTn id="68" presetID="1" presetClass="entr" presetSubtype="0" fill="hold" nodeType="afterEffect">
                                  <p:stCondLst>
                                    <p:cond delay="500"/>
                                  </p:stCondLst>
                                  <p:childTnLst>
                                    <p:set>
                                      <p:cBhvr>
                                        <p:cTn id="69" dur="1" fill="hold">
                                          <p:stCondLst>
                                            <p:cond delay="0"/>
                                          </p:stCondLst>
                                        </p:cTn>
                                        <p:tgtEl>
                                          <p:spTgt spid="102"/>
                                        </p:tgtEl>
                                        <p:attrNameLst>
                                          <p:attrName>style.visibility</p:attrName>
                                        </p:attrNameLst>
                                      </p:cBhvr>
                                      <p:to>
                                        <p:strVal val="visible"/>
                                      </p:to>
                                    </p:set>
                                  </p:childTnLst>
                                </p:cTn>
                              </p:par>
                            </p:childTnLst>
                          </p:cTn>
                        </p:par>
                        <p:par>
                          <p:cTn id="70" fill="hold">
                            <p:stCondLst>
                              <p:cond delay="1000"/>
                            </p:stCondLst>
                            <p:childTnLst>
                              <p:par>
                                <p:cTn id="71" presetID="1" presetClass="entr" presetSubtype="0" fill="hold" nodeType="afterEffect">
                                  <p:stCondLst>
                                    <p:cond delay="0"/>
                                  </p:stCondLst>
                                  <p:childTnLst>
                                    <p:set>
                                      <p:cBhvr>
                                        <p:cTn id="72" dur="1" fill="hold">
                                          <p:stCondLst>
                                            <p:cond delay="0"/>
                                          </p:stCondLst>
                                        </p:cTn>
                                        <p:tgtEl>
                                          <p:spTgt spid="81"/>
                                        </p:tgtEl>
                                        <p:attrNameLst>
                                          <p:attrName>style.visibility</p:attrName>
                                        </p:attrNameLst>
                                      </p:cBhvr>
                                      <p:to>
                                        <p:strVal val="visible"/>
                                      </p:to>
                                    </p:set>
                                  </p:childTnLst>
                                </p:cTn>
                              </p:par>
                            </p:childTnLst>
                          </p:cTn>
                        </p:par>
                        <p:par>
                          <p:cTn id="73" fill="hold">
                            <p:stCondLst>
                              <p:cond delay="1000"/>
                            </p:stCondLst>
                            <p:childTnLst>
                              <p:par>
                                <p:cTn id="74" presetID="1" presetClass="entr" presetSubtype="0" fill="hold" nodeType="afterEffect">
                                  <p:stCondLst>
                                    <p:cond delay="0"/>
                                  </p:stCondLst>
                                  <p:childTnLst>
                                    <p:set>
                                      <p:cBhvr>
                                        <p:cTn id="75" dur="1" fill="hold">
                                          <p:stCondLst>
                                            <p:cond delay="0"/>
                                          </p:stCondLst>
                                        </p:cTn>
                                        <p:tgtEl>
                                          <p:spTgt spid="485"/>
                                        </p:tgtEl>
                                        <p:attrNameLst>
                                          <p:attrName>style.visibility</p:attrName>
                                        </p:attrNameLst>
                                      </p:cBhvr>
                                      <p:to>
                                        <p:strVal val="visible"/>
                                      </p:to>
                                    </p:set>
                                  </p:childTnLst>
                                </p:cTn>
                              </p:par>
                            </p:childTnLst>
                          </p:cTn>
                        </p:par>
                        <p:par>
                          <p:cTn id="76" fill="hold">
                            <p:stCondLst>
                              <p:cond delay="1000"/>
                            </p:stCondLst>
                            <p:childTnLst>
                              <p:par>
                                <p:cTn id="77" presetID="1" presetClass="entr" presetSubtype="0" fill="hold" nodeType="afterEffect">
                                  <p:stCondLst>
                                    <p:cond delay="500"/>
                                  </p:stCondLst>
                                  <p:childTnLst>
                                    <p:set>
                                      <p:cBhvr>
                                        <p:cTn id="78" dur="1" fill="hold">
                                          <p:stCondLst>
                                            <p:cond delay="0"/>
                                          </p:stCondLst>
                                        </p:cTn>
                                        <p:tgtEl>
                                          <p:spTgt spid="489"/>
                                        </p:tgtEl>
                                        <p:attrNameLst>
                                          <p:attrName>style.visibility</p:attrName>
                                        </p:attrNameLst>
                                      </p:cBhvr>
                                      <p:to>
                                        <p:strVal val="visible"/>
                                      </p:to>
                                    </p:set>
                                  </p:childTnLst>
                                </p:cTn>
                              </p:par>
                            </p:childTnLst>
                          </p:cTn>
                        </p:par>
                        <p:par>
                          <p:cTn id="79" fill="hold">
                            <p:stCondLst>
                              <p:cond delay="1500"/>
                            </p:stCondLst>
                            <p:childTnLst>
                              <p:par>
                                <p:cTn id="80" presetID="1" presetClass="entr" presetSubtype="0" fill="hold" nodeType="afterEffect">
                                  <p:stCondLst>
                                    <p:cond delay="500"/>
                                  </p:stCondLst>
                                  <p:childTnLst>
                                    <p:set>
                                      <p:cBhvr>
                                        <p:cTn id="81" dur="1" fill="hold">
                                          <p:stCondLst>
                                            <p:cond delay="0"/>
                                          </p:stCondLst>
                                        </p:cTn>
                                        <p:tgtEl>
                                          <p:spTgt spid="493"/>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156"/>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149"/>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11"/>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par>
                                <p:cTn id="94" presetID="1" presetClass="entr" presetSubtype="0" fill="hold" grpId="1" nodeType="withEffect">
                                  <p:stCondLst>
                                    <p:cond delay="0"/>
                                  </p:stCondLst>
                                  <p:childTnLst>
                                    <p:set>
                                      <p:cBhvr>
                                        <p:cTn id="95" dur="1" fill="hold">
                                          <p:stCondLst>
                                            <p:cond delay="0"/>
                                          </p:stCondLst>
                                        </p:cTn>
                                        <p:tgtEl>
                                          <p:spTgt spid="6"/>
                                        </p:tgtEl>
                                        <p:attrNameLst>
                                          <p:attrName>style.visibility</p:attrName>
                                        </p:attrNameLst>
                                      </p:cBhvr>
                                      <p:to>
                                        <p:strVal val="visible"/>
                                      </p:to>
                                    </p:set>
                                  </p:childTnLst>
                                </p:cTn>
                              </p:par>
                              <p:par>
                                <p:cTn id="96" presetID="1" presetClass="entr" presetSubtype="0" fill="hold" grpId="1" nodeType="withEffect">
                                  <p:stCondLst>
                                    <p:cond delay="0"/>
                                  </p:stCondLst>
                                  <p:childTnLst>
                                    <p:set>
                                      <p:cBhvr>
                                        <p:cTn id="97" dur="1" fill="hold">
                                          <p:stCondLst>
                                            <p:cond delay="0"/>
                                          </p:stCondLst>
                                        </p:cTn>
                                        <p:tgtEl>
                                          <p:spTgt spid="9"/>
                                        </p:tgtEl>
                                        <p:attrNameLst>
                                          <p:attrName>style.visibility</p:attrName>
                                        </p:attrNameLst>
                                      </p:cBhvr>
                                      <p:to>
                                        <p:strVal val="visible"/>
                                      </p:to>
                                    </p:set>
                                  </p:childTnLst>
                                </p:cTn>
                              </p:par>
                            </p:childTnLst>
                          </p:cTn>
                        </p:par>
                      </p:childTnLst>
                    </p:cTn>
                  </p:par>
                  <p:par>
                    <p:cTn id="98" fill="hold">
                      <p:stCondLst>
                        <p:cond delay="indefinite"/>
                      </p:stCondLst>
                      <p:childTnLst>
                        <p:par>
                          <p:cTn id="99" fill="hold">
                            <p:stCondLst>
                              <p:cond delay="0"/>
                            </p:stCondLst>
                            <p:childTnLst>
                              <p:par>
                                <p:cTn id="100" presetID="1" presetClass="entr" presetSubtype="0" fill="hold" nodeType="clickEffect">
                                  <p:stCondLst>
                                    <p:cond delay="0"/>
                                  </p:stCondLst>
                                  <p:childTnLst>
                                    <p:set>
                                      <p:cBhvr>
                                        <p:cTn id="101" dur="1" fill="hold">
                                          <p:stCondLst>
                                            <p:cond delay="0"/>
                                          </p:stCondLst>
                                        </p:cTn>
                                        <p:tgtEl>
                                          <p:spTgt spid="158"/>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165"/>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4" grpId="0" animBg="1"/>
      <p:bldP spid="440" grpId="0" animBg="1"/>
      <p:bldP spid="484" grpId="0" animBg="1"/>
      <p:bldP spid="145" grpId="0" animBg="1"/>
      <p:bldP spid="156" grpId="0" animBg="1"/>
      <p:bldP spid="483" grpId="0" animBg="1"/>
      <p:bldP spid="483" grpId="1" animBg="1"/>
      <p:bldP spid="6" grpId="0" animBg="1"/>
      <p:bldP spid="6" grpId="1" animBg="1"/>
      <p:bldP spid="6" grpId="2" animBg="1"/>
      <p:bldP spid="9" grpId="0" animBg="1"/>
      <p:bldP spid="9" grpId="1" animBg="1"/>
      <p:bldP spid="9" grpId="2" animBg="1"/>
      <p:bldP spid="10" grpId="0" animBg="1"/>
      <p:bldP spid="10" grpId="1" animBg="1"/>
      <p:bldP spid="11" grpId="0" animBg="1"/>
      <p:bldP spid="165" grpId="0" animBg="1"/>
      <p:bldP spid="15" grpId="0" animBg="1"/>
      <p:bldP spid="17" grpId="0" animBg="1"/>
      <p:bldP spid="44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5BCA04D-388E-4257-8924-1D3C64B3F4E6}"/>
              </a:ext>
            </a:extLst>
          </p:cNvPr>
          <p:cNvSpPr>
            <a:spLocks noGrp="1"/>
          </p:cNvSpPr>
          <p:nvPr>
            <p:ph type="title"/>
          </p:nvPr>
        </p:nvSpPr>
        <p:spPr>
          <a:xfrm>
            <a:off x="479423" y="476250"/>
            <a:ext cx="10604889" cy="1081088"/>
          </a:xfrm>
        </p:spPr>
        <p:txBody>
          <a:bodyPr/>
          <a:lstStyle/>
          <a:p>
            <a:r>
              <a:rPr lang="sv-SE"/>
              <a:t>5GC alternatives for Session anchoring and breakout</a:t>
            </a:r>
            <a:endParaRPr lang="sv-SE">
              <a:solidFill>
                <a:srgbClr val="FF0000"/>
              </a:solidFill>
            </a:endParaRPr>
          </a:p>
        </p:txBody>
      </p:sp>
      <p:sp>
        <p:nvSpPr>
          <p:cNvPr id="209" name="Rectangle 208">
            <a:extLst>
              <a:ext uri="{FF2B5EF4-FFF2-40B4-BE49-F238E27FC236}">
                <a16:creationId xmlns:a16="http://schemas.microsoft.com/office/drawing/2014/main" id="{5E6F85F9-1B04-48EF-9644-294706E5AB2D}"/>
              </a:ext>
            </a:extLst>
          </p:cNvPr>
          <p:cNvSpPr/>
          <p:nvPr/>
        </p:nvSpPr>
        <p:spPr bwMode="auto">
          <a:xfrm>
            <a:off x="7346359" y="1642188"/>
            <a:ext cx="3973089" cy="45503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kumimoji="0" lang="sv-SE" sz="2400" b="1" i="0" u="none" strike="noStrike" cap="none" normalizeH="0" baseline="0">
                <a:ln>
                  <a:noFill/>
                </a:ln>
                <a:effectLst/>
              </a:rPr>
              <a:t>Central anchor point</a:t>
            </a:r>
            <a:endParaRPr lang="sv-SE" sz="2400">
              <a:solidFill>
                <a:srgbClr val="00B050"/>
              </a:solidFill>
            </a:endParaRPr>
          </a:p>
        </p:txBody>
      </p:sp>
      <p:sp>
        <p:nvSpPr>
          <p:cNvPr id="413" name="Rectangle 412">
            <a:extLst>
              <a:ext uri="{FF2B5EF4-FFF2-40B4-BE49-F238E27FC236}">
                <a16:creationId xmlns:a16="http://schemas.microsoft.com/office/drawing/2014/main" id="{9BB4CFF2-2117-4E6D-BB46-96FBF13DB8AF}"/>
              </a:ext>
            </a:extLst>
          </p:cNvPr>
          <p:cNvSpPr/>
          <p:nvPr/>
        </p:nvSpPr>
        <p:spPr bwMode="auto">
          <a:xfrm>
            <a:off x="7346359" y="2760678"/>
            <a:ext cx="3973089" cy="4616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2400" b="1"/>
              <a:t>Distributed Anchor Point</a:t>
            </a:r>
          </a:p>
        </p:txBody>
      </p:sp>
      <p:sp>
        <p:nvSpPr>
          <p:cNvPr id="416" name="Rectangle 415">
            <a:extLst>
              <a:ext uri="{FF2B5EF4-FFF2-40B4-BE49-F238E27FC236}">
                <a16:creationId xmlns:a16="http://schemas.microsoft.com/office/drawing/2014/main" id="{6FDE5212-66B2-4894-89F1-EDD4A65F1CE6}"/>
              </a:ext>
            </a:extLst>
          </p:cNvPr>
          <p:cNvSpPr/>
          <p:nvPr/>
        </p:nvSpPr>
        <p:spPr bwMode="auto">
          <a:xfrm>
            <a:off x="7346359" y="3884666"/>
            <a:ext cx="3973089" cy="46160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2400" b="1"/>
              <a:t>Session Breakout</a:t>
            </a:r>
          </a:p>
          <a:p>
            <a:pPr algn="ctr" fontAlgn="base">
              <a:spcBef>
                <a:spcPts val="300"/>
              </a:spcBef>
              <a:spcAft>
                <a:spcPct val="0"/>
              </a:spcAft>
            </a:pPr>
            <a:endParaRPr lang="sv-SE" sz="2400" b="1"/>
          </a:p>
        </p:txBody>
      </p:sp>
      <p:sp>
        <p:nvSpPr>
          <p:cNvPr id="428" name="Rectangle 427">
            <a:extLst>
              <a:ext uri="{FF2B5EF4-FFF2-40B4-BE49-F238E27FC236}">
                <a16:creationId xmlns:a16="http://schemas.microsoft.com/office/drawing/2014/main" id="{A7DCF71B-A947-42C9-BA1D-16D662732144}"/>
              </a:ext>
            </a:extLst>
          </p:cNvPr>
          <p:cNvSpPr/>
          <p:nvPr/>
        </p:nvSpPr>
        <p:spPr bwMode="auto">
          <a:xfrm>
            <a:off x="7346359" y="5275819"/>
            <a:ext cx="3973089" cy="43647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algn="ctr" fontAlgn="base">
              <a:spcBef>
                <a:spcPts val="300"/>
              </a:spcBef>
              <a:spcAft>
                <a:spcPct val="0"/>
              </a:spcAft>
            </a:pPr>
            <a:r>
              <a:rPr lang="sv-SE" sz="2400" b="1"/>
              <a:t>Multiple Sessions </a:t>
            </a:r>
          </a:p>
        </p:txBody>
      </p:sp>
      <p:grpSp>
        <p:nvGrpSpPr>
          <p:cNvPr id="4" name="Group 3">
            <a:extLst>
              <a:ext uri="{FF2B5EF4-FFF2-40B4-BE49-F238E27FC236}">
                <a16:creationId xmlns:a16="http://schemas.microsoft.com/office/drawing/2014/main" id="{6879AAE6-049A-4DA0-A78A-2EF57AC3BEE7}"/>
              </a:ext>
            </a:extLst>
          </p:cNvPr>
          <p:cNvGrpSpPr/>
          <p:nvPr/>
        </p:nvGrpSpPr>
        <p:grpSpPr>
          <a:xfrm>
            <a:off x="872551" y="1099494"/>
            <a:ext cx="6159176" cy="5334550"/>
            <a:chOff x="766929" y="1206919"/>
            <a:chExt cx="6077860" cy="5321911"/>
          </a:xfrm>
        </p:grpSpPr>
        <p:grpSp>
          <p:nvGrpSpPr>
            <p:cNvPr id="27" name="Group 26">
              <a:extLst>
                <a:ext uri="{FF2B5EF4-FFF2-40B4-BE49-F238E27FC236}">
                  <a16:creationId xmlns:a16="http://schemas.microsoft.com/office/drawing/2014/main" id="{0ED11D4A-2BB4-4E72-9CC6-251DDC0DEAC0}"/>
                </a:ext>
              </a:extLst>
            </p:cNvPr>
            <p:cNvGrpSpPr/>
            <p:nvPr/>
          </p:nvGrpSpPr>
          <p:grpSpPr>
            <a:xfrm>
              <a:off x="766929" y="1206919"/>
              <a:ext cx="6077860" cy="5316904"/>
              <a:chOff x="2171331" y="1241044"/>
              <a:chExt cx="4826344" cy="5035492"/>
            </a:xfrm>
          </p:grpSpPr>
          <p:sp>
            <p:nvSpPr>
              <p:cNvPr id="23" name="Rectangle 22">
                <a:extLst>
                  <a:ext uri="{FF2B5EF4-FFF2-40B4-BE49-F238E27FC236}">
                    <a16:creationId xmlns:a16="http://schemas.microsoft.com/office/drawing/2014/main" id="{34229115-1C4E-4372-8203-3AD0E51EF0D2}"/>
                  </a:ext>
                </a:extLst>
              </p:cNvPr>
              <p:cNvSpPr/>
              <p:nvPr/>
            </p:nvSpPr>
            <p:spPr bwMode="auto">
              <a:xfrm>
                <a:off x="2171331" y="1260976"/>
                <a:ext cx="4826344" cy="5015560"/>
              </a:xfrm>
              <a:prstGeom prst="rect">
                <a:avLst/>
              </a:prstGeom>
              <a:solidFill>
                <a:schemeClr val="bg2"/>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4" name="Rectangle 23">
                <a:extLst>
                  <a:ext uri="{FF2B5EF4-FFF2-40B4-BE49-F238E27FC236}">
                    <a16:creationId xmlns:a16="http://schemas.microsoft.com/office/drawing/2014/main" id="{9BC18439-30E4-40F2-AFFE-8A23B0BEC516}"/>
                  </a:ext>
                </a:extLst>
              </p:cNvPr>
              <p:cNvSpPr/>
              <p:nvPr/>
            </p:nvSpPr>
            <p:spPr>
              <a:xfrm>
                <a:off x="2320970" y="1241044"/>
                <a:ext cx="1074232" cy="319875"/>
              </a:xfrm>
              <a:prstGeom prst="rect">
                <a:avLst/>
              </a:prstGeom>
            </p:spPr>
            <p:txBody>
              <a:bodyPr wrap="none">
                <a:spAutoFit/>
              </a:bodyPr>
              <a:lstStyle/>
              <a:p>
                <a:pPr algn="ctr">
                  <a:buClr>
                    <a:schemeClr val="tx1"/>
                  </a:buClr>
                </a:pPr>
                <a:r>
                  <a:rPr lang="en-US" sz="1600"/>
                  <a:t>5GS network</a:t>
                </a:r>
              </a:p>
            </p:txBody>
          </p:sp>
        </p:grpSp>
        <p:sp>
          <p:nvSpPr>
            <p:cNvPr id="473" name="Rectangle 472">
              <a:extLst>
                <a:ext uri="{FF2B5EF4-FFF2-40B4-BE49-F238E27FC236}">
                  <a16:creationId xmlns:a16="http://schemas.microsoft.com/office/drawing/2014/main" id="{5B9AA32D-53A7-497F-9448-917778C34C37}"/>
                </a:ext>
              </a:extLst>
            </p:cNvPr>
            <p:cNvSpPr/>
            <p:nvPr/>
          </p:nvSpPr>
          <p:spPr bwMode="auto">
            <a:xfrm>
              <a:off x="5531378" y="1585947"/>
              <a:ext cx="1023544" cy="481309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4" name="Rectangle 473">
              <a:extLst>
                <a:ext uri="{FF2B5EF4-FFF2-40B4-BE49-F238E27FC236}">
                  <a16:creationId xmlns:a16="http://schemas.microsoft.com/office/drawing/2014/main" id="{F2F74748-5812-4644-A928-E68C69635A30}"/>
                </a:ext>
              </a:extLst>
            </p:cNvPr>
            <p:cNvSpPr/>
            <p:nvPr/>
          </p:nvSpPr>
          <p:spPr bwMode="auto">
            <a:xfrm>
              <a:off x="3973331" y="1577376"/>
              <a:ext cx="1023544" cy="481309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5" name="Rectangle 474">
              <a:extLst>
                <a:ext uri="{FF2B5EF4-FFF2-40B4-BE49-F238E27FC236}">
                  <a16:creationId xmlns:a16="http://schemas.microsoft.com/office/drawing/2014/main" id="{B4B233F6-9B6E-4AA1-B28F-7419A256F563}"/>
                </a:ext>
              </a:extLst>
            </p:cNvPr>
            <p:cNvSpPr/>
            <p:nvPr/>
          </p:nvSpPr>
          <p:spPr bwMode="auto">
            <a:xfrm>
              <a:off x="2487789" y="1585947"/>
              <a:ext cx="1023544" cy="4805472"/>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6" name="Rectangle 475">
              <a:extLst>
                <a:ext uri="{FF2B5EF4-FFF2-40B4-BE49-F238E27FC236}">
                  <a16:creationId xmlns:a16="http://schemas.microsoft.com/office/drawing/2014/main" id="{4B0DDDF7-B186-4284-B308-1DDF60843EBF}"/>
                </a:ext>
              </a:extLst>
            </p:cNvPr>
            <p:cNvSpPr/>
            <p:nvPr/>
          </p:nvSpPr>
          <p:spPr bwMode="auto">
            <a:xfrm>
              <a:off x="998962" y="1578326"/>
              <a:ext cx="1030052" cy="4813093"/>
            </a:xfrm>
            <a:prstGeom prst="rect">
              <a:avLst/>
            </a:prstGeom>
            <a:solidFill>
              <a:schemeClr val="tx1">
                <a:lumMod val="25000"/>
                <a:lumOff val="7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477" name="TextBox 476">
              <a:extLst>
                <a:ext uri="{FF2B5EF4-FFF2-40B4-BE49-F238E27FC236}">
                  <a16:creationId xmlns:a16="http://schemas.microsoft.com/office/drawing/2014/main" id="{A1316522-43CE-4A06-8175-396931225B3B}"/>
                </a:ext>
              </a:extLst>
            </p:cNvPr>
            <p:cNvSpPr txBox="1"/>
            <p:nvPr/>
          </p:nvSpPr>
          <p:spPr bwMode="auto">
            <a:xfrm>
              <a:off x="5468038" y="5973129"/>
              <a:ext cx="1176256" cy="555701"/>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National</a:t>
              </a:r>
              <a:br>
                <a:rPr lang="sv-SE" sz="1200"/>
              </a:br>
              <a:r>
                <a:rPr lang="sv-SE" sz="1200"/>
                <a:t>sites</a:t>
              </a:r>
            </a:p>
          </p:txBody>
        </p:sp>
        <p:sp>
          <p:nvSpPr>
            <p:cNvPr id="478" name="TextBox 477">
              <a:extLst>
                <a:ext uri="{FF2B5EF4-FFF2-40B4-BE49-F238E27FC236}">
                  <a16:creationId xmlns:a16="http://schemas.microsoft.com/office/drawing/2014/main" id="{7915F02F-5C7D-4E6A-AE8D-E5DEFE04F8C9}"/>
                </a:ext>
              </a:extLst>
            </p:cNvPr>
            <p:cNvSpPr txBox="1"/>
            <p:nvPr/>
          </p:nvSpPr>
          <p:spPr bwMode="auto">
            <a:xfrm>
              <a:off x="3917650" y="5973129"/>
              <a:ext cx="1176256" cy="555701"/>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Regional</a:t>
              </a:r>
              <a:br>
                <a:rPr lang="sv-SE" sz="1200"/>
              </a:br>
              <a:r>
                <a:rPr lang="sv-SE" sz="1200"/>
                <a:t>sites</a:t>
              </a:r>
            </a:p>
          </p:txBody>
        </p:sp>
        <p:sp>
          <p:nvSpPr>
            <p:cNvPr id="479" name="TextBox 478">
              <a:extLst>
                <a:ext uri="{FF2B5EF4-FFF2-40B4-BE49-F238E27FC236}">
                  <a16:creationId xmlns:a16="http://schemas.microsoft.com/office/drawing/2014/main" id="{ED833C4D-BD7B-400A-B7D1-5BF63F2F5BDA}"/>
                </a:ext>
              </a:extLst>
            </p:cNvPr>
            <p:cNvSpPr txBox="1"/>
            <p:nvPr/>
          </p:nvSpPr>
          <p:spPr bwMode="auto">
            <a:xfrm>
              <a:off x="2376365" y="5973129"/>
              <a:ext cx="1176256" cy="555701"/>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Local</a:t>
              </a:r>
              <a:br>
                <a:rPr lang="sv-SE" sz="1200"/>
              </a:br>
              <a:r>
                <a:rPr lang="sv-SE" sz="1200"/>
                <a:t>sites</a:t>
              </a:r>
            </a:p>
          </p:txBody>
        </p:sp>
        <p:sp>
          <p:nvSpPr>
            <p:cNvPr id="480" name="TextBox 479">
              <a:extLst>
                <a:ext uri="{FF2B5EF4-FFF2-40B4-BE49-F238E27FC236}">
                  <a16:creationId xmlns:a16="http://schemas.microsoft.com/office/drawing/2014/main" id="{6E2FF683-EB88-44FF-8E83-EA6C911138BC}"/>
                </a:ext>
              </a:extLst>
            </p:cNvPr>
            <p:cNvSpPr txBox="1"/>
            <p:nvPr/>
          </p:nvSpPr>
          <p:spPr bwMode="auto">
            <a:xfrm>
              <a:off x="933619" y="5973129"/>
              <a:ext cx="1176256" cy="555701"/>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ctr">
                <a:buClr>
                  <a:schemeClr val="tx1"/>
                </a:buClr>
              </a:pPr>
              <a:r>
                <a:rPr lang="sv-SE" sz="1200"/>
                <a:t>Radio</a:t>
              </a:r>
              <a:br>
                <a:rPr lang="sv-SE" sz="1200"/>
              </a:br>
              <a:r>
                <a:rPr lang="sv-SE" sz="1200"/>
                <a:t>sites</a:t>
              </a:r>
            </a:p>
          </p:txBody>
        </p:sp>
      </p:grpSp>
      <p:sp>
        <p:nvSpPr>
          <p:cNvPr id="41" name="TextBox 40">
            <a:extLst>
              <a:ext uri="{FF2B5EF4-FFF2-40B4-BE49-F238E27FC236}">
                <a16:creationId xmlns:a16="http://schemas.microsoft.com/office/drawing/2014/main" id="{C21E1611-0EBD-4567-82F2-C9395F8F1775}"/>
              </a:ext>
            </a:extLst>
          </p:cNvPr>
          <p:cNvSpPr txBox="1"/>
          <p:nvPr/>
        </p:nvSpPr>
        <p:spPr bwMode="auto">
          <a:xfrm>
            <a:off x="5960443" y="1589735"/>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grpSp>
        <p:nvGrpSpPr>
          <p:cNvPr id="42" name="Group 41">
            <a:extLst>
              <a:ext uri="{FF2B5EF4-FFF2-40B4-BE49-F238E27FC236}">
                <a16:creationId xmlns:a16="http://schemas.microsoft.com/office/drawing/2014/main" id="{49F30EE6-3864-4CC9-9543-4DF9B4D89243}"/>
              </a:ext>
            </a:extLst>
          </p:cNvPr>
          <p:cNvGrpSpPr/>
          <p:nvPr/>
        </p:nvGrpSpPr>
        <p:grpSpPr>
          <a:xfrm>
            <a:off x="6367523" y="1759076"/>
            <a:ext cx="267741" cy="343029"/>
            <a:chOff x="578533" y="5583474"/>
            <a:chExt cx="242976" cy="312235"/>
          </a:xfrm>
        </p:grpSpPr>
        <p:grpSp>
          <p:nvGrpSpPr>
            <p:cNvPr id="43" name="Group 42">
              <a:extLst>
                <a:ext uri="{FF2B5EF4-FFF2-40B4-BE49-F238E27FC236}">
                  <a16:creationId xmlns:a16="http://schemas.microsoft.com/office/drawing/2014/main" id="{D2215486-9C3C-45E3-B1FF-7ED6FAA1F5A4}"/>
                </a:ext>
              </a:extLst>
            </p:cNvPr>
            <p:cNvGrpSpPr/>
            <p:nvPr/>
          </p:nvGrpSpPr>
          <p:grpSpPr>
            <a:xfrm>
              <a:off x="578533" y="5583474"/>
              <a:ext cx="242976" cy="312235"/>
              <a:chOff x="5229125" y="3046121"/>
              <a:chExt cx="242976" cy="312235"/>
            </a:xfrm>
          </p:grpSpPr>
          <p:sp>
            <p:nvSpPr>
              <p:cNvPr id="45" name="Rectangle 44">
                <a:extLst>
                  <a:ext uri="{FF2B5EF4-FFF2-40B4-BE49-F238E27FC236}">
                    <a16:creationId xmlns:a16="http://schemas.microsoft.com/office/drawing/2014/main" id="{94501F23-F08B-44C5-BC3B-F6B6D75718F6}"/>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46" name="Picture 45">
                <a:extLst>
                  <a:ext uri="{FF2B5EF4-FFF2-40B4-BE49-F238E27FC236}">
                    <a16:creationId xmlns:a16="http://schemas.microsoft.com/office/drawing/2014/main" id="{92E49542-B105-4B33-92B9-DFB73DF9320A}"/>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44" name="Freeform 6">
              <a:extLst>
                <a:ext uri="{FF2B5EF4-FFF2-40B4-BE49-F238E27FC236}">
                  <a16:creationId xmlns:a16="http://schemas.microsoft.com/office/drawing/2014/main" id="{623BD33B-154E-46EB-968E-72226C3265FE}"/>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grpSp>
        <p:nvGrpSpPr>
          <p:cNvPr id="48" name="Group 47">
            <a:extLst>
              <a:ext uri="{FF2B5EF4-FFF2-40B4-BE49-F238E27FC236}">
                <a16:creationId xmlns:a16="http://schemas.microsoft.com/office/drawing/2014/main" id="{AEFF7242-E5BB-4DAB-A692-A40240E0A690}"/>
              </a:ext>
            </a:extLst>
          </p:cNvPr>
          <p:cNvGrpSpPr/>
          <p:nvPr/>
        </p:nvGrpSpPr>
        <p:grpSpPr>
          <a:xfrm>
            <a:off x="259564" y="1637199"/>
            <a:ext cx="424176" cy="631038"/>
            <a:chOff x="369579" y="3374748"/>
            <a:chExt cx="418481" cy="620089"/>
          </a:xfrm>
        </p:grpSpPr>
        <p:sp>
          <p:nvSpPr>
            <p:cNvPr id="49" name="Freeform 6">
              <a:extLst>
                <a:ext uri="{FF2B5EF4-FFF2-40B4-BE49-F238E27FC236}">
                  <a16:creationId xmlns:a16="http://schemas.microsoft.com/office/drawing/2014/main" id="{793C2269-433A-4048-9102-E36D4487F9E0}"/>
                </a:ext>
              </a:extLst>
            </p:cNvPr>
            <p:cNvSpPr>
              <a:spLocks noEditPoints="1"/>
            </p:cNvSpPr>
            <p:nvPr/>
          </p:nvSpPr>
          <p:spPr bwMode="auto">
            <a:xfrm>
              <a:off x="369579" y="3374748"/>
              <a:ext cx="418481" cy="620089"/>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F8671708-A46E-42B2-A9AC-6FCC70A48B87}"/>
                </a:ext>
              </a:extLst>
            </p:cNvPr>
            <p:cNvSpPr/>
            <p:nvPr/>
          </p:nvSpPr>
          <p:spPr bwMode="auto">
            <a:xfrm>
              <a:off x="394801" y="3722689"/>
              <a:ext cx="363793" cy="11108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51" name="Rectangle 50">
              <a:extLst>
                <a:ext uri="{FF2B5EF4-FFF2-40B4-BE49-F238E27FC236}">
                  <a16:creationId xmlns:a16="http://schemas.microsoft.com/office/drawing/2014/main" id="{D3FE82CB-BDB3-4B6C-ABEE-F7C8BC4B8335}"/>
                </a:ext>
              </a:extLst>
            </p:cNvPr>
            <p:cNvSpPr/>
            <p:nvPr/>
          </p:nvSpPr>
          <p:spPr bwMode="auto">
            <a:xfrm>
              <a:off x="394801" y="3506148"/>
              <a:ext cx="363793" cy="13475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cxnSp>
        <p:nvCxnSpPr>
          <p:cNvPr id="21" name="Straight Connector 20">
            <a:extLst>
              <a:ext uri="{FF2B5EF4-FFF2-40B4-BE49-F238E27FC236}">
                <a16:creationId xmlns:a16="http://schemas.microsoft.com/office/drawing/2014/main" id="{47D2567C-8E23-4458-BC72-E0D271E8F217}"/>
              </a:ext>
            </a:extLst>
          </p:cNvPr>
          <p:cNvCxnSpPr>
            <a:cxnSpLocks/>
          </p:cNvCxnSpPr>
          <p:nvPr/>
        </p:nvCxnSpPr>
        <p:spPr bwMode="auto">
          <a:xfrm>
            <a:off x="135250" y="2408549"/>
            <a:ext cx="11577326" cy="0"/>
          </a:xfrm>
          <a:prstGeom prst="line">
            <a:avLst/>
          </a:prstGeom>
          <a:solidFill>
            <a:schemeClr val="accent1"/>
          </a:solidFill>
          <a:ln w="12700" cap="flat" cmpd="sng" algn="ctr">
            <a:solidFill>
              <a:schemeClr val="tx1"/>
            </a:solidFill>
            <a:prstDash val="dash"/>
            <a:round/>
            <a:headEnd type="none" w="med" len="med"/>
            <a:tailEnd type="none"/>
          </a:ln>
          <a:effectLst/>
        </p:spPr>
      </p:cxnSp>
      <p:cxnSp>
        <p:nvCxnSpPr>
          <p:cNvPr id="26" name="Straight Connector 25">
            <a:extLst>
              <a:ext uri="{FF2B5EF4-FFF2-40B4-BE49-F238E27FC236}">
                <a16:creationId xmlns:a16="http://schemas.microsoft.com/office/drawing/2014/main" id="{AAA3088D-4689-44A7-90FA-293DF0BBCF7B}"/>
              </a:ext>
            </a:extLst>
          </p:cNvPr>
          <p:cNvCxnSpPr>
            <a:cxnSpLocks/>
          </p:cNvCxnSpPr>
          <p:nvPr/>
        </p:nvCxnSpPr>
        <p:spPr bwMode="auto">
          <a:xfrm>
            <a:off x="114766" y="3550158"/>
            <a:ext cx="11597810" cy="0"/>
          </a:xfrm>
          <a:prstGeom prst="line">
            <a:avLst/>
          </a:prstGeom>
          <a:solidFill>
            <a:schemeClr val="accent1"/>
          </a:solidFill>
          <a:ln w="12700" cap="flat" cmpd="sng" algn="ctr">
            <a:solidFill>
              <a:schemeClr val="tx1"/>
            </a:solidFill>
            <a:prstDash val="dash"/>
            <a:round/>
            <a:headEnd type="none" w="med" len="med"/>
            <a:tailEnd type="none"/>
          </a:ln>
          <a:effectLst/>
        </p:spPr>
      </p:cxnSp>
      <p:cxnSp>
        <p:nvCxnSpPr>
          <p:cNvPr id="5" name="Straight Arrow Connector 4">
            <a:extLst>
              <a:ext uri="{FF2B5EF4-FFF2-40B4-BE49-F238E27FC236}">
                <a16:creationId xmlns:a16="http://schemas.microsoft.com/office/drawing/2014/main" id="{90F95669-E200-4016-95CA-D433BD59C841}"/>
              </a:ext>
            </a:extLst>
          </p:cNvPr>
          <p:cNvCxnSpPr>
            <a:cxnSpLocks/>
            <a:stCxn id="50" idx="0"/>
          </p:cNvCxnSpPr>
          <p:nvPr/>
        </p:nvCxnSpPr>
        <p:spPr bwMode="auto">
          <a:xfrm flipV="1">
            <a:off x="469501" y="1978874"/>
            <a:ext cx="6035867" cy="12410"/>
          </a:xfrm>
          <a:prstGeom prst="straightConnector1">
            <a:avLst/>
          </a:prstGeom>
          <a:noFill/>
          <a:ln w="38100" cap="flat" cmpd="sng" algn="ctr">
            <a:solidFill>
              <a:schemeClr val="tx1"/>
            </a:solidFill>
            <a:prstDash val="solid"/>
            <a:round/>
            <a:headEnd type="oval" w="med" len="med"/>
            <a:tailEnd type="oval" w="med" len="med"/>
          </a:ln>
          <a:effectLst/>
        </p:spPr>
      </p:cxnSp>
      <p:cxnSp>
        <p:nvCxnSpPr>
          <p:cNvPr id="186" name="Straight Connector 185">
            <a:extLst>
              <a:ext uri="{FF2B5EF4-FFF2-40B4-BE49-F238E27FC236}">
                <a16:creationId xmlns:a16="http://schemas.microsoft.com/office/drawing/2014/main" id="{193EE54D-A9EF-4D03-9292-828ED4413F12}"/>
              </a:ext>
            </a:extLst>
          </p:cNvPr>
          <p:cNvCxnSpPr>
            <a:cxnSpLocks/>
          </p:cNvCxnSpPr>
          <p:nvPr/>
        </p:nvCxnSpPr>
        <p:spPr bwMode="auto">
          <a:xfrm>
            <a:off x="118810" y="4753106"/>
            <a:ext cx="11593766" cy="0"/>
          </a:xfrm>
          <a:prstGeom prst="line">
            <a:avLst/>
          </a:prstGeom>
          <a:solidFill>
            <a:schemeClr val="accent1"/>
          </a:solidFill>
          <a:ln w="12700" cap="flat" cmpd="sng" algn="ctr">
            <a:solidFill>
              <a:schemeClr val="tx1"/>
            </a:solidFill>
            <a:prstDash val="dash"/>
            <a:round/>
            <a:headEnd type="none" w="med" len="med"/>
            <a:tailEnd type="none"/>
          </a:ln>
          <a:effectLst/>
        </p:spPr>
      </p:cxnSp>
      <p:grpSp>
        <p:nvGrpSpPr>
          <p:cNvPr id="181" name="Group 180">
            <a:extLst>
              <a:ext uri="{FF2B5EF4-FFF2-40B4-BE49-F238E27FC236}">
                <a16:creationId xmlns:a16="http://schemas.microsoft.com/office/drawing/2014/main" id="{E290CBBB-78B3-4D23-83E7-68A041B53BF7}"/>
              </a:ext>
            </a:extLst>
          </p:cNvPr>
          <p:cNvGrpSpPr/>
          <p:nvPr/>
        </p:nvGrpSpPr>
        <p:grpSpPr>
          <a:xfrm>
            <a:off x="256031" y="2662317"/>
            <a:ext cx="424176" cy="631038"/>
            <a:chOff x="369579" y="3374748"/>
            <a:chExt cx="418481" cy="620089"/>
          </a:xfrm>
        </p:grpSpPr>
        <p:sp>
          <p:nvSpPr>
            <p:cNvPr id="192" name="Freeform 6">
              <a:extLst>
                <a:ext uri="{FF2B5EF4-FFF2-40B4-BE49-F238E27FC236}">
                  <a16:creationId xmlns:a16="http://schemas.microsoft.com/office/drawing/2014/main" id="{4AF463A0-7779-458D-8A30-AB7E1FD01CCD}"/>
                </a:ext>
              </a:extLst>
            </p:cNvPr>
            <p:cNvSpPr>
              <a:spLocks noEditPoints="1"/>
            </p:cNvSpPr>
            <p:nvPr/>
          </p:nvSpPr>
          <p:spPr bwMode="auto">
            <a:xfrm>
              <a:off x="369579" y="3374748"/>
              <a:ext cx="418481" cy="620089"/>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sp>
          <p:nvSpPr>
            <p:cNvPr id="193" name="Rectangle 192">
              <a:extLst>
                <a:ext uri="{FF2B5EF4-FFF2-40B4-BE49-F238E27FC236}">
                  <a16:creationId xmlns:a16="http://schemas.microsoft.com/office/drawing/2014/main" id="{94161989-A5C2-4F35-A937-9D68F77C13B0}"/>
                </a:ext>
              </a:extLst>
            </p:cNvPr>
            <p:cNvSpPr/>
            <p:nvPr/>
          </p:nvSpPr>
          <p:spPr bwMode="auto">
            <a:xfrm>
              <a:off x="394801" y="3722689"/>
              <a:ext cx="363793" cy="11108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94" name="Rectangle 193">
              <a:extLst>
                <a:ext uri="{FF2B5EF4-FFF2-40B4-BE49-F238E27FC236}">
                  <a16:creationId xmlns:a16="http://schemas.microsoft.com/office/drawing/2014/main" id="{A5BEC2B3-D38D-4899-9FAE-50B1E7DC0037}"/>
                </a:ext>
              </a:extLst>
            </p:cNvPr>
            <p:cNvSpPr/>
            <p:nvPr/>
          </p:nvSpPr>
          <p:spPr bwMode="auto">
            <a:xfrm>
              <a:off x="394801" y="3506148"/>
              <a:ext cx="363793" cy="13475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grpSp>
        <p:nvGrpSpPr>
          <p:cNvPr id="195" name="Group 194">
            <a:extLst>
              <a:ext uri="{FF2B5EF4-FFF2-40B4-BE49-F238E27FC236}">
                <a16:creationId xmlns:a16="http://schemas.microsoft.com/office/drawing/2014/main" id="{509652CE-D18A-4C1F-A00E-B8733E07DB1F}"/>
              </a:ext>
            </a:extLst>
          </p:cNvPr>
          <p:cNvGrpSpPr/>
          <p:nvPr/>
        </p:nvGrpSpPr>
        <p:grpSpPr>
          <a:xfrm>
            <a:off x="256031" y="3824627"/>
            <a:ext cx="424176" cy="631038"/>
            <a:chOff x="369579" y="3374748"/>
            <a:chExt cx="418481" cy="620089"/>
          </a:xfrm>
        </p:grpSpPr>
        <p:sp>
          <p:nvSpPr>
            <p:cNvPr id="196" name="Freeform 6">
              <a:extLst>
                <a:ext uri="{FF2B5EF4-FFF2-40B4-BE49-F238E27FC236}">
                  <a16:creationId xmlns:a16="http://schemas.microsoft.com/office/drawing/2014/main" id="{ACA89E8F-3D18-4DAB-94B3-943C25FEE5B2}"/>
                </a:ext>
              </a:extLst>
            </p:cNvPr>
            <p:cNvSpPr>
              <a:spLocks noEditPoints="1"/>
            </p:cNvSpPr>
            <p:nvPr/>
          </p:nvSpPr>
          <p:spPr bwMode="auto">
            <a:xfrm>
              <a:off x="369579" y="3374748"/>
              <a:ext cx="418481" cy="620089"/>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sp>
          <p:nvSpPr>
            <p:cNvPr id="197" name="Rectangle 196">
              <a:extLst>
                <a:ext uri="{FF2B5EF4-FFF2-40B4-BE49-F238E27FC236}">
                  <a16:creationId xmlns:a16="http://schemas.microsoft.com/office/drawing/2014/main" id="{198FD83A-3AEE-4805-90CF-8DB0EA209B1D}"/>
                </a:ext>
              </a:extLst>
            </p:cNvPr>
            <p:cNvSpPr/>
            <p:nvPr/>
          </p:nvSpPr>
          <p:spPr bwMode="auto">
            <a:xfrm>
              <a:off x="394801" y="3722689"/>
              <a:ext cx="363793" cy="11108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15" name="Rectangle 214">
              <a:extLst>
                <a:ext uri="{FF2B5EF4-FFF2-40B4-BE49-F238E27FC236}">
                  <a16:creationId xmlns:a16="http://schemas.microsoft.com/office/drawing/2014/main" id="{3C295CA6-2D52-452C-BD90-B7DE1FA6EC0C}"/>
                </a:ext>
              </a:extLst>
            </p:cNvPr>
            <p:cNvSpPr/>
            <p:nvPr/>
          </p:nvSpPr>
          <p:spPr bwMode="auto">
            <a:xfrm>
              <a:off x="394801" y="3506148"/>
              <a:ext cx="363793" cy="13475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grpSp>
        <p:nvGrpSpPr>
          <p:cNvPr id="230" name="Group 229">
            <a:extLst>
              <a:ext uri="{FF2B5EF4-FFF2-40B4-BE49-F238E27FC236}">
                <a16:creationId xmlns:a16="http://schemas.microsoft.com/office/drawing/2014/main" id="{D3AC5170-E383-445E-954A-52E046F3A917}"/>
              </a:ext>
            </a:extLst>
          </p:cNvPr>
          <p:cNvGrpSpPr/>
          <p:nvPr/>
        </p:nvGrpSpPr>
        <p:grpSpPr>
          <a:xfrm>
            <a:off x="256031" y="5166043"/>
            <a:ext cx="424176" cy="631038"/>
            <a:chOff x="369579" y="3374748"/>
            <a:chExt cx="418481" cy="620089"/>
          </a:xfrm>
        </p:grpSpPr>
        <p:sp>
          <p:nvSpPr>
            <p:cNvPr id="231" name="Freeform 6">
              <a:extLst>
                <a:ext uri="{FF2B5EF4-FFF2-40B4-BE49-F238E27FC236}">
                  <a16:creationId xmlns:a16="http://schemas.microsoft.com/office/drawing/2014/main" id="{B5E125D7-FD46-448D-918F-CCDE0139877D}"/>
                </a:ext>
              </a:extLst>
            </p:cNvPr>
            <p:cNvSpPr>
              <a:spLocks noEditPoints="1"/>
            </p:cNvSpPr>
            <p:nvPr/>
          </p:nvSpPr>
          <p:spPr bwMode="auto">
            <a:xfrm>
              <a:off x="369579" y="3374748"/>
              <a:ext cx="418481" cy="620089"/>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sp>
          <p:nvSpPr>
            <p:cNvPr id="232" name="Rectangle 231">
              <a:extLst>
                <a:ext uri="{FF2B5EF4-FFF2-40B4-BE49-F238E27FC236}">
                  <a16:creationId xmlns:a16="http://schemas.microsoft.com/office/drawing/2014/main" id="{B8BB0FC2-9B1A-4C6B-ADF3-D770483AB5C3}"/>
                </a:ext>
              </a:extLst>
            </p:cNvPr>
            <p:cNvSpPr/>
            <p:nvPr/>
          </p:nvSpPr>
          <p:spPr bwMode="auto">
            <a:xfrm>
              <a:off x="394801" y="3722689"/>
              <a:ext cx="363793" cy="11108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33" name="Rectangle 232">
              <a:extLst>
                <a:ext uri="{FF2B5EF4-FFF2-40B4-BE49-F238E27FC236}">
                  <a16:creationId xmlns:a16="http://schemas.microsoft.com/office/drawing/2014/main" id="{1E022EB2-B94C-45C2-9493-22CE8191F99B}"/>
                </a:ext>
              </a:extLst>
            </p:cNvPr>
            <p:cNvSpPr/>
            <p:nvPr/>
          </p:nvSpPr>
          <p:spPr bwMode="auto">
            <a:xfrm>
              <a:off x="394801" y="3506148"/>
              <a:ext cx="363793" cy="13475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grpSp>
      <p:sp>
        <p:nvSpPr>
          <p:cNvPr id="234" name="TextBox 233">
            <a:extLst>
              <a:ext uri="{FF2B5EF4-FFF2-40B4-BE49-F238E27FC236}">
                <a16:creationId xmlns:a16="http://schemas.microsoft.com/office/drawing/2014/main" id="{CDCB52D5-D3E9-42C8-8E21-9F84F86F0056}"/>
              </a:ext>
            </a:extLst>
          </p:cNvPr>
          <p:cNvSpPr txBox="1"/>
          <p:nvPr/>
        </p:nvSpPr>
        <p:spPr bwMode="auto">
          <a:xfrm>
            <a:off x="4370989" y="2629135"/>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grpSp>
        <p:nvGrpSpPr>
          <p:cNvPr id="235" name="Group 234">
            <a:extLst>
              <a:ext uri="{FF2B5EF4-FFF2-40B4-BE49-F238E27FC236}">
                <a16:creationId xmlns:a16="http://schemas.microsoft.com/office/drawing/2014/main" id="{FEF2D0BD-92B7-447E-8AAA-221379C618EB}"/>
              </a:ext>
            </a:extLst>
          </p:cNvPr>
          <p:cNvGrpSpPr/>
          <p:nvPr/>
        </p:nvGrpSpPr>
        <p:grpSpPr>
          <a:xfrm>
            <a:off x="4765905" y="2774310"/>
            <a:ext cx="267741" cy="343029"/>
            <a:chOff x="578533" y="5583474"/>
            <a:chExt cx="242976" cy="312235"/>
          </a:xfrm>
        </p:grpSpPr>
        <p:grpSp>
          <p:nvGrpSpPr>
            <p:cNvPr id="254" name="Group 253">
              <a:extLst>
                <a:ext uri="{FF2B5EF4-FFF2-40B4-BE49-F238E27FC236}">
                  <a16:creationId xmlns:a16="http://schemas.microsoft.com/office/drawing/2014/main" id="{8D309C55-0466-4E9A-833F-0FB44673B2BA}"/>
                </a:ext>
              </a:extLst>
            </p:cNvPr>
            <p:cNvGrpSpPr/>
            <p:nvPr/>
          </p:nvGrpSpPr>
          <p:grpSpPr>
            <a:xfrm>
              <a:off x="578533" y="5583474"/>
              <a:ext cx="242976" cy="312235"/>
              <a:chOff x="5229125" y="3046121"/>
              <a:chExt cx="242976" cy="312235"/>
            </a:xfrm>
          </p:grpSpPr>
          <p:sp>
            <p:nvSpPr>
              <p:cNvPr id="256" name="Rectangle 255">
                <a:extLst>
                  <a:ext uri="{FF2B5EF4-FFF2-40B4-BE49-F238E27FC236}">
                    <a16:creationId xmlns:a16="http://schemas.microsoft.com/office/drawing/2014/main" id="{7F497324-88F1-41DF-AA4D-A6F4DE94CD46}"/>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257" name="Picture 256">
                <a:extLst>
                  <a:ext uri="{FF2B5EF4-FFF2-40B4-BE49-F238E27FC236}">
                    <a16:creationId xmlns:a16="http://schemas.microsoft.com/office/drawing/2014/main" id="{0DF23E06-F38A-4BC5-B4B9-D276BF596DBB}"/>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255" name="Freeform 6">
              <a:extLst>
                <a:ext uri="{FF2B5EF4-FFF2-40B4-BE49-F238E27FC236}">
                  <a16:creationId xmlns:a16="http://schemas.microsoft.com/office/drawing/2014/main" id="{87054DE7-339A-44DF-8C1C-A569E1DBB8E5}"/>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cxnSp>
        <p:nvCxnSpPr>
          <p:cNvPr id="76" name="Straight Arrow Connector 75">
            <a:extLst>
              <a:ext uri="{FF2B5EF4-FFF2-40B4-BE49-F238E27FC236}">
                <a16:creationId xmlns:a16="http://schemas.microsoft.com/office/drawing/2014/main" id="{2ABAA32C-0690-430E-8B09-6077373EF608}"/>
              </a:ext>
            </a:extLst>
          </p:cNvPr>
          <p:cNvCxnSpPr>
            <a:cxnSpLocks/>
            <a:stCxn id="193" idx="0"/>
          </p:cNvCxnSpPr>
          <p:nvPr/>
        </p:nvCxnSpPr>
        <p:spPr bwMode="auto">
          <a:xfrm>
            <a:off x="465968" y="3016402"/>
            <a:ext cx="4433807" cy="11774"/>
          </a:xfrm>
          <a:prstGeom prst="straightConnector1">
            <a:avLst/>
          </a:prstGeom>
          <a:noFill/>
          <a:ln w="38100" cap="flat" cmpd="sng" algn="ctr">
            <a:solidFill>
              <a:schemeClr val="tx1"/>
            </a:solidFill>
            <a:prstDash val="solid"/>
            <a:round/>
            <a:headEnd type="oval" w="med" len="med"/>
            <a:tailEnd type="oval" w="med" len="med"/>
          </a:ln>
          <a:effectLst/>
        </p:spPr>
      </p:cxnSp>
      <p:sp>
        <p:nvSpPr>
          <p:cNvPr id="258" name="TextBox 257">
            <a:extLst>
              <a:ext uri="{FF2B5EF4-FFF2-40B4-BE49-F238E27FC236}">
                <a16:creationId xmlns:a16="http://schemas.microsoft.com/office/drawing/2014/main" id="{8F38BD1F-B15B-4309-93CB-9100568749EC}"/>
              </a:ext>
            </a:extLst>
          </p:cNvPr>
          <p:cNvSpPr txBox="1"/>
          <p:nvPr/>
        </p:nvSpPr>
        <p:spPr bwMode="auto">
          <a:xfrm>
            <a:off x="5949931" y="3792849"/>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grpSp>
        <p:nvGrpSpPr>
          <p:cNvPr id="259" name="Group 258">
            <a:extLst>
              <a:ext uri="{FF2B5EF4-FFF2-40B4-BE49-F238E27FC236}">
                <a16:creationId xmlns:a16="http://schemas.microsoft.com/office/drawing/2014/main" id="{9C0CE620-1016-4A8B-8793-4AD5FE701F88}"/>
              </a:ext>
            </a:extLst>
          </p:cNvPr>
          <p:cNvGrpSpPr/>
          <p:nvPr/>
        </p:nvGrpSpPr>
        <p:grpSpPr>
          <a:xfrm>
            <a:off x="6357011" y="3962190"/>
            <a:ext cx="267741" cy="343029"/>
            <a:chOff x="578533" y="5583474"/>
            <a:chExt cx="242976" cy="312235"/>
          </a:xfrm>
        </p:grpSpPr>
        <p:grpSp>
          <p:nvGrpSpPr>
            <p:cNvPr id="260" name="Group 259">
              <a:extLst>
                <a:ext uri="{FF2B5EF4-FFF2-40B4-BE49-F238E27FC236}">
                  <a16:creationId xmlns:a16="http://schemas.microsoft.com/office/drawing/2014/main" id="{6D999001-4F35-4868-B255-5C7D4E17068B}"/>
                </a:ext>
              </a:extLst>
            </p:cNvPr>
            <p:cNvGrpSpPr/>
            <p:nvPr/>
          </p:nvGrpSpPr>
          <p:grpSpPr>
            <a:xfrm>
              <a:off x="578533" y="5583474"/>
              <a:ext cx="242976" cy="312235"/>
              <a:chOff x="5229125" y="3046121"/>
              <a:chExt cx="242976" cy="312235"/>
            </a:xfrm>
          </p:grpSpPr>
          <p:sp>
            <p:nvSpPr>
              <p:cNvPr id="262" name="Rectangle 261">
                <a:extLst>
                  <a:ext uri="{FF2B5EF4-FFF2-40B4-BE49-F238E27FC236}">
                    <a16:creationId xmlns:a16="http://schemas.microsoft.com/office/drawing/2014/main" id="{5DEF351B-B9EF-40A9-A870-ABAFAD8DC9AA}"/>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263" name="Picture 262">
                <a:extLst>
                  <a:ext uri="{FF2B5EF4-FFF2-40B4-BE49-F238E27FC236}">
                    <a16:creationId xmlns:a16="http://schemas.microsoft.com/office/drawing/2014/main" id="{DB488E09-8670-41B2-9E95-B0D4274C7C5F}"/>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261" name="Freeform 6">
              <a:extLst>
                <a:ext uri="{FF2B5EF4-FFF2-40B4-BE49-F238E27FC236}">
                  <a16:creationId xmlns:a16="http://schemas.microsoft.com/office/drawing/2014/main" id="{E844A77B-B935-4015-A3E4-66E1D429F843}"/>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sp>
        <p:nvSpPr>
          <p:cNvPr id="264" name="TextBox 263">
            <a:extLst>
              <a:ext uri="{FF2B5EF4-FFF2-40B4-BE49-F238E27FC236}">
                <a16:creationId xmlns:a16="http://schemas.microsoft.com/office/drawing/2014/main" id="{9BD7E13F-A734-4D98-A6B9-A8B5A611A143}"/>
              </a:ext>
            </a:extLst>
          </p:cNvPr>
          <p:cNvSpPr txBox="1"/>
          <p:nvPr/>
        </p:nvSpPr>
        <p:spPr bwMode="auto">
          <a:xfrm>
            <a:off x="2902240" y="3795988"/>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cxnSp>
        <p:nvCxnSpPr>
          <p:cNvPr id="265" name="Straight Arrow Connector 264">
            <a:extLst>
              <a:ext uri="{FF2B5EF4-FFF2-40B4-BE49-F238E27FC236}">
                <a16:creationId xmlns:a16="http://schemas.microsoft.com/office/drawing/2014/main" id="{6D4C32EB-B617-412C-B1A2-625185FCBAF6}"/>
              </a:ext>
            </a:extLst>
          </p:cNvPr>
          <p:cNvCxnSpPr>
            <a:cxnSpLocks/>
            <a:stCxn id="197" idx="0"/>
          </p:cNvCxnSpPr>
          <p:nvPr/>
        </p:nvCxnSpPr>
        <p:spPr bwMode="auto">
          <a:xfrm>
            <a:off x="465968" y="4178712"/>
            <a:ext cx="6035425" cy="22528"/>
          </a:xfrm>
          <a:prstGeom prst="straightConnector1">
            <a:avLst/>
          </a:prstGeom>
          <a:noFill/>
          <a:ln w="38100" cap="flat" cmpd="sng" algn="ctr">
            <a:solidFill>
              <a:schemeClr val="tx1"/>
            </a:solidFill>
            <a:prstDash val="solid"/>
            <a:round/>
            <a:headEnd type="oval" w="med" len="med"/>
            <a:tailEnd type="oval" w="med" len="med"/>
          </a:ln>
          <a:effectLst/>
        </p:spPr>
      </p:cxnSp>
      <p:grpSp>
        <p:nvGrpSpPr>
          <p:cNvPr id="211" name="Group 210">
            <a:extLst>
              <a:ext uri="{FF2B5EF4-FFF2-40B4-BE49-F238E27FC236}">
                <a16:creationId xmlns:a16="http://schemas.microsoft.com/office/drawing/2014/main" id="{866D417F-FD45-4390-9222-FFAEDF75F2EA}"/>
              </a:ext>
            </a:extLst>
          </p:cNvPr>
          <p:cNvGrpSpPr/>
          <p:nvPr/>
        </p:nvGrpSpPr>
        <p:grpSpPr>
          <a:xfrm>
            <a:off x="3248021" y="4076165"/>
            <a:ext cx="483667" cy="275477"/>
            <a:chOff x="4617775" y="4561833"/>
            <a:chExt cx="381952" cy="225189"/>
          </a:xfrm>
        </p:grpSpPr>
        <p:sp>
          <p:nvSpPr>
            <p:cNvPr id="212" name="Oval 211">
              <a:extLst>
                <a:ext uri="{FF2B5EF4-FFF2-40B4-BE49-F238E27FC236}">
                  <a16:creationId xmlns:a16="http://schemas.microsoft.com/office/drawing/2014/main" id="{5D979447-4403-4B8B-8A52-17AF84AAA5CE}"/>
                </a:ext>
              </a:extLst>
            </p:cNvPr>
            <p:cNvSpPr/>
            <p:nvPr/>
          </p:nvSpPr>
          <p:spPr bwMode="auto">
            <a:xfrm>
              <a:off x="4659075" y="4561833"/>
              <a:ext cx="243080" cy="208859"/>
            </a:xfrm>
            <a:prstGeom prst="ellipse">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 b="0" i="0" u="none" strike="noStrike" cap="none" normalizeH="0" baseline="0">
                <a:ln>
                  <a:noFill/>
                </a:ln>
                <a:solidFill>
                  <a:schemeClr val="bg1"/>
                </a:solidFill>
                <a:effectLst/>
                <a:latin typeface="+mn-lt"/>
              </a:endParaRPr>
            </a:p>
          </p:txBody>
        </p:sp>
        <p:sp>
          <p:nvSpPr>
            <p:cNvPr id="213" name="Rectangle 212">
              <a:extLst>
                <a:ext uri="{FF2B5EF4-FFF2-40B4-BE49-F238E27FC236}">
                  <a16:creationId xmlns:a16="http://schemas.microsoft.com/office/drawing/2014/main" id="{EEF8DC33-C11C-44FF-8980-EB35EEAA43DB}"/>
                </a:ext>
              </a:extLst>
            </p:cNvPr>
            <p:cNvSpPr/>
            <p:nvPr/>
          </p:nvSpPr>
          <p:spPr>
            <a:xfrm>
              <a:off x="4617775" y="4571578"/>
              <a:ext cx="381952" cy="215444"/>
            </a:xfrm>
            <a:prstGeom prst="rect">
              <a:avLst/>
            </a:prstGeom>
          </p:spPr>
          <p:txBody>
            <a:bodyPr wrap="square">
              <a:spAutoFit/>
            </a:bodyPr>
            <a:lstStyle/>
            <a:p>
              <a:r>
                <a:rPr lang="sv-SE" sz="900" b="1">
                  <a:solidFill>
                    <a:schemeClr val="bg1"/>
                  </a:solidFill>
                </a:rPr>
                <a:t>LBO</a:t>
              </a:r>
              <a:endParaRPr lang="en-US" sz="900" b="1">
                <a:solidFill>
                  <a:schemeClr val="bg1"/>
                </a:solidFill>
              </a:endParaRPr>
            </a:p>
          </p:txBody>
        </p:sp>
      </p:grpSp>
      <p:sp>
        <p:nvSpPr>
          <p:cNvPr id="84" name="Freeform: Shape 83">
            <a:extLst>
              <a:ext uri="{FF2B5EF4-FFF2-40B4-BE49-F238E27FC236}">
                <a16:creationId xmlns:a16="http://schemas.microsoft.com/office/drawing/2014/main" id="{617047AE-F445-4ED8-9CB0-D5F844F3EE71}"/>
              </a:ext>
            </a:extLst>
          </p:cNvPr>
          <p:cNvSpPr/>
          <p:nvPr/>
        </p:nvSpPr>
        <p:spPr bwMode="auto">
          <a:xfrm>
            <a:off x="3460376" y="4314939"/>
            <a:ext cx="85170" cy="245036"/>
          </a:xfrm>
          <a:custGeom>
            <a:avLst/>
            <a:gdLst>
              <a:gd name="connsiteX0" fmla="*/ 0 w 85170"/>
              <a:gd name="connsiteY0" fmla="*/ 0 h 245036"/>
              <a:gd name="connsiteX1" fmla="*/ 77695 w 85170"/>
              <a:gd name="connsiteY1" fmla="*/ 203200 h 245036"/>
              <a:gd name="connsiteX2" fmla="*/ 77695 w 85170"/>
              <a:gd name="connsiteY2" fmla="*/ 245036 h 245036"/>
            </a:gdLst>
            <a:ahLst/>
            <a:cxnLst>
              <a:cxn ang="0">
                <a:pos x="connsiteX0" y="connsiteY0"/>
              </a:cxn>
              <a:cxn ang="0">
                <a:pos x="connsiteX1" y="connsiteY1"/>
              </a:cxn>
              <a:cxn ang="0">
                <a:pos x="connsiteX2" y="connsiteY2"/>
              </a:cxn>
            </a:cxnLst>
            <a:rect l="l" t="t" r="r" b="b"/>
            <a:pathLst>
              <a:path w="85170" h="245036">
                <a:moveTo>
                  <a:pt x="0" y="0"/>
                </a:moveTo>
                <a:cubicBezTo>
                  <a:pt x="32373" y="81180"/>
                  <a:pt x="64746" y="162361"/>
                  <a:pt x="77695" y="203200"/>
                </a:cubicBezTo>
                <a:cubicBezTo>
                  <a:pt x="90644" y="244039"/>
                  <a:pt x="84169" y="244537"/>
                  <a:pt x="77695" y="245036"/>
                </a:cubicBezTo>
              </a:path>
            </a:pathLst>
          </a:custGeom>
          <a:noFill/>
          <a:ln w="38100" cap="flat" cmpd="sng" algn="ctr">
            <a:solidFill>
              <a:schemeClr val="tx1"/>
            </a:solidFill>
            <a:prstDash val="solid"/>
            <a:round/>
            <a:headEnd type="none" w="med" len="med"/>
            <a:tailEnd type="none" w="med" len="med"/>
          </a:ln>
          <a:effectLst/>
        </p:spPr>
        <p:txBody>
          <a:bodyPr rtlCol="0" anchor="ctr"/>
          <a:lstStyle/>
          <a:p>
            <a:pPr algn="ctr"/>
            <a:endParaRPr lang="sv-SE"/>
          </a:p>
        </p:txBody>
      </p:sp>
      <p:sp>
        <p:nvSpPr>
          <p:cNvPr id="266" name="TextBox 265">
            <a:extLst>
              <a:ext uri="{FF2B5EF4-FFF2-40B4-BE49-F238E27FC236}">
                <a16:creationId xmlns:a16="http://schemas.microsoft.com/office/drawing/2014/main" id="{0DE2CF80-F9A4-490B-9066-1BC54E57F28B}"/>
              </a:ext>
            </a:extLst>
          </p:cNvPr>
          <p:cNvSpPr txBox="1"/>
          <p:nvPr/>
        </p:nvSpPr>
        <p:spPr bwMode="auto">
          <a:xfrm>
            <a:off x="5954197" y="5199923"/>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grpSp>
        <p:nvGrpSpPr>
          <p:cNvPr id="267" name="Group 266">
            <a:extLst>
              <a:ext uri="{FF2B5EF4-FFF2-40B4-BE49-F238E27FC236}">
                <a16:creationId xmlns:a16="http://schemas.microsoft.com/office/drawing/2014/main" id="{C7C45F42-AFD0-4FF1-8903-2ED5D75852D1}"/>
              </a:ext>
            </a:extLst>
          </p:cNvPr>
          <p:cNvGrpSpPr/>
          <p:nvPr/>
        </p:nvGrpSpPr>
        <p:grpSpPr>
          <a:xfrm>
            <a:off x="6361277" y="5369264"/>
            <a:ext cx="267741" cy="343029"/>
            <a:chOff x="578533" y="5583474"/>
            <a:chExt cx="242976" cy="312235"/>
          </a:xfrm>
        </p:grpSpPr>
        <p:grpSp>
          <p:nvGrpSpPr>
            <p:cNvPr id="268" name="Group 267">
              <a:extLst>
                <a:ext uri="{FF2B5EF4-FFF2-40B4-BE49-F238E27FC236}">
                  <a16:creationId xmlns:a16="http://schemas.microsoft.com/office/drawing/2014/main" id="{55CEEF8C-2019-46C0-8B85-4685F67E016C}"/>
                </a:ext>
              </a:extLst>
            </p:cNvPr>
            <p:cNvGrpSpPr/>
            <p:nvPr/>
          </p:nvGrpSpPr>
          <p:grpSpPr>
            <a:xfrm>
              <a:off x="578533" y="5583474"/>
              <a:ext cx="242976" cy="312235"/>
              <a:chOff x="5229125" y="3046121"/>
              <a:chExt cx="242976" cy="312235"/>
            </a:xfrm>
          </p:grpSpPr>
          <p:sp>
            <p:nvSpPr>
              <p:cNvPr id="270" name="Rectangle 269">
                <a:extLst>
                  <a:ext uri="{FF2B5EF4-FFF2-40B4-BE49-F238E27FC236}">
                    <a16:creationId xmlns:a16="http://schemas.microsoft.com/office/drawing/2014/main" id="{F073E549-1B51-48BD-94A7-3BBE175CEC79}"/>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271" name="Picture 270">
                <a:extLst>
                  <a:ext uri="{FF2B5EF4-FFF2-40B4-BE49-F238E27FC236}">
                    <a16:creationId xmlns:a16="http://schemas.microsoft.com/office/drawing/2014/main" id="{C5FA6E07-0AFD-49F8-A6AE-B2CC6FA1626B}"/>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269" name="Freeform 6">
              <a:extLst>
                <a:ext uri="{FF2B5EF4-FFF2-40B4-BE49-F238E27FC236}">
                  <a16:creationId xmlns:a16="http://schemas.microsoft.com/office/drawing/2014/main" id="{070FB9F4-17A9-4A51-A397-5FEBE971AAEF}"/>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sp>
        <p:nvSpPr>
          <p:cNvPr id="272" name="TextBox 271">
            <a:extLst>
              <a:ext uri="{FF2B5EF4-FFF2-40B4-BE49-F238E27FC236}">
                <a16:creationId xmlns:a16="http://schemas.microsoft.com/office/drawing/2014/main" id="{0B26F964-23AD-46AE-9665-5CCD8749D268}"/>
              </a:ext>
            </a:extLst>
          </p:cNvPr>
          <p:cNvSpPr txBox="1"/>
          <p:nvPr/>
        </p:nvSpPr>
        <p:spPr bwMode="auto">
          <a:xfrm>
            <a:off x="2893088" y="4821798"/>
            <a:ext cx="483667" cy="66576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400" b="1">
                <a:latin typeface="Ericsson Technical Icons" panose="00000500000000000000" pitchFamily="2" charset="0"/>
              </a:rPr>
              <a:t>G</a:t>
            </a:r>
            <a:endParaRPr lang="en-US" sz="1400" b="1"/>
          </a:p>
          <a:p>
            <a:pPr algn="ctr">
              <a:buClr>
                <a:schemeClr val="tx1"/>
              </a:buClr>
            </a:pPr>
            <a:r>
              <a:rPr lang="en-US" sz="1100" b="1"/>
              <a:t>Core</a:t>
            </a:r>
            <a:br>
              <a:rPr lang="en-US" sz="1100" b="1"/>
            </a:br>
            <a:r>
              <a:rPr lang="en-US" sz="1100" b="1"/>
              <a:t>UP</a:t>
            </a:r>
            <a:endParaRPr lang="en-US" sz="1600" b="1"/>
          </a:p>
        </p:txBody>
      </p:sp>
      <p:grpSp>
        <p:nvGrpSpPr>
          <p:cNvPr id="273" name="Group 272">
            <a:extLst>
              <a:ext uri="{FF2B5EF4-FFF2-40B4-BE49-F238E27FC236}">
                <a16:creationId xmlns:a16="http://schemas.microsoft.com/office/drawing/2014/main" id="{B9166EB4-CCC2-42B7-9E9E-DAD9EAD267CB}"/>
              </a:ext>
            </a:extLst>
          </p:cNvPr>
          <p:cNvGrpSpPr/>
          <p:nvPr/>
        </p:nvGrpSpPr>
        <p:grpSpPr>
          <a:xfrm>
            <a:off x="3300168" y="4991139"/>
            <a:ext cx="267741" cy="343029"/>
            <a:chOff x="578533" y="5583474"/>
            <a:chExt cx="242976" cy="312235"/>
          </a:xfrm>
        </p:grpSpPr>
        <p:grpSp>
          <p:nvGrpSpPr>
            <p:cNvPr id="274" name="Group 273">
              <a:extLst>
                <a:ext uri="{FF2B5EF4-FFF2-40B4-BE49-F238E27FC236}">
                  <a16:creationId xmlns:a16="http://schemas.microsoft.com/office/drawing/2014/main" id="{2BC3C328-21A0-4B59-AD2A-D3FCFFF4FA55}"/>
                </a:ext>
              </a:extLst>
            </p:cNvPr>
            <p:cNvGrpSpPr/>
            <p:nvPr/>
          </p:nvGrpSpPr>
          <p:grpSpPr>
            <a:xfrm>
              <a:off x="578533" y="5583474"/>
              <a:ext cx="242976" cy="312235"/>
              <a:chOff x="5229125" y="3046121"/>
              <a:chExt cx="242976" cy="312235"/>
            </a:xfrm>
          </p:grpSpPr>
          <p:sp>
            <p:nvSpPr>
              <p:cNvPr id="276" name="Rectangle 275">
                <a:extLst>
                  <a:ext uri="{FF2B5EF4-FFF2-40B4-BE49-F238E27FC236}">
                    <a16:creationId xmlns:a16="http://schemas.microsoft.com/office/drawing/2014/main" id="{4179D077-E07A-4B22-8634-7792E2C6E8FC}"/>
                  </a:ext>
                </a:extLst>
              </p:cNvPr>
              <p:cNvSpPr/>
              <p:nvPr/>
            </p:nvSpPr>
            <p:spPr bwMode="auto">
              <a:xfrm>
                <a:off x="5229125" y="3046121"/>
                <a:ext cx="242976" cy="312235"/>
              </a:xfrm>
              <a:prstGeom prst="rect">
                <a:avLst/>
              </a:prstGeom>
              <a:solidFill>
                <a:schemeClr val="bg1"/>
              </a:solidFill>
              <a:ln w="635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pic>
            <p:nvPicPr>
              <p:cNvPr id="277" name="Picture 276">
                <a:extLst>
                  <a:ext uri="{FF2B5EF4-FFF2-40B4-BE49-F238E27FC236}">
                    <a16:creationId xmlns:a16="http://schemas.microsoft.com/office/drawing/2014/main" id="{E46728C3-E217-41CA-B5CA-DA445587F1CE}"/>
                  </a:ext>
                </a:extLst>
              </p:cNvPr>
              <p:cNvPicPr>
                <a:picLocks noChangeAspect="1"/>
              </p:cNvPicPr>
              <p:nvPr/>
            </p:nvPicPr>
            <p:blipFill>
              <a:blip r:embed="rId3"/>
              <a:stretch>
                <a:fillRect/>
              </a:stretch>
            </p:blipFill>
            <p:spPr>
              <a:xfrm flipH="1">
                <a:off x="5318959" y="3148941"/>
                <a:ext cx="70522" cy="97246"/>
              </a:xfrm>
              <a:prstGeom prst="rect">
                <a:avLst/>
              </a:prstGeom>
              <a:ln w="6350">
                <a:noFill/>
                <a:prstDash val="sysDash"/>
              </a:ln>
            </p:spPr>
          </p:pic>
        </p:grpSp>
        <p:sp>
          <p:nvSpPr>
            <p:cNvPr id="275" name="Freeform 6">
              <a:extLst>
                <a:ext uri="{FF2B5EF4-FFF2-40B4-BE49-F238E27FC236}">
                  <a16:creationId xmlns:a16="http://schemas.microsoft.com/office/drawing/2014/main" id="{46FAABED-B72D-4121-B17A-405CB8C64361}"/>
                </a:ext>
              </a:extLst>
            </p:cNvPr>
            <p:cNvSpPr>
              <a:spLocks noEditPoints="1"/>
            </p:cNvSpPr>
            <p:nvPr/>
          </p:nvSpPr>
          <p:spPr bwMode="auto">
            <a:xfrm>
              <a:off x="626700" y="5618785"/>
              <a:ext cx="152718" cy="244311"/>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1"/>
            </a:solidFill>
            <a:ln>
              <a:noFill/>
            </a:ln>
          </p:spPr>
          <p:txBody>
            <a:bodyPr wrap="none" lIns="72000" r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grpSp>
      <p:cxnSp>
        <p:nvCxnSpPr>
          <p:cNvPr id="278" name="Straight Arrow Connector 277">
            <a:extLst>
              <a:ext uri="{FF2B5EF4-FFF2-40B4-BE49-F238E27FC236}">
                <a16:creationId xmlns:a16="http://schemas.microsoft.com/office/drawing/2014/main" id="{32B9A19C-0119-4D3A-82FF-46740AD6BE08}"/>
              </a:ext>
            </a:extLst>
          </p:cNvPr>
          <p:cNvCxnSpPr>
            <a:cxnSpLocks/>
            <a:stCxn id="232" idx="2"/>
          </p:cNvCxnSpPr>
          <p:nvPr/>
        </p:nvCxnSpPr>
        <p:spPr bwMode="auto">
          <a:xfrm flipV="1">
            <a:off x="465968" y="5598161"/>
            <a:ext cx="6039400" cy="35008"/>
          </a:xfrm>
          <a:prstGeom prst="straightConnector1">
            <a:avLst/>
          </a:prstGeom>
          <a:noFill/>
          <a:ln w="38100" cap="flat" cmpd="sng" algn="ctr">
            <a:solidFill>
              <a:schemeClr val="tx1"/>
            </a:solidFill>
            <a:prstDash val="solid"/>
            <a:round/>
            <a:headEnd type="oval" w="med" len="med"/>
            <a:tailEnd type="oval" w="med" len="med"/>
          </a:ln>
          <a:effectLst/>
        </p:spPr>
      </p:cxnSp>
      <p:sp>
        <p:nvSpPr>
          <p:cNvPr id="92" name="Freeform: Shape 91">
            <a:extLst>
              <a:ext uri="{FF2B5EF4-FFF2-40B4-BE49-F238E27FC236}">
                <a16:creationId xmlns:a16="http://schemas.microsoft.com/office/drawing/2014/main" id="{B0305A31-9AAD-43E3-AF17-C45035BE011F}"/>
              </a:ext>
            </a:extLst>
          </p:cNvPr>
          <p:cNvSpPr/>
          <p:nvPr/>
        </p:nvSpPr>
        <p:spPr bwMode="auto">
          <a:xfrm>
            <a:off x="466095" y="5210682"/>
            <a:ext cx="2970910" cy="345123"/>
          </a:xfrm>
          <a:custGeom>
            <a:avLst/>
            <a:gdLst>
              <a:gd name="connsiteX0" fmla="*/ 0 w 2970910"/>
              <a:gd name="connsiteY0" fmla="*/ 345123 h 345123"/>
              <a:gd name="connsiteX1" fmla="*/ 2259315 w 2970910"/>
              <a:gd name="connsiteY1" fmla="*/ 14231 h 345123"/>
              <a:gd name="connsiteX2" fmla="*/ 2970910 w 2970910"/>
              <a:gd name="connsiteY2" fmla="*/ 0 h 345123"/>
            </a:gdLst>
            <a:ahLst/>
            <a:cxnLst>
              <a:cxn ang="0">
                <a:pos x="connsiteX0" y="connsiteY0"/>
              </a:cxn>
              <a:cxn ang="0">
                <a:pos x="connsiteX1" y="connsiteY1"/>
              </a:cxn>
              <a:cxn ang="0">
                <a:pos x="connsiteX2" y="connsiteY2"/>
              </a:cxn>
            </a:cxnLst>
            <a:rect l="l" t="t" r="r" b="b"/>
            <a:pathLst>
              <a:path w="2970910" h="345123">
                <a:moveTo>
                  <a:pt x="0" y="345123"/>
                </a:moveTo>
                <a:lnTo>
                  <a:pt x="2259315" y="14231"/>
                </a:lnTo>
                <a:lnTo>
                  <a:pt x="2970910" y="0"/>
                </a:lnTo>
              </a:path>
            </a:pathLst>
          </a:custGeom>
          <a:noFill/>
          <a:ln w="38100" cap="flat" cmpd="sng" algn="ctr">
            <a:solidFill>
              <a:schemeClr val="tx1"/>
            </a:solidFill>
            <a:prstDash val="solid"/>
            <a:round/>
            <a:headEnd type="oval" w="med" len="med"/>
            <a:tailEnd type="oval" w="med" len="med"/>
          </a:ln>
          <a:effectLst/>
        </p:spPr>
        <p:txBody>
          <a:bodyPr rtlCol="0" anchor="ctr"/>
          <a:lstStyle/>
          <a:p>
            <a:pPr algn="ctr"/>
            <a:endParaRPr lang="sv-SE"/>
          </a:p>
        </p:txBody>
      </p:sp>
      <p:sp>
        <p:nvSpPr>
          <p:cNvPr id="2" name="Rectangle 1">
            <a:extLst>
              <a:ext uri="{FF2B5EF4-FFF2-40B4-BE49-F238E27FC236}">
                <a16:creationId xmlns:a16="http://schemas.microsoft.com/office/drawing/2014/main" id="{AC7C919E-DD00-4502-8784-D45445F59237}"/>
              </a:ext>
            </a:extLst>
          </p:cNvPr>
          <p:cNvSpPr/>
          <p:nvPr/>
        </p:nvSpPr>
        <p:spPr bwMode="auto">
          <a:xfrm>
            <a:off x="135250" y="2408549"/>
            <a:ext cx="11597810" cy="997932"/>
          </a:xfrm>
          <a:prstGeom prst="rect">
            <a:avLst/>
          </a:prstGeom>
          <a:noFill/>
          <a:ln w="38100" cap="flat" cmpd="sng" algn="ctr">
            <a:solidFill>
              <a:srgbClr val="FF0000"/>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r" defTabSz="914400" rtl="0" eaLnBrk="1" fontAlgn="base" latinLnBrk="0" hangingPunct="1">
              <a:lnSpc>
                <a:spcPct val="100000"/>
              </a:lnSpc>
              <a:spcBef>
                <a:spcPts val="300"/>
              </a:spcBef>
              <a:spcAft>
                <a:spcPct val="0"/>
              </a:spcAft>
              <a:buClrTx/>
              <a:buSzTx/>
              <a:tabLst/>
            </a:pPr>
            <a:r>
              <a:rPr kumimoji="0" lang="en-US" sz="2000" b="0" i="0" u="none" strike="noStrike" cap="none" normalizeH="0" baseline="0">
                <a:ln>
                  <a:noFill/>
                </a:ln>
                <a:solidFill>
                  <a:srgbClr val="FF0000"/>
                </a:solidFill>
                <a:effectLst/>
                <a:latin typeface="+mn-lt"/>
              </a:rPr>
              <a:t>Short/medium term recommendation</a:t>
            </a:r>
          </a:p>
        </p:txBody>
      </p:sp>
    </p:spTree>
    <p:extLst>
      <p:ext uri="{BB962C8B-B14F-4D97-AF65-F5344CB8AC3E}">
        <p14:creationId xmlns:p14="http://schemas.microsoft.com/office/powerpoint/2010/main" val="283334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6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7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3" grpId="0" animBg="1"/>
      <p:bldP spid="416" grpId="0" animBg="1"/>
      <p:bldP spid="428" grpId="0" animBg="1"/>
      <p:bldP spid="234" grpId="0" animBg="1"/>
      <p:bldP spid="258" grpId="0" animBg="1"/>
      <p:bldP spid="264" grpId="0" animBg="1"/>
      <p:bldP spid="84" grpId="0" animBg="1"/>
      <p:bldP spid="266" grpId="0" animBg="1"/>
      <p:bldP spid="272" grpId="0" animBg="1"/>
      <p:bldP spid="92" grpId="0" animBg="1"/>
      <p:bldP spid="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Session Management</a:t>
            </a:r>
          </a:p>
        </p:txBody>
      </p:sp>
      <p:pic>
        <p:nvPicPr>
          <p:cNvPr id="2" name="Picture 1">
            <a:extLst>
              <a:ext uri="{FF2B5EF4-FFF2-40B4-BE49-F238E27FC236}">
                <a16:creationId xmlns:a16="http://schemas.microsoft.com/office/drawing/2014/main" id="{C0CADFC1-095F-42D0-89A0-8EE12F81C4F8}"/>
              </a:ext>
            </a:extLst>
          </p:cNvPr>
          <p:cNvPicPr>
            <a:picLocks noChangeAspect="1"/>
          </p:cNvPicPr>
          <p:nvPr/>
        </p:nvPicPr>
        <p:blipFill>
          <a:blip r:embed="rId3"/>
          <a:stretch>
            <a:fillRect/>
          </a:stretch>
        </p:blipFill>
        <p:spPr>
          <a:xfrm>
            <a:off x="5943600" y="2330619"/>
            <a:ext cx="6248400" cy="2937146"/>
          </a:xfrm>
          <a:prstGeom prst="rect">
            <a:avLst/>
          </a:prstGeom>
        </p:spPr>
      </p:pic>
      <p:sp>
        <p:nvSpPr>
          <p:cNvPr id="7" name="Content Placeholder 6"/>
          <p:cNvSpPr>
            <a:spLocks noGrp="1"/>
          </p:cNvSpPr>
          <p:nvPr>
            <p:ph sz="quarter" idx="10"/>
          </p:nvPr>
        </p:nvSpPr>
        <p:spPr>
          <a:xfrm>
            <a:off x="479424" y="1263316"/>
            <a:ext cx="5801059" cy="5305926"/>
          </a:xfrm>
        </p:spPr>
        <p:txBody>
          <a:bodyPr/>
          <a:lstStyle/>
          <a:p>
            <a:r>
              <a:rPr lang="en-US" sz="2000" b="1"/>
              <a:t>UP tunneling between RAN and UPF to handle mobility, different PDU types, </a:t>
            </a:r>
            <a:r>
              <a:rPr lang="en-US" sz="2000" b="1" err="1"/>
              <a:t>etc</a:t>
            </a:r>
            <a:endParaRPr lang="en-US" sz="2000" b="1"/>
          </a:p>
          <a:p>
            <a:pPr lvl="1"/>
            <a:r>
              <a:rPr lang="en-US"/>
              <a:t>Per-PDU-Session tunneling </a:t>
            </a:r>
          </a:p>
          <a:p>
            <a:pPr lvl="1"/>
            <a:r>
              <a:rPr lang="en-US"/>
              <a:t>GTP-U used as UP tunneling protocol on N3 and N9</a:t>
            </a:r>
          </a:p>
          <a:p>
            <a:r>
              <a:rPr lang="en-US" b="1"/>
              <a:t>Supported PDU Session types: IPv4, IPv6, IPv4v6, Ethernet, “Unstructured”/non-IP</a:t>
            </a:r>
          </a:p>
          <a:p>
            <a:pPr lvl="1"/>
            <a:r>
              <a:rPr lang="en-US"/>
              <a:t>Capabilities between PDU Session types may differ, e.g. QoS differentiation supported for </a:t>
            </a:r>
            <a:br>
              <a:rPr lang="en-US"/>
            </a:br>
            <a:r>
              <a:rPr lang="en-US"/>
              <a:t>IP-based and Ethernet PDU Sessions but only single QoS class for Unstructured PDU type</a:t>
            </a:r>
          </a:p>
          <a:p>
            <a:r>
              <a:rPr lang="en-US" sz="2000" b="1"/>
              <a:t>Three SSC (Session and Service Continuity) modes to allow more flexibility regarding application session continuity needs</a:t>
            </a:r>
          </a:p>
          <a:p>
            <a:pPr lvl="1"/>
            <a:r>
              <a:rPr lang="en-US" sz="1600"/>
              <a:t>Closely related to distribution of UPF and UPF service areas</a:t>
            </a:r>
          </a:p>
          <a:p>
            <a:endParaRPr lang="en-US" sz="2000" b="1"/>
          </a:p>
        </p:txBody>
      </p:sp>
    </p:spTree>
    <p:extLst>
      <p:ext uri="{BB962C8B-B14F-4D97-AF65-F5344CB8AC3E}">
        <p14:creationId xmlns:p14="http://schemas.microsoft.com/office/powerpoint/2010/main" val="191774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5" end="5"/>
                                            </p:txEl>
                                          </p:spTgt>
                                        </p:tgtEl>
                                        <p:attrNameLst>
                                          <p:attrName>style.visibility</p:attrName>
                                        </p:attrNameLst>
                                      </p:cBhvr>
                                      <p:to>
                                        <p:strVal val="visible"/>
                                      </p:to>
                                    </p:set>
                                    <p:animEffect transition="in" filter="fade">
                                      <p:cBhvr>
                                        <p:cTn id="12" dur="500"/>
                                        <p:tgtEl>
                                          <p:spTgt spid="7">
                                            <p:txEl>
                                              <p:pRg st="5" end="5"/>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animEffect transition="in" filter="fade">
                                      <p:cBhvr>
                                        <p:cTn id="15"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FC469A-ECC0-4112-B474-27E113D89127}"/>
              </a:ext>
            </a:extLst>
          </p:cNvPr>
          <p:cNvSpPr>
            <a:spLocks noGrp="1"/>
          </p:cNvSpPr>
          <p:nvPr>
            <p:ph sz="quarter" idx="10"/>
          </p:nvPr>
        </p:nvSpPr>
        <p:spPr>
          <a:xfrm>
            <a:off x="479425" y="1844676"/>
            <a:ext cx="6188661" cy="4012786"/>
          </a:xfrm>
        </p:spPr>
        <p:txBody>
          <a:bodyPr/>
          <a:lstStyle/>
          <a:p>
            <a:pPr fontAlgn="ctr"/>
            <a:r>
              <a:rPr lang="en-US" altLang="en-US"/>
              <a:t>Support possibility for optimized deployments for new services</a:t>
            </a:r>
          </a:p>
          <a:p>
            <a:pPr fontAlgn="ctr"/>
            <a:r>
              <a:rPr lang="en-US" altLang="en-US"/>
              <a:t>Network Slicing is a key enabler supporting</a:t>
            </a:r>
          </a:p>
          <a:p>
            <a:pPr lvl="1" fontAlgn="ctr"/>
            <a:r>
              <a:rPr lang="en-US" altLang="en-US"/>
              <a:t>Diverging Use Cases and Requirements</a:t>
            </a:r>
          </a:p>
          <a:p>
            <a:pPr lvl="1" fontAlgn="ctr"/>
            <a:r>
              <a:rPr lang="en-US" altLang="en-US"/>
              <a:t>Separation of concern</a:t>
            </a:r>
          </a:p>
          <a:p>
            <a:pPr lvl="1" fontAlgn="ctr"/>
            <a:r>
              <a:rPr lang="en-US" altLang="en-US"/>
              <a:t>Multiple instantiations of same functionality</a:t>
            </a:r>
          </a:p>
          <a:p>
            <a:pPr lvl="1" fontAlgn="ctr"/>
            <a:r>
              <a:rPr lang="en-US" altLang="en-US"/>
              <a:t>Reduced TTM</a:t>
            </a:r>
          </a:p>
          <a:p>
            <a:r>
              <a:rPr lang="en-US"/>
              <a:t>Automation and programmability important part of target architecture</a:t>
            </a:r>
          </a:p>
          <a:p>
            <a:r>
              <a:rPr lang="en-US" altLang="en-US"/>
              <a:t>5G Mobile Broadband service is an evolution of current 4G MBB, but using the Service Based architecture as basis</a:t>
            </a:r>
          </a:p>
        </p:txBody>
      </p:sp>
      <p:sp>
        <p:nvSpPr>
          <p:cNvPr id="23555" name="Title 2"/>
          <p:cNvSpPr>
            <a:spLocks noGrp="1"/>
          </p:cNvSpPr>
          <p:nvPr>
            <p:ph type="title"/>
          </p:nvPr>
        </p:nvSpPr>
        <p:spPr/>
        <p:txBody>
          <a:bodyPr/>
          <a:lstStyle/>
          <a:p>
            <a:r>
              <a:rPr lang="en-US" altLang="en-US"/>
              <a:t>Overall 5G Core Architecture Strategy			</a:t>
            </a:r>
          </a:p>
        </p:txBody>
      </p:sp>
      <p:pic>
        <p:nvPicPr>
          <p:cNvPr id="4" name="Picture 3">
            <a:extLst>
              <a:ext uri="{FF2B5EF4-FFF2-40B4-BE49-F238E27FC236}">
                <a16:creationId xmlns:a16="http://schemas.microsoft.com/office/drawing/2014/main" id="{71083943-5DB8-4E79-9333-67900E3CA276}"/>
              </a:ext>
            </a:extLst>
          </p:cNvPr>
          <p:cNvPicPr>
            <a:picLocks noChangeAspect="1"/>
          </p:cNvPicPr>
          <p:nvPr/>
        </p:nvPicPr>
        <p:blipFill>
          <a:blip r:embed="rId3"/>
          <a:stretch>
            <a:fillRect/>
          </a:stretch>
        </p:blipFill>
        <p:spPr>
          <a:xfrm>
            <a:off x="6668086" y="2326794"/>
            <a:ext cx="5428668" cy="3048550"/>
          </a:xfrm>
          <a:prstGeom prst="rect">
            <a:avLst/>
          </a:prstGeom>
        </p:spPr>
      </p:pic>
    </p:spTree>
    <p:extLst>
      <p:ext uri="{BB962C8B-B14F-4D97-AF65-F5344CB8AC3E}">
        <p14:creationId xmlns:p14="http://schemas.microsoft.com/office/powerpoint/2010/main" val="39585161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C542997-3E43-4968-8125-6C52373063F5}"/>
              </a:ext>
            </a:extLst>
          </p:cNvPr>
          <p:cNvSpPr>
            <a:spLocks noGrp="1"/>
          </p:cNvSpPr>
          <p:nvPr>
            <p:ph idx="1"/>
          </p:nvPr>
        </p:nvSpPr>
        <p:spPr>
          <a:xfrm>
            <a:off x="529168" y="4409978"/>
            <a:ext cx="11135785" cy="2208308"/>
          </a:xfrm>
        </p:spPr>
        <p:txBody>
          <a:bodyPr/>
          <a:lstStyle/>
          <a:p>
            <a:r>
              <a:rPr lang="en-US" sz="1600"/>
              <a:t>These use cases primarily target objective 1, i.e. scenarios where an SMF selected for a PDU Session cannot control UPFs covering all areas where a UE may move</a:t>
            </a:r>
          </a:p>
          <a:p>
            <a:pPr lvl="1"/>
            <a:r>
              <a:rPr lang="en-US" sz="1600" b="1"/>
              <a:t>Use case 1</a:t>
            </a:r>
            <a:r>
              <a:rPr lang="en-US" sz="1600"/>
              <a:t>: PLMNs that have been deployed in regions, where a SMF in one region cannot control UPFs in another region</a:t>
            </a:r>
          </a:p>
          <a:p>
            <a:pPr lvl="1"/>
            <a:r>
              <a:rPr lang="en-US" sz="1600" b="1"/>
              <a:t>Use case 2</a:t>
            </a:r>
            <a:r>
              <a:rPr lang="en-US" sz="1600"/>
              <a:t>: Support for inter-PLMN mobility</a:t>
            </a:r>
          </a:p>
          <a:p>
            <a:pPr lvl="1"/>
            <a:r>
              <a:rPr lang="en-US" sz="1600" b="1"/>
              <a:t>Use case 3</a:t>
            </a:r>
            <a:r>
              <a:rPr lang="en-US" sz="1600"/>
              <a:t>: </a:t>
            </a:r>
            <a:r>
              <a:rPr lang="en-GB" sz="1600"/>
              <a:t>Dedicated SMF controls UPF(s) deployed within the corporate premises, but when UE is outside of the premises and uses 3GPP RAN, other UPFs (not controlled by Enterprise SMF) are needed to handle the PDU Session user-plane</a:t>
            </a:r>
            <a:endParaRPr lang="en-US" sz="1600"/>
          </a:p>
        </p:txBody>
      </p:sp>
      <p:sp>
        <p:nvSpPr>
          <p:cNvPr id="3" name="Title 2">
            <a:extLst>
              <a:ext uri="{FF2B5EF4-FFF2-40B4-BE49-F238E27FC236}">
                <a16:creationId xmlns:a16="http://schemas.microsoft.com/office/drawing/2014/main" id="{157C539C-8098-48B2-85BC-383949B5D8F5}"/>
              </a:ext>
            </a:extLst>
          </p:cNvPr>
          <p:cNvSpPr>
            <a:spLocks noGrp="1"/>
          </p:cNvSpPr>
          <p:nvPr>
            <p:ph type="title"/>
          </p:nvPr>
        </p:nvSpPr>
        <p:spPr/>
        <p:txBody>
          <a:bodyPr/>
          <a:lstStyle/>
          <a:p>
            <a:r>
              <a:rPr lang="en-US"/>
              <a:t>Session Management – I-SMF example use cases</a:t>
            </a:r>
            <a:br>
              <a:rPr lang="en-US" sz="2800"/>
            </a:br>
            <a:r>
              <a:rPr lang="en-US" sz="2800"/>
              <a:t>(ETSUN)</a:t>
            </a:r>
            <a:endParaRPr lang="en-US"/>
          </a:p>
        </p:txBody>
      </p:sp>
      <p:graphicFrame>
        <p:nvGraphicFramePr>
          <p:cNvPr id="11" name="Object 10">
            <a:extLst>
              <a:ext uri="{FF2B5EF4-FFF2-40B4-BE49-F238E27FC236}">
                <a16:creationId xmlns:a16="http://schemas.microsoft.com/office/drawing/2014/main" id="{09DBE084-0AFF-474D-BF7C-E3737028F982}"/>
              </a:ext>
            </a:extLst>
          </p:cNvPr>
          <p:cNvGraphicFramePr>
            <a:graphicFrameLocks noChangeAspect="1"/>
          </p:cNvGraphicFramePr>
          <p:nvPr/>
        </p:nvGraphicFramePr>
        <p:xfrm>
          <a:off x="524935" y="1095375"/>
          <a:ext cx="3095625" cy="2333625"/>
        </p:xfrm>
        <a:graphic>
          <a:graphicData uri="http://schemas.openxmlformats.org/presentationml/2006/ole">
            <mc:AlternateContent xmlns:mc="http://schemas.openxmlformats.org/markup-compatibility/2006">
              <mc:Choice xmlns:v="urn:schemas-microsoft-com:vml" Requires="v">
                <p:oleObj spid="_x0000_s3076" name="Picture" r:id="rId4" imgW="3105386" imgH="2332200" progId="Word.Picture.8">
                  <p:embed/>
                </p:oleObj>
              </mc:Choice>
              <mc:Fallback>
                <p:oleObj name="Picture" r:id="rId4" imgW="3105386" imgH="2332200" progId="Word.Picture.8">
                  <p:embed/>
                  <p:pic>
                    <p:nvPicPr>
                      <p:cNvPr id="11" name="Object 10">
                        <a:extLst>
                          <a:ext uri="{FF2B5EF4-FFF2-40B4-BE49-F238E27FC236}">
                            <a16:creationId xmlns:a16="http://schemas.microsoft.com/office/drawing/2014/main" id="{09DBE084-0AFF-474D-BF7C-E3737028F9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935" y="1095375"/>
                        <a:ext cx="3095625" cy="2333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2">
            <a:extLst>
              <a:ext uri="{FF2B5EF4-FFF2-40B4-BE49-F238E27FC236}">
                <a16:creationId xmlns:a16="http://schemas.microsoft.com/office/drawing/2014/main" id="{0082A628-4843-4DDE-9F97-6E126A6AC8DC}"/>
              </a:ext>
            </a:extLst>
          </p:cNvPr>
          <p:cNvSpPr txBox="1"/>
          <p:nvPr/>
        </p:nvSpPr>
        <p:spPr>
          <a:xfrm>
            <a:off x="4973653" y="3717421"/>
            <a:ext cx="3176178" cy="307777"/>
          </a:xfrm>
          <a:prstGeom prst="rect">
            <a:avLst/>
          </a:prstGeom>
          <a:noFill/>
        </p:spPr>
        <p:txBody>
          <a:bodyPr wrap="square" rtlCol="0">
            <a:spAutoFit/>
          </a:bodyPr>
          <a:lstStyle/>
          <a:p>
            <a:r>
              <a:rPr lang="en-US" sz="1400"/>
              <a:t>Use case 2: inter PLMN mobility</a:t>
            </a:r>
            <a:endParaRPr lang="sv-SE" sz="1400"/>
          </a:p>
        </p:txBody>
      </p:sp>
      <p:pic>
        <p:nvPicPr>
          <p:cNvPr id="14" name="Picture 13">
            <a:extLst>
              <a:ext uri="{FF2B5EF4-FFF2-40B4-BE49-F238E27FC236}">
                <a16:creationId xmlns:a16="http://schemas.microsoft.com/office/drawing/2014/main" id="{6954D62E-5012-4D16-9909-830D0E955532}"/>
              </a:ext>
            </a:extLst>
          </p:cNvPr>
          <p:cNvPicPr>
            <a:picLocks noChangeAspect="1"/>
          </p:cNvPicPr>
          <p:nvPr/>
        </p:nvPicPr>
        <p:blipFill>
          <a:blip r:embed="rId6"/>
          <a:stretch>
            <a:fillRect/>
          </a:stretch>
        </p:blipFill>
        <p:spPr>
          <a:xfrm>
            <a:off x="4631883" y="1199236"/>
            <a:ext cx="3133333" cy="2342857"/>
          </a:xfrm>
          <a:prstGeom prst="rect">
            <a:avLst/>
          </a:prstGeom>
        </p:spPr>
      </p:pic>
      <p:sp>
        <p:nvSpPr>
          <p:cNvPr id="7" name="TextBox 6">
            <a:extLst>
              <a:ext uri="{FF2B5EF4-FFF2-40B4-BE49-F238E27FC236}">
                <a16:creationId xmlns:a16="http://schemas.microsoft.com/office/drawing/2014/main" id="{D923654D-B800-4BEA-9001-3EBBE3A64DBC}"/>
              </a:ext>
            </a:extLst>
          </p:cNvPr>
          <p:cNvSpPr txBox="1"/>
          <p:nvPr/>
        </p:nvSpPr>
        <p:spPr>
          <a:xfrm>
            <a:off x="640936" y="3717421"/>
            <a:ext cx="3176178" cy="523220"/>
          </a:xfrm>
          <a:prstGeom prst="rect">
            <a:avLst/>
          </a:prstGeom>
          <a:noFill/>
        </p:spPr>
        <p:txBody>
          <a:bodyPr wrap="square" rtlCol="0">
            <a:spAutoFit/>
          </a:bodyPr>
          <a:lstStyle/>
          <a:p>
            <a:r>
              <a:rPr lang="en-US" sz="1400"/>
              <a:t>Use case 1: Mobility across two regions within a PLMN</a:t>
            </a:r>
            <a:endParaRPr lang="sv-SE" sz="1400"/>
          </a:p>
        </p:txBody>
      </p:sp>
      <p:pic>
        <p:nvPicPr>
          <p:cNvPr id="2" name="Picture 1">
            <a:extLst>
              <a:ext uri="{FF2B5EF4-FFF2-40B4-BE49-F238E27FC236}">
                <a16:creationId xmlns:a16="http://schemas.microsoft.com/office/drawing/2014/main" id="{BBC8C19E-BC69-477E-9B60-3FD4EB7ED854}"/>
              </a:ext>
            </a:extLst>
          </p:cNvPr>
          <p:cNvPicPr>
            <a:picLocks noChangeAspect="1"/>
          </p:cNvPicPr>
          <p:nvPr/>
        </p:nvPicPr>
        <p:blipFill>
          <a:blip r:embed="rId7"/>
          <a:stretch>
            <a:fillRect/>
          </a:stretch>
        </p:blipFill>
        <p:spPr>
          <a:xfrm>
            <a:off x="8493522" y="1325086"/>
            <a:ext cx="3264694" cy="2103914"/>
          </a:xfrm>
          <a:prstGeom prst="rect">
            <a:avLst/>
          </a:prstGeom>
        </p:spPr>
      </p:pic>
      <p:sp>
        <p:nvSpPr>
          <p:cNvPr id="9" name="TextBox 8">
            <a:extLst>
              <a:ext uri="{FF2B5EF4-FFF2-40B4-BE49-F238E27FC236}">
                <a16:creationId xmlns:a16="http://schemas.microsoft.com/office/drawing/2014/main" id="{40CDC6DC-1F29-43FF-9687-5BACC9787C45}"/>
              </a:ext>
            </a:extLst>
          </p:cNvPr>
          <p:cNvSpPr txBox="1"/>
          <p:nvPr/>
        </p:nvSpPr>
        <p:spPr>
          <a:xfrm>
            <a:off x="9015822" y="3717421"/>
            <a:ext cx="2862832" cy="307777"/>
          </a:xfrm>
          <a:prstGeom prst="rect">
            <a:avLst/>
          </a:prstGeom>
          <a:noFill/>
        </p:spPr>
        <p:txBody>
          <a:bodyPr wrap="square" rtlCol="0">
            <a:spAutoFit/>
          </a:bodyPr>
          <a:lstStyle/>
          <a:p>
            <a:r>
              <a:rPr lang="en-US" sz="1400"/>
              <a:t>Use case 3: Corporate case</a:t>
            </a:r>
            <a:endParaRPr lang="sv-SE" sz="1400"/>
          </a:p>
        </p:txBody>
      </p:sp>
    </p:spTree>
    <p:extLst>
      <p:ext uri="{BB962C8B-B14F-4D97-AF65-F5344CB8AC3E}">
        <p14:creationId xmlns:p14="http://schemas.microsoft.com/office/powerpoint/2010/main" val="18529316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DB87307-0545-450E-8A9D-16D45DD99651}"/>
              </a:ext>
            </a:extLst>
          </p:cNvPr>
          <p:cNvSpPr/>
          <p:nvPr/>
        </p:nvSpPr>
        <p:spPr bwMode="auto">
          <a:xfrm>
            <a:off x="7401228" y="3777104"/>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Arial" charset="0"/>
              </a:rPr>
              <a:t>AMF</a:t>
            </a:r>
          </a:p>
        </p:txBody>
      </p:sp>
      <p:sp>
        <p:nvSpPr>
          <p:cNvPr id="5" name="Rectangle 4">
            <a:extLst>
              <a:ext uri="{FF2B5EF4-FFF2-40B4-BE49-F238E27FC236}">
                <a16:creationId xmlns:a16="http://schemas.microsoft.com/office/drawing/2014/main" id="{DF1CF8F2-3654-4F2E-AC32-7E6264E59C33}"/>
              </a:ext>
            </a:extLst>
          </p:cNvPr>
          <p:cNvSpPr/>
          <p:nvPr/>
        </p:nvSpPr>
        <p:spPr bwMode="auto">
          <a:xfrm>
            <a:off x="8492637" y="3777104"/>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rPr>
              <a:t>I</a:t>
            </a:r>
            <a:r>
              <a:rPr kumimoji="0" lang="en-US" sz="1100" b="0" i="0" u="none" strike="noStrike" cap="none" normalizeH="0" baseline="0">
                <a:ln>
                  <a:noFill/>
                </a:ln>
                <a:solidFill>
                  <a:schemeClr val="tx1"/>
                </a:solidFill>
                <a:effectLst/>
                <a:latin typeface="Arial" charset="0"/>
              </a:rPr>
              <a:t>-SMF</a:t>
            </a:r>
          </a:p>
        </p:txBody>
      </p:sp>
      <p:sp>
        <p:nvSpPr>
          <p:cNvPr id="6" name="Rectangle 5">
            <a:extLst>
              <a:ext uri="{FF2B5EF4-FFF2-40B4-BE49-F238E27FC236}">
                <a16:creationId xmlns:a16="http://schemas.microsoft.com/office/drawing/2014/main" id="{5E7E965C-2DEB-4AC0-8CC6-9F5CDCB42382}"/>
              </a:ext>
            </a:extLst>
          </p:cNvPr>
          <p:cNvSpPr/>
          <p:nvPr/>
        </p:nvSpPr>
        <p:spPr bwMode="auto">
          <a:xfrm>
            <a:off x="9911239" y="3777104"/>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latin typeface="Arial" charset="0"/>
              </a:rPr>
              <a:t>SMF</a:t>
            </a:r>
            <a:br>
              <a:rPr lang="en-US" sz="1100">
                <a:latin typeface="Arial" charset="0"/>
              </a:rPr>
            </a:br>
            <a:r>
              <a:rPr lang="en-US" sz="1100">
                <a:latin typeface="Arial" charset="0"/>
              </a:rPr>
              <a:t>(</a:t>
            </a:r>
            <a:r>
              <a:rPr kumimoji="0" lang="en-US" sz="1100" b="0" i="0" u="none" strike="noStrike" cap="none" normalizeH="0" baseline="0">
                <a:ln>
                  <a:noFill/>
                </a:ln>
                <a:solidFill>
                  <a:schemeClr val="tx1"/>
                </a:solidFill>
                <a:effectLst/>
                <a:latin typeface="Arial" charset="0"/>
              </a:rPr>
              <a:t>H-SMF)</a:t>
            </a:r>
          </a:p>
        </p:txBody>
      </p:sp>
      <p:sp>
        <p:nvSpPr>
          <p:cNvPr id="8" name="Rectangle 7">
            <a:extLst>
              <a:ext uri="{FF2B5EF4-FFF2-40B4-BE49-F238E27FC236}">
                <a16:creationId xmlns:a16="http://schemas.microsoft.com/office/drawing/2014/main" id="{574169F8-41B2-4863-BB54-438D40C5B105}"/>
              </a:ext>
            </a:extLst>
          </p:cNvPr>
          <p:cNvSpPr/>
          <p:nvPr/>
        </p:nvSpPr>
        <p:spPr bwMode="auto">
          <a:xfrm>
            <a:off x="9911239" y="4469313"/>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UPF</a:t>
            </a:r>
            <a:br>
              <a:rPr lang="en-US" sz="1100"/>
            </a:br>
            <a:r>
              <a:rPr lang="en-US" sz="1100"/>
              <a:t>(PSA)</a:t>
            </a:r>
            <a:endParaRPr kumimoji="0" lang="en-US" sz="1100" b="0" i="0" u="none" strike="noStrike" cap="none" normalizeH="0" baseline="0">
              <a:ln>
                <a:noFill/>
              </a:ln>
              <a:solidFill>
                <a:schemeClr val="tx1"/>
              </a:solidFill>
              <a:effectLst/>
              <a:latin typeface="Arial" charset="0"/>
            </a:endParaRPr>
          </a:p>
        </p:txBody>
      </p:sp>
      <p:sp>
        <p:nvSpPr>
          <p:cNvPr id="9" name="Oval 8">
            <a:extLst>
              <a:ext uri="{FF2B5EF4-FFF2-40B4-BE49-F238E27FC236}">
                <a16:creationId xmlns:a16="http://schemas.microsoft.com/office/drawing/2014/main" id="{7119AEDD-A598-47E4-B79A-96DA2A1B4AD0}"/>
              </a:ext>
            </a:extLst>
          </p:cNvPr>
          <p:cNvSpPr/>
          <p:nvPr/>
        </p:nvSpPr>
        <p:spPr bwMode="auto">
          <a:xfrm>
            <a:off x="11320066" y="4435130"/>
            <a:ext cx="811850" cy="410198"/>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DN</a:t>
            </a:r>
          </a:p>
        </p:txBody>
      </p:sp>
      <p:sp>
        <p:nvSpPr>
          <p:cNvPr id="10" name="Oval 9">
            <a:extLst>
              <a:ext uri="{FF2B5EF4-FFF2-40B4-BE49-F238E27FC236}">
                <a16:creationId xmlns:a16="http://schemas.microsoft.com/office/drawing/2014/main" id="{B9E4FA75-3ECC-44CB-81A7-4DCB563E6191}"/>
              </a:ext>
            </a:extLst>
          </p:cNvPr>
          <p:cNvSpPr/>
          <p:nvPr/>
        </p:nvSpPr>
        <p:spPr bwMode="auto">
          <a:xfrm>
            <a:off x="6362283" y="4435130"/>
            <a:ext cx="811850" cy="410198"/>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RAN</a:t>
            </a:r>
          </a:p>
        </p:txBody>
      </p:sp>
      <p:sp>
        <p:nvSpPr>
          <p:cNvPr id="11" name="Rectangle 10">
            <a:extLst>
              <a:ext uri="{FF2B5EF4-FFF2-40B4-BE49-F238E27FC236}">
                <a16:creationId xmlns:a16="http://schemas.microsoft.com/office/drawing/2014/main" id="{89E65A03-64C1-482A-8946-61179ECF610E}"/>
              </a:ext>
            </a:extLst>
          </p:cNvPr>
          <p:cNvSpPr/>
          <p:nvPr/>
        </p:nvSpPr>
        <p:spPr bwMode="auto">
          <a:xfrm>
            <a:off x="8492637" y="4469313"/>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UPF</a:t>
            </a:r>
            <a:endParaRPr kumimoji="0" lang="en-US" sz="1100" b="0" i="0" u="none" strike="noStrike" cap="none" normalizeH="0" baseline="0">
              <a:ln>
                <a:noFill/>
              </a:ln>
              <a:solidFill>
                <a:schemeClr val="tx1"/>
              </a:solidFill>
              <a:effectLst/>
              <a:latin typeface="Arial" charset="0"/>
            </a:endParaRPr>
          </a:p>
        </p:txBody>
      </p:sp>
      <p:cxnSp>
        <p:nvCxnSpPr>
          <p:cNvPr id="12" name="Straight Connector 11">
            <a:extLst>
              <a:ext uri="{FF2B5EF4-FFF2-40B4-BE49-F238E27FC236}">
                <a16:creationId xmlns:a16="http://schemas.microsoft.com/office/drawing/2014/main" id="{D4180DDD-5BFF-46E7-96C4-8C0B627BC3CE}"/>
              </a:ext>
            </a:extLst>
          </p:cNvPr>
          <p:cNvCxnSpPr>
            <a:stCxn id="5" idx="2"/>
            <a:endCxn id="11" idx="0"/>
          </p:cNvCxnSpPr>
          <p:nvPr/>
        </p:nvCxnSpPr>
        <p:spPr bwMode="auto">
          <a:xfrm>
            <a:off x="8838742" y="4118936"/>
            <a:ext cx="0" cy="35037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96CA4905-42A4-43D0-AF10-B0C9ED9EA0FC}"/>
              </a:ext>
            </a:extLst>
          </p:cNvPr>
          <p:cNvCxnSpPr>
            <a:stCxn id="6" idx="2"/>
            <a:endCxn id="8" idx="0"/>
          </p:cNvCxnSpPr>
          <p:nvPr/>
        </p:nvCxnSpPr>
        <p:spPr bwMode="auto">
          <a:xfrm>
            <a:off x="10257344" y="4118936"/>
            <a:ext cx="0" cy="35037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B2D8EAB1-293D-4587-BB6E-8C95F82FE570}"/>
              </a:ext>
            </a:extLst>
          </p:cNvPr>
          <p:cNvCxnSpPr>
            <a:stCxn id="5" idx="3"/>
            <a:endCxn id="6" idx="1"/>
          </p:cNvCxnSpPr>
          <p:nvPr/>
        </p:nvCxnSpPr>
        <p:spPr bwMode="auto">
          <a:xfrm>
            <a:off x="9184847" y="3948020"/>
            <a:ext cx="726392"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96B36431-07DD-448A-92B8-C3FE3DED0443}"/>
              </a:ext>
            </a:extLst>
          </p:cNvPr>
          <p:cNvCxnSpPr>
            <a:stCxn id="4" idx="3"/>
            <a:endCxn id="5" idx="1"/>
          </p:cNvCxnSpPr>
          <p:nvPr/>
        </p:nvCxnSpPr>
        <p:spPr bwMode="auto">
          <a:xfrm>
            <a:off x="8093438" y="3948020"/>
            <a:ext cx="399199"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B6B17F0B-D8CB-4C78-86EE-C068609A4572}"/>
              </a:ext>
            </a:extLst>
          </p:cNvPr>
          <p:cNvCxnSpPr>
            <a:stCxn id="4" idx="1"/>
            <a:endCxn id="10" idx="7"/>
          </p:cNvCxnSpPr>
          <p:nvPr/>
        </p:nvCxnSpPr>
        <p:spPr bwMode="auto">
          <a:xfrm flipH="1">
            <a:off x="7055240" y="3948020"/>
            <a:ext cx="345988" cy="54718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3AA69D7D-9334-4154-9450-AB6623FB0B66}"/>
              </a:ext>
            </a:extLst>
          </p:cNvPr>
          <p:cNvCxnSpPr>
            <a:stCxn id="10" idx="6"/>
            <a:endCxn id="11" idx="1"/>
          </p:cNvCxnSpPr>
          <p:nvPr/>
        </p:nvCxnSpPr>
        <p:spPr bwMode="auto">
          <a:xfrm>
            <a:off x="7174133" y="4640229"/>
            <a:ext cx="131850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F756DC44-232E-41EC-9524-E86DD1ABDADE}"/>
              </a:ext>
            </a:extLst>
          </p:cNvPr>
          <p:cNvCxnSpPr>
            <a:stCxn id="11" idx="3"/>
            <a:endCxn id="8" idx="1"/>
          </p:cNvCxnSpPr>
          <p:nvPr/>
        </p:nvCxnSpPr>
        <p:spPr bwMode="auto">
          <a:xfrm>
            <a:off x="9184847" y="4640229"/>
            <a:ext cx="726392"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9D3809B9-5D75-4DA1-938E-BA1865174D84}"/>
              </a:ext>
            </a:extLst>
          </p:cNvPr>
          <p:cNvCxnSpPr>
            <a:stCxn id="8" idx="3"/>
            <a:endCxn id="9" idx="2"/>
          </p:cNvCxnSpPr>
          <p:nvPr/>
        </p:nvCxnSpPr>
        <p:spPr bwMode="auto">
          <a:xfrm>
            <a:off x="10603449" y="4640229"/>
            <a:ext cx="71661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1" name="TextBox 20">
            <a:extLst>
              <a:ext uri="{FF2B5EF4-FFF2-40B4-BE49-F238E27FC236}">
                <a16:creationId xmlns:a16="http://schemas.microsoft.com/office/drawing/2014/main" id="{D52ABA9B-C0DF-4602-8EF2-B69FBACCC6A0}"/>
              </a:ext>
            </a:extLst>
          </p:cNvPr>
          <p:cNvSpPr txBox="1"/>
          <p:nvPr/>
        </p:nvSpPr>
        <p:spPr>
          <a:xfrm>
            <a:off x="8808832" y="4159047"/>
            <a:ext cx="376015" cy="261610"/>
          </a:xfrm>
          <a:prstGeom prst="rect">
            <a:avLst/>
          </a:prstGeom>
          <a:noFill/>
        </p:spPr>
        <p:txBody>
          <a:bodyPr wrap="square" rtlCol="0">
            <a:spAutoFit/>
          </a:bodyPr>
          <a:lstStyle/>
          <a:p>
            <a:r>
              <a:rPr lang="en-US" sz="1050"/>
              <a:t>N4</a:t>
            </a:r>
          </a:p>
        </p:txBody>
      </p:sp>
      <p:sp>
        <p:nvSpPr>
          <p:cNvPr id="22" name="TextBox 21">
            <a:extLst>
              <a:ext uri="{FF2B5EF4-FFF2-40B4-BE49-F238E27FC236}">
                <a16:creationId xmlns:a16="http://schemas.microsoft.com/office/drawing/2014/main" id="{334F5F39-36A5-4649-8B52-1EA32CE4F82B}"/>
              </a:ext>
            </a:extLst>
          </p:cNvPr>
          <p:cNvSpPr txBox="1"/>
          <p:nvPr/>
        </p:nvSpPr>
        <p:spPr>
          <a:xfrm>
            <a:off x="10227434" y="4182066"/>
            <a:ext cx="376015" cy="261610"/>
          </a:xfrm>
          <a:prstGeom prst="rect">
            <a:avLst/>
          </a:prstGeom>
          <a:noFill/>
        </p:spPr>
        <p:txBody>
          <a:bodyPr wrap="square" rtlCol="0">
            <a:spAutoFit/>
          </a:bodyPr>
          <a:lstStyle/>
          <a:p>
            <a:r>
              <a:rPr lang="en-US" sz="1050"/>
              <a:t>N4</a:t>
            </a:r>
          </a:p>
        </p:txBody>
      </p:sp>
      <p:sp>
        <p:nvSpPr>
          <p:cNvPr id="23" name="TextBox 22">
            <a:extLst>
              <a:ext uri="{FF2B5EF4-FFF2-40B4-BE49-F238E27FC236}">
                <a16:creationId xmlns:a16="http://schemas.microsoft.com/office/drawing/2014/main" id="{3346EE6C-774A-4CDF-965A-23C5A3B5213F}"/>
              </a:ext>
            </a:extLst>
          </p:cNvPr>
          <p:cNvSpPr txBox="1"/>
          <p:nvPr/>
        </p:nvSpPr>
        <p:spPr>
          <a:xfrm>
            <a:off x="9402764" y="3686410"/>
            <a:ext cx="508475" cy="253916"/>
          </a:xfrm>
          <a:prstGeom prst="rect">
            <a:avLst/>
          </a:prstGeom>
          <a:noFill/>
        </p:spPr>
        <p:txBody>
          <a:bodyPr wrap="square" rtlCol="0">
            <a:spAutoFit/>
          </a:bodyPr>
          <a:lstStyle/>
          <a:p>
            <a:r>
              <a:rPr lang="en-US" sz="1050"/>
              <a:t>N16</a:t>
            </a:r>
          </a:p>
        </p:txBody>
      </p:sp>
      <p:sp>
        <p:nvSpPr>
          <p:cNvPr id="24" name="TextBox 23">
            <a:extLst>
              <a:ext uri="{FF2B5EF4-FFF2-40B4-BE49-F238E27FC236}">
                <a16:creationId xmlns:a16="http://schemas.microsoft.com/office/drawing/2014/main" id="{F70FAD1B-A368-4C45-BDEA-4857CF4F8E00}"/>
              </a:ext>
            </a:extLst>
          </p:cNvPr>
          <p:cNvSpPr txBox="1"/>
          <p:nvPr/>
        </p:nvSpPr>
        <p:spPr>
          <a:xfrm>
            <a:off x="8071756" y="3694104"/>
            <a:ext cx="508475" cy="253916"/>
          </a:xfrm>
          <a:prstGeom prst="rect">
            <a:avLst/>
          </a:prstGeom>
          <a:noFill/>
        </p:spPr>
        <p:txBody>
          <a:bodyPr wrap="square" rtlCol="0">
            <a:spAutoFit/>
          </a:bodyPr>
          <a:lstStyle/>
          <a:p>
            <a:r>
              <a:rPr lang="en-US" sz="1050"/>
              <a:t>N11</a:t>
            </a:r>
          </a:p>
        </p:txBody>
      </p:sp>
      <p:sp>
        <p:nvSpPr>
          <p:cNvPr id="25" name="TextBox 24">
            <a:extLst>
              <a:ext uri="{FF2B5EF4-FFF2-40B4-BE49-F238E27FC236}">
                <a16:creationId xmlns:a16="http://schemas.microsoft.com/office/drawing/2014/main" id="{D61D1A40-209B-4CBF-8FE8-F0D64A3716D5}"/>
              </a:ext>
            </a:extLst>
          </p:cNvPr>
          <p:cNvSpPr txBox="1"/>
          <p:nvPr/>
        </p:nvSpPr>
        <p:spPr>
          <a:xfrm>
            <a:off x="9355761" y="4620519"/>
            <a:ext cx="376015" cy="261610"/>
          </a:xfrm>
          <a:prstGeom prst="rect">
            <a:avLst/>
          </a:prstGeom>
          <a:noFill/>
        </p:spPr>
        <p:txBody>
          <a:bodyPr wrap="square" rtlCol="0">
            <a:spAutoFit/>
          </a:bodyPr>
          <a:lstStyle/>
          <a:p>
            <a:r>
              <a:rPr lang="en-US" sz="1050"/>
              <a:t>N9</a:t>
            </a:r>
          </a:p>
        </p:txBody>
      </p:sp>
      <p:sp>
        <p:nvSpPr>
          <p:cNvPr id="26" name="TextBox 25">
            <a:extLst>
              <a:ext uri="{FF2B5EF4-FFF2-40B4-BE49-F238E27FC236}">
                <a16:creationId xmlns:a16="http://schemas.microsoft.com/office/drawing/2014/main" id="{6061A50A-7BD8-4D46-8E4C-D87EF89CFE0E}"/>
              </a:ext>
            </a:extLst>
          </p:cNvPr>
          <p:cNvSpPr txBox="1"/>
          <p:nvPr/>
        </p:nvSpPr>
        <p:spPr>
          <a:xfrm>
            <a:off x="7678650" y="4620519"/>
            <a:ext cx="376015" cy="261610"/>
          </a:xfrm>
          <a:prstGeom prst="rect">
            <a:avLst/>
          </a:prstGeom>
          <a:noFill/>
        </p:spPr>
        <p:txBody>
          <a:bodyPr wrap="square" rtlCol="0">
            <a:spAutoFit/>
          </a:bodyPr>
          <a:lstStyle/>
          <a:p>
            <a:r>
              <a:rPr lang="en-US" sz="1050"/>
              <a:t>N3</a:t>
            </a:r>
          </a:p>
        </p:txBody>
      </p:sp>
      <p:sp>
        <p:nvSpPr>
          <p:cNvPr id="27" name="TextBox 26">
            <a:extLst>
              <a:ext uri="{FF2B5EF4-FFF2-40B4-BE49-F238E27FC236}">
                <a16:creationId xmlns:a16="http://schemas.microsoft.com/office/drawing/2014/main" id="{F341F126-9CEC-4B4D-A2A7-41666BAAB13E}"/>
              </a:ext>
            </a:extLst>
          </p:cNvPr>
          <p:cNvSpPr txBox="1"/>
          <p:nvPr/>
        </p:nvSpPr>
        <p:spPr>
          <a:xfrm>
            <a:off x="10637630" y="4620519"/>
            <a:ext cx="376015" cy="261610"/>
          </a:xfrm>
          <a:prstGeom prst="rect">
            <a:avLst/>
          </a:prstGeom>
          <a:noFill/>
        </p:spPr>
        <p:txBody>
          <a:bodyPr wrap="square" rtlCol="0">
            <a:spAutoFit/>
          </a:bodyPr>
          <a:lstStyle/>
          <a:p>
            <a:r>
              <a:rPr lang="en-US" sz="1050"/>
              <a:t>N6</a:t>
            </a:r>
          </a:p>
        </p:txBody>
      </p:sp>
      <p:sp>
        <p:nvSpPr>
          <p:cNvPr id="31" name="Rectangle 30">
            <a:extLst>
              <a:ext uri="{FF2B5EF4-FFF2-40B4-BE49-F238E27FC236}">
                <a16:creationId xmlns:a16="http://schemas.microsoft.com/office/drawing/2014/main" id="{9AD1E138-48CE-4185-B86F-19AC14E03460}"/>
              </a:ext>
            </a:extLst>
          </p:cNvPr>
          <p:cNvSpPr/>
          <p:nvPr/>
        </p:nvSpPr>
        <p:spPr bwMode="auto">
          <a:xfrm>
            <a:off x="1804631" y="3840235"/>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Arial" charset="0"/>
              </a:rPr>
              <a:t>AMF</a:t>
            </a:r>
          </a:p>
        </p:txBody>
      </p:sp>
      <p:sp>
        <p:nvSpPr>
          <p:cNvPr id="33" name="Rectangle 32">
            <a:extLst>
              <a:ext uri="{FF2B5EF4-FFF2-40B4-BE49-F238E27FC236}">
                <a16:creationId xmlns:a16="http://schemas.microsoft.com/office/drawing/2014/main" id="{2484BC8E-490C-4112-8654-8A1B292EA5FE}"/>
              </a:ext>
            </a:extLst>
          </p:cNvPr>
          <p:cNvSpPr/>
          <p:nvPr/>
        </p:nvSpPr>
        <p:spPr bwMode="auto">
          <a:xfrm>
            <a:off x="2896040" y="3840235"/>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Arial" charset="0"/>
              </a:rPr>
              <a:t>SMF</a:t>
            </a:r>
          </a:p>
        </p:txBody>
      </p:sp>
      <p:sp>
        <p:nvSpPr>
          <p:cNvPr id="34" name="Rectangle 33">
            <a:extLst>
              <a:ext uri="{FF2B5EF4-FFF2-40B4-BE49-F238E27FC236}">
                <a16:creationId xmlns:a16="http://schemas.microsoft.com/office/drawing/2014/main" id="{6317DD22-5736-48AB-9611-4278374FDCFB}"/>
              </a:ext>
            </a:extLst>
          </p:cNvPr>
          <p:cNvSpPr/>
          <p:nvPr/>
        </p:nvSpPr>
        <p:spPr bwMode="auto">
          <a:xfrm>
            <a:off x="2896040" y="2507570"/>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PCF</a:t>
            </a:r>
            <a:endParaRPr kumimoji="0" lang="en-US" sz="1100" b="0" i="0" u="none" strike="noStrike" cap="none" normalizeH="0" baseline="0">
              <a:ln>
                <a:noFill/>
              </a:ln>
              <a:solidFill>
                <a:schemeClr val="tx1"/>
              </a:solidFill>
              <a:effectLst/>
              <a:latin typeface="Arial" charset="0"/>
            </a:endParaRPr>
          </a:p>
        </p:txBody>
      </p:sp>
      <p:sp>
        <p:nvSpPr>
          <p:cNvPr id="35" name="Rectangle 34">
            <a:extLst>
              <a:ext uri="{FF2B5EF4-FFF2-40B4-BE49-F238E27FC236}">
                <a16:creationId xmlns:a16="http://schemas.microsoft.com/office/drawing/2014/main" id="{91A9E160-1DDD-4636-AAE8-136A3ECED071}"/>
              </a:ext>
            </a:extLst>
          </p:cNvPr>
          <p:cNvSpPr/>
          <p:nvPr/>
        </p:nvSpPr>
        <p:spPr bwMode="auto">
          <a:xfrm>
            <a:off x="2896040" y="4532444"/>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UPF</a:t>
            </a:r>
            <a:br>
              <a:rPr lang="en-US" sz="1100"/>
            </a:br>
            <a:r>
              <a:rPr lang="en-US" sz="1100"/>
              <a:t>(PSA)</a:t>
            </a:r>
            <a:endParaRPr kumimoji="0" lang="en-US" sz="1100" b="0" i="0" u="none" strike="noStrike" cap="none" normalizeH="0" baseline="0">
              <a:ln>
                <a:noFill/>
              </a:ln>
              <a:solidFill>
                <a:schemeClr val="tx1"/>
              </a:solidFill>
              <a:effectLst/>
              <a:latin typeface="Arial" charset="0"/>
            </a:endParaRPr>
          </a:p>
        </p:txBody>
      </p:sp>
      <p:sp>
        <p:nvSpPr>
          <p:cNvPr id="36" name="Oval 35">
            <a:extLst>
              <a:ext uri="{FF2B5EF4-FFF2-40B4-BE49-F238E27FC236}">
                <a16:creationId xmlns:a16="http://schemas.microsoft.com/office/drawing/2014/main" id="{D3D3BD6B-24D0-470F-8CE7-BCC5D935979C}"/>
              </a:ext>
            </a:extLst>
          </p:cNvPr>
          <p:cNvSpPr/>
          <p:nvPr/>
        </p:nvSpPr>
        <p:spPr bwMode="auto">
          <a:xfrm>
            <a:off x="3968537" y="4498261"/>
            <a:ext cx="811850" cy="410198"/>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DN</a:t>
            </a:r>
          </a:p>
        </p:txBody>
      </p:sp>
      <p:sp>
        <p:nvSpPr>
          <p:cNvPr id="37" name="Oval 36">
            <a:extLst>
              <a:ext uri="{FF2B5EF4-FFF2-40B4-BE49-F238E27FC236}">
                <a16:creationId xmlns:a16="http://schemas.microsoft.com/office/drawing/2014/main" id="{125EF34A-AE12-49D0-8AB7-23B8878D2D54}"/>
              </a:ext>
            </a:extLst>
          </p:cNvPr>
          <p:cNvSpPr/>
          <p:nvPr/>
        </p:nvSpPr>
        <p:spPr bwMode="auto">
          <a:xfrm>
            <a:off x="765686" y="4498261"/>
            <a:ext cx="811850" cy="410198"/>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RAN</a:t>
            </a:r>
          </a:p>
        </p:txBody>
      </p:sp>
      <p:cxnSp>
        <p:nvCxnSpPr>
          <p:cNvPr id="40" name="Straight Connector 39">
            <a:extLst>
              <a:ext uri="{FF2B5EF4-FFF2-40B4-BE49-F238E27FC236}">
                <a16:creationId xmlns:a16="http://schemas.microsoft.com/office/drawing/2014/main" id="{BDCBD210-CF1A-47B5-ABFF-D5FE502D46CF}"/>
              </a:ext>
            </a:extLst>
          </p:cNvPr>
          <p:cNvCxnSpPr>
            <a:stCxn id="33" idx="2"/>
            <a:endCxn id="35" idx="0"/>
          </p:cNvCxnSpPr>
          <p:nvPr/>
        </p:nvCxnSpPr>
        <p:spPr bwMode="auto">
          <a:xfrm>
            <a:off x="3242145" y="4182067"/>
            <a:ext cx="0" cy="35037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53A6C038-92D8-4C19-888A-78BA0E8728E5}"/>
              </a:ext>
            </a:extLst>
          </p:cNvPr>
          <p:cNvCxnSpPr>
            <a:stCxn id="34" idx="2"/>
            <a:endCxn id="33" idx="0"/>
          </p:cNvCxnSpPr>
          <p:nvPr/>
        </p:nvCxnSpPr>
        <p:spPr bwMode="auto">
          <a:xfrm>
            <a:off x="3242145" y="2849402"/>
            <a:ext cx="0" cy="99083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8E6F7C4E-B3A8-457B-941B-8DE863CEDF41}"/>
              </a:ext>
            </a:extLst>
          </p:cNvPr>
          <p:cNvCxnSpPr>
            <a:cxnSpLocks/>
            <a:stCxn id="31" idx="3"/>
          </p:cNvCxnSpPr>
          <p:nvPr/>
        </p:nvCxnSpPr>
        <p:spPr bwMode="auto">
          <a:xfrm>
            <a:off x="2496841" y="4011151"/>
            <a:ext cx="399199"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7E83B25F-38E0-445A-B4A9-1DDC261D493A}"/>
              </a:ext>
            </a:extLst>
          </p:cNvPr>
          <p:cNvCxnSpPr>
            <a:stCxn id="31" idx="1"/>
            <a:endCxn id="37" idx="7"/>
          </p:cNvCxnSpPr>
          <p:nvPr/>
        </p:nvCxnSpPr>
        <p:spPr bwMode="auto">
          <a:xfrm flipH="1">
            <a:off x="1458643" y="4011151"/>
            <a:ext cx="345988" cy="54718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515C846D-F196-4026-B361-90B99FAD2CE0}"/>
              </a:ext>
            </a:extLst>
          </p:cNvPr>
          <p:cNvCxnSpPr>
            <a:cxnSpLocks/>
            <a:stCxn id="37" idx="6"/>
          </p:cNvCxnSpPr>
          <p:nvPr/>
        </p:nvCxnSpPr>
        <p:spPr bwMode="auto">
          <a:xfrm>
            <a:off x="1577536" y="4703360"/>
            <a:ext cx="131850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D00C5B94-36AF-4C33-99F8-88CC79D6FBDA}"/>
              </a:ext>
            </a:extLst>
          </p:cNvPr>
          <p:cNvCxnSpPr>
            <a:stCxn id="35" idx="3"/>
            <a:endCxn id="36" idx="2"/>
          </p:cNvCxnSpPr>
          <p:nvPr/>
        </p:nvCxnSpPr>
        <p:spPr bwMode="auto">
          <a:xfrm>
            <a:off x="3588250" y="4703360"/>
            <a:ext cx="38028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49" name="TextBox 48">
            <a:extLst>
              <a:ext uri="{FF2B5EF4-FFF2-40B4-BE49-F238E27FC236}">
                <a16:creationId xmlns:a16="http://schemas.microsoft.com/office/drawing/2014/main" id="{7E55766F-DDBD-492C-9B10-FCF5C916E2B6}"/>
              </a:ext>
            </a:extLst>
          </p:cNvPr>
          <p:cNvSpPr txBox="1"/>
          <p:nvPr/>
        </p:nvSpPr>
        <p:spPr>
          <a:xfrm>
            <a:off x="3212235" y="4245197"/>
            <a:ext cx="376015" cy="261610"/>
          </a:xfrm>
          <a:prstGeom prst="rect">
            <a:avLst/>
          </a:prstGeom>
          <a:noFill/>
        </p:spPr>
        <p:txBody>
          <a:bodyPr wrap="square" rtlCol="0">
            <a:spAutoFit/>
          </a:bodyPr>
          <a:lstStyle/>
          <a:p>
            <a:r>
              <a:rPr lang="en-US" sz="1050"/>
              <a:t>N4</a:t>
            </a:r>
          </a:p>
        </p:txBody>
      </p:sp>
      <p:sp>
        <p:nvSpPr>
          <p:cNvPr id="51" name="TextBox 50">
            <a:extLst>
              <a:ext uri="{FF2B5EF4-FFF2-40B4-BE49-F238E27FC236}">
                <a16:creationId xmlns:a16="http://schemas.microsoft.com/office/drawing/2014/main" id="{3A722024-58EF-4732-B83E-87E6AB8B4201}"/>
              </a:ext>
            </a:extLst>
          </p:cNvPr>
          <p:cNvSpPr txBox="1"/>
          <p:nvPr/>
        </p:nvSpPr>
        <p:spPr>
          <a:xfrm>
            <a:off x="2475159" y="3757235"/>
            <a:ext cx="508475" cy="253916"/>
          </a:xfrm>
          <a:prstGeom prst="rect">
            <a:avLst/>
          </a:prstGeom>
          <a:noFill/>
        </p:spPr>
        <p:txBody>
          <a:bodyPr wrap="square" rtlCol="0">
            <a:spAutoFit/>
          </a:bodyPr>
          <a:lstStyle/>
          <a:p>
            <a:r>
              <a:rPr lang="en-US" sz="1050"/>
              <a:t>N11</a:t>
            </a:r>
          </a:p>
        </p:txBody>
      </p:sp>
      <p:sp>
        <p:nvSpPr>
          <p:cNvPr id="53" name="TextBox 52">
            <a:extLst>
              <a:ext uri="{FF2B5EF4-FFF2-40B4-BE49-F238E27FC236}">
                <a16:creationId xmlns:a16="http://schemas.microsoft.com/office/drawing/2014/main" id="{98CEE63D-3BAD-46C4-862C-79DD4760E82A}"/>
              </a:ext>
            </a:extLst>
          </p:cNvPr>
          <p:cNvSpPr txBox="1"/>
          <p:nvPr/>
        </p:nvSpPr>
        <p:spPr>
          <a:xfrm>
            <a:off x="2082053" y="4683650"/>
            <a:ext cx="376015" cy="261610"/>
          </a:xfrm>
          <a:prstGeom prst="rect">
            <a:avLst/>
          </a:prstGeom>
          <a:noFill/>
        </p:spPr>
        <p:txBody>
          <a:bodyPr wrap="square" rtlCol="0">
            <a:spAutoFit/>
          </a:bodyPr>
          <a:lstStyle/>
          <a:p>
            <a:r>
              <a:rPr lang="en-US" sz="1050"/>
              <a:t>N3</a:t>
            </a:r>
          </a:p>
        </p:txBody>
      </p:sp>
      <p:sp>
        <p:nvSpPr>
          <p:cNvPr id="54" name="TextBox 53">
            <a:extLst>
              <a:ext uri="{FF2B5EF4-FFF2-40B4-BE49-F238E27FC236}">
                <a16:creationId xmlns:a16="http://schemas.microsoft.com/office/drawing/2014/main" id="{33586176-95E0-4E3D-AE33-3E46AC3DF5EC}"/>
              </a:ext>
            </a:extLst>
          </p:cNvPr>
          <p:cNvSpPr txBox="1"/>
          <p:nvPr/>
        </p:nvSpPr>
        <p:spPr>
          <a:xfrm>
            <a:off x="3622431" y="4683650"/>
            <a:ext cx="376015" cy="261610"/>
          </a:xfrm>
          <a:prstGeom prst="rect">
            <a:avLst/>
          </a:prstGeom>
          <a:noFill/>
        </p:spPr>
        <p:txBody>
          <a:bodyPr wrap="square" rtlCol="0">
            <a:spAutoFit/>
          </a:bodyPr>
          <a:lstStyle/>
          <a:p>
            <a:r>
              <a:rPr lang="en-US" sz="1050"/>
              <a:t>N6</a:t>
            </a:r>
          </a:p>
        </p:txBody>
      </p:sp>
      <p:sp>
        <p:nvSpPr>
          <p:cNvPr id="57" name="Rectangle 56">
            <a:extLst>
              <a:ext uri="{FF2B5EF4-FFF2-40B4-BE49-F238E27FC236}">
                <a16:creationId xmlns:a16="http://schemas.microsoft.com/office/drawing/2014/main" id="{8AC17668-45D0-4F79-80FF-451E153EBA66}"/>
              </a:ext>
            </a:extLst>
          </p:cNvPr>
          <p:cNvSpPr/>
          <p:nvPr/>
        </p:nvSpPr>
        <p:spPr bwMode="auto">
          <a:xfrm>
            <a:off x="2293980" y="2927733"/>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UDM</a:t>
            </a:r>
            <a:endParaRPr kumimoji="0" lang="en-US" sz="1100" b="0" i="0" u="none" strike="noStrike" cap="none" normalizeH="0" baseline="0">
              <a:ln>
                <a:noFill/>
              </a:ln>
              <a:solidFill>
                <a:schemeClr val="tx1"/>
              </a:solidFill>
              <a:effectLst/>
              <a:latin typeface="Arial" charset="0"/>
            </a:endParaRPr>
          </a:p>
        </p:txBody>
      </p:sp>
      <p:cxnSp>
        <p:nvCxnSpPr>
          <p:cNvPr id="60" name="Connector: Elbow 59">
            <a:extLst>
              <a:ext uri="{FF2B5EF4-FFF2-40B4-BE49-F238E27FC236}">
                <a16:creationId xmlns:a16="http://schemas.microsoft.com/office/drawing/2014/main" id="{B51FB2BA-01E8-4EBB-8287-A37BD0A39949}"/>
              </a:ext>
            </a:extLst>
          </p:cNvPr>
          <p:cNvCxnSpPr>
            <a:cxnSpLocks/>
            <a:stCxn id="31" idx="0"/>
            <a:endCxn id="34" idx="1"/>
          </p:cNvCxnSpPr>
          <p:nvPr/>
        </p:nvCxnSpPr>
        <p:spPr>
          <a:xfrm rot="5400000" flipH="1" flipV="1">
            <a:off x="1942514" y="2886709"/>
            <a:ext cx="1161749" cy="74530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951994F-1F93-4F9B-A080-3725BA1E11BC}"/>
              </a:ext>
            </a:extLst>
          </p:cNvPr>
          <p:cNvCxnSpPr>
            <a:stCxn id="31" idx="0"/>
            <a:endCxn id="57" idx="2"/>
          </p:cNvCxnSpPr>
          <p:nvPr/>
        </p:nvCxnSpPr>
        <p:spPr>
          <a:xfrm flipV="1">
            <a:off x="2150736" y="3269565"/>
            <a:ext cx="489349" cy="570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5E3F56A-D6A6-4C8D-91D6-92C38B70A7B7}"/>
              </a:ext>
            </a:extLst>
          </p:cNvPr>
          <p:cNvCxnSpPr>
            <a:stCxn id="33" idx="0"/>
            <a:endCxn id="57" idx="2"/>
          </p:cNvCxnSpPr>
          <p:nvPr/>
        </p:nvCxnSpPr>
        <p:spPr>
          <a:xfrm flipH="1" flipV="1">
            <a:off x="2640085" y="3269565"/>
            <a:ext cx="602060" cy="570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297F403E-0EDA-4BFA-8E3A-3181D487A886}"/>
              </a:ext>
            </a:extLst>
          </p:cNvPr>
          <p:cNvSpPr txBox="1"/>
          <p:nvPr/>
        </p:nvSpPr>
        <p:spPr>
          <a:xfrm>
            <a:off x="275865" y="2452791"/>
            <a:ext cx="1149292" cy="276999"/>
          </a:xfrm>
          <a:prstGeom prst="rect">
            <a:avLst/>
          </a:prstGeom>
          <a:noFill/>
        </p:spPr>
        <p:txBody>
          <a:bodyPr wrap="square" rtlCol="0">
            <a:spAutoFit/>
          </a:bodyPr>
          <a:lstStyle/>
          <a:p>
            <a:r>
              <a:rPr lang="en-US" sz="1200"/>
              <a:t>Region A</a:t>
            </a:r>
          </a:p>
        </p:txBody>
      </p:sp>
      <p:sp>
        <p:nvSpPr>
          <p:cNvPr id="70" name="Rectangle 69">
            <a:extLst>
              <a:ext uri="{FF2B5EF4-FFF2-40B4-BE49-F238E27FC236}">
                <a16:creationId xmlns:a16="http://schemas.microsoft.com/office/drawing/2014/main" id="{A688F5F9-5F02-431F-9173-1C03E3EEB9FE}"/>
              </a:ext>
            </a:extLst>
          </p:cNvPr>
          <p:cNvSpPr/>
          <p:nvPr/>
        </p:nvSpPr>
        <p:spPr bwMode="auto">
          <a:xfrm>
            <a:off x="9911239" y="2515086"/>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PCF</a:t>
            </a:r>
            <a:endParaRPr kumimoji="0" lang="en-US" sz="1100" b="0" i="0" u="none" strike="noStrike" cap="none" normalizeH="0" baseline="0">
              <a:ln>
                <a:noFill/>
              </a:ln>
              <a:solidFill>
                <a:schemeClr val="tx1"/>
              </a:solidFill>
              <a:effectLst/>
              <a:latin typeface="Arial" charset="0"/>
            </a:endParaRPr>
          </a:p>
        </p:txBody>
      </p:sp>
      <p:cxnSp>
        <p:nvCxnSpPr>
          <p:cNvPr id="71" name="Straight Connector 70">
            <a:extLst>
              <a:ext uri="{FF2B5EF4-FFF2-40B4-BE49-F238E27FC236}">
                <a16:creationId xmlns:a16="http://schemas.microsoft.com/office/drawing/2014/main" id="{B024F8AD-4A5D-4626-B650-24809308D2C9}"/>
              </a:ext>
            </a:extLst>
          </p:cNvPr>
          <p:cNvCxnSpPr>
            <a:cxnSpLocks/>
            <a:stCxn id="70" idx="2"/>
            <a:endCxn id="6" idx="0"/>
          </p:cNvCxnSpPr>
          <p:nvPr/>
        </p:nvCxnSpPr>
        <p:spPr bwMode="auto">
          <a:xfrm>
            <a:off x="10257344" y="2856918"/>
            <a:ext cx="0" cy="920186"/>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2" name="Rectangle 71">
            <a:extLst>
              <a:ext uri="{FF2B5EF4-FFF2-40B4-BE49-F238E27FC236}">
                <a16:creationId xmlns:a16="http://schemas.microsoft.com/office/drawing/2014/main" id="{BA6F024E-5C02-4EB8-9CA5-9BC45FB67B7A}"/>
              </a:ext>
            </a:extLst>
          </p:cNvPr>
          <p:cNvSpPr/>
          <p:nvPr/>
        </p:nvSpPr>
        <p:spPr bwMode="auto">
          <a:xfrm>
            <a:off x="9352411" y="2938236"/>
            <a:ext cx="69221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100"/>
              <a:t>UDM</a:t>
            </a:r>
            <a:endParaRPr kumimoji="0" lang="en-US" sz="1100" b="0" i="0" u="none" strike="noStrike" cap="none" normalizeH="0" baseline="0">
              <a:ln>
                <a:noFill/>
              </a:ln>
              <a:solidFill>
                <a:schemeClr val="tx1"/>
              </a:solidFill>
              <a:effectLst/>
              <a:latin typeface="Arial" charset="0"/>
            </a:endParaRPr>
          </a:p>
        </p:txBody>
      </p:sp>
      <p:cxnSp>
        <p:nvCxnSpPr>
          <p:cNvPr id="73" name="Connector: Elbow 72">
            <a:extLst>
              <a:ext uri="{FF2B5EF4-FFF2-40B4-BE49-F238E27FC236}">
                <a16:creationId xmlns:a16="http://schemas.microsoft.com/office/drawing/2014/main" id="{42D7C6A4-4EC4-4C5A-9614-D3549CBE3DBA}"/>
              </a:ext>
            </a:extLst>
          </p:cNvPr>
          <p:cNvCxnSpPr>
            <a:cxnSpLocks/>
            <a:stCxn id="4" idx="0"/>
            <a:endCxn id="70" idx="1"/>
          </p:cNvCxnSpPr>
          <p:nvPr/>
        </p:nvCxnSpPr>
        <p:spPr>
          <a:xfrm rot="5400000" flipH="1" flipV="1">
            <a:off x="8283735" y="2149600"/>
            <a:ext cx="1091102" cy="216390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5D5E2BE-719C-4EE8-82D6-82A4D9D685F4}"/>
              </a:ext>
            </a:extLst>
          </p:cNvPr>
          <p:cNvCxnSpPr>
            <a:cxnSpLocks/>
            <a:stCxn id="4" idx="0"/>
            <a:endCxn id="72" idx="2"/>
          </p:cNvCxnSpPr>
          <p:nvPr/>
        </p:nvCxnSpPr>
        <p:spPr>
          <a:xfrm flipV="1">
            <a:off x="7747333" y="3280068"/>
            <a:ext cx="1951183" cy="4970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27216A3-DEA7-4A6D-86E0-FF28D8CAB140}"/>
              </a:ext>
            </a:extLst>
          </p:cNvPr>
          <p:cNvCxnSpPr>
            <a:cxnSpLocks/>
            <a:stCxn id="6" idx="0"/>
            <a:endCxn id="72" idx="2"/>
          </p:cNvCxnSpPr>
          <p:nvPr/>
        </p:nvCxnSpPr>
        <p:spPr>
          <a:xfrm flipH="1" flipV="1">
            <a:off x="9698516" y="3280068"/>
            <a:ext cx="558828" cy="4970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7213AE95-2B87-4310-B2A6-3B25DAC53BAC}"/>
              </a:ext>
            </a:extLst>
          </p:cNvPr>
          <p:cNvSpPr txBox="1"/>
          <p:nvPr/>
        </p:nvSpPr>
        <p:spPr>
          <a:xfrm>
            <a:off x="6143653" y="2447401"/>
            <a:ext cx="1149292" cy="276999"/>
          </a:xfrm>
          <a:prstGeom prst="rect">
            <a:avLst/>
          </a:prstGeom>
          <a:noFill/>
        </p:spPr>
        <p:txBody>
          <a:bodyPr wrap="square" rtlCol="0">
            <a:spAutoFit/>
          </a:bodyPr>
          <a:lstStyle/>
          <a:p>
            <a:r>
              <a:rPr lang="en-US" sz="1200"/>
              <a:t>Region B</a:t>
            </a:r>
          </a:p>
        </p:txBody>
      </p:sp>
      <p:sp>
        <p:nvSpPr>
          <p:cNvPr id="92" name="Rectangle 91">
            <a:extLst>
              <a:ext uri="{FF2B5EF4-FFF2-40B4-BE49-F238E27FC236}">
                <a16:creationId xmlns:a16="http://schemas.microsoft.com/office/drawing/2014/main" id="{3BFCC294-694B-45E9-9E03-EF71A23C3820}"/>
              </a:ext>
            </a:extLst>
          </p:cNvPr>
          <p:cNvSpPr/>
          <p:nvPr/>
        </p:nvSpPr>
        <p:spPr bwMode="auto">
          <a:xfrm>
            <a:off x="6609892" y="5035693"/>
            <a:ext cx="30926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Arial" charset="0"/>
              </a:rPr>
              <a:t>UE</a:t>
            </a:r>
          </a:p>
        </p:txBody>
      </p:sp>
      <p:sp>
        <p:nvSpPr>
          <p:cNvPr id="95" name="Rectangle 94">
            <a:extLst>
              <a:ext uri="{FF2B5EF4-FFF2-40B4-BE49-F238E27FC236}">
                <a16:creationId xmlns:a16="http://schemas.microsoft.com/office/drawing/2014/main" id="{3745C7EA-A5A3-43F5-9E94-732AA43D81AB}"/>
              </a:ext>
            </a:extLst>
          </p:cNvPr>
          <p:cNvSpPr/>
          <p:nvPr/>
        </p:nvSpPr>
        <p:spPr>
          <a:xfrm>
            <a:off x="6134082" y="2414985"/>
            <a:ext cx="3111346" cy="309585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108E52F-9E72-4771-8F41-C39CC9D88EF1}"/>
              </a:ext>
            </a:extLst>
          </p:cNvPr>
          <p:cNvSpPr/>
          <p:nvPr/>
        </p:nvSpPr>
        <p:spPr>
          <a:xfrm>
            <a:off x="9279607" y="2414985"/>
            <a:ext cx="2069145" cy="309585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extBox 98">
            <a:extLst>
              <a:ext uri="{FF2B5EF4-FFF2-40B4-BE49-F238E27FC236}">
                <a16:creationId xmlns:a16="http://schemas.microsoft.com/office/drawing/2014/main" id="{F2AE92EF-EF31-4999-ABFB-5F75E939A69D}"/>
              </a:ext>
            </a:extLst>
          </p:cNvPr>
          <p:cNvSpPr txBox="1"/>
          <p:nvPr/>
        </p:nvSpPr>
        <p:spPr>
          <a:xfrm>
            <a:off x="10603449" y="2449066"/>
            <a:ext cx="1149292" cy="276999"/>
          </a:xfrm>
          <a:prstGeom prst="rect">
            <a:avLst/>
          </a:prstGeom>
          <a:noFill/>
        </p:spPr>
        <p:txBody>
          <a:bodyPr wrap="square" rtlCol="0">
            <a:spAutoFit/>
          </a:bodyPr>
          <a:lstStyle/>
          <a:p>
            <a:r>
              <a:rPr lang="en-US" sz="1200"/>
              <a:t>Region A</a:t>
            </a:r>
          </a:p>
        </p:txBody>
      </p:sp>
      <p:sp>
        <p:nvSpPr>
          <p:cNvPr id="101" name="Rectangle 100">
            <a:extLst>
              <a:ext uri="{FF2B5EF4-FFF2-40B4-BE49-F238E27FC236}">
                <a16:creationId xmlns:a16="http://schemas.microsoft.com/office/drawing/2014/main" id="{9ED4441D-20F3-4D30-B55B-1C4A0418BB74}"/>
              </a:ext>
            </a:extLst>
          </p:cNvPr>
          <p:cNvSpPr/>
          <p:nvPr/>
        </p:nvSpPr>
        <p:spPr>
          <a:xfrm>
            <a:off x="217591" y="2414985"/>
            <a:ext cx="3625389" cy="309678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E6FC265A-24CD-4F22-9C59-D9B728BC11B4}"/>
              </a:ext>
            </a:extLst>
          </p:cNvPr>
          <p:cNvSpPr/>
          <p:nvPr/>
        </p:nvSpPr>
        <p:spPr bwMode="auto">
          <a:xfrm>
            <a:off x="1016981" y="5021990"/>
            <a:ext cx="309260" cy="34183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Arial" charset="0"/>
              </a:rPr>
              <a:t>UE</a:t>
            </a:r>
          </a:p>
        </p:txBody>
      </p:sp>
      <p:sp>
        <p:nvSpPr>
          <p:cNvPr id="107" name="TextBox 106">
            <a:extLst>
              <a:ext uri="{FF2B5EF4-FFF2-40B4-BE49-F238E27FC236}">
                <a16:creationId xmlns:a16="http://schemas.microsoft.com/office/drawing/2014/main" id="{AA017DD6-A5DE-45D2-BC5C-BA3CF916C420}"/>
              </a:ext>
            </a:extLst>
          </p:cNvPr>
          <p:cNvSpPr txBox="1"/>
          <p:nvPr/>
        </p:nvSpPr>
        <p:spPr>
          <a:xfrm>
            <a:off x="1294081" y="5654930"/>
            <a:ext cx="2405519" cy="276999"/>
          </a:xfrm>
          <a:prstGeom prst="rect">
            <a:avLst/>
          </a:prstGeom>
          <a:noFill/>
        </p:spPr>
        <p:txBody>
          <a:bodyPr wrap="square" rtlCol="0">
            <a:spAutoFit/>
          </a:bodyPr>
          <a:lstStyle/>
          <a:p>
            <a:r>
              <a:rPr lang="en-US" sz="1200"/>
              <a:t>UE in Region A (non-roaming)</a:t>
            </a:r>
          </a:p>
        </p:txBody>
      </p:sp>
      <p:sp>
        <p:nvSpPr>
          <p:cNvPr id="108" name="TextBox 107">
            <a:extLst>
              <a:ext uri="{FF2B5EF4-FFF2-40B4-BE49-F238E27FC236}">
                <a16:creationId xmlns:a16="http://schemas.microsoft.com/office/drawing/2014/main" id="{B8871256-30F4-4498-8235-9A334AAA0AF8}"/>
              </a:ext>
            </a:extLst>
          </p:cNvPr>
          <p:cNvSpPr txBox="1"/>
          <p:nvPr/>
        </p:nvSpPr>
        <p:spPr>
          <a:xfrm>
            <a:off x="6016300" y="5682682"/>
            <a:ext cx="5413248" cy="738664"/>
          </a:xfrm>
          <a:prstGeom prst="rect">
            <a:avLst/>
          </a:prstGeom>
          <a:noFill/>
        </p:spPr>
        <p:txBody>
          <a:bodyPr wrap="square" rtlCol="0">
            <a:spAutoFit/>
          </a:bodyPr>
          <a:lstStyle/>
          <a:p>
            <a:r>
              <a:rPr lang="en-US" sz="1200"/>
              <a:t>UE after mobility to Region B, maintaining SMF and PSA UPF (home-routed roaming)</a:t>
            </a:r>
          </a:p>
          <a:p>
            <a:r>
              <a:rPr lang="en-US" sz="1200"/>
              <a:t>I-SMF/I-UPF acts very much like V-SMF/V-UPF</a:t>
            </a:r>
          </a:p>
        </p:txBody>
      </p:sp>
      <p:sp>
        <p:nvSpPr>
          <p:cNvPr id="109" name="TextBox 108">
            <a:extLst>
              <a:ext uri="{FF2B5EF4-FFF2-40B4-BE49-F238E27FC236}">
                <a16:creationId xmlns:a16="http://schemas.microsoft.com/office/drawing/2014/main" id="{4D83E9D1-94EF-40B2-989B-C3EAA9F168A9}"/>
              </a:ext>
            </a:extLst>
          </p:cNvPr>
          <p:cNvSpPr txBox="1"/>
          <p:nvPr/>
        </p:nvSpPr>
        <p:spPr>
          <a:xfrm>
            <a:off x="6945582" y="4017844"/>
            <a:ext cx="376015" cy="261610"/>
          </a:xfrm>
          <a:prstGeom prst="rect">
            <a:avLst/>
          </a:prstGeom>
          <a:noFill/>
        </p:spPr>
        <p:txBody>
          <a:bodyPr wrap="square" rtlCol="0">
            <a:spAutoFit/>
          </a:bodyPr>
          <a:lstStyle/>
          <a:p>
            <a:r>
              <a:rPr lang="en-US" sz="1050"/>
              <a:t>N2</a:t>
            </a:r>
          </a:p>
        </p:txBody>
      </p:sp>
      <p:sp>
        <p:nvSpPr>
          <p:cNvPr id="110" name="TextBox 109">
            <a:extLst>
              <a:ext uri="{FF2B5EF4-FFF2-40B4-BE49-F238E27FC236}">
                <a16:creationId xmlns:a16="http://schemas.microsoft.com/office/drawing/2014/main" id="{BA796968-27D6-4771-9535-B65A4EDD9E55}"/>
              </a:ext>
            </a:extLst>
          </p:cNvPr>
          <p:cNvSpPr txBox="1"/>
          <p:nvPr/>
        </p:nvSpPr>
        <p:spPr>
          <a:xfrm>
            <a:off x="1315869" y="4118936"/>
            <a:ext cx="376015" cy="261610"/>
          </a:xfrm>
          <a:prstGeom prst="rect">
            <a:avLst/>
          </a:prstGeom>
          <a:noFill/>
        </p:spPr>
        <p:txBody>
          <a:bodyPr wrap="square" rtlCol="0">
            <a:spAutoFit/>
          </a:bodyPr>
          <a:lstStyle/>
          <a:p>
            <a:r>
              <a:rPr lang="en-US" sz="1050"/>
              <a:t>N2</a:t>
            </a:r>
          </a:p>
        </p:txBody>
      </p:sp>
      <p:sp>
        <p:nvSpPr>
          <p:cNvPr id="38" name="Arrow: Right 37">
            <a:extLst>
              <a:ext uri="{FF2B5EF4-FFF2-40B4-BE49-F238E27FC236}">
                <a16:creationId xmlns:a16="http://schemas.microsoft.com/office/drawing/2014/main" id="{B12005AD-B52C-4083-A39D-A085DA51CBCA}"/>
              </a:ext>
            </a:extLst>
          </p:cNvPr>
          <p:cNvSpPr/>
          <p:nvPr/>
        </p:nvSpPr>
        <p:spPr>
          <a:xfrm>
            <a:off x="4701539" y="3513884"/>
            <a:ext cx="1142760" cy="673026"/>
          </a:xfrm>
          <a:prstGeom prst="rightArrow">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D351FB48-2D42-4332-BB06-8888D1B8696A}"/>
              </a:ext>
            </a:extLst>
          </p:cNvPr>
          <p:cNvSpPr>
            <a:spLocks noGrp="1"/>
          </p:cNvSpPr>
          <p:nvPr>
            <p:ph type="title"/>
          </p:nvPr>
        </p:nvSpPr>
        <p:spPr>
          <a:xfrm>
            <a:off x="479424" y="476250"/>
            <a:ext cx="9998076" cy="1081088"/>
          </a:xfrm>
        </p:spPr>
        <p:txBody>
          <a:bodyPr/>
          <a:lstStyle/>
          <a:p>
            <a:r>
              <a:rPr lang="en-US"/>
              <a:t>Session Management – I-SMF example use cases</a:t>
            </a:r>
            <a:br>
              <a:rPr lang="en-US" sz="2800"/>
            </a:br>
            <a:r>
              <a:rPr lang="en-US" sz="2800"/>
              <a:t>Inter-region mobility example</a:t>
            </a:r>
          </a:p>
        </p:txBody>
      </p:sp>
    </p:spTree>
    <p:extLst>
      <p:ext uri="{BB962C8B-B14F-4D97-AF65-F5344CB8AC3E}">
        <p14:creationId xmlns:p14="http://schemas.microsoft.com/office/powerpoint/2010/main" val="2721706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CA820F-BDF6-4BF3-9E71-EF10E1CAD37E}"/>
              </a:ext>
            </a:extLst>
          </p:cNvPr>
          <p:cNvSpPr>
            <a:spLocks noGrp="1"/>
          </p:cNvSpPr>
          <p:nvPr>
            <p:ph type="title"/>
          </p:nvPr>
        </p:nvSpPr>
        <p:spPr>
          <a:xfrm>
            <a:off x="479424" y="476250"/>
            <a:ext cx="10239376" cy="1081088"/>
          </a:xfrm>
        </p:spPr>
        <p:txBody>
          <a:bodyPr/>
          <a:lstStyle/>
          <a:p>
            <a:r>
              <a:rPr lang="en-US"/>
              <a:t>Session Management – I-SMF example use cases</a:t>
            </a:r>
            <a:br>
              <a:rPr lang="en-US" sz="2800"/>
            </a:br>
            <a:r>
              <a:rPr lang="sv-SE" sz="2400"/>
              <a:t>Support for architectures also with I-SMF controlling UL-CL/BP, for edge breakout</a:t>
            </a:r>
            <a:br>
              <a:rPr lang="sv-SE" sz="2800"/>
            </a:br>
            <a:endParaRPr lang="sv-SE"/>
          </a:p>
        </p:txBody>
      </p:sp>
      <p:sp>
        <p:nvSpPr>
          <p:cNvPr id="14" name="TextBox 13">
            <a:extLst>
              <a:ext uri="{FF2B5EF4-FFF2-40B4-BE49-F238E27FC236}">
                <a16:creationId xmlns:a16="http://schemas.microsoft.com/office/drawing/2014/main" id="{5AE03D51-E32C-4652-9962-9673FB0EEAD4}"/>
              </a:ext>
            </a:extLst>
          </p:cNvPr>
          <p:cNvSpPr txBox="1"/>
          <p:nvPr/>
        </p:nvSpPr>
        <p:spPr bwMode="auto">
          <a:xfrm>
            <a:off x="1839263" y="5835432"/>
            <a:ext cx="8513474" cy="598343"/>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sv-SE"/>
              <a:t>Non-roming architecture with I-SMF and UL-CL/BP controlled by I-SMF</a:t>
            </a:r>
          </a:p>
        </p:txBody>
      </p:sp>
      <p:graphicFrame>
        <p:nvGraphicFramePr>
          <p:cNvPr id="18" name="Object 17">
            <a:extLst>
              <a:ext uri="{FF2B5EF4-FFF2-40B4-BE49-F238E27FC236}">
                <a16:creationId xmlns:a16="http://schemas.microsoft.com/office/drawing/2014/main" id="{C8092474-F7B9-4305-87C1-50B1205421DD}"/>
              </a:ext>
            </a:extLst>
          </p:cNvPr>
          <p:cNvGraphicFramePr>
            <a:graphicFrameLocks noChangeAspect="1"/>
          </p:cNvGraphicFramePr>
          <p:nvPr/>
        </p:nvGraphicFramePr>
        <p:xfrm>
          <a:off x="2034408" y="2096871"/>
          <a:ext cx="7484244" cy="3498200"/>
        </p:xfrm>
        <a:graphic>
          <a:graphicData uri="http://schemas.openxmlformats.org/presentationml/2006/ole">
            <mc:AlternateContent xmlns:mc="http://schemas.openxmlformats.org/markup-compatibility/2006">
              <mc:Choice xmlns:v="urn:schemas-microsoft-com:vml" Requires="v">
                <p:oleObj spid="_x0000_s4100" name="Visio" r:id="rId4" imgW="8134387" imgH="3800435" progId="Visio.Drawing.11">
                  <p:embed/>
                </p:oleObj>
              </mc:Choice>
              <mc:Fallback>
                <p:oleObj name="Visio" r:id="rId4" imgW="8134387" imgH="3800435" progId="Visio.Drawing.11">
                  <p:embed/>
                  <p:pic>
                    <p:nvPicPr>
                      <p:cNvPr id="18" name="Object 17">
                        <a:extLst>
                          <a:ext uri="{FF2B5EF4-FFF2-40B4-BE49-F238E27FC236}">
                            <a16:creationId xmlns:a16="http://schemas.microsoft.com/office/drawing/2014/main" id="{C8092474-F7B9-4305-87C1-50B1205421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4408" y="2096871"/>
                        <a:ext cx="7484244" cy="3498200"/>
                      </a:xfrm>
                      <a:prstGeom prst="rect">
                        <a:avLst/>
                      </a:prstGeom>
                      <a:noFill/>
                    </p:spPr>
                  </p:pic>
                </p:oleObj>
              </mc:Fallback>
            </mc:AlternateContent>
          </a:graphicData>
        </a:graphic>
      </p:graphicFrame>
    </p:spTree>
    <p:extLst>
      <p:ext uri="{BB962C8B-B14F-4D97-AF65-F5344CB8AC3E}">
        <p14:creationId xmlns:p14="http://schemas.microsoft.com/office/powerpoint/2010/main" val="20712816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592C0B3-5D6E-4AF1-BC21-3B8EA726A546}"/>
              </a:ext>
            </a:extLst>
          </p:cNvPr>
          <p:cNvSpPr>
            <a:spLocks noGrp="1"/>
          </p:cNvSpPr>
          <p:nvPr>
            <p:ph sz="quarter" idx="10"/>
          </p:nvPr>
        </p:nvSpPr>
        <p:spPr>
          <a:xfrm>
            <a:off x="524934" y="1557338"/>
            <a:ext cx="6686571" cy="4967287"/>
          </a:xfrm>
        </p:spPr>
        <p:txBody>
          <a:bodyPr/>
          <a:lstStyle/>
          <a:p>
            <a:r>
              <a:rPr lang="en-US" sz="2000"/>
              <a:t>Rel-15 supports both:</a:t>
            </a:r>
          </a:p>
          <a:p>
            <a:pPr lvl="1"/>
            <a:r>
              <a:rPr lang="en-GB" sz="1800"/>
              <a:t>“single-to-many”: deployments where a UPF is controlled by a single SMF and </a:t>
            </a:r>
          </a:p>
          <a:p>
            <a:pPr lvl="1"/>
            <a:r>
              <a:rPr lang="en-GB" sz="1800"/>
              <a:t>“many-to-many”: deployments where a UPF is controlled by multiple SMFs (for different PDU Sessions)</a:t>
            </a:r>
          </a:p>
          <a:p>
            <a:pPr lvl="1"/>
            <a:endParaRPr lang="en-GB" sz="1800"/>
          </a:p>
          <a:p>
            <a:r>
              <a:rPr lang="sv-SE" sz="2000"/>
              <a:t>However certain aspects may not be optimal for ”many-to-many”:</a:t>
            </a:r>
          </a:p>
          <a:p>
            <a:pPr lvl="1"/>
            <a:r>
              <a:rPr lang="sv-SE" sz="1800"/>
              <a:t>UE IP addresses are allocated by SMF local pool, or by external DHCP/AAA server</a:t>
            </a:r>
          </a:p>
          <a:p>
            <a:pPr lvl="1"/>
            <a:endParaRPr lang="sv-SE"/>
          </a:p>
          <a:p>
            <a:r>
              <a:rPr lang="sv-SE" sz="2000"/>
              <a:t>Rel-16 aims at enhancing the possiblity to support ”many-to-many” deployments</a:t>
            </a:r>
          </a:p>
          <a:p>
            <a:pPr lvl="1"/>
            <a:r>
              <a:rPr lang="sv-SE" sz="1800"/>
              <a:t>Targets scenarios where SMFs and UPFs are instantiated more or less independently and there is no strict hierachy or ”ownership”</a:t>
            </a:r>
          </a:p>
          <a:p>
            <a:endParaRPr lang="en-US" sz="2000"/>
          </a:p>
        </p:txBody>
      </p:sp>
      <p:sp>
        <p:nvSpPr>
          <p:cNvPr id="4" name="Title 3">
            <a:extLst>
              <a:ext uri="{FF2B5EF4-FFF2-40B4-BE49-F238E27FC236}">
                <a16:creationId xmlns:a16="http://schemas.microsoft.com/office/drawing/2014/main" id="{4F2E92BB-3B7B-47BD-BEBB-27B831C05EAA}"/>
              </a:ext>
            </a:extLst>
          </p:cNvPr>
          <p:cNvSpPr>
            <a:spLocks noGrp="1"/>
          </p:cNvSpPr>
          <p:nvPr>
            <p:ph type="title"/>
          </p:nvPr>
        </p:nvSpPr>
        <p:spPr>
          <a:xfrm>
            <a:off x="479425" y="476250"/>
            <a:ext cx="9976322" cy="1081088"/>
          </a:xfrm>
        </p:spPr>
        <p:txBody>
          <a:bodyPr/>
          <a:lstStyle/>
          <a:p>
            <a:r>
              <a:rPr lang="en-US"/>
              <a:t>Session Management – SMF-UPF cardinality</a:t>
            </a:r>
          </a:p>
        </p:txBody>
      </p:sp>
      <p:sp>
        <p:nvSpPr>
          <p:cNvPr id="6" name="Rectangle 5">
            <a:extLst>
              <a:ext uri="{FF2B5EF4-FFF2-40B4-BE49-F238E27FC236}">
                <a16:creationId xmlns:a16="http://schemas.microsoft.com/office/drawing/2014/main" id="{13C38225-8F9C-4553-9BA6-178876E61FD8}"/>
              </a:ext>
            </a:extLst>
          </p:cNvPr>
          <p:cNvSpPr/>
          <p:nvPr/>
        </p:nvSpPr>
        <p:spPr bwMode="auto">
          <a:xfrm>
            <a:off x="8376997" y="2160485"/>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SMF</a:t>
            </a:r>
          </a:p>
        </p:txBody>
      </p:sp>
      <p:sp>
        <p:nvSpPr>
          <p:cNvPr id="7" name="Rectangle 6">
            <a:extLst>
              <a:ext uri="{FF2B5EF4-FFF2-40B4-BE49-F238E27FC236}">
                <a16:creationId xmlns:a16="http://schemas.microsoft.com/office/drawing/2014/main" id="{189600FF-CD0E-49DE-8B96-5CBBA7EC575E}"/>
              </a:ext>
            </a:extLst>
          </p:cNvPr>
          <p:cNvSpPr/>
          <p:nvPr/>
        </p:nvSpPr>
        <p:spPr bwMode="auto">
          <a:xfrm>
            <a:off x="7859961" y="3092515"/>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sp>
        <p:nvSpPr>
          <p:cNvPr id="8" name="Rectangle 7">
            <a:extLst>
              <a:ext uri="{FF2B5EF4-FFF2-40B4-BE49-F238E27FC236}">
                <a16:creationId xmlns:a16="http://schemas.microsoft.com/office/drawing/2014/main" id="{97655104-752B-4E50-AC2D-373F78D407B0}"/>
              </a:ext>
            </a:extLst>
          </p:cNvPr>
          <p:cNvSpPr/>
          <p:nvPr/>
        </p:nvSpPr>
        <p:spPr bwMode="auto">
          <a:xfrm>
            <a:off x="8839119" y="3105069"/>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9" name="Straight Connector 8">
            <a:extLst>
              <a:ext uri="{FF2B5EF4-FFF2-40B4-BE49-F238E27FC236}">
                <a16:creationId xmlns:a16="http://schemas.microsoft.com/office/drawing/2014/main" id="{7D07708A-045F-4F82-B693-783F7D5EF3A5}"/>
              </a:ext>
            </a:extLst>
          </p:cNvPr>
          <p:cNvCxnSpPr>
            <a:stCxn id="6" idx="2"/>
            <a:endCxn id="7" idx="0"/>
          </p:cNvCxnSpPr>
          <p:nvPr/>
        </p:nvCxnSpPr>
        <p:spPr bwMode="auto">
          <a:xfrm flipH="1">
            <a:off x="8206067" y="2532726"/>
            <a:ext cx="517036" cy="55978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DCB078CB-8206-4C93-A219-00ADBD559173}"/>
              </a:ext>
            </a:extLst>
          </p:cNvPr>
          <p:cNvCxnSpPr>
            <a:stCxn id="6" idx="2"/>
            <a:endCxn id="8" idx="0"/>
          </p:cNvCxnSpPr>
          <p:nvPr/>
        </p:nvCxnSpPr>
        <p:spPr bwMode="auto">
          <a:xfrm>
            <a:off x="8723103" y="2532726"/>
            <a:ext cx="462122" cy="57234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3" name="Rectangle 12">
            <a:extLst>
              <a:ext uri="{FF2B5EF4-FFF2-40B4-BE49-F238E27FC236}">
                <a16:creationId xmlns:a16="http://schemas.microsoft.com/office/drawing/2014/main" id="{DF845158-94E8-4D66-8002-7B463791660E}"/>
              </a:ext>
            </a:extLst>
          </p:cNvPr>
          <p:cNvSpPr/>
          <p:nvPr/>
        </p:nvSpPr>
        <p:spPr bwMode="auto">
          <a:xfrm>
            <a:off x="10665613" y="3089906"/>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14" name="Straight Connector 13">
            <a:extLst>
              <a:ext uri="{FF2B5EF4-FFF2-40B4-BE49-F238E27FC236}">
                <a16:creationId xmlns:a16="http://schemas.microsoft.com/office/drawing/2014/main" id="{5D416EFC-E771-45DC-A113-EE8B64C66D44}"/>
              </a:ext>
            </a:extLst>
          </p:cNvPr>
          <p:cNvCxnSpPr>
            <a:cxnSpLocks/>
            <a:stCxn id="33" idx="2"/>
            <a:endCxn id="13" idx="0"/>
          </p:cNvCxnSpPr>
          <p:nvPr/>
        </p:nvCxnSpPr>
        <p:spPr bwMode="auto">
          <a:xfrm>
            <a:off x="10455747" y="2507004"/>
            <a:ext cx="555972" cy="58290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8" name="TextBox 17">
            <a:extLst>
              <a:ext uri="{FF2B5EF4-FFF2-40B4-BE49-F238E27FC236}">
                <a16:creationId xmlns:a16="http://schemas.microsoft.com/office/drawing/2014/main" id="{BCE1A70B-022A-49EB-9692-E1FF3CE96AB2}"/>
              </a:ext>
            </a:extLst>
          </p:cNvPr>
          <p:cNvSpPr txBox="1"/>
          <p:nvPr/>
        </p:nvSpPr>
        <p:spPr>
          <a:xfrm>
            <a:off x="7674123" y="1800723"/>
            <a:ext cx="1305338" cy="276999"/>
          </a:xfrm>
          <a:prstGeom prst="rect">
            <a:avLst/>
          </a:prstGeom>
          <a:noFill/>
        </p:spPr>
        <p:txBody>
          <a:bodyPr wrap="square" rtlCol="0">
            <a:spAutoFit/>
          </a:bodyPr>
          <a:lstStyle/>
          <a:p>
            <a:r>
              <a:rPr lang="en-US" sz="1200"/>
              <a:t>“one-to-many”</a:t>
            </a:r>
          </a:p>
        </p:txBody>
      </p:sp>
      <p:sp>
        <p:nvSpPr>
          <p:cNvPr id="26" name="TextBox 25">
            <a:extLst>
              <a:ext uri="{FF2B5EF4-FFF2-40B4-BE49-F238E27FC236}">
                <a16:creationId xmlns:a16="http://schemas.microsoft.com/office/drawing/2014/main" id="{10A1A9F4-2AB2-459B-8153-8A7EC9A10DB2}"/>
              </a:ext>
            </a:extLst>
          </p:cNvPr>
          <p:cNvSpPr txBox="1"/>
          <p:nvPr/>
        </p:nvSpPr>
        <p:spPr>
          <a:xfrm>
            <a:off x="7674123" y="4330278"/>
            <a:ext cx="1305338" cy="276999"/>
          </a:xfrm>
          <a:prstGeom prst="rect">
            <a:avLst/>
          </a:prstGeom>
          <a:noFill/>
        </p:spPr>
        <p:txBody>
          <a:bodyPr wrap="square" rtlCol="0">
            <a:spAutoFit/>
          </a:bodyPr>
          <a:lstStyle/>
          <a:p>
            <a:r>
              <a:rPr lang="en-US" sz="1200"/>
              <a:t>“many-to-many”</a:t>
            </a:r>
          </a:p>
        </p:txBody>
      </p:sp>
      <p:sp>
        <p:nvSpPr>
          <p:cNvPr id="33" name="Rectangle 32">
            <a:extLst>
              <a:ext uri="{FF2B5EF4-FFF2-40B4-BE49-F238E27FC236}">
                <a16:creationId xmlns:a16="http://schemas.microsoft.com/office/drawing/2014/main" id="{BC3B88E6-EE02-4223-A5D5-A12687A3D594}"/>
              </a:ext>
            </a:extLst>
          </p:cNvPr>
          <p:cNvSpPr/>
          <p:nvPr/>
        </p:nvSpPr>
        <p:spPr bwMode="auto">
          <a:xfrm>
            <a:off x="10109641" y="2134763"/>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SMF</a:t>
            </a:r>
          </a:p>
        </p:txBody>
      </p:sp>
      <p:sp>
        <p:nvSpPr>
          <p:cNvPr id="38" name="Rectangle 37">
            <a:extLst>
              <a:ext uri="{FF2B5EF4-FFF2-40B4-BE49-F238E27FC236}">
                <a16:creationId xmlns:a16="http://schemas.microsoft.com/office/drawing/2014/main" id="{D087F651-D091-49D5-BD2F-8556435F8505}"/>
              </a:ext>
            </a:extLst>
          </p:cNvPr>
          <p:cNvSpPr/>
          <p:nvPr/>
        </p:nvSpPr>
        <p:spPr bwMode="auto">
          <a:xfrm>
            <a:off x="9717664" y="3089907"/>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39" name="Straight Connector 38">
            <a:extLst>
              <a:ext uri="{FF2B5EF4-FFF2-40B4-BE49-F238E27FC236}">
                <a16:creationId xmlns:a16="http://schemas.microsoft.com/office/drawing/2014/main" id="{1D0321D3-30BF-429E-9D82-DCA1A354743C}"/>
              </a:ext>
            </a:extLst>
          </p:cNvPr>
          <p:cNvCxnSpPr>
            <a:cxnSpLocks/>
            <a:stCxn id="33" idx="2"/>
            <a:endCxn id="38" idx="0"/>
          </p:cNvCxnSpPr>
          <p:nvPr/>
        </p:nvCxnSpPr>
        <p:spPr bwMode="auto">
          <a:xfrm flipH="1">
            <a:off x="10063770" y="2507004"/>
            <a:ext cx="391977" cy="58290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46" name="Rectangle 45">
            <a:extLst>
              <a:ext uri="{FF2B5EF4-FFF2-40B4-BE49-F238E27FC236}">
                <a16:creationId xmlns:a16="http://schemas.microsoft.com/office/drawing/2014/main" id="{2D501CC6-824A-4056-80BE-72B8A1313429}"/>
              </a:ext>
            </a:extLst>
          </p:cNvPr>
          <p:cNvSpPr/>
          <p:nvPr/>
        </p:nvSpPr>
        <p:spPr bwMode="auto">
          <a:xfrm>
            <a:off x="8376997" y="4687356"/>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SMF</a:t>
            </a:r>
          </a:p>
        </p:txBody>
      </p:sp>
      <p:sp>
        <p:nvSpPr>
          <p:cNvPr id="47" name="Rectangle 46">
            <a:extLst>
              <a:ext uri="{FF2B5EF4-FFF2-40B4-BE49-F238E27FC236}">
                <a16:creationId xmlns:a16="http://schemas.microsoft.com/office/drawing/2014/main" id="{04100978-662D-46AD-91E9-DDE1D9D4ACC6}"/>
              </a:ext>
            </a:extLst>
          </p:cNvPr>
          <p:cNvSpPr/>
          <p:nvPr/>
        </p:nvSpPr>
        <p:spPr bwMode="auto">
          <a:xfrm>
            <a:off x="7859961" y="5619386"/>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sp>
        <p:nvSpPr>
          <p:cNvPr id="48" name="Rectangle 47">
            <a:extLst>
              <a:ext uri="{FF2B5EF4-FFF2-40B4-BE49-F238E27FC236}">
                <a16:creationId xmlns:a16="http://schemas.microsoft.com/office/drawing/2014/main" id="{1AFDDBA2-BFAE-4384-8D20-373B8D451DB4}"/>
              </a:ext>
            </a:extLst>
          </p:cNvPr>
          <p:cNvSpPr/>
          <p:nvPr/>
        </p:nvSpPr>
        <p:spPr bwMode="auto">
          <a:xfrm>
            <a:off x="8839119" y="5631940"/>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49" name="Straight Connector 48">
            <a:extLst>
              <a:ext uri="{FF2B5EF4-FFF2-40B4-BE49-F238E27FC236}">
                <a16:creationId xmlns:a16="http://schemas.microsoft.com/office/drawing/2014/main" id="{A0FC287F-6182-4125-9777-B46DAC199962}"/>
              </a:ext>
            </a:extLst>
          </p:cNvPr>
          <p:cNvCxnSpPr>
            <a:stCxn id="46" idx="2"/>
            <a:endCxn id="47" idx="0"/>
          </p:cNvCxnSpPr>
          <p:nvPr/>
        </p:nvCxnSpPr>
        <p:spPr bwMode="auto">
          <a:xfrm flipH="1">
            <a:off x="8206067" y="5059597"/>
            <a:ext cx="517036" cy="55978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3470871C-23E2-4718-BBB7-9244274729D5}"/>
              </a:ext>
            </a:extLst>
          </p:cNvPr>
          <p:cNvCxnSpPr>
            <a:stCxn id="46" idx="2"/>
            <a:endCxn id="48" idx="0"/>
          </p:cNvCxnSpPr>
          <p:nvPr/>
        </p:nvCxnSpPr>
        <p:spPr bwMode="auto">
          <a:xfrm>
            <a:off x="8723103" y="5059597"/>
            <a:ext cx="462122" cy="57234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1" name="Rectangle 50">
            <a:extLst>
              <a:ext uri="{FF2B5EF4-FFF2-40B4-BE49-F238E27FC236}">
                <a16:creationId xmlns:a16="http://schemas.microsoft.com/office/drawing/2014/main" id="{9430E77D-7F0C-42A4-9AE9-73EF7F71E1D4}"/>
              </a:ext>
            </a:extLst>
          </p:cNvPr>
          <p:cNvSpPr/>
          <p:nvPr/>
        </p:nvSpPr>
        <p:spPr bwMode="auto">
          <a:xfrm>
            <a:off x="10665613" y="5616777"/>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52" name="Straight Connector 51">
            <a:extLst>
              <a:ext uri="{FF2B5EF4-FFF2-40B4-BE49-F238E27FC236}">
                <a16:creationId xmlns:a16="http://schemas.microsoft.com/office/drawing/2014/main" id="{3A0AC6F2-9C92-4A84-AACA-F6DD19721357}"/>
              </a:ext>
            </a:extLst>
          </p:cNvPr>
          <p:cNvCxnSpPr>
            <a:cxnSpLocks/>
            <a:stCxn id="53" idx="2"/>
            <a:endCxn id="51" idx="0"/>
          </p:cNvCxnSpPr>
          <p:nvPr/>
        </p:nvCxnSpPr>
        <p:spPr bwMode="auto">
          <a:xfrm>
            <a:off x="10455747" y="5033875"/>
            <a:ext cx="555972" cy="58290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3" name="Rectangle 52">
            <a:extLst>
              <a:ext uri="{FF2B5EF4-FFF2-40B4-BE49-F238E27FC236}">
                <a16:creationId xmlns:a16="http://schemas.microsoft.com/office/drawing/2014/main" id="{C5D4FA94-20CB-4CFD-8856-8C827274302E}"/>
              </a:ext>
            </a:extLst>
          </p:cNvPr>
          <p:cNvSpPr/>
          <p:nvPr/>
        </p:nvSpPr>
        <p:spPr bwMode="auto">
          <a:xfrm>
            <a:off x="10109641" y="4661634"/>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SMF</a:t>
            </a:r>
          </a:p>
        </p:txBody>
      </p:sp>
      <p:sp>
        <p:nvSpPr>
          <p:cNvPr id="54" name="Rectangle 53">
            <a:extLst>
              <a:ext uri="{FF2B5EF4-FFF2-40B4-BE49-F238E27FC236}">
                <a16:creationId xmlns:a16="http://schemas.microsoft.com/office/drawing/2014/main" id="{FE726EB0-6041-4130-A24B-AA570644A920}"/>
              </a:ext>
            </a:extLst>
          </p:cNvPr>
          <p:cNvSpPr/>
          <p:nvPr/>
        </p:nvSpPr>
        <p:spPr bwMode="auto">
          <a:xfrm>
            <a:off x="9717664" y="5616778"/>
            <a:ext cx="692211" cy="372241"/>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UPF</a:t>
            </a:r>
          </a:p>
        </p:txBody>
      </p:sp>
      <p:cxnSp>
        <p:nvCxnSpPr>
          <p:cNvPr id="55" name="Straight Connector 54">
            <a:extLst>
              <a:ext uri="{FF2B5EF4-FFF2-40B4-BE49-F238E27FC236}">
                <a16:creationId xmlns:a16="http://schemas.microsoft.com/office/drawing/2014/main" id="{CED5F876-9DE8-4E0B-8724-707CCE34B250}"/>
              </a:ext>
            </a:extLst>
          </p:cNvPr>
          <p:cNvCxnSpPr>
            <a:cxnSpLocks/>
            <a:stCxn id="53" idx="2"/>
            <a:endCxn id="54" idx="0"/>
          </p:cNvCxnSpPr>
          <p:nvPr/>
        </p:nvCxnSpPr>
        <p:spPr bwMode="auto">
          <a:xfrm flipH="1">
            <a:off x="10063770" y="5033875"/>
            <a:ext cx="391977" cy="58290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1988BF6B-683D-4EF5-AE96-45DC1BED1D78}"/>
              </a:ext>
            </a:extLst>
          </p:cNvPr>
          <p:cNvCxnSpPr>
            <a:stCxn id="47" idx="0"/>
            <a:endCxn id="53" idx="2"/>
          </p:cNvCxnSpPr>
          <p:nvPr/>
        </p:nvCxnSpPr>
        <p:spPr bwMode="auto">
          <a:xfrm flipV="1">
            <a:off x="8206067" y="5033875"/>
            <a:ext cx="2249680" cy="585511"/>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07BE98A8-BE16-4633-B50D-8749D1D63ABE}"/>
              </a:ext>
            </a:extLst>
          </p:cNvPr>
          <p:cNvCxnSpPr>
            <a:stCxn id="48" idx="0"/>
            <a:endCxn id="53" idx="2"/>
          </p:cNvCxnSpPr>
          <p:nvPr/>
        </p:nvCxnSpPr>
        <p:spPr bwMode="auto">
          <a:xfrm flipV="1">
            <a:off x="9185225" y="5033875"/>
            <a:ext cx="1270522" cy="59806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C6CEC8D4-F856-45D2-9841-A72DCBC8E801}"/>
              </a:ext>
            </a:extLst>
          </p:cNvPr>
          <p:cNvCxnSpPr>
            <a:stCxn id="54" idx="0"/>
            <a:endCxn id="46" idx="2"/>
          </p:cNvCxnSpPr>
          <p:nvPr/>
        </p:nvCxnSpPr>
        <p:spPr bwMode="auto">
          <a:xfrm flipH="1" flipV="1">
            <a:off x="8723103" y="5059597"/>
            <a:ext cx="1340667" cy="557181"/>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E5AFFF2F-F8FC-4A88-9511-E70CD76A9FFE}"/>
              </a:ext>
            </a:extLst>
          </p:cNvPr>
          <p:cNvCxnSpPr>
            <a:stCxn id="51" idx="0"/>
            <a:endCxn id="46" idx="2"/>
          </p:cNvCxnSpPr>
          <p:nvPr/>
        </p:nvCxnSpPr>
        <p:spPr bwMode="auto">
          <a:xfrm flipH="1" flipV="1">
            <a:off x="8723103" y="5059597"/>
            <a:ext cx="2288616" cy="55718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1687177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B49A0F3-8504-46B3-863F-C0D25E9B5978}"/>
              </a:ext>
            </a:extLst>
          </p:cNvPr>
          <p:cNvSpPr>
            <a:spLocks noGrp="1"/>
          </p:cNvSpPr>
          <p:nvPr>
            <p:ph sz="quarter" idx="10"/>
          </p:nvPr>
        </p:nvSpPr>
        <p:spPr/>
        <p:txBody>
          <a:bodyPr/>
          <a:lstStyle/>
          <a:p>
            <a:r>
              <a:rPr lang="sv-SE"/>
              <a:t>Option added in rel-16 for allocating UE IP address by UPF</a:t>
            </a:r>
          </a:p>
          <a:p>
            <a:r>
              <a:rPr lang="sv-SE"/>
              <a:t>SMF still supports RS/RA/DHCP towards UE</a:t>
            </a:r>
          </a:p>
          <a:p>
            <a:r>
              <a:rPr lang="sv-SE"/>
              <a:t>Intent is to simplify for deployments </a:t>
            </a:r>
            <a:r>
              <a:rPr lang="en-US"/>
              <a:t>where a UPF is controlled by multiple SMFs</a:t>
            </a:r>
          </a:p>
          <a:p>
            <a:endParaRPr lang="en-US"/>
          </a:p>
          <a:p>
            <a:r>
              <a:rPr lang="en-US"/>
              <a:t>N4 enhanced to carry UE IP address from UPF to SMF</a:t>
            </a:r>
          </a:p>
          <a:p>
            <a:endParaRPr lang="sv-SE"/>
          </a:p>
        </p:txBody>
      </p:sp>
      <p:sp>
        <p:nvSpPr>
          <p:cNvPr id="3" name="Title 2">
            <a:extLst>
              <a:ext uri="{FF2B5EF4-FFF2-40B4-BE49-F238E27FC236}">
                <a16:creationId xmlns:a16="http://schemas.microsoft.com/office/drawing/2014/main" id="{C4B6236D-00E4-408F-9B33-7C7AE1E1F607}"/>
              </a:ext>
            </a:extLst>
          </p:cNvPr>
          <p:cNvSpPr>
            <a:spLocks noGrp="1"/>
          </p:cNvSpPr>
          <p:nvPr>
            <p:ph type="title"/>
          </p:nvPr>
        </p:nvSpPr>
        <p:spPr>
          <a:xfrm>
            <a:off x="479424" y="476250"/>
            <a:ext cx="9515475" cy="1081088"/>
          </a:xfrm>
        </p:spPr>
        <p:txBody>
          <a:bodyPr/>
          <a:lstStyle/>
          <a:p>
            <a:r>
              <a:rPr lang="en-US"/>
              <a:t>Session Management – SMF-UPF cardinality</a:t>
            </a:r>
            <a:br>
              <a:rPr lang="en-US" sz="2800"/>
            </a:br>
            <a:r>
              <a:rPr lang="en-US" sz="2800"/>
              <a:t>Rel-16 outcome</a:t>
            </a:r>
            <a:endParaRPr lang="sv-SE"/>
          </a:p>
        </p:txBody>
      </p:sp>
      <p:sp>
        <p:nvSpPr>
          <p:cNvPr id="5" name="Rectangle 4">
            <a:extLst>
              <a:ext uri="{FF2B5EF4-FFF2-40B4-BE49-F238E27FC236}">
                <a16:creationId xmlns:a16="http://schemas.microsoft.com/office/drawing/2014/main" id="{E59EC488-48CB-4FD1-A1DE-CD07D5B9CF6D}"/>
              </a:ext>
            </a:extLst>
          </p:cNvPr>
          <p:cNvSpPr/>
          <p:nvPr/>
        </p:nvSpPr>
        <p:spPr bwMode="auto">
          <a:xfrm>
            <a:off x="6797964" y="2105891"/>
            <a:ext cx="1219200" cy="655782"/>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sv-SE" sz="2000" b="0" i="0" u="none" strike="noStrike" cap="none" normalizeH="0" baseline="0">
                <a:ln>
                  <a:noFill/>
                </a:ln>
                <a:solidFill>
                  <a:schemeClr val="bg1"/>
                </a:solidFill>
                <a:effectLst/>
                <a:latin typeface="+mn-lt"/>
              </a:rPr>
              <a:t>SMF</a:t>
            </a:r>
          </a:p>
        </p:txBody>
      </p:sp>
      <p:sp>
        <p:nvSpPr>
          <p:cNvPr id="6" name="Rectangle 5">
            <a:extLst>
              <a:ext uri="{FF2B5EF4-FFF2-40B4-BE49-F238E27FC236}">
                <a16:creationId xmlns:a16="http://schemas.microsoft.com/office/drawing/2014/main" id="{61814E5D-0DBD-445C-85C6-E4D17B68B6DF}"/>
              </a:ext>
            </a:extLst>
          </p:cNvPr>
          <p:cNvSpPr/>
          <p:nvPr/>
        </p:nvSpPr>
        <p:spPr bwMode="auto">
          <a:xfrm>
            <a:off x="10493376" y="2105891"/>
            <a:ext cx="1219200" cy="655782"/>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sv-SE" sz="2000" b="0" i="0" u="none" strike="noStrike" cap="none" normalizeH="0" baseline="0">
                <a:ln>
                  <a:noFill/>
                </a:ln>
                <a:solidFill>
                  <a:schemeClr val="bg1"/>
                </a:solidFill>
                <a:effectLst/>
                <a:latin typeface="+mn-lt"/>
              </a:rPr>
              <a:t>UPF</a:t>
            </a:r>
          </a:p>
        </p:txBody>
      </p:sp>
      <p:cxnSp>
        <p:nvCxnSpPr>
          <p:cNvPr id="8" name="Straight Connector 7">
            <a:extLst>
              <a:ext uri="{FF2B5EF4-FFF2-40B4-BE49-F238E27FC236}">
                <a16:creationId xmlns:a16="http://schemas.microsoft.com/office/drawing/2014/main" id="{3AF8021E-3763-4A61-85D8-7CE47E54A168}"/>
              </a:ext>
            </a:extLst>
          </p:cNvPr>
          <p:cNvCxnSpPr>
            <a:cxnSpLocks/>
            <a:stCxn id="5" idx="2"/>
          </p:cNvCxnSpPr>
          <p:nvPr/>
        </p:nvCxnSpPr>
        <p:spPr bwMode="auto">
          <a:xfrm>
            <a:off x="7407564" y="2761673"/>
            <a:ext cx="1" cy="202276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0" name="Straight Connector 9">
            <a:extLst>
              <a:ext uri="{FF2B5EF4-FFF2-40B4-BE49-F238E27FC236}">
                <a16:creationId xmlns:a16="http://schemas.microsoft.com/office/drawing/2014/main" id="{4C2317D4-BFA4-4B64-8D2F-4187BDF10E27}"/>
              </a:ext>
            </a:extLst>
          </p:cNvPr>
          <p:cNvCxnSpPr>
            <a:cxnSpLocks/>
            <a:stCxn id="6" idx="2"/>
          </p:cNvCxnSpPr>
          <p:nvPr/>
        </p:nvCxnSpPr>
        <p:spPr bwMode="auto">
          <a:xfrm>
            <a:off x="11102976" y="2761673"/>
            <a:ext cx="0" cy="2087418"/>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 name="Straight Arrow Connector 12">
            <a:extLst>
              <a:ext uri="{FF2B5EF4-FFF2-40B4-BE49-F238E27FC236}">
                <a16:creationId xmlns:a16="http://schemas.microsoft.com/office/drawing/2014/main" id="{3BFF55F8-D28C-407E-81BF-9FC3F300DFEB}"/>
              </a:ext>
            </a:extLst>
          </p:cNvPr>
          <p:cNvCxnSpPr>
            <a:cxnSpLocks/>
          </p:cNvCxnSpPr>
          <p:nvPr/>
        </p:nvCxnSpPr>
        <p:spPr bwMode="auto">
          <a:xfrm>
            <a:off x="7407564" y="3232727"/>
            <a:ext cx="3695412"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4" name="TextBox 13">
            <a:extLst>
              <a:ext uri="{FF2B5EF4-FFF2-40B4-BE49-F238E27FC236}">
                <a16:creationId xmlns:a16="http://schemas.microsoft.com/office/drawing/2014/main" id="{BF5CBFA9-13C9-4B5F-A327-68AB28389C0C}"/>
              </a:ext>
            </a:extLst>
          </p:cNvPr>
          <p:cNvSpPr txBox="1"/>
          <p:nvPr/>
        </p:nvSpPr>
        <p:spPr bwMode="auto">
          <a:xfrm>
            <a:off x="7456633" y="2930309"/>
            <a:ext cx="3780567" cy="328098"/>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sv-SE" sz="1400"/>
              <a:t>PFCP Session Establishment Request</a:t>
            </a:r>
          </a:p>
        </p:txBody>
      </p:sp>
      <p:cxnSp>
        <p:nvCxnSpPr>
          <p:cNvPr id="17" name="Straight Arrow Connector 16">
            <a:extLst>
              <a:ext uri="{FF2B5EF4-FFF2-40B4-BE49-F238E27FC236}">
                <a16:creationId xmlns:a16="http://schemas.microsoft.com/office/drawing/2014/main" id="{20A065B4-116A-48AC-8194-9969FECC4BFF}"/>
              </a:ext>
            </a:extLst>
          </p:cNvPr>
          <p:cNvCxnSpPr/>
          <p:nvPr/>
        </p:nvCxnSpPr>
        <p:spPr bwMode="auto">
          <a:xfrm flipH="1">
            <a:off x="7407564" y="4192295"/>
            <a:ext cx="3695412"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8" name="Rectangle 17">
            <a:extLst>
              <a:ext uri="{FF2B5EF4-FFF2-40B4-BE49-F238E27FC236}">
                <a16:creationId xmlns:a16="http://schemas.microsoft.com/office/drawing/2014/main" id="{3B6558C2-ED9C-4DBB-BE3A-87C919403095}"/>
              </a:ext>
            </a:extLst>
          </p:cNvPr>
          <p:cNvSpPr/>
          <p:nvPr/>
        </p:nvSpPr>
        <p:spPr bwMode="auto">
          <a:xfrm>
            <a:off x="10390909" y="3429000"/>
            <a:ext cx="1321665" cy="428477"/>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R="0" algn="ctr" defTabSz="914400" rtl="0" eaLnBrk="1" fontAlgn="base" latinLnBrk="0" hangingPunct="1">
              <a:lnSpc>
                <a:spcPct val="100000"/>
              </a:lnSpc>
              <a:spcBef>
                <a:spcPts val="300"/>
              </a:spcBef>
              <a:spcAft>
                <a:spcPct val="0"/>
              </a:spcAft>
              <a:buClrTx/>
              <a:buSzTx/>
              <a:tabLst/>
            </a:pPr>
            <a:r>
              <a:rPr kumimoji="0" lang="sv-SE" sz="1200" b="0" i="0" u="none" strike="noStrike" cap="none" normalizeH="0" baseline="0">
                <a:ln>
                  <a:noFill/>
                </a:ln>
                <a:effectLst/>
                <a:latin typeface="+mn-lt"/>
              </a:rPr>
              <a:t>UE IP address allocation</a:t>
            </a:r>
          </a:p>
        </p:txBody>
      </p:sp>
      <p:sp>
        <p:nvSpPr>
          <p:cNvPr id="19" name="TextBox 18">
            <a:extLst>
              <a:ext uri="{FF2B5EF4-FFF2-40B4-BE49-F238E27FC236}">
                <a16:creationId xmlns:a16="http://schemas.microsoft.com/office/drawing/2014/main" id="{EF52CEA9-117F-4F84-AA29-D7CD28CD9EA0}"/>
              </a:ext>
            </a:extLst>
          </p:cNvPr>
          <p:cNvSpPr txBox="1"/>
          <p:nvPr/>
        </p:nvSpPr>
        <p:spPr bwMode="auto">
          <a:xfrm>
            <a:off x="7407565" y="3915202"/>
            <a:ext cx="4784434" cy="328049"/>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sv-SE" sz="1400"/>
              <a:t>PFCP Session Establishment Response (UE IP address)</a:t>
            </a:r>
          </a:p>
        </p:txBody>
      </p:sp>
    </p:spTree>
    <p:extLst>
      <p:ext uri="{BB962C8B-B14F-4D97-AF65-F5344CB8AC3E}">
        <p14:creationId xmlns:p14="http://schemas.microsoft.com/office/powerpoint/2010/main" val="41222786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 1"/>
          <p:cNvSpPr txBox="1">
            <a:spLocks noGrp="1"/>
          </p:cNvSpPr>
          <p:nvPr>
            <p:ph type="title"/>
          </p:nvPr>
        </p:nvSpPr>
        <p:spPr>
          <a:xfrm>
            <a:off x="140063" y="130629"/>
            <a:ext cx="8353425" cy="574766"/>
          </a:xfrm>
        </p:spPr>
        <p:txBody>
          <a:bodyPr>
            <a:normAutofit/>
          </a:bodyPr>
          <a:lstStyle/>
          <a:p>
            <a:pPr lvl="0"/>
            <a:r>
              <a:rPr lang="en-US">
                <a:latin typeface="+mj-lt"/>
              </a:rPr>
              <a:t>5G Mobility Management</a:t>
            </a:r>
          </a:p>
        </p:txBody>
      </p:sp>
      <p:sp>
        <p:nvSpPr>
          <p:cNvPr id="14" name="AutoShape 9" descr="bpct-blend2"/>
          <p:cNvSpPr>
            <a:spLocks noChangeAspect="1" noChangeArrowheads="1"/>
          </p:cNvSpPr>
          <p:nvPr/>
        </p:nvSpPr>
        <p:spPr bwMode="auto">
          <a:xfrm>
            <a:off x="140063" y="760293"/>
            <a:ext cx="5779671" cy="2826000"/>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36000" tIns="36000" rIns="36000" bIns="36000" anchor="t"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lvl="0">
              <a:buSzPct val="45000"/>
            </a:pPr>
            <a:r>
              <a:rPr lang="en-US" sz="2400" b="1">
                <a:solidFill>
                  <a:schemeClr val="bg1"/>
                </a:solidFill>
                <a:latin typeface="+mn-lt"/>
              </a:rPr>
              <a:t>MM/SM split</a:t>
            </a:r>
          </a:p>
          <a:p>
            <a:pPr marL="728663" lvl="1">
              <a:spcBef>
                <a:spcPts val="600"/>
              </a:spcBef>
              <a:buSzPct val="75000"/>
              <a:buFont typeface="Arial" panose="020B0604020202020204" pitchFamily="34" charset="0"/>
              <a:buChar char="–"/>
            </a:pPr>
            <a:r>
              <a:rPr lang="en-US" b="1">
                <a:solidFill>
                  <a:schemeClr val="bg1"/>
                </a:solidFill>
                <a:latin typeface="+mn-lt"/>
              </a:rPr>
              <a:t>What?</a:t>
            </a:r>
            <a:br>
              <a:rPr lang="en-US" b="1">
                <a:solidFill>
                  <a:schemeClr val="bg1"/>
                </a:solidFill>
                <a:latin typeface="+mn-lt"/>
              </a:rPr>
            </a:br>
            <a:r>
              <a:rPr lang="en-US" sz="1800" b="1">
                <a:solidFill>
                  <a:schemeClr val="bg1"/>
                </a:solidFill>
                <a:latin typeface="+mn-lt"/>
              </a:rPr>
              <a:t>Aiming for “clean” split Mobility &amp; Session</a:t>
            </a:r>
            <a:br>
              <a:rPr lang="en-US" sz="1800" b="1">
                <a:solidFill>
                  <a:schemeClr val="bg1"/>
                </a:solidFill>
                <a:latin typeface="+mn-lt"/>
              </a:rPr>
            </a:br>
            <a:r>
              <a:rPr lang="en-US" sz="1800" b="1">
                <a:solidFill>
                  <a:schemeClr val="bg1"/>
                </a:solidFill>
                <a:latin typeface="+mn-lt"/>
              </a:rPr>
              <a:t>AMF also for non-3GPP registration</a:t>
            </a:r>
          </a:p>
          <a:p>
            <a:pPr marL="728663" lvl="1">
              <a:spcBef>
                <a:spcPts val="600"/>
              </a:spcBef>
              <a:buSzPct val="75000"/>
              <a:buFont typeface="Arial" panose="020B0604020202020204" pitchFamily="34" charset="0"/>
              <a:buChar char="–"/>
            </a:pPr>
            <a:r>
              <a:rPr lang="en-US" b="1">
                <a:solidFill>
                  <a:schemeClr val="bg1"/>
                </a:solidFill>
                <a:latin typeface="+mn-lt"/>
              </a:rPr>
              <a:t>How?</a:t>
            </a:r>
            <a:br>
              <a:rPr lang="en-US" b="1">
                <a:solidFill>
                  <a:schemeClr val="bg1"/>
                </a:solidFill>
                <a:latin typeface="+mn-lt"/>
              </a:rPr>
            </a:br>
            <a:r>
              <a:rPr lang="en-US" sz="1800" b="1">
                <a:solidFill>
                  <a:schemeClr val="bg1"/>
                </a:solidFill>
                <a:latin typeface="+mn-lt"/>
              </a:rPr>
              <a:t>UE and RAN interfaces terminates in AMF</a:t>
            </a:r>
            <a:br>
              <a:rPr lang="en-US" sz="1800" b="1">
                <a:solidFill>
                  <a:schemeClr val="bg1"/>
                </a:solidFill>
                <a:latin typeface="+mn-lt"/>
              </a:rPr>
            </a:br>
            <a:r>
              <a:rPr lang="en-US" sz="1800" b="1">
                <a:solidFill>
                  <a:schemeClr val="bg1"/>
                </a:solidFill>
                <a:latin typeface="+mn-lt"/>
              </a:rPr>
              <a:t>SM messages transparent to AMF</a:t>
            </a:r>
            <a:br>
              <a:rPr lang="en-US" sz="1800" b="1">
                <a:solidFill>
                  <a:schemeClr val="bg1"/>
                </a:solidFill>
                <a:latin typeface="+mn-lt"/>
              </a:rPr>
            </a:br>
            <a:r>
              <a:rPr lang="en-US" sz="1800" b="1" err="1">
                <a:solidFill>
                  <a:schemeClr val="bg1"/>
                </a:solidFill>
                <a:latin typeface="+mn-lt"/>
              </a:rPr>
              <a:t>AMF</a:t>
            </a:r>
            <a:r>
              <a:rPr lang="en-US" sz="1800" b="1">
                <a:solidFill>
                  <a:schemeClr val="bg1"/>
                </a:solidFill>
                <a:latin typeface="+mn-lt"/>
              </a:rPr>
              <a:t> “SM” aware SMF selection</a:t>
            </a:r>
          </a:p>
        </p:txBody>
      </p:sp>
      <p:sp>
        <p:nvSpPr>
          <p:cNvPr id="15" name="AutoShape 10" descr="bpct-blend3"/>
          <p:cNvSpPr>
            <a:spLocks noChangeAspect="1" noChangeArrowheads="1"/>
          </p:cNvSpPr>
          <p:nvPr/>
        </p:nvSpPr>
        <p:spPr bwMode="auto">
          <a:xfrm>
            <a:off x="6055769" y="760293"/>
            <a:ext cx="5814000" cy="2742378"/>
          </a:xfrm>
          <a:prstGeom prst="roundRect">
            <a:avLst>
              <a:gd name="adj" fmla="val 5958"/>
            </a:avLst>
          </a:prstGeom>
          <a:blipFill dpi="0" rotWithShape="0">
            <a:blip r:embed="rId4"/>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36000" tIns="36000" rIns="36000" bIns="36000" anchor="t"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lvl="0">
              <a:buSzPct val="45000"/>
            </a:pPr>
            <a:r>
              <a:rPr lang="en-US" sz="2400" b="1">
                <a:solidFill>
                  <a:schemeClr val="bg1"/>
                </a:solidFill>
                <a:latin typeface="+mn-lt"/>
              </a:rPr>
              <a:t>Mobility Optimization &amp; Restriction</a:t>
            </a:r>
          </a:p>
          <a:p>
            <a:pPr lvl="1">
              <a:spcBef>
                <a:spcPts val="600"/>
              </a:spcBef>
              <a:spcAft>
                <a:spcPts val="0"/>
              </a:spcAft>
              <a:buSzPct val="75000"/>
              <a:buFont typeface="StarSymbol"/>
              <a:buChar char="–"/>
            </a:pPr>
            <a:r>
              <a:rPr lang="en-US" b="1">
                <a:solidFill>
                  <a:schemeClr val="bg1"/>
                </a:solidFill>
                <a:latin typeface="+mn-lt"/>
                <a:ea typeface="Microsoft YaHei" pitchFamily="2"/>
                <a:cs typeface="Arial" pitchFamily="2"/>
              </a:rPr>
              <a:t>What?</a:t>
            </a:r>
            <a:br>
              <a:rPr lang="en-US"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Mobility on demand</a:t>
            </a:r>
            <a:br>
              <a:rPr lang="en-US" sz="1800"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Enable subscription differentiation</a:t>
            </a:r>
            <a:br>
              <a:rPr lang="en-US" sz="1800"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Minimize mobility signaling for some UCs</a:t>
            </a:r>
          </a:p>
          <a:p>
            <a:pPr lvl="1">
              <a:spcBef>
                <a:spcPts val="600"/>
              </a:spcBef>
              <a:spcAft>
                <a:spcPts val="0"/>
              </a:spcAft>
              <a:buSzPct val="75000"/>
              <a:buFont typeface="StarSymbol"/>
              <a:buChar char="–"/>
            </a:pPr>
            <a:r>
              <a:rPr lang="en-US" b="1">
                <a:solidFill>
                  <a:schemeClr val="bg1"/>
                </a:solidFill>
                <a:latin typeface="+mn-lt"/>
                <a:ea typeface="Microsoft YaHei" pitchFamily="2"/>
                <a:cs typeface="Arial" pitchFamily="2"/>
              </a:rPr>
              <a:t>How?</a:t>
            </a:r>
            <a:br>
              <a:rPr lang="en-US" sz="1800"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Service area” concept, and LADN area</a:t>
            </a:r>
            <a:br>
              <a:rPr lang="en-US" sz="1800"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Mobile Initiated Communication Only (MICO)</a:t>
            </a:r>
          </a:p>
          <a:p>
            <a:pPr lvl="1">
              <a:spcBef>
                <a:spcPts val="0"/>
              </a:spcBef>
              <a:spcAft>
                <a:spcPts val="1285"/>
              </a:spcAft>
              <a:buSzPct val="75000"/>
              <a:buFont typeface="StarSymbol"/>
              <a:buChar char="–"/>
            </a:pPr>
            <a:endParaRPr lang="en-US" altLang="en-US" b="1">
              <a:solidFill>
                <a:schemeClr val="bg1"/>
              </a:solidFill>
              <a:latin typeface="+mn-lt"/>
            </a:endParaRPr>
          </a:p>
        </p:txBody>
      </p:sp>
      <p:sp>
        <p:nvSpPr>
          <p:cNvPr id="17" name="AutoShape 11" descr="bpct-blend6"/>
          <p:cNvSpPr>
            <a:spLocks noChangeAspect="1" noChangeArrowheads="1"/>
          </p:cNvSpPr>
          <p:nvPr/>
        </p:nvSpPr>
        <p:spPr bwMode="auto">
          <a:xfrm>
            <a:off x="150876" y="3652786"/>
            <a:ext cx="5768858" cy="2931918"/>
          </a:xfrm>
          <a:prstGeom prst="roundRect">
            <a:avLst>
              <a:gd name="adj" fmla="val 5958"/>
            </a:avLst>
          </a:prstGeom>
          <a:blipFill dpi="0" rotWithShape="0">
            <a:blip r:embed="rId5"/>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36000" tIns="36000" rIns="36000" bIns="36000" anchor="t"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lvl="0">
              <a:spcBef>
                <a:spcPts val="600"/>
              </a:spcBef>
              <a:buSzPct val="45000"/>
            </a:pPr>
            <a:r>
              <a:rPr lang="en-US" sz="2400" b="1">
                <a:solidFill>
                  <a:schemeClr val="bg1"/>
                </a:solidFill>
                <a:latin typeface="+mn-lt"/>
              </a:rPr>
              <a:t>MM states similar to 4G</a:t>
            </a:r>
            <a:endParaRPr lang="en-US" sz="1800" b="1">
              <a:solidFill>
                <a:schemeClr val="bg1"/>
              </a:solidFill>
              <a:latin typeface="+mn-lt"/>
            </a:endParaRPr>
          </a:p>
          <a:p>
            <a:pPr lvl="1">
              <a:spcBef>
                <a:spcPts val="600"/>
              </a:spcBef>
              <a:spcAft>
                <a:spcPts val="0"/>
              </a:spcAft>
              <a:buSzPct val="75000"/>
              <a:buFont typeface="StarSymbol"/>
              <a:buChar char="–"/>
            </a:pPr>
            <a:r>
              <a:rPr lang="en-US" b="1">
                <a:solidFill>
                  <a:schemeClr val="bg1"/>
                </a:solidFill>
                <a:latin typeface="+mn-lt"/>
                <a:ea typeface="Microsoft YaHei" pitchFamily="2"/>
                <a:cs typeface="Arial" pitchFamily="2"/>
              </a:rPr>
              <a:t>Main differences</a:t>
            </a:r>
            <a:br>
              <a:rPr lang="en-US"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RAN mode ”RRC Inactive” - Not for all UE</a:t>
            </a:r>
            <a:br>
              <a:rPr lang="en-US" sz="1800" b="1">
                <a:solidFill>
                  <a:schemeClr val="bg1"/>
                </a:solidFill>
                <a:latin typeface="+mn-lt"/>
                <a:ea typeface="Microsoft YaHei" pitchFamily="2"/>
                <a:cs typeface="Arial" pitchFamily="2"/>
              </a:rPr>
            </a:br>
            <a:r>
              <a:rPr lang="en-US" sz="1800" b="1">
                <a:solidFill>
                  <a:schemeClr val="bg1"/>
                </a:solidFill>
                <a:latin typeface="+mn-lt"/>
              </a:rPr>
              <a:t>Non-3GPP MM state similar to 3GPP access</a:t>
            </a:r>
            <a:endParaRPr lang="en-US" sz="1800" b="1">
              <a:solidFill>
                <a:schemeClr val="bg1"/>
              </a:solidFill>
              <a:latin typeface="+mn-lt"/>
              <a:ea typeface="Microsoft YaHei" pitchFamily="2"/>
              <a:cs typeface="Arial" pitchFamily="2"/>
            </a:endParaRPr>
          </a:p>
          <a:p>
            <a:pPr lvl="1">
              <a:spcBef>
                <a:spcPts val="600"/>
              </a:spcBef>
              <a:spcAft>
                <a:spcPts val="0"/>
              </a:spcAft>
              <a:buSzPct val="75000"/>
              <a:buFont typeface="StarSymbol"/>
              <a:buChar char="–"/>
            </a:pPr>
            <a:r>
              <a:rPr lang="en-US" b="1">
                <a:solidFill>
                  <a:schemeClr val="bg1"/>
                </a:solidFill>
                <a:latin typeface="+mn-lt"/>
                <a:ea typeface="Microsoft YaHei" pitchFamily="2"/>
                <a:cs typeface="Arial" pitchFamily="2"/>
              </a:rPr>
              <a:t>How?</a:t>
            </a:r>
            <a:br>
              <a:rPr lang="en-US" b="1">
                <a:solidFill>
                  <a:schemeClr val="bg1"/>
                </a:solidFill>
                <a:latin typeface="+mn-lt"/>
                <a:ea typeface="Microsoft YaHei" pitchFamily="2"/>
                <a:cs typeface="Arial" pitchFamily="2"/>
              </a:rPr>
            </a:br>
            <a:r>
              <a:rPr lang="en-US" sz="1800" b="1">
                <a:solidFill>
                  <a:schemeClr val="bg1"/>
                </a:solidFill>
                <a:latin typeface="+mn-lt"/>
                <a:ea typeface="Microsoft YaHei" pitchFamily="2"/>
                <a:cs typeface="Arial" pitchFamily="2"/>
              </a:rPr>
              <a:t>UE in Connected mode (as seen from CN)</a:t>
            </a:r>
            <a:br>
              <a:rPr lang="en-US" sz="1800" b="1">
                <a:solidFill>
                  <a:schemeClr val="bg1"/>
                </a:solidFill>
                <a:latin typeface="+mn-lt"/>
                <a:ea typeface="Microsoft YaHei" pitchFamily="2"/>
                <a:cs typeface="Arial" pitchFamily="2"/>
              </a:rPr>
            </a:br>
            <a:r>
              <a:rPr lang="en-US" altLang="en-US" sz="1800" b="1">
                <a:solidFill>
                  <a:schemeClr val="bg1"/>
                </a:solidFill>
                <a:latin typeface="+mn-lt"/>
                <a:ea typeface="Microsoft YaHei" pitchFamily="2"/>
                <a:cs typeface="Arial" pitchFamily="2"/>
              </a:rPr>
              <a:t>RAN paging and reachability in this state</a:t>
            </a:r>
            <a:br>
              <a:rPr lang="en-US" altLang="en-US" sz="1800" b="1">
                <a:solidFill>
                  <a:schemeClr val="bg1"/>
                </a:solidFill>
                <a:latin typeface="+mn-lt"/>
                <a:ea typeface="Microsoft YaHei" pitchFamily="2"/>
                <a:cs typeface="Arial" pitchFamily="2"/>
              </a:rPr>
            </a:br>
            <a:r>
              <a:rPr lang="en-US" altLang="en-US" sz="1800" b="1">
                <a:solidFill>
                  <a:schemeClr val="bg1"/>
                </a:solidFill>
                <a:latin typeface="+mn-lt"/>
                <a:ea typeface="Microsoft YaHei" pitchFamily="2"/>
                <a:cs typeface="Arial" pitchFamily="2"/>
              </a:rPr>
              <a:t>CN awareness or RAN state needed</a:t>
            </a:r>
          </a:p>
          <a:p>
            <a:pPr marL="457200" lvl="1" indent="0">
              <a:spcBef>
                <a:spcPts val="600"/>
              </a:spcBef>
              <a:spcAft>
                <a:spcPts val="0"/>
              </a:spcAft>
              <a:buSzPct val="75000"/>
            </a:pPr>
            <a:r>
              <a:rPr lang="en-US" altLang="en-US" sz="1800" b="1">
                <a:solidFill>
                  <a:schemeClr val="bg1"/>
                </a:solidFill>
                <a:latin typeface="+mn-lt"/>
                <a:ea typeface="Microsoft YaHei" pitchFamily="2"/>
                <a:cs typeface="Arial" pitchFamily="2"/>
              </a:rPr>
              <a:t>      </a:t>
            </a:r>
            <a:r>
              <a:rPr lang="sv-SE" altLang="en-US" sz="1800" b="1">
                <a:solidFill>
                  <a:schemeClr val="bg1"/>
                </a:solidFill>
                <a:latin typeface="+mn-lt"/>
                <a:ea typeface="Microsoft YaHei" pitchFamily="2"/>
                <a:cs typeface="Arial" pitchFamily="2"/>
              </a:rPr>
              <a:t>MM </a:t>
            </a:r>
            <a:r>
              <a:rPr lang="sv-SE" altLang="en-US" sz="1800" b="1" err="1">
                <a:solidFill>
                  <a:schemeClr val="bg1"/>
                </a:solidFill>
                <a:latin typeface="+mn-lt"/>
                <a:ea typeface="Microsoft YaHei" pitchFamily="2"/>
                <a:cs typeface="Arial" pitchFamily="2"/>
              </a:rPr>
              <a:t>Registration</a:t>
            </a:r>
            <a:r>
              <a:rPr lang="en-US" altLang="en-US" sz="1800" b="1">
                <a:solidFill>
                  <a:schemeClr val="bg1"/>
                </a:solidFill>
                <a:latin typeface="+mn-lt"/>
                <a:ea typeface="Microsoft YaHei" pitchFamily="2"/>
                <a:cs typeface="Arial" pitchFamily="2"/>
              </a:rPr>
              <a:t> in Non-3GPP</a:t>
            </a:r>
          </a:p>
        </p:txBody>
      </p:sp>
      <p:sp>
        <p:nvSpPr>
          <p:cNvPr id="7" name="AutoShape 11" descr="bpct-blend6"/>
          <p:cNvSpPr>
            <a:spLocks noChangeAspect="1" noChangeArrowheads="1"/>
          </p:cNvSpPr>
          <p:nvPr/>
        </p:nvSpPr>
        <p:spPr bwMode="auto">
          <a:xfrm>
            <a:off x="6055769" y="3852075"/>
            <a:ext cx="5815389" cy="2732629"/>
          </a:xfrm>
          <a:prstGeom prst="roundRect">
            <a:avLst>
              <a:gd name="adj" fmla="val 5958"/>
            </a:avLst>
          </a:prstGeom>
          <a:blipFill dpi="0" rotWithShape="0">
            <a:blip r:embed="rId6"/>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36000" tIns="36000" rIns="36000" bIns="36000" anchor="t"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lvl="0">
              <a:buSzPct val="45000"/>
            </a:pPr>
            <a:r>
              <a:rPr lang="en-US" sz="2400" b="1">
                <a:solidFill>
                  <a:schemeClr val="bg1"/>
                </a:solidFill>
                <a:latin typeface="+mn-lt"/>
              </a:rPr>
              <a:t>Mobility Policies</a:t>
            </a:r>
          </a:p>
          <a:p>
            <a:pPr marL="728663" lvl="1">
              <a:spcBef>
                <a:spcPts val="600"/>
              </a:spcBef>
              <a:buSzPct val="75000"/>
              <a:buFont typeface="Arial" panose="020B0604020202020204" pitchFamily="34" charset="0"/>
              <a:buChar char="–"/>
            </a:pPr>
            <a:r>
              <a:rPr lang="en-US" b="1">
                <a:solidFill>
                  <a:schemeClr val="bg1"/>
                </a:solidFill>
                <a:latin typeface="+mn-lt"/>
              </a:rPr>
              <a:t>What?</a:t>
            </a:r>
            <a:br>
              <a:rPr lang="en-US" b="1">
                <a:solidFill>
                  <a:schemeClr val="bg1"/>
                </a:solidFill>
                <a:latin typeface="+mn-lt"/>
              </a:rPr>
            </a:br>
            <a:r>
              <a:rPr lang="en-US" sz="1800" b="1">
                <a:solidFill>
                  <a:schemeClr val="bg1"/>
                </a:solidFill>
                <a:latin typeface="+mn-lt"/>
              </a:rPr>
              <a:t>Standardized interface between AMF &amp; PCF</a:t>
            </a:r>
            <a:br>
              <a:rPr lang="en-US" sz="1800" b="1">
                <a:solidFill>
                  <a:schemeClr val="bg1"/>
                </a:solidFill>
                <a:latin typeface="+mn-lt"/>
              </a:rPr>
            </a:br>
            <a:r>
              <a:rPr lang="en-US" sz="1800" b="1">
                <a:solidFill>
                  <a:schemeClr val="bg1"/>
                </a:solidFill>
                <a:latin typeface="+mn-lt"/>
              </a:rPr>
              <a:t>Similar to Ericsson 4G proprietary interface</a:t>
            </a:r>
            <a:endParaRPr lang="en-US" sz="1600" b="1">
              <a:solidFill>
                <a:schemeClr val="bg1"/>
              </a:solidFill>
              <a:latin typeface="+mn-lt"/>
            </a:endParaRPr>
          </a:p>
          <a:p>
            <a:pPr marL="728663" lvl="1">
              <a:spcBef>
                <a:spcPts val="600"/>
              </a:spcBef>
              <a:buSzPct val="75000"/>
              <a:buFont typeface="Arial" panose="020B0604020202020204" pitchFamily="34" charset="0"/>
              <a:buChar char="–"/>
            </a:pPr>
            <a:r>
              <a:rPr lang="en-US" b="1">
                <a:solidFill>
                  <a:schemeClr val="bg1"/>
                </a:solidFill>
                <a:latin typeface="+mn-lt"/>
              </a:rPr>
              <a:t>Why?</a:t>
            </a:r>
            <a:br>
              <a:rPr lang="en-US" b="1">
                <a:solidFill>
                  <a:schemeClr val="bg1"/>
                </a:solidFill>
                <a:latin typeface="+mn-lt"/>
              </a:rPr>
            </a:br>
            <a:r>
              <a:rPr lang="en-US" sz="1800" b="1">
                <a:solidFill>
                  <a:schemeClr val="bg1"/>
                </a:solidFill>
                <a:latin typeface="+mn-lt"/>
              </a:rPr>
              <a:t>Policies to be enforced through AMF</a:t>
            </a:r>
            <a:br>
              <a:rPr lang="en-US" sz="1800" b="1">
                <a:solidFill>
                  <a:schemeClr val="bg1"/>
                </a:solidFill>
                <a:latin typeface="+mn-lt"/>
              </a:rPr>
            </a:br>
            <a:r>
              <a:rPr lang="en-US" sz="1800" b="1">
                <a:solidFill>
                  <a:schemeClr val="bg1"/>
                </a:solidFill>
                <a:latin typeface="+mn-lt"/>
              </a:rPr>
              <a:t>Delivery of policies towards UE</a:t>
            </a:r>
          </a:p>
        </p:txBody>
      </p:sp>
    </p:spTree>
    <p:extLst>
      <p:ext uri="{BB962C8B-B14F-4D97-AF65-F5344CB8AC3E}">
        <p14:creationId xmlns:p14="http://schemas.microsoft.com/office/powerpoint/2010/main" val="1082216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animBg="1"/>
      <p:bldP spid="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B28FB-291E-435A-A79D-BEDEF4853E2D}"/>
              </a:ext>
            </a:extLst>
          </p:cNvPr>
          <p:cNvSpPr>
            <a:spLocks noGrp="1"/>
          </p:cNvSpPr>
          <p:nvPr>
            <p:ph type="title"/>
          </p:nvPr>
        </p:nvSpPr>
        <p:spPr/>
        <p:txBody>
          <a:bodyPr/>
          <a:lstStyle/>
          <a:p>
            <a:r>
              <a:rPr lang="sv-SE"/>
              <a:t>UCMF in RACS enabled deployment</a:t>
            </a:r>
          </a:p>
        </p:txBody>
      </p:sp>
      <p:sp>
        <p:nvSpPr>
          <p:cNvPr id="3" name="Content Placeholder 2">
            <a:extLst>
              <a:ext uri="{FF2B5EF4-FFF2-40B4-BE49-F238E27FC236}">
                <a16:creationId xmlns:a16="http://schemas.microsoft.com/office/drawing/2014/main" id="{5C937A5F-D7D9-411D-A8C4-AB8D6AC27DE6}"/>
              </a:ext>
            </a:extLst>
          </p:cNvPr>
          <p:cNvSpPr>
            <a:spLocks noGrp="1"/>
          </p:cNvSpPr>
          <p:nvPr>
            <p:ph idx="1"/>
          </p:nvPr>
        </p:nvSpPr>
        <p:spPr>
          <a:xfrm>
            <a:off x="838200" y="1825625"/>
            <a:ext cx="5642113" cy="4351338"/>
          </a:xfrm>
        </p:spPr>
        <p:txBody>
          <a:bodyPr>
            <a:normAutofit fontScale="77500" lnSpcReduction="20000"/>
          </a:bodyPr>
          <a:lstStyle/>
          <a:p>
            <a:r>
              <a:rPr lang="sv-SE" sz="2400"/>
              <a:t>UCMF stores RACS ID &lt;-&gt; UE Radio capability entries</a:t>
            </a:r>
          </a:p>
          <a:p>
            <a:r>
              <a:rPr lang="sv-SE" sz="2400"/>
              <a:t>UCMF provides RACS ID or capability information to MME/AMF upon request.</a:t>
            </a:r>
          </a:p>
          <a:p>
            <a:r>
              <a:rPr lang="sv-SE" sz="2400"/>
              <a:t>New entries are added at UE use of ”new” UE radio capabilities or via provisioning (PLMN-assigned ID vs Manufacturer-assigned operation.</a:t>
            </a:r>
          </a:p>
          <a:p>
            <a:r>
              <a:rPr lang="sv-SE" sz="2400"/>
              <a:t>UCMF can inform MMEs/AMFs of new RACS mappings.</a:t>
            </a:r>
          </a:p>
          <a:p>
            <a:r>
              <a:rPr lang="sv-SE" sz="2400"/>
              <a:t>UCMF can request deletion of RACS mappings in MME/AMF.</a:t>
            </a:r>
          </a:p>
          <a:p>
            <a:r>
              <a:rPr lang="sv-SE" sz="2400"/>
              <a:t>UCMF can request use of Manufacturer-assigned ID for specific UE type/SW vsn.</a:t>
            </a:r>
          </a:p>
          <a:p>
            <a:r>
              <a:rPr lang="sv-SE" sz="2400"/>
              <a:t>N57 alternatively N56+N33 are used to provision UCMF with Manufacturer-assigned ID entries, and not used in PLMN-assigned ID operation.</a:t>
            </a:r>
          </a:p>
        </p:txBody>
      </p:sp>
      <p:graphicFrame>
        <p:nvGraphicFramePr>
          <p:cNvPr id="8" name="Object 7">
            <a:extLst>
              <a:ext uri="{FF2B5EF4-FFF2-40B4-BE49-F238E27FC236}">
                <a16:creationId xmlns:a16="http://schemas.microsoft.com/office/drawing/2014/main" id="{F896A6D5-AD80-4B44-94AA-D6B14E15DD80}"/>
              </a:ext>
            </a:extLst>
          </p:cNvPr>
          <p:cNvGraphicFramePr>
            <a:graphicFrameLocks noChangeAspect="1"/>
          </p:cNvGraphicFramePr>
          <p:nvPr/>
        </p:nvGraphicFramePr>
        <p:xfrm>
          <a:off x="6172105" y="1995487"/>
          <a:ext cx="5181696" cy="4181476"/>
        </p:xfrm>
        <a:graphic>
          <a:graphicData uri="http://schemas.openxmlformats.org/presentationml/2006/ole">
            <mc:AlternateContent xmlns:mc="http://schemas.openxmlformats.org/markup-compatibility/2006">
              <mc:Choice xmlns:v="urn:schemas-microsoft-com:vml" Requires="v">
                <p:oleObj spid="_x0000_s5124" name="Visio" r:id="rId3" imgW="3552630" imgH="2866889" progId="Visio.Drawing.15">
                  <p:embed/>
                </p:oleObj>
              </mc:Choice>
              <mc:Fallback>
                <p:oleObj name="Visio" r:id="rId3" imgW="3552630" imgH="2866889" progId="Visio.Drawing.15">
                  <p:embed/>
                  <p:pic>
                    <p:nvPicPr>
                      <p:cNvPr id="8" name="Object 7">
                        <a:extLst>
                          <a:ext uri="{FF2B5EF4-FFF2-40B4-BE49-F238E27FC236}">
                            <a16:creationId xmlns:a16="http://schemas.microsoft.com/office/drawing/2014/main" id="{F896A6D5-AD80-4B44-94AA-D6B14E15DD80}"/>
                          </a:ext>
                        </a:extLst>
                      </p:cNvPr>
                      <p:cNvPicPr/>
                      <p:nvPr/>
                    </p:nvPicPr>
                    <p:blipFill>
                      <a:blip r:embed="rId4"/>
                      <a:stretch>
                        <a:fillRect/>
                      </a:stretch>
                    </p:blipFill>
                    <p:spPr>
                      <a:xfrm>
                        <a:off x="6172105" y="1995487"/>
                        <a:ext cx="5181696" cy="4181476"/>
                      </a:xfrm>
                      <a:prstGeom prst="rect">
                        <a:avLst/>
                      </a:prstGeom>
                    </p:spPr>
                  </p:pic>
                </p:oleObj>
              </mc:Fallback>
            </mc:AlternateContent>
          </a:graphicData>
        </a:graphic>
      </p:graphicFrame>
    </p:spTree>
    <p:extLst>
      <p:ext uri="{BB962C8B-B14F-4D97-AF65-F5344CB8AC3E}">
        <p14:creationId xmlns:p14="http://schemas.microsoft.com/office/powerpoint/2010/main" val="29293859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AFABAEC-CB87-4AC3-ADD0-A08501EBCDAC}"/>
              </a:ext>
            </a:extLst>
          </p:cNvPr>
          <p:cNvSpPr>
            <a:spLocks noGrp="1"/>
          </p:cNvSpPr>
          <p:nvPr>
            <p:ph sz="quarter" idx="10"/>
          </p:nvPr>
        </p:nvSpPr>
        <p:spPr>
          <a:xfrm>
            <a:off x="6955436" y="1497013"/>
            <a:ext cx="4961743" cy="4740275"/>
          </a:xfrm>
        </p:spPr>
        <p:txBody>
          <a:bodyPr/>
          <a:lstStyle/>
          <a:p>
            <a:r>
              <a:rPr lang="sv-SE" sz="1400"/>
              <a:t>If the UE provides a RACS ID unknown to AMF/MME, UCMF is requested for corresponding UE radio capabilities (flow to the left).</a:t>
            </a:r>
          </a:p>
          <a:p>
            <a:endParaRPr lang="sv-SE" sz="1400"/>
          </a:p>
          <a:p>
            <a:r>
              <a:rPr lang="sv-SE" sz="1400"/>
              <a:t>If the UE does not provide a RACS ID, UE radio capabilities are requested from the UE via RAN, and UCMF is requested for a RACS ID.</a:t>
            </a:r>
          </a:p>
          <a:p>
            <a:endParaRPr lang="sv-SE" sz="1400"/>
          </a:p>
          <a:p>
            <a:r>
              <a:rPr lang="sv-SE" sz="1400"/>
              <a:t>The UCMF replies with a RACS ID, either an existing or a newly allocated RACS ID.</a:t>
            </a:r>
          </a:p>
          <a:p>
            <a:endParaRPr lang="sv-SE" sz="1400"/>
          </a:p>
          <a:p>
            <a:r>
              <a:rPr lang="sv-SE" sz="1400"/>
              <a:t>MME/AMF informs the UE of the RACS ID for subsequent use of these UE radio capabilities.</a:t>
            </a:r>
          </a:p>
          <a:p>
            <a:endParaRPr lang="sv-SE" sz="1400"/>
          </a:p>
          <a:p>
            <a:r>
              <a:rPr lang="sv-SE" sz="1400"/>
              <a:t>UCMF can at any point request of ”cached” RACS mappings from MME/AMF.</a:t>
            </a:r>
          </a:p>
          <a:p>
            <a:endParaRPr lang="sv-SE" sz="1400"/>
          </a:p>
          <a:p>
            <a:r>
              <a:rPr lang="sv-SE" sz="1400"/>
              <a:t>UCMF can at any point request MME/AMF to tag certain UE type/version for Manufacturer-assigned RACS ID operation.</a:t>
            </a:r>
          </a:p>
        </p:txBody>
      </p:sp>
      <p:sp>
        <p:nvSpPr>
          <p:cNvPr id="3" name="Title 2">
            <a:extLst>
              <a:ext uri="{FF2B5EF4-FFF2-40B4-BE49-F238E27FC236}">
                <a16:creationId xmlns:a16="http://schemas.microsoft.com/office/drawing/2014/main" id="{5CE641F6-FA29-4AEA-AF40-5F05BD59E0DF}"/>
              </a:ext>
            </a:extLst>
          </p:cNvPr>
          <p:cNvSpPr>
            <a:spLocks noGrp="1"/>
          </p:cNvSpPr>
          <p:nvPr>
            <p:ph type="title"/>
          </p:nvPr>
        </p:nvSpPr>
        <p:spPr/>
        <p:txBody>
          <a:bodyPr/>
          <a:lstStyle/>
          <a:p>
            <a:r>
              <a:rPr lang="en-US" kern="1000" spc="-30">
                <a:solidFill>
                  <a:srgbClr val="181818"/>
                </a:solidFill>
              </a:rPr>
              <a:t>Signaling flow, RACS </a:t>
            </a:r>
            <a:r>
              <a:rPr lang="en-GB" u="sng"/>
              <a:t> </a:t>
            </a:r>
            <a:endParaRPr lang="en-US" sz="4800"/>
          </a:p>
        </p:txBody>
      </p:sp>
      <p:graphicFrame>
        <p:nvGraphicFramePr>
          <p:cNvPr id="9" name="Object 8">
            <a:extLst>
              <a:ext uri="{FF2B5EF4-FFF2-40B4-BE49-F238E27FC236}">
                <a16:creationId xmlns:a16="http://schemas.microsoft.com/office/drawing/2014/main" id="{1EBD31DA-9329-4838-8E18-74E18C7B354A}"/>
              </a:ext>
            </a:extLst>
          </p:cNvPr>
          <p:cNvGraphicFramePr>
            <a:graphicFrameLocks noChangeAspect="1"/>
          </p:cNvGraphicFramePr>
          <p:nvPr>
            <p:extLst>
              <p:ext uri="{D42A27DB-BD31-4B8C-83A1-F6EECF244321}">
                <p14:modId xmlns:p14="http://schemas.microsoft.com/office/powerpoint/2010/main" val="3934519039"/>
              </p:ext>
            </p:extLst>
          </p:nvPr>
        </p:nvGraphicFramePr>
        <p:xfrm>
          <a:off x="274821" y="1497012"/>
          <a:ext cx="6632575" cy="4740275"/>
        </p:xfrm>
        <a:graphic>
          <a:graphicData uri="http://schemas.openxmlformats.org/presentationml/2006/ole">
            <mc:AlternateContent xmlns:mc="http://schemas.openxmlformats.org/markup-compatibility/2006">
              <mc:Choice xmlns:v="urn:schemas-microsoft-com:vml" Requires="v">
                <p:oleObj spid="_x0000_s6148" name="Visio" r:id="rId3" imgW="7877216" imgH="5124314" progId="Visio.Drawing.11">
                  <p:embed/>
                </p:oleObj>
              </mc:Choice>
              <mc:Fallback>
                <p:oleObj name="Visio" r:id="rId3" imgW="7877216" imgH="5124314" progId="Visio.Drawing.11">
                  <p:embed/>
                  <p:pic>
                    <p:nvPicPr>
                      <p:cNvPr id="9" name="Object 8">
                        <a:extLst>
                          <a:ext uri="{FF2B5EF4-FFF2-40B4-BE49-F238E27FC236}">
                            <a16:creationId xmlns:a16="http://schemas.microsoft.com/office/drawing/2014/main" id="{1EBD31DA-9329-4838-8E18-74E18C7B354A}"/>
                          </a:ext>
                        </a:extLst>
                      </p:cNvPr>
                      <p:cNvPicPr>
                        <a:picLocks noChangeAspect="1" noChangeArrowheads="1"/>
                      </p:cNvPicPr>
                      <p:nvPr/>
                    </p:nvPicPr>
                    <p:blipFill>
                      <a:blip r:embed="rId4"/>
                      <a:srcRect/>
                      <a:stretch>
                        <a:fillRect/>
                      </a:stretch>
                    </p:blipFill>
                    <p:spPr bwMode="auto">
                      <a:xfrm>
                        <a:off x="274821" y="1497012"/>
                        <a:ext cx="6632575" cy="4740275"/>
                      </a:xfrm>
                      <a:prstGeom prst="rect">
                        <a:avLst/>
                      </a:prstGeom>
                      <a:noFill/>
                      <a:ln>
                        <a:solidFill>
                          <a:schemeClr val="tx1"/>
                        </a:solidFill>
                      </a:ln>
                    </p:spPr>
                  </p:pic>
                </p:oleObj>
              </mc:Fallback>
            </mc:AlternateContent>
          </a:graphicData>
        </a:graphic>
      </p:graphicFrame>
      <p:sp>
        <p:nvSpPr>
          <p:cNvPr id="2" name="Rectangle 7">
            <a:extLst>
              <a:ext uri="{FF2B5EF4-FFF2-40B4-BE49-F238E27FC236}">
                <a16:creationId xmlns:a16="http://schemas.microsoft.com/office/drawing/2014/main" id="{551FC204-AE6E-4ECA-B7C8-353F917CE9B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Tree>
    <p:extLst>
      <p:ext uri="{BB962C8B-B14F-4D97-AF65-F5344CB8AC3E}">
        <p14:creationId xmlns:p14="http://schemas.microsoft.com/office/powerpoint/2010/main" val="15456634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D3873F8-9E93-4914-BAAB-0D7289EF7C10}"/>
              </a:ext>
            </a:extLst>
          </p:cNvPr>
          <p:cNvSpPr>
            <a:spLocks noGrp="1"/>
          </p:cNvSpPr>
          <p:nvPr>
            <p:ph sz="quarter" idx="10"/>
          </p:nvPr>
        </p:nvSpPr>
        <p:spPr>
          <a:xfrm>
            <a:off x="6240463" y="1844675"/>
            <a:ext cx="5472112" cy="4640531"/>
          </a:xfrm>
        </p:spPr>
        <p:txBody>
          <a:bodyPr/>
          <a:lstStyle/>
          <a:p>
            <a:r>
              <a:rPr lang="en-US" sz="1800"/>
              <a:t>A QoS flow is the finest granularity of QoS differentiation in a PDU session</a:t>
            </a:r>
          </a:p>
          <a:p>
            <a:pPr lvl="1"/>
            <a:r>
              <a:rPr lang="en-US" sz="1600"/>
              <a:t>Each QoS flow is associated with QoS parameters that are used to enforce the correct traffic forwarding treatment</a:t>
            </a:r>
          </a:p>
          <a:p>
            <a:pPr lvl="1"/>
            <a:r>
              <a:rPr lang="en-US" sz="1600"/>
              <a:t>Each packet belongs to a QoS flow</a:t>
            </a:r>
          </a:p>
          <a:p>
            <a:pPr lvl="1"/>
            <a:endParaRPr lang="en-US" sz="1600"/>
          </a:p>
          <a:p>
            <a:r>
              <a:rPr lang="en-US" sz="1800"/>
              <a:t>One PDU session can carry one or several QoS flows</a:t>
            </a:r>
          </a:p>
          <a:p>
            <a:pPr lvl="1"/>
            <a:r>
              <a:rPr lang="en-US" sz="1600"/>
              <a:t>All QoS flows are sent over the same N3 tunnel</a:t>
            </a:r>
          </a:p>
          <a:p>
            <a:pPr lvl="1"/>
            <a:endParaRPr lang="en-US" sz="1600"/>
          </a:p>
          <a:p>
            <a:r>
              <a:rPr lang="en-US" sz="1800"/>
              <a:t>A Radio Bearer can carry one or several QoS flows</a:t>
            </a:r>
            <a:endParaRPr lang="en-US" sz="1600"/>
          </a:p>
          <a:p>
            <a:pPr lvl="1"/>
            <a:r>
              <a:rPr lang="en-US" sz="1600"/>
              <a:t>Each PDU session have a unique set of Radio bearers</a:t>
            </a:r>
          </a:p>
          <a:p>
            <a:pPr lvl="1"/>
            <a:r>
              <a:rPr lang="en-US" sz="1600"/>
              <a:t>RAN decide which Radio Bearer a QoS flow is sent over</a:t>
            </a:r>
          </a:p>
        </p:txBody>
      </p:sp>
      <p:sp>
        <p:nvSpPr>
          <p:cNvPr id="4" name="Title 3"/>
          <p:cNvSpPr>
            <a:spLocks noGrp="1"/>
          </p:cNvSpPr>
          <p:nvPr>
            <p:ph type="title"/>
          </p:nvPr>
        </p:nvSpPr>
        <p:spPr/>
        <p:txBody>
          <a:bodyPr/>
          <a:lstStyle/>
          <a:p>
            <a:r>
              <a:rPr lang="en-US"/>
              <a:t>5G Quality of Service</a:t>
            </a:r>
            <a:br>
              <a:rPr lang="en-US" sz="3200"/>
            </a:br>
            <a:r>
              <a:rPr lang="en-US" sz="3200"/>
              <a:t>Overview</a:t>
            </a:r>
            <a:endParaRPr lang="en-US"/>
          </a:p>
        </p:txBody>
      </p:sp>
      <p:sp>
        <p:nvSpPr>
          <p:cNvPr id="2" name="Rectangle 1"/>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6" name="Group 5">
            <a:extLst>
              <a:ext uri="{FF2B5EF4-FFF2-40B4-BE49-F238E27FC236}">
                <a16:creationId xmlns:a16="http://schemas.microsoft.com/office/drawing/2014/main" id="{E7908974-83B2-4FF1-AF1E-6D15E913DFD4}"/>
              </a:ext>
            </a:extLst>
          </p:cNvPr>
          <p:cNvGrpSpPr/>
          <p:nvPr/>
        </p:nvGrpSpPr>
        <p:grpSpPr>
          <a:xfrm>
            <a:off x="403159" y="1812574"/>
            <a:ext cx="5425503" cy="4053536"/>
            <a:chOff x="403159" y="1812574"/>
            <a:chExt cx="5425503" cy="4053536"/>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159" y="1812574"/>
              <a:ext cx="5425503" cy="4053536"/>
            </a:xfrm>
            <a:prstGeom prst="rect">
              <a:avLst/>
            </a:prstGeom>
          </p:spPr>
        </p:pic>
        <p:sp>
          <p:nvSpPr>
            <p:cNvPr id="3" name="TextBox 2">
              <a:extLst>
                <a:ext uri="{FF2B5EF4-FFF2-40B4-BE49-F238E27FC236}">
                  <a16:creationId xmlns:a16="http://schemas.microsoft.com/office/drawing/2014/main" id="{3AC5593B-CB5B-46E0-B39C-CEBAB2BB20D8}"/>
                </a:ext>
              </a:extLst>
            </p:cNvPr>
            <p:cNvSpPr txBox="1"/>
            <p:nvPr/>
          </p:nvSpPr>
          <p:spPr>
            <a:xfrm>
              <a:off x="3435351" y="3124958"/>
              <a:ext cx="876299" cy="184666"/>
            </a:xfrm>
            <a:prstGeom prst="rect">
              <a:avLst/>
            </a:prstGeom>
            <a:solidFill>
              <a:schemeClr val="bg1"/>
            </a:solidFill>
          </p:spPr>
          <p:txBody>
            <a:bodyPr wrap="square" lIns="36000" tIns="0" rIns="36000" bIns="0" rtlCol="0">
              <a:spAutoFit/>
            </a:bodyPr>
            <a:lstStyle/>
            <a:p>
              <a:pPr algn="ctr">
                <a:spcBef>
                  <a:spcPts val="0"/>
                </a:spcBef>
              </a:pPr>
              <a:r>
                <a:rPr lang="en-US" sz="1200"/>
                <a:t>N3 tunnel</a:t>
              </a:r>
            </a:p>
          </p:txBody>
        </p:sp>
      </p:grpSp>
    </p:spTree>
    <p:extLst>
      <p:ext uri="{BB962C8B-B14F-4D97-AF65-F5344CB8AC3E}">
        <p14:creationId xmlns:p14="http://schemas.microsoft.com/office/powerpoint/2010/main" val="7687099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798840-156B-49F9-B286-3CCD1AF94F66}"/>
              </a:ext>
            </a:extLst>
          </p:cNvPr>
          <p:cNvPicPr>
            <a:picLocks noChangeAspect="1"/>
          </p:cNvPicPr>
          <p:nvPr/>
        </p:nvPicPr>
        <p:blipFill>
          <a:blip r:embed="rId3"/>
          <a:stretch>
            <a:fillRect/>
          </a:stretch>
        </p:blipFill>
        <p:spPr>
          <a:xfrm>
            <a:off x="5299375" y="3267856"/>
            <a:ext cx="6877635" cy="3545173"/>
          </a:xfrm>
          <a:prstGeom prst="rect">
            <a:avLst/>
          </a:prstGeom>
        </p:spPr>
      </p:pic>
      <p:sp>
        <p:nvSpPr>
          <p:cNvPr id="8" name="Content Placeholder 7">
            <a:extLst>
              <a:ext uri="{FF2B5EF4-FFF2-40B4-BE49-F238E27FC236}">
                <a16:creationId xmlns:a16="http://schemas.microsoft.com/office/drawing/2014/main" id="{A9D934AB-002C-4796-ABCD-4EC951B240EA}"/>
              </a:ext>
            </a:extLst>
          </p:cNvPr>
          <p:cNvSpPr>
            <a:spLocks noGrp="1"/>
          </p:cNvSpPr>
          <p:nvPr>
            <p:ph sz="quarter" idx="10"/>
          </p:nvPr>
        </p:nvSpPr>
        <p:spPr>
          <a:xfrm>
            <a:off x="310609" y="1476375"/>
            <a:ext cx="5472113" cy="4760913"/>
          </a:xfrm>
        </p:spPr>
        <p:txBody>
          <a:bodyPr/>
          <a:lstStyle/>
          <a:p>
            <a:r>
              <a:rPr lang="en-US" b="1"/>
              <a:t>Main principles</a:t>
            </a:r>
          </a:p>
          <a:p>
            <a:pPr lvl="1"/>
            <a:r>
              <a:rPr lang="en-US" sz="1700"/>
              <a:t>Network controlled QoS</a:t>
            </a:r>
          </a:p>
          <a:p>
            <a:pPr lvl="1"/>
            <a:r>
              <a:rPr lang="en-US" sz="1700"/>
              <a:t>Per flow U-plane marking, one tunnel per session</a:t>
            </a:r>
          </a:p>
          <a:p>
            <a:pPr lvl="1"/>
            <a:r>
              <a:rPr lang="en-US" sz="1700"/>
              <a:t>Separation of concerns between CN and AN</a:t>
            </a:r>
          </a:p>
          <a:p>
            <a:pPr lvl="2"/>
            <a:r>
              <a:rPr lang="en-US" sz="1700"/>
              <a:t>Break 1:1 relation between CN QoS and DRB</a:t>
            </a:r>
          </a:p>
          <a:p>
            <a:pPr lvl="2"/>
            <a:r>
              <a:rPr lang="en-US" sz="1700"/>
              <a:t>Per flow U-plane marking in encapsulation header</a:t>
            </a:r>
          </a:p>
          <a:p>
            <a:pPr lvl="3"/>
            <a:r>
              <a:rPr lang="en-US" sz="1700"/>
              <a:t>Marking in UE and UPF</a:t>
            </a:r>
          </a:p>
          <a:p>
            <a:pPr lvl="2"/>
            <a:r>
              <a:rPr lang="en-US" sz="1700"/>
              <a:t>Per flow authorized QoS distributed to </a:t>
            </a:r>
            <a:br>
              <a:rPr lang="en-US" sz="1700"/>
            </a:br>
            <a:r>
              <a:rPr lang="en-US" sz="1700"/>
              <a:t>RAN (over N2) and optionally UE (over N1) </a:t>
            </a:r>
          </a:p>
          <a:p>
            <a:pPr lvl="1"/>
            <a:r>
              <a:rPr lang="en-US" sz="1700"/>
              <a:t>Minimize signaling</a:t>
            </a:r>
          </a:p>
          <a:p>
            <a:pPr lvl="2"/>
            <a:r>
              <a:rPr lang="en-US" sz="1700"/>
              <a:t>Reflective QoS for UL traffic</a:t>
            </a:r>
          </a:p>
          <a:p>
            <a:pPr lvl="2"/>
            <a:r>
              <a:rPr lang="en-US" sz="1700"/>
              <a:t>Standardized (in addition to dynamic) flow marking</a:t>
            </a:r>
          </a:p>
          <a:p>
            <a:pPr lvl="2"/>
            <a:r>
              <a:rPr lang="en-US" sz="1700"/>
              <a:t>Pre-authorization of QoS flows at PDU session establishment</a:t>
            </a:r>
          </a:p>
          <a:p>
            <a:endParaRPr lang="en-US"/>
          </a:p>
        </p:txBody>
      </p:sp>
      <p:sp>
        <p:nvSpPr>
          <p:cNvPr id="4" name="Title 3"/>
          <p:cNvSpPr>
            <a:spLocks noGrp="1"/>
          </p:cNvSpPr>
          <p:nvPr>
            <p:ph type="title"/>
          </p:nvPr>
        </p:nvSpPr>
        <p:spPr/>
        <p:txBody>
          <a:bodyPr/>
          <a:lstStyle/>
          <a:p>
            <a:r>
              <a:rPr lang="en-US"/>
              <a:t>5G Quality of Service</a:t>
            </a:r>
            <a:br>
              <a:rPr lang="en-US" sz="3200"/>
            </a:br>
            <a:r>
              <a:rPr lang="en-US" sz="3200"/>
              <a:t>Details</a:t>
            </a:r>
            <a:endParaRPr lang="en-US"/>
          </a:p>
        </p:txBody>
      </p:sp>
      <p:sp>
        <p:nvSpPr>
          <p:cNvPr id="3" name="Content Placeholder 2"/>
          <p:cNvSpPr>
            <a:spLocks noGrp="1"/>
          </p:cNvSpPr>
          <p:nvPr>
            <p:ph sz="quarter" idx="4294967295"/>
          </p:nvPr>
        </p:nvSpPr>
        <p:spPr>
          <a:xfrm>
            <a:off x="6061075" y="1476375"/>
            <a:ext cx="6130925" cy="1720850"/>
          </a:xfrm>
        </p:spPr>
        <p:txBody>
          <a:bodyPr>
            <a:normAutofit fontScale="47500" lnSpcReduction="20000"/>
          </a:bodyPr>
          <a:lstStyle/>
          <a:p>
            <a:r>
              <a:rPr lang="en-US" sz="3600" b="1"/>
              <a:t>Changes from EPS QoS</a:t>
            </a:r>
            <a:r>
              <a:rPr lang="en-US" sz="3400" b="1"/>
              <a:t>:</a:t>
            </a:r>
          </a:p>
          <a:p>
            <a:pPr lvl="1"/>
            <a:r>
              <a:rPr lang="en-US" sz="3100"/>
              <a:t>One tunnel per session with one or more QoS flows– no dedicated EPS bearers</a:t>
            </a:r>
          </a:p>
          <a:p>
            <a:pPr lvl="1"/>
            <a:r>
              <a:rPr lang="en-US" sz="3100"/>
              <a:t>Data Radio Bearers remain to exist but with no CN intervention</a:t>
            </a:r>
          </a:p>
          <a:p>
            <a:pPr lvl="1"/>
            <a:r>
              <a:rPr lang="en-US" sz="3100"/>
              <a:t>Possibility to signal explicitly, and override, the QoS characteristics (such as priority and/or service requirements) for more flexible QoS target settings.</a:t>
            </a:r>
          </a:p>
        </p:txBody>
      </p:sp>
    </p:spTree>
    <p:extLst>
      <p:ext uri="{BB962C8B-B14F-4D97-AF65-F5344CB8AC3E}">
        <p14:creationId xmlns:p14="http://schemas.microsoft.com/office/powerpoint/2010/main" val="4254648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800" dirty="0"/>
          </a:p>
          <a:p>
            <a:pPr lvl="1"/>
            <a:r>
              <a:rPr lang="en-US" sz="1800"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dirty="0"/>
              <a:t>The 5G Core System</a:t>
            </a:r>
          </a:p>
          <a:p>
            <a:r>
              <a:rPr lang="en-US" b="1" dirty="0"/>
              <a:t>Core Network Architecture &amp; Technology</a:t>
            </a:r>
          </a:p>
          <a:p>
            <a:pPr lvl="1"/>
            <a:r>
              <a:rPr lang="en-US" sz="1800" b="1" dirty="0"/>
              <a:t>Overall 5G Core Network Architecture</a:t>
            </a:r>
          </a:p>
          <a:p>
            <a:pPr lvl="1"/>
            <a:r>
              <a:rPr lang="en-US" sz="1800" dirty="0"/>
              <a:t>SBA and Service Framework</a:t>
            </a:r>
          </a:p>
          <a:p>
            <a:pPr lvl="1"/>
            <a:r>
              <a:rPr lang="en-US" sz="1800"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6363758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sz="4000"/>
              <a:t>5GC Identity and Access Management</a:t>
            </a:r>
            <a:br>
              <a:rPr lang="en-US" altLang="en-US" sz="4000"/>
            </a:br>
            <a:r>
              <a:rPr lang="en-US" altLang="en-US" sz="2400">
                <a:latin typeface="+mn-lt"/>
              </a:rPr>
              <a:t>Overview</a:t>
            </a:r>
            <a:endParaRPr lang="en-US" sz="2000">
              <a:latin typeface="+mn-lt"/>
            </a:endParaRPr>
          </a:p>
        </p:txBody>
      </p:sp>
      <p:sp>
        <p:nvSpPr>
          <p:cNvPr id="5" name="Content Placeholder 4">
            <a:extLst>
              <a:ext uri="{FF2B5EF4-FFF2-40B4-BE49-F238E27FC236}">
                <a16:creationId xmlns:a16="http://schemas.microsoft.com/office/drawing/2014/main" id="{DECBF834-0D11-42FF-8591-862292A401E5}"/>
              </a:ext>
            </a:extLst>
          </p:cNvPr>
          <p:cNvSpPr>
            <a:spLocks noGrp="1"/>
          </p:cNvSpPr>
          <p:nvPr>
            <p:ph sz="quarter" idx="10"/>
          </p:nvPr>
        </p:nvSpPr>
        <p:spPr>
          <a:xfrm>
            <a:off x="479425" y="1730326"/>
            <a:ext cx="11548452" cy="4937760"/>
          </a:xfrm>
        </p:spPr>
        <p:txBody>
          <a:bodyPr/>
          <a:lstStyle/>
          <a:p>
            <a:pPr hangingPunct="0"/>
            <a:r>
              <a:rPr lang="en-GB"/>
              <a:t>SIM based Subscription Permanent Identifiers (SUPIs) and Keys will continue being the base for subscriber authentication in 5G architecture.</a:t>
            </a:r>
          </a:p>
          <a:p>
            <a:pPr marL="534988" lvl="2" indent="-176213" hangingPunct="0">
              <a:buClr>
                <a:srgbClr val="00A9D4"/>
              </a:buClr>
              <a:buFont typeface="Arial" charset="0"/>
              <a:buChar char="›"/>
            </a:pPr>
            <a:endParaRPr lang="en-GB" sz="600"/>
          </a:p>
          <a:p>
            <a:pPr hangingPunct="0"/>
            <a:r>
              <a:rPr lang="en-GB"/>
              <a:t>Additionally, 5G architecture allows use of alternative SUPIs and alternative keys over 3GPP and non-3GPP access types.</a:t>
            </a:r>
          </a:p>
          <a:p>
            <a:pPr marL="534988" lvl="2" indent="-176213" hangingPunct="0">
              <a:buClr>
                <a:srgbClr val="00A9D4"/>
              </a:buClr>
              <a:buFont typeface="Arial" charset="0"/>
              <a:buChar char="›"/>
            </a:pPr>
            <a:r>
              <a:rPr lang="en-US"/>
              <a:t>Alternative SUPIs (not based on IMSI) are in NAI format. IMSI based NAIs also possible (i.e. for non-3GPP access).</a:t>
            </a:r>
          </a:p>
          <a:p>
            <a:pPr marL="534988" lvl="2" indent="-176213" hangingPunct="0">
              <a:buClr>
                <a:srgbClr val="00A9D4"/>
              </a:buClr>
              <a:buFont typeface="Arial" charset="0"/>
              <a:buChar char="›"/>
            </a:pPr>
            <a:r>
              <a:rPr lang="en-US"/>
              <a:t>Unified and access agnostic authentication architecture for SIM and SIM-less UEs based on Extensible Authentication Protocol (EAP) Framework.</a:t>
            </a:r>
          </a:p>
          <a:p>
            <a:pPr marL="534988" lvl="2" indent="-176213" hangingPunct="0">
              <a:buClr>
                <a:srgbClr val="00A9D4"/>
              </a:buClr>
              <a:buFont typeface="Arial" charset="0"/>
              <a:buChar char="›"/>
            </a:pPr>
            <a:r>
              <a:rPr lang="en-US"/>
              <a:t>Additionally, 5G-AKA (an EPS-AKA version allowing higher HN control) is also allowed.   </a:t>
            </a:r>
            <a:endParaRPr lang="en-GB"/>
          </a:p>
          <a:p>
            <a:pPr marL="534988" lvl="2" indent="-176213" hangingPunct="0">
              <a:buClr>
                <a:srgbClr val="00A9D4"/>
              </a:buClr>
              <a:buFont typeface="Arial" charset="0"/>
              <a:buChar char="›"/>
            </a:pPr>
            <a:r>
              <a:rPr lang="en-GB"/>
              <a:t>Subject to operator’s policy, the 5G architecture supports network access using alternative credentials provided and managed by a 3</a:t>
            </a:r>
            <a:r>
              <a:rPr lang="en-GB" baseline="30000"/>
              <a:t>rd</a:t>
            </a:r>
            <a:r>
              <a:rPr lang="en-GB"/>
              <a:t> party. </a:t>
            </a:r>
            <a:endParaRPr lang="en-GB" altLang="en-US"/>
          </a:p>
          <a:p>
            <a:pPr lvl="1" hangingPunct="0"/>
            <a:endParaRPr lang="en-GB" sz="600"/>
          </a:p>
          <a:p>
            <a:pPr hangingPunct="0"/>
            <a:r>
              <a:rPr lang="en-GB"/>
              <a:t>The 5G architecture also enables the following features:</a:t>
            </a:r>
          </a:p>
          <a:p>
            <a:pPr marL="534988" lvl="2" indent="-176213" hangingPunct="0">
              <a:buClr>
                <a:srgbClr val="00A9D4"/>
              </a:buClr>
              <a:buFont typeface="Arial" charset="0"/>
              <a:buChar char="›"/>
            </a:pPr>
            <a:r>
              <a:rPr lang="en-GB"/>
              <a:t>Enhanced privacy protection (encryption) of subscription permanent identifier over air interface.</a:t>
            </a:r>
          </a:p>
          <a:p>
            <a:pPr marL="534988" lvl="2" indent="-176213" hangingPunct="0">
              <a:buClr>
                <a:srgbClr val="00A9D4"/>
              </a:buClr>
              <a:buFont typeface="Arial" charset="0"/>
              <a:buChar char="›"/>
            </a:pPr>
            <a:r>
              <a:rPr lang="es-ES_tradnl"/>
              <a:t>EAP </a:t>
            </a:r>
            <a:r>
              <a:rPr lang="es-ES_tradnl" err="1"/>
              <a:t>based</a:t>
            </a:r>
            <a:r>
              <a:rPr lang="es-ES_tradnl"/>
              <a:t> </a:t>
            </a:r>
            <a:r>
              <a:rPr lang="es-ES_tradnl" err="1"/>
              <a:t>secondary</a:t>
            </a:r>
            <a:r>
              <a:rPr lang="es-ES_tradnl"/>
              <a:t> </a:t>
            </a:r>
            <a:r>
              <a:rPr lang="es-ES_tradnl" err="1"/>
              <a:t>authentication</a:t>
            </a:r>
            <a:r>
              <a:rPr lang="es-ES_tradnl"/>
              <a:t>/</a:t>
            </a:r>
            <a:r>
              <a:rPr lang="es-ES_tradnl" err="1"/>
              <a:t>authorization</a:t>
            </a:r>
            <a:r>
              <a:rPr lang="es-ES_tradnl"/>
              <a:t> at PDU </a:t>
            </a:r>
            <a:r>
              <a:rPr lang="es-ES_tradnl" err="1"/>
              <a:t>session</a:t>
            </a:r>
            <a:r>
              <a:rPr lang="es-ES_tradnl"/>
              <a:t> establishment (SMF/</a:t>
            </a:r>
            <a:r>
              <a:rPr lang="es-ES_tradnl" err="1"/>
              <a:t>slice</a:t>
            </a:r>
            <a:r>
              <a:rPr lang="es-ES_tradnl"/>
              <a:t>).</a:t>
            </a:r>
            <a:endParaRPr lang="en-GB"/>
          </a:p>
          <a:p>
            <a:pPr lvl="1" hangingPunct="0"/>
            <a:endParaRPr lang="en-GB" sz="1800"/>
          </a:p>
          <a:p>
            <a:pPr lvl="1"/>
            <a:endParaRPr lang="en-GB" sz="1800"/>
          </a:p>
          <a:p>
            <a:pPr marL="0" indent="0">
              <a:buNone/>
            </a:pPr>
            <a:endParaRPr lang="en-US"/>
          </a:p>
        </p:txBody>
      </p:sp>
    </p:spTree>
    <p:extLst>
      <p:ext uri="{BB962C8B-B14F-4D97-AF65-F5344CB8AC3E}">
        <p14:creationId xmlns:p14="http://schemas.microsoft.com/office/powerpoint/2010/main" val="27614066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ounded Rectangle 76"/>
          <p:cNvSpPr/>
          <p:nvPr/>
        </p:nvSpPr>
        <p:spPr bwMode="auto">
          <a:xfrm>
            <a:off x="8651500" y="4123201"/>
            <a:ext cx="1926901" cy="35745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400" b="1">
                <a:latin typeface="+mn-lt"/>
              </a:rPr>
              <a:t>EAP Server (AUSF)</a:t>
            </a:r>
          </a:p>
        </p:txBody>
      </p:sp>
      <p:cxnSp>
        <p:nvCxnSpPr>
          <p:cNvPr id="87" name="Straight Connector 86"/>
          <p:cNvCxnSpPr/>
          <p:nvPr/>
        </p:nvCxnSpPr>
        <p:spPr bwMode="auto">
          <a:xfrm flipV="1">
            <a:off x="9577346" y="4663248"/>
            <a:ext cx="0" cy="507357"/>
          </a:xfrm>
          <a:prstGeom prst="line">
            <a:avLst/>
          </a:prstGeom>
          <a:noFill/>
          <a:ln w="25400">
            <a:solidFill>
              <a:schemeClr val="accent2"/>
            </a:solidFill>
            <a:prstDash val="sysDash"/>
            <a:round/>
            <a:headEnd/>
            <a:tailEnd/>
          </a:ln>
          <a:extLst>
            <a:ext uri="{909E8E84-426E-40DD-AFC4-6F175D3DCCD1}">
              <a14:hiddenFill xmlns:a14="http://schemas.microsoft.com/office/drawing/2010/main">
                <a:noFill/>
              </a14:hiddenFill>
            </a:ext>
          </a:extLst>
        </p:spPr>
      </p:cxnSp>
      <p:sp>
        <p:nvSpPr>
          <p:cNvPr id="3" name="Title 2"/>
          <p:cNvSpPr>
            <a:spLocks noGrp="1"/>
          </p:cNvSpPr>
          <p:nvPr>
            <p:ph type="title"/>
          </p:nvPr>
        </p:nvSpPr>
        <p:spPr/>
        <p:txBody>
          <a:bodyPr>
            <a:normAutofit/>
          </a:bodyPr>
          <a:lstStyle/>
          <a:p>
            <a:r>
              <a:rPr lang="en-US" altLang="en-US"/>
              <a:t>5GC Identity and Access Management</a:t>
            </a:r>
            <a:br>
              <a:rPr lang="en-US" altLang="en-US"/>
            </a:br>
            <a:r>
              <a:rPr lang="en-US" altLang="en-US" sz="2700">
                <a:latin typeface="+mn-lt"/>
              </a:rPr>
              <a:t>Authentication Architecture overview</a:t>
            </a:r>
            <a:endParaRPr lang="en-US" sz="4000">
              <a:latin typeface="+mn-lt"/>
            </a:endParaRPr>
          </a:p>
        </p:txBody>
      </p:sp>
      <p:grpSp>
        <p:nvGrpSpPr>
          <p:cNvPr id="42" name="Group 274"/>
          <p:cNvGrpSpPr>
            <a:grpSpLocks noChangeAspect="1"/>
          </p:cNvGrpSpPr>
          <p:nvPr/>
        </p:nvGrpSpPr>
        <p:grpSpPr bwMode="auto">
          <a:xfrm>
            <a:off x="9185702" y="3634996"/>
            <a:ext cx="863738" cy="1168797"/>
            <a:chOff x="3147" y="3024"/>
            <a:chExt cx="257" cy="366"/>
          </a:xfrm>
        </p:grpSpPr>
        <p:grpSp>
          <p:nvGrpSpPr>
            <p:cNvPr id="43" name="Group 7"/>
            <p:cNvGrpSpPr>
              <a:grpSpLocks noChangeAspect="1"/>
            </p:cNvGrpSpPr>
            <p:nvPr/>
          </p:nvGrpSpPr>
          <p:grpSpPr bwMode="auto">
            <a:xfrm>
              <a:off x="3147" y="3024"/>
              <a:ext cx="257" cy="366"/>
              <a:chOff x="2283" y="1698"/>
              <a:chExt cx="983" cy="1402"/>
            </a:xfrm>
          </p:grpSpPr>
          <p:pic>
            <p:nvPicPr>
              <p:cNvPr id="45"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latin typeface="+mn-lt"/>
                </a:endParaRPr>
              </a:p>
            </p:txBody>
          </p:sp>
        </p:grpSp>
        <p:sp>
          <p:nvSpPr>
            <p:cNvPr id="4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0"/>
                </a:spcBef>
                <a:buClrTx/>
                <a:buFontTx/>
                <a:buNone/>
              </a:pPr>
              <a:endParaRPr lang="en-US" altLang="en-US" sz="1200">
                <a:solidFill>
                  <a:schemeClr val="accent2"/>
                </a:solidFill>
                <a:latin typeface="+mn-lt"/>
                <a:ea typeface="MS PGothic" pitchFamily="34" charset="-128"/>
              </a:endParaRPr>
            </a:p>
            <a:p>
              <a:pPr algn="ctr" eaLnBrk="1" hangingPunct="1">
                <a:spcBef>
                  <a:spcPct val="0"/>
                </a:spcBef>
                <a:buClrTx/>
                <a:buFontTx/>
                <a:buNone/>
              </a:pPr>
              <a:r>
                <a:rPr lang="en-US" altLang="en-US" sz="1200">
                  <a:solidFill>
                    <a:schemeClr val="accent2"/>
                  </a:solidFill>
                  <a:latin typeface="+mn-lt"/>
                  <a:ea typeface="MS PGothic" pitchFamily="34" charset="-128"/>
                </a:rPr>
                <a:t>External ID Provider</a:t>
              </a:r>
            </a:p>
          </p:txBody>
        </p:sp>
      </p:grpSp>
      <p:sp>
        <p:nvSpPr>
          <p:cNvPr id="80" name="TextBox 79"/>
          <p:cNvSpPr txBox="1"/>
          <p:nvPr/>
        </p:nvSpPr>
        <p:spPr>
          <a:xfrm>
            <a:off x="8804629" y="2567664"/>
            <a:ext cx="1446214" cy="646331"/>
          </a:xfrm>
          <a:prstGeom prst="rect">
            <a:avLst/>
          </a:prstGeom>
          <a:solidFill>
            <a:schemeClr val="bg1"/>
          </a:solidFill>
          <a:ln w="25400">
            <a:solidFill>
              <a:srgbClr val="00B0F0"/>
            </a:solidFill>
          </a:ln>
        </p:spPr>
        <p:txBody>
          <a:bodyPr wrap="square" lIns="0" rIns="0" rtlCol="0">
            <a:spAutoFit/>
          </a:bodyPr>
          <a:lstStyle/>
          <a:p>
            <a:pPr algn="ctr">
              <a:spcBef>
                <a:spcPts val="0"/>
              </a:spcBef>
            </a:pPr>
            <a:r>
              <a:rPr lang="en-US" sz="1200" b="1">
                <a:solidFill>
                  <a:srgbClr val="7030A0"/>
                </a:solidFill>
                <a:latin typeface="+mn-lt"/>
              </a:rPr>
              <a:t>IMSI + AKA Keys</a:t>
            </a:r>
          </a:p>
          <a:p>
            <a:pPr algn="ctr">
              <a:spcBef>
                <a:spcPts val="0"/>
              </a:spcBef>
            </a:pPr>
            <a:r>
              <a:rPr lang="en-US" sz="1200" b="1">
                <a:solidFill>
                  <a:srgbClr val="C00000"/>
                </a:solidFill>
                <a:latin typeface="+mn-lt"/>
              </a:rPr>
              <a:t>non-3GPP Ids</a:t>
            </a:r>
          </a:p>
          <a:p>
            <a:pPr algn="ctr">
              <a:spcBef>
                <a:spcPts val="0"/>
              </a:spcBef>
            </a:pPr>
            <a:r>
              <a:rPr lang="en-US" sz="1200" b="1">
                <a:solidFill>
                  <a:srgbClr val="C00000"/>
                </a:solidFill>
                <a:latin typeface="+mn-lt"/>
              </a:rPr>
              <a:t>Alternative Keys</a:t>
            </a:r>
          </a:p>
        </p:txBody>
      </p:sp>
      <p:sp>
        <p:nvSpPr>
          <p:cNvPr id="81" name="TextBox 80"/>
          <p:cNvSpPr txBox="1"/>
          <p:nvPr/>
        </p:nvSpPr>
        <p:spPr>
          <a:xfrm>
            <a:off x="8867689" y="4957446"/>
            <a:ext cx="1446214" cy="461665"/>
          </a:xfrm>
          <a:prstGeom prst="rect">
            <a:avLst/>
          </a:prstGeom>
          <a:solidFill>
            <a:schemeClr val="bg1"/>
          </a:solidFill>
          <a:ln w="25400">
            <a:solidFill>
              <a:schemeClr val="accent2"/>
            </a:solidFill>
          </a:ln>
        </p:spPr>
        <p:txBody>
          <a:bodyPr wrap="square" lIns="0" rIns="0" rtlCol="0">
            <a:spAutoFit/>
          </a:bodyPr>
          <a:lstStyle/>
          <a:p>
            <a:pPr algn="ctr">
              <a:spcBef>
                <a:spcPts val="0"/>
              </a:spcBef>
            </a:pPr>
            <a:r>
              <a:rPr lang="en-US" sz="1200" b="1">
                <a:solidFill>
                  <a:srgbClr val="C00000"/>
                </a:solidFill>
                <a:latin typeface="+mn-lt"/>
              </a:rPr>
              <a:t>non-3GPP Ids</a:t>
            </a:r>
          </a:p>
          <a:p>
            <a:pPr algn="ctr">
              <a:spcBef>
                <a:spcPts val="0"/>
              </a:spcBef>
            </a:pPr>
            <a:r>
              <a:rPr lang="en-US" sz="1200" b="1">
                <a:solidFill>
                  <a:srgbClr val="C00000"/>
                </a:solidFill>
                <a:latin typeface="+mn-lt"/>
              </a:rPr>
              <a:t>Alternative Keys</a:t>
            </a:r>
          </a:p>
        </p:txBody>
      </p:sp>
      <p:sp>
        <p:nvSpPr>
          <p:cNvPr id="89" name="Rounded Rectangle 88"/>
          <p:cNvSpPr/>
          <p:nvPr/>
        </p:nvSpPr>
        <p:spPr bwMode="auto">
          <a:xfrm>
            <a:off x="10232014" y="3928755"/>
            <a:ext cx="1859901" cy="615376"/>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a:ln>
                  <a:noFill/>
                </a:ln>
                <a:solidFill>
                  <a:schemeClr val="tx1"/>
                </a:solidFill>
                <a:effectLst/>
                <a:latin typeface="+mn-lt"/>
              </a:rPr>
              <a:t>Additional UCs </a:t>
            </a:r>
          </a:p>
          <a:p>
            <a:pPr marL="171450" marR="0" indent="-171450" algn="l" defTabSz="914400" rtl="0" eaLnBrk="1" fontAlgn="base" latinLnBrk="0" hangingPunct="1">
              <a:lnSpc>
                <a:spcPct val="100000"/>
              </a:lnSpc>
              <a:spcBef>
                <a:spcPct val="50000"/>
              </a:spcBef>
              <a:spcAft>
                <a:spcPct val="0"/>
              </a:spcAft>
              <a:buClrTx/>
              <a:buSzTx/>
              <a:buFontTx/>
              <a:buChar char="-"/>
              <a:tabLst/>
            </a:pPr>
            <a:r>
              <a:rPr kumimoji="0" lang="en-GB" sz="1200" i="0" u="none" strike="noStrike" cap="none" normalizeH="0">
                <a:ln>
                  <a:noFill/>
                </a:ln>
                <a:solidFill>
                  <a:schemeClr val="tx1"/>
                </a:solidFill>
                <a:effectLst/>
                <a:latin typeface="+mn-lt"/>
              </a:rPr>
              <a:t>3PP Identity Provider</a:t>
            </a:r>
          </a:p>
        </p:txBody>
      </p:sp>
      <p:sp>
        <p:nvSpPr>
          <p:cNvPr id="90" name="Rounded Rectangle 89"/>
          <p:cNvSpPr/>
          <p:nvPr/>
        </p:nvSpPr>
        <p:spPr bwMode="auto">
          <a:xfrm>
            <a:off x="86199" y="3798148"/>
            <a:ext cx="2097831" cy="89500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r>
              <a:rPr lang="en-GB" sz="1200" b="1">
                <a:latin typeface="+mn-lt"/>
              </a:rPr>
              <a:t>Additional Features:</a:t>
            </a:r>
          </a:p>
          <a:p>
            <a:pPr marL="171450" indent="-171450">
              <a:buFontTx/>
              <a:buChar char="-"/>
            </a:pPr>
            <a:r>
              <a:rPr kumimoji="0" lang="en-GB" sz="1200" i="0" u="none" strike="noStrike" cap="none" normalizeH="0" baseline="0">
                <a:ln>
                  <a:noFill/>
                </a:ln>
                <a:solidFill>
                  <a:schemeClr val="tx1"/>
                </a:solidFill>
                <a:effectLst/>
                <a:latin typeface="+mn-lt"/>
              </a:rPr>
              <a:t>Subs Id</a:t>
            </a:r>
            <a:r>
              <a:rPr kumimoji="0" lang="en-GB" sz="1200" i="0" u="none" strike="noStrike" cap="none" normalizeH="0">
                <a:ln>
                  <a:noFill/>
                </a:ln>
                <a:solidFill>
                  <a:schemeClr val="tx1"/>
                </a:solidFill>
                <a:effectLst/>
                <a:latin typeface="+mn-lt"/>
              </a:rPr>
              <a:t> Privacy</a:t>
            </a:r>
            <a:endParaRPr kumimoji="0" lang="en-GB" sz="1200" i="0" u="none" strike="noStrike" cap="none" normalizeH="0" baseline="0">
              <a:ln>
                <a:noFill/>
              </a:ln>
              <a:solidFill>
                <a:schemeClr val="tx1"/>
              </a:solidFill>
              <a:effectLst/>
              <a:latin typeface="+mn-lt"/>
            </a:endParaRPr>
          </a:p>
          <a:p>
            <a:pPr marL="171450" indent="-171450">
              <a:buFontTx/>
              <a:buChar char="-"/>
            </a:pPr>
            <a:r>
              <a:rPr lang="en-GB" sz="1200">
                <a:latin typeface="+mn-lt"/>
              </a:rPr>
              <a:t>Secondary </a:t>
            </a:r>
            <a:r>
              <a:rPr lang="en-GB" sz="1200" err="1">
                <a:latin typeface="+mn-lt"/>
              </a:rPr>
              <a:t>Auth</a:t>
            </a:r>
            <a:r>
              <a:rPr lang="en-GB" sz="1200">
                <a:latin typeface="+mn-lt"/>
              </a:rPr>
              <a:t>/</a:t>
            </a:r>
            <a:r>
              <a:rPr lang="en-GB" sz="1200" err="1">
                <a:latin typeface="+mn-lt"/>
              </a:rPr>
              <a:t>AuthZ</a:t>
            </a:r>
            <a:endParaRPr lang="en-GB" sz="1200">
              <a:latin typeface="+mn-lt"/>
            </a:endParaRPr>
          </a:p>
          <a:p>
            <a:pPr marL="171450" indent="-171450">
              <a:buFontTx/>
              <a:buChar char="-"/>
            </a:pPr>
            <a:endParaRPr kumimoji="0" lang="en-GB" sz="1200" i="0" u="none" strike="noStrike" cap="none" normalizeH="0" baseline="0">
              <a:ln>
                <a:noFill/>
              </a:ln>
              <a:solidFill>
                <a:schemeClr val="tx1"/>
              </a:solidFill>
              <a:effectLst/>
              <a:latin typeface="+mn-lt"/>
            </a:endParaRPr>
          </a:p>
        </p:txBody>
      </p:sp>
      <p:sp>
        <p:nvSpPr>
          <p:cNvPr id="91" name="Rounded Rectangle 90"/>
          <p:cNvSpPr/>
          <p:nvPr/>
        </p:nvSpPr>
        <p:spPr bwMode="auto">
          <a:xfrm>
            <a:off x="86197" y="2742736"/>
            <a:ext cx="2102961" cy="88073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a:ln>
                  <a:noFill/>
                </a:ln>
                <a:solidFill>
                  <a:schemeClr val="tx1"/>
                </a:solidFill>
                <a:effectLst/>
                <a:latin typeface="+mn-lt"/>
              </a:rPr>
              <a:t>Additional Credentials </a:t>
            </a:r>
          </a:p>
          <a:p>
            <a:pPr marL="171450" marR="0" indent="-171450" algn="l" defTabSz="914400" rtl="0" eaLnBrk="1" fontAlgn="base" latinLnBrk="0" hangingPunct="1">
              <a:lnSpc>
                <a:spcPct val="100000"/>
              </a:lnSpc>
              <a:spcBef>
                <a:spcPct val="50000"/>
              </a:spcBef>
              <a:spcAft>
                <a:spcPct val="0"/>
              </a:spcAft>
              <a:buClrTx/>
              <a:buSzTx/>
              <a:buFontTx/>
              <a:buChar char="-"/>
              <a:tabLst/>
            </a:pPr>
            <a:r>
              <a:rPr lang="en-GB" sz="1200">
                <a:latin typeface="+mn-lt"/>
              </a:rPr>
              <a:t>non-3GPP Ids and keys</a:t>
            </a:r>
          </a:p>
          <a:p>
            <a:pPr marL="171450" marR="0" indent="-171450" algn="l" defTabSz="914400" rtl="0" eaLnBrk="1" fontAlgn="base" latinLnBrk="0" hangingPunct="1">
              <a:lnSpc>
                <a:spcPct val="100000"/>
              </a:lnSpc>
              <a:spcBef>
                <a:spcPct val="50000"/>
              </a:spcBef>
              <a:spcAft>
                <a:spcPct val="0"/>
              </a:spcAft>
              <a:buClrTx/>
              <a:buSzTx/>
              <a:buFontTx/>
              <a:buChar char="-"/>
              <a:tabLst/>
            </a:pPr>
            <a:r>
              <a:rPr kumimoji="0" lang="en-GB" sz="1200" i="0" u="none" strike="noStrike" cap="none" normalizeH="0" baseline="0">
                <a:ln>
                  <a:noFill/>
                </a:ln>
                <a:solidFill>
                  <a:schemeClr val="tx1"/>
                </a:solidFill>
                <a:effectLst/>
                <a:latin typeface="+mn-lt"/>
              </a:rPr>
              <a:t>Alternative </a:t>
            </a:r>
            <a:r>
              <a:rPr kumimoji="0" lang="en-GB" sz="1200" i="0" u="none" strike="noStrike" cap="none" normalizeH="0" baseline="0" err="1">
                <a:ln>
                  <a:noFill/>
                </a:ln>
                <a:solidFill>
                  <a:schemeClr val="tx1"/>
                </a:solidFill>
                <a:effectLst/>
                <a:latin typeface="+mn-lt"/>
              </a:rPr>
              <a:t>auth</a:t>
            </a:r>
            <a:r>
              <a:rPr kumimoji="0" lang="en-GB" sz="1200" i="0" u="none" strike="noStrike" cap="none" normalizeH="0" baseline="0">
                <a:ln>
                  <a:noFill/>
                </a:ln>
                <a:solidFill>
                  <a:schemeClr val="tx1"/>
                </a:solidFill>
                <a:effectLst/>
                <a:latin typeface="+mn-lt"/>
              </a:rPr>
              <a:t> methods</a:t>
            </a:r>
          </a:p>
        </p:txBody>
      </p:sp>
      <p:sp>
        <p:nvSpPr>
          <p:cNvPr id="88" name="Rounded Rectangle 76"/>
          <p:cNvSpPr/>
          <p:nvPr/>
        </p:nvSpPr>
        <p:spPr bwMode="auto">
          <a:xfrm>
            <a:off x="10418559" y="2546844"/>
            <a:ext cx="1083265" cy="694470"/>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200" b="1">
                <a:latin typeface="+mn-lt"/>
              </a:rPr>
              <a:t>UDM as Credential Repository</a:t>
            </a:r>
          </a:p>
        </p:txBody>
      </p:sp>
      <p:sp>
        <p:nvSpPr>
          <p:cNvPr id="98" name="Rounded Rectangle 76"/>
          <p:cNvSpPr/>
          <p:nvPr/>
        </p:nvSpPr>
        <p:spPr bwMode="auto">
          <a:xfrm>
            <a:off x="5553640" y="5455076"/>
            <a:ext cx="2568355" cy="562986"/>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400" b="1">
                <a:latin typeface="+mn-lt"/>
              </a:rPr>
              <a:t>AMF as EAP Authenticator (incl. SEAF)</a:t>
            </a:r>
          </a:p>
        </p:txBody>
      </p:sp>
      <p:grpSp>
        <p:nvGrpSpPr>
          <p:cNvPr id="71" name="Group 70"/>
          <p:cNvGrpSpPr/>
          <p:nvPr/>
        </p:nvGrpSpPr>
        <p:grpSpPr>
          <a:xfrm>
            <a:off x="1937343" y="1885961"/>
            <a:ext cx="8313500" cy="3832988"/>
            <a:chOff x="1937343" y="1885961"/>
            <a:chExt cx="8313500" cy="3832988"/>
          </a:xfrm>
        </p:grpSpPr>
        <p:sp>
          <p:nvSpPr>
            <p:cNvPr id="72" name="TextBox 71"/>
            <p:cNvSpPr txBox="1"/>
            <p:nvPr/>
          </p:nvSpPr>
          <p:spPr>
            <a:xfrm>
              <a:off x="3848108" y="3136611"/>
              <a:ext cx="1326004" cy="369332"/>
            </a:xfrm>
            <a:prstGeom prst="rect">
              <a:avLst/>
            </a:prstGeom>
            <a:solidFill>
              <a:schemeClr val="bg1"/>
            </a:solidFill>
          </p:spPr>
          <p:txBody>
            <a:bodyPr wrap="none" rtlCol="0">
              <a:spAutoFit/>
            </a:bodyPr>
            <a:lstStyle/>
            <a:p>
              <a:r>
                <a:rPr lang="en-US" sz="1800" b="1">
                  <a:latin typeface="+mn-lt"/>
                </a:rPr>
                <a:t>Non-3GPP</a:t>
              </a:r>
            </a:p>
          </p:txBody>
        </p:sp>
        <p:sp>
          <p:nvSpPr>
            <p:cNvPr id="73" name="Rounded Rectangle 4"/>
            <p:cNvSpPr/>
            <p:nvPr/>
          </p:nvSpPr>
          <p:spPr bwMode="auto">
            <a:xfrm>
              <a:off x="5472774" y="1885961"/>
              <a:ext cx="3072941" cy="3533150"/>
            </a:xfrm>
            <a:prstGeom prst="roundRect">
              <a:avLst/>
            </a:prstGeom>
            <a:solidFill>
              <a:schemeClr val="tx2">
                <a:lumMod val="10000"/>
                <a:lumOff val="90000"/>
              </a:schemeClr>
            </a:solidFill>
            <a:ln w="31750" cap="flat" cmpd="sng" algn="ctr">
              <a:solidFill>
                <a:srgbClr val="00B0F0"/>
              </a:solidFill>
              <a:prstDash val="solid"/>
              <a:round/>
              <a:headEnd type="none" w="med" len="med"/>
              <a:tailEnd type="none" w="med" len="med"/>
            </a:ln>
            <a:effectLst/>
          </p:spPr>
          <p:txBody>
            <a:bodyPr vert="horz" wrap="square" lIns="18000" tIns="45720" rIns="18000" bIns="45720" numCol="1" rtlCol="0" anchor="t" anchorCtr="0" compatLnSpc="1">
              <a:prstTxWarp prst="textNoShape">
                <a:avLst/>
              </a:prstTxWarp>
            </a:bodyPr>
            <a:lstStyle/>
            <a:p>
              <a:r>
                <a:rPr lang="en-US" sz="1600" b="1">
                  <a:solidFill>
                    <a:schemeClr val="tx2"/>
                  </a:solidFill>
                  <a:latin typeface="+mn-lt"/>
                </a:rPr>
                <a:t>5G Core</a:t>
              </a:r>
            </a:p>
          </p:txBody>
        </p:sp>
        <p:cxnSp>
          <p:nvCxnSpPr>
            <p:cNvPr id="74" name="Straight Connector 203"/>
            <p:cNvCxnSpPr>
              <a:cxnSpLocks noChangeShapeType="1"/>
            </p:cNvCxnSpPr>
            <p:nvPr/>
          </p:nvCxnSpPr>
          <p:spPr bwMode="auto">
            <a:xfrm rot="5400000" flipH="1" flipV="1">
              <a:off x="6841604" y="3080940"/>
              <a:ext cx="1102409" cy="993293"/>
            </a:xfrm>
            <a:prstGeom prst="bentConnector3">
              <a:avLst>
                <a:gd name="adj1" fmla="val -545"/>
              </a:avLst>
            </a:prstGeom>
            <a:noFill/>
            <a:ln w="25400">
              <a:solidFill>
                <a:srgbClr val="C00000"/>
              </a:solidFill>
              <a:prstDash val="sysDash"/>
              <a:round/>
              <a:headEnd/>
              <a:tailEnd/>
            </a:ln>
            <a:extLst>
              <a:ext uri="{909E8E84-426E-40DD-AFC4-6F175D3DCCD1}">
                <a14:hiddenFill xmlns:a14="http://schemas.microsoft.com/office/drawing/2010/main">
                  <a:noFill/>
                </a14:hiddenFill>
              </a:ext>
            </a:extLst>
          </p:spPr>
        </p:cxnSp>
        <p:cxnSp>
          <p:nvCxnSpPr>
            <p:cNvPr id="75" name="Straight Connector 74"/>
            <p:cNvCxnSpPr/>
            <p:nvPr/>
          </p:nvCxnSpPr>
          <p:spPr bwMode="auto">
            <a:xfrm>
              <a:off x="3359581" y="2615567"/>
              <a:ext cx="0" cy="3079697"/>
            </a:xfrm>
            <a:prstGeom prst="line">
              <a:avLst/>
            </a:prstGeom>
            <a:solidFill>
              <a:schemeClr val="accent1"/>
            </a:solidFill>
            <a:ln w="28575" cap="flat" cmpd="sng" algn="ctr">
              <a:solidFill>
                <a:schemeClr val="tx1"/>
              </a:solidFill>
              <a:prstDash val="lgDashDot"/>
              <a:round/>
              <a:headEnd type="none" w="med" len="med"/>
              <a:tailEnd type="none" w="med" len="med"/>
            </a:ln>
            <a:effectLst/>
          </p:spPr>
        </p:cxnSp>
        <p:cxnSp>
          <p:nvCxnSpPr>
            <p:cNvPr id="76" name="Straight Connector 75"/>
            <p:cNvCxnSpPr/>
            <p:nvPr/>
          </p:nvCxnSpPr>
          <p:spPr bwMode="auto">
            <a:xfrm>
              <a:off x="2511133" y="2626943"/>
              <a:ext cx="0" cy="3079697"/>
            </a:xfrm>
            <a:prstGeom prst="line">
              <a:avLst/>
            </a:prstGeom>
            <a:solidFill>
              <a:schemeClr val="accent1"/>
            </a:solidFill>
            <a:ln w="28575" cap="flat" cmpd="sng" algn="ctr">
              <a:solidFill>
                <a:schemeClr val="tx1"/>
              </a:solidFill>
              <a:prstDash val="lgDashDot"/>
              <a:round/>
              <a:headEnd type="none" w="med" len="med"/>
              <a:tailEnd type="none" w="med" len="med"/>
            </a:ln>
            <a:effectLst/>
          </p:spPr>
        </p:cxnSp>
        <p:sp>
          <p:nvSpPr>
            <p:cNvPr id="77" name="TextBox 76"/>
            <p:cNvSpPr txBox="1"/>
            <p:nvPr/>
          </p:nvSpPr>
          <p:spPr>
            <a:xfrm>
              <a:off x="1937343" y="2210544"/>
              <a:ext cx="1078090" cy="461665"/>
            </a:xfrm>
            <a:prstGeom prst="rect">
              <a:avLst/>
            </a:prstGeom>
            <a:solidFill>
              <a:schemeClr val="bg1"/>
            </a:solidFill>
            <a:ln w="25400">
              <a:solidFill>
                <a:srgbClr val="7030A0"/>
              </a:solidFill>
            </a:ln>
          </p:spPr>
          <p:txBody>
            <a:bodyPr wrap="square" lIns="0" rIns="0" rtlCol="0">
              <a:spAutoFit/>
            </a:bodyPr>
            <a:lstStyle/>
            <a:p>
              <a:pPr algn="ctr">
                <a:spcBef>
                  <a:spcPts val="0"/>
                </a:spcBef>
              </a:pPr>
              <a:r>
                <a:rPr lang="en-US" sz="1200" b="1">
                  <a:solidFill>
                    <a:srgbClr val="7030A0"/>
                  </a:solidFill>
                  <a:latin typeface="+mn-lt"/>
                </a:rPr>
                <a:t>SIM based UE (IMSI+AKA)</a:t>
              </a:r>
            </a:p>
          </p:txBody>
        </p:sp>
        <p:sp>
          <p:nvSpPr>
            <p:cNvPr id="78" name="Freeform 34"/>
            <p:cNvSpPr>
              <a:spLocks noChangeAspect="1"/>
            </p:cNvSpPr>
            <p:nvPr/>
          </p:nvSpPr>
          <p:spPr bwMode="auto">
            <a:xfrm>
              <a:off x="3558627" y="4467842"/>
              <a:ext cx="1859399" cy="1251107"/>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endParaRPr lang="en-US">
                <a:latin typeface="+mn-lt"/>
              </a:endParaRPr>
            </a:p>
          </p:txBody>
        </p:sp>
        <p:grpSp>
          <p:nvGrpSpPr>
            <p:cNvPr id="79" name="Group 557"/>
            <p:cNvGrpSpPr>
              <a:grpSpLocks noChangeAspect="1"/>
            </p:cNvGrpSpPr>
            <p:nvPr/>
          </p:nvGrpSpPr>
          <p:grpSpPr bwMode="auto">
            <a:xfrm>
              <a:off x="7391564" y="3524581"/>
              <a:ext cx="1002724" cy="1375807"/>
              <a:chOff x="3510" y="1858"/>
              <a:chExt cx="363" cy="528"/>
            </a:xfrm>
          </p:grpSpPr>
          <p:sp>
            <p:nvSpPr>
              <p:cNvPr id="128"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29"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30" name="Text Box 240"/>
              <p:cNvSpPr txBox="1">
                <a:spLocks noChangeAspect="1" noChangeArrowheads="1"/>
              </p:cNvSpPr>
              <p:nvPr/>
            </p:nvSpPr>
            <p:spPr bwMode="auto">
              <a:xfrm>
                <a:off x="3525" y="215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solidFill>
                      <a:srgbClr val="FF0000"/>
                    </a:solidFill>
                    <a:latin typeface="+mn-lt"/>
                    <a:ea typeface="Segoe UI" panose="020B0502040204020203" pitchFamily="34" charset="0"/>
                    <a:cs typeface="Segoe UI" panose="020B0502040204020203" pitchFamily="34" charset="0"/>
                  </a:rPr>
                  <a:t>AUSF</a:t>
                </a:r>
              </a:p>
            </p:txBody>
          </p:sp>
          <p:sp>
            <p:nvSpPr>
              <p:cNvPr id="131"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32" name="Freeform 11"/>
              <p:cNvSpPr>
                <a:spLocks noChangeAspect="1" noEditPoints="1"/>
              </p:cNvSpPr>
              <p:nvPr/>
            </p:nvSpPr>
            <p:spPr bwMode="auto">
              <a:xfrm>
                <a:off x="3510" y="1867"/>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latin typeface="+mn-lt"/>
                </a:endParaRPr>
              </a:p>
            </p:txBody>
          </p:sp>
        </p:grpSp>
        <p:sp>
          <p:nvSpPr>
            <p:cNvPr id="82" name="Freeform 34"/>
            <p:cNvSpPr>
              <a:spLocks noChangeAspect="1"/>
            </p:cNvSpPr>
            <p:nvPr/>
          </p:nvSpPr>
          <p:spPr bwMode="auto">
            <a:xfrm>
              <a:off x="3534455" y="2850152"/>
              <a:ext cx="1832534" cy="1400036"/>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endParaRPr lang="en-US">
                <a:latin typeface="+mn-lt"/>
              </a:endParaRPr>
            </a:p>
          </p:txBody>
        </p:sp>
        <p:sp>
          <p:nvSpPr>
            <p:cNvPr id="84" name="TextBox 83"/>
            <p:cNvSpPr txBox="1"/>
            <p:nvPr/>
          </p:nvSpPr>
          <p:spPr>
            <a:xfrm>
              <a:off x="4090981" y="5236865"/>
              <a:ext cx="910506" cy="276999"/>
            </a:xfrm>
            <a:prstGeom prst="rect">
              <a:avLst/>
            </a:prstGeom>
            <a:solidFill>
              <a:schemeClr val="bg1"/>
            </a:solidFill>
          </p:spPr>
          <p:txBody>
            <a:bodyPr wrap="none" lIns="0" tIns="0" rIns="0" bIns="0" rtlCol="0">
              <a:spAutoFit/>
            </a:bodyPr>
            <a:lstStyle/>
            <a:p>
              <a:r>
                <a:rPr lang="en-US" sz="1800" b="1">
                  <a:latin typeface="+mn-lt"/>
                </a:rPr>
                <a:t>NG RAN</a:t>
              </a:r>
            </a:p>
          </p:txBody>
        </p:sp>
        <p:grpSp>
          <p:nvGrpSpPr>
            <p:cNvPr id="85" name="Group 84"/>
            <p:cNvGrpSpPr/>
            <p:nvPr/>
          </p:nvGrpSpPr>
          <p:grpSpPr>
            <a:xfrm>
              <a:off x="3055245" y="4067129"/>
              <a:ext cx="606616" cy="573708"/>
              <a:chOff x="1321949" y="4162027"/>
              <a:chExt cx="606616" cy="573708"/>
            </a:xfrm>
          </p:grpSpPr>
          <p:sp>
            <p:nvSpPr>
              <p:cNvPr id="126" name="Oval 125"/>
              <p:cNvSpPr/>
              <p:nvPr/>
            </p:nvSpPr>
            <p:spPr bwMode="auto">
              <a:xfrm>
                <a:off x="1360169" y="4189886"/>
                <a:ext cx="513648" cy="492010"/>
              </a:xfrm>
              <a:prstGeom prst="ellipse">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mn-lt"/>
                </a:endParaRPr>
              </a:p>
            </p:txBody>
          </p:sp>
          <p:sp>
            <p:nvSpPr>
              <p:cNvPr id="127" name="Freeform 6"/>
              <p:cNvSpPr>
                <a:spLocks noChangeAspect="1" noEditPoints="1"/>
              </p:cNvSpPr>
              <p:nvPr/>
            </p:nvSpPr>
            <p:spPr bwMode="auto">
              <a:xfrm>
                <a:off x="1321949" y="4162027"/>
                <a:ext cx="606616" cy="573708"/>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C00000"/>
              </a:solidFill>
              <a:ln>
                <a:noFill/>
              </a:ln>
            </p:spPr>
            <p:txBody>
              <a:bodyPr/>
              <a:lstStyle/>
              <a:p>
                <a:endParaRPr lang="sv-SE" sz="1000">
                  <a:latin typeface="+mn-lt"/>
                </a:endParaRPr>
              </a:p>
            </p:txBody>
          </p:sp>
        </p:grpSp>
        <p:grpSp>
          <p:nvGrpSpPr>
            <p:cNvPr id="86" name="Group 85"/>
            <p:cNvGrpSpPr/>
            <p:nvPr/>
          </p:nvGrpSpPr>
          <p:grpSpPr>
            <a:xfrm>
              <a:off x="2248122" y="3909395"/>
              <a:ext cx="535060" cy="868157"/>
              <a:chOff x="514826" y="3932856"/>
              <a:chExt cx="535060" cy="868157"/>
            </a:xfrm>
          </p:grpSpPr>
          <p:sp>
            <p:nvSpPr>
              <p:cNvPr id="112" name="Rounded Rectangle 25"/>
              <p:cNvSpPr/>
              <p:nvPr/>
            </p:nvSpPr>
            <p:spPr bwMode="auto">
              <a:xfrm>
                <a:off x="541824" y="3958568"/>
                <a:ext cx="480766" cy="842445"/>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mn-lt"/>
                </a:endParaRPr>
              </a:p>
            </p:txBody>
          </p:sp>
          <p:sp>
            <p:nvSpPr>
              <p:cNvPr id="113" name="Freeform 4"/>
              <p:cNvSpPr>
                <a:spLocks noChangeAspect="1" noEditPoints="1"/>
              </p:cNvSpPr>
              <p:nvPr/>
            </p:nvSpPr>
            <p:spPr bwMode="auto">
              <a:xfrm>
                <a:off x="514826" y="3932856"/>
                <a:ext cx="535060" cy="86815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7030A0"/>
              </a:solidFill>
              <a:ln w="9525">
                <a:solidFill>
                  <a:srgbClr val="7030A0"/>
                </a:solidFill>
                <a:round/>
                <a:headEnd/>
                <a:tailEnd/>
              </a:ln>
            </p:spPr>
            <p:txBody>
              <a:bodyPr/>
              <a:lstStyle/>
              <a:p>
                <a:endParaRPr lang="en-US">
                  <a:latin typeface="+mn-lt"/>
                </a:endParaRPr>
              </a:p>
            </p:txBody>
          </p:sp>
          <p:grpSp>
            <p:nvGrpSpPr>
              <p:cNvPr id="114" name="Group 113"/>
              <p:cNvGrpSpPr/>
              <p:nvPr/>
            </p:nvGrpSpPr>
            <p:grpSpPr>
              <a:xfrm>
                <a:off x="569120" y="4211983"/>
                <a:ext cx="424114" cy="301558"/>
                <a:chOff x="338562" y="2307666"/>
                <a:chExt cx="424114" cy="301558"/>
              </a:xfrm>
            </p:grpSpPr>
            <p:sp>
              <p:nvSpPr>
                <p:cNvPr id="115" name="Freeform 3"/>
                <p:cNvSpPr>
                  <a:spLocks noChangeAspect="1"/>
                </p:cNvSpPr>
                <p:nvPr/>
              </p:nvSpPr>
              <p:spPr bwMode="auto">
                <a:xfrm rot="5400000">
                  <a:off x="399840" y="2246388"/>
                  <a:ext cx="301558" cy="424114"/>
                </a:xfrm>
                <a:custGeom>
                  <a:avLst/>
                  <a:gdLst>
                    <a:gd name="T0" fmla="*/ 2147483647 w 215"/>
                    <a:gd name="T1" fmla="*/ 2147483647 h 292"/>
                    <a:gd name="T2" fmla="*/ 2147483647 w 215"/>
                    <a:gd name="T3" fmla="*/ 2147483647 h 292"/>
                    <a:gd name="T4" fmla="*/ 2147483647 w 215"/>
                    <a:gd name="T5" fmla="*/ 0 h 292"/>
                    <a:gd name="T6" fmla="*/ 2147483647 w 215"/>
                    <a:gd name="T7" fmla="*/ 0 h 292"/>
                    <a:gd name="T8" fmla="*/ 0 w 215"/>
                    <a:gd name="T9" fmla="*/ 2147483647 h 292"/>
                    <a:gd name="T10" fmla="*/ 0 w 215"/>
                    <a:gd name="T11" fmla="*/ 2147483647 h 292"/>
                    <a:gd name="T12" fmla="*/ 2147483647 w 215"/>
                    <a:gd name="T13" fmla="*/ 2147483647 h 292"/>
                    <a:gd name="T14" fmla="*/ 2147483647 w 215"/>
                    <a:gd name="T15" fmla="*/ 2147483647 h 292"/>
                    <a:gd name="T16" fmla="*/ 2147483647 w 215"/>
                    <a:gd name="T17" fmla="*/ 2147483647 h 292"/>
                    <a:gd name="T18" fmla="*/ 2147483647 w 215"/>
                    <a:gd name="T19" fmla="*/ 2147483647 h 292"/>
                    <a:gd name="T20" fmla="*/ 2147483647 w 215"/>
                    <a:gd name="T21" fmla="*/ 2147483647 h 292"/>
                    <a:gd name="T22" fmla="*/ 2147483647 w 215"/>
                    <a:gd name="T23" fmla="*/ 2147483647 h 292"/>
                    <a:gd name="T24" fmla="*/ 2147483647 w 215"/>
                    <a:gd name="T25" fmla="*/ 2147483647 h 292"/>
                    <a:gd name="T26" fmla="*/ 2147483647 w 215"/>
                    <a:gd name="T27" fmla="*/ 2147483647 h 292"/>
                    <a:gd name="T28" fmla="*/ 2147483647 w 215"/>
                    <a:gd name="T29" fmla="*/ 2147483647 h 292"/>
                    <a:gd name="T30" fmla="*/ 2147483647 w 215"/>
                    <a:gd name="T31" fmla="*/ 2147483647 h 292"/>
                    <a:gd name="T32" fmla="*/ 2147483647 w 215"/>
                    <a:gd name="T33" fmla="*/ 2147483647 h 292"/>
                    <a:gd name="T34" fmla="*/ 2147483647 w 215"/>
                    <a:gd name="T35" fmla="*/ 2147483647 h 292"/>
                    <a:gd name="T36" fmla="*/ 2147483647 w 215"/>
                    <a:gd name="T37" fmla="*/ 2147483647 h 292"/>
                    <a:gd name="T38" fmla="*/ 2147483647 w 215"/>
                    <a:gd name="T39" fmla="*/ 2147483647 h 292"/>
                    <a:gd name="T40" fmla="*/ 2147483647 w 215"/>
                    <a:gd name="T41" fmla="*/ 2147483647 h 292"/>
                    <a:gd name="T42" fmla="*/ 2147483647 w 215"/>
                    <a:gd name="T43" fmla="*/ 2147483647 h 292"/>
                    <a:gd name="T44" fmla="*/ 2147483647 w 215"/>
                    <a:gd name="T45" fmla="*/ 2147483647 h 292"/>
                    <a:gd name="T46" fmla="*/ 2147483647 w 215"/>
                    <a:gd name="T47" fmla="*/ 2147483647 h 292"/>
                    <a:gd name="T48" fmla="*/ 2147483647 w 215"/>
                    <a:gd name="T49" fmla="*/ 2147483647 h 292"/>
                    <a:gd name="T50" fmla="*/ 2147483647 w 215"/>
                    <a:gd name="T51" fmla="*/ 2147483647 h 292"/>
                    <a:gd name="T52" fmla="*/ 2147483647 w 215"/>
                    <a:gd name="T53" fmla="*/ 2147483647 h 292"/>
                    <a:gd name="T54" fmla="*/ 2147483647 w 215"/>
                    <a:gd name="T55" fmla="*/ 2147483647 h 292"/>
                    <a:gd name="T56" fmla="*/ 2147483647 w 215"/>
                    <a:gd name="T57" fmla="*/ 2147483647 h 2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5"/>
                    <a:gd name="T88" fmla="*/ 0 h 292"/>
                    <a:gd name="T89" fmla="*/ 215 w 215"/>
                    <a:gd name="T90" fmla="*/ 292 h 2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5" h="292">
                      <a:moveTo>
                        <a:pt x="208" y="73"/>
                      </a:moveTo>
                      <a:cubicBezTo>
                        <a:pt x="139" y="7"/>
                        <a:pt x="139" y="7"/>
                        <a:pt x="139" y="7"/>
                      </a:cubicBezTo>
                      <a:cubicBezTo>
                        <a:pt x="136" y="4"/>
                        <a:pt x="129" y="0"/>
                        <a:pt x="124" y="0"/>
                      </a:cubicBezTo>
                      <a:cubicBezTo>
                        <a:pt x="41" y="0"/>
                        <a:pt x="41" y="0"/>
                        <a:pt x="41" y="0"/>
                      </a:cubicBezTo>
                      <a:cubicBezTo>
                        <a:pt x="18" y="0"/>
                        <a:pt x="0" y="19"/>
                        <a:pt x="0" y="42"/>
                      </a:cubicBezTo>
                      <a:cubicBezTo>
                        <a:pt x="0" y="251"/>
                        <a:pt x="0" y="251"/>
                        <a:pt x="0" y="251"/>
                      </a:cubicBezTo>
                      <a:cubicBezTo>
                        <a:pt x="0" y="273"/>
                        <a:pt x="18" y="292"/>
                        <a:pt x="41" y="292"/>
                      </a:cubicBezTo>
                      <a:cubicBezTo>
                        <a:pt x="132" y="292"/>
                        <a:pt x="132" y="292"/>
                        <a:pt x="132" y="292"/>
                      </a:cubicBezTo>
                      <a:cubicBezTo>
                        <a:pt x="136" y="292"/>
                        <a:pt x="140" y="288"/>
                        <a:pt x="140" y="284"/>
                      </a:cubicBezTo>
                      <a:cubicBezTo>
                        <a:pt x="140" y="280"/>
                        <a:pt x="136" y="276"/>
                        <a:pt x="132" y="276"/>
                      </a:cubicBezTo>
                      <a:cubicBezTo>
                        <a:pt x="132" y="276"/>
                        <a:pt x="132" y="276"/>
                        <a:pt x="132" y="276"/>
                      </a:cubicBezTo>
                      <a:cubicBezTo>
                        <a:pt x="41" y="276"/>
                        <a:pt x="41" y="276"/>
                        <a:pt x="41" y="276"/>
                      </a:cubicBezTo>
                      <a:cubicBezTo>
                        <a:pt x="27" y="276"/>
                        <a:pt x="16" y="265"/>
                        <a:pt x="16" y="251"/>
                      </a:cubicBezTo>
                      <a:cubicBezTo>
                        <a:pt x="16" y="42"/>
                        <a:pt x="16" y="42"/>
                        <a:pt x="16" y="42"/>
                      </a:cubicBezTo>
                      <a:cubicBezTo>
                        <a:pt x="16" y="28"/>
                        <a:pt x="27" y="16"/>
                        <a:pt x="41" y="16"/>
                      </a:cubicBezTo>
                      <a:cubicBezTo>
                        <a:pt x="113" y="16"/>
                        <a:pt x="113" y="16"/>
                        <a:pt x="113" y="16"/>
                      </a:cubicBezTo>
                      <a:cubicBezTo>
                        <a:pt x="113" y="90"/>
                        <a:pt x="113" y="90"/>
                        <a:pt x="113" y="90"/>
                      </a:cubicBezTo>
                      <a:cubicBezTo>
                        <a:pt x="113" y="93"/>
                        <a:pt x="114" y="96"/>
                        <a:pt x="116" y="98"/>
                      </a:cubicBezTo>
                      <a:cubicBezTo>
                        <a:pt x="119" y="100"/>
                        <a:pt x="122" y="101"/>
                        <a:pt x="125" y="101"/>
                      </a:cubicBezTo>
                      <a:cubicBezTo>
                        <a:pt x="199" y="101"/>
                        <a:pt x="199" y="101"/>
                        <a:pt x="199" y="101"/>
                      </a:cubicBezTo>
                      <a:cubicBezTo>
                        <a:pt x="199" y="251"/>
                        <a:pt x="199" y="251"/>
                        <a:pt x="199" y="251"/>
                      </a:cubicBezTo>
                      <a:cubicBezTo>
                        <a:pt x="199" y="265"/>
                        <a:pt x="188" y="276"/>
                        <a:pt x="174" y="276"/>
                      </a:cubicBezTo>
                      <a:cubicBezTo>
                        <a:pt x="155" y="276"/>
                        <a:pt x="155" y="276"/>
                        <a:pt x="155" y="276"/>
                      </a:cubicBezTo>
                      <a:cubicBezTo>
                        <a:pt x="150" y="276"/>
                        <a:pt x="147" y="280"/>
                        <a:pt x="147" y="284"/>
                      </a:cubicBezTo>
                      <a:cubicBezTo>
                        <a:pt x="147" y="288"/>
                        <a:pt x="150" y="292"/>
                        <a:pt x="155" y="292"/>
                      </a:cubicBezTo>
                      <a:cubicBezTo>
                        <a:pt x="174" y="292"/>
                        <a:pt x="174" y="292"/>
                        <a:pt x="174" y="292"/>
                      </a:cubicBezTo>
                      <a:cubicBezTo>
                        <a:pt x="197" y="292"/>
                        <a:pt x="215" y="273"/>
                        <a:pt x="215" y="251"/>
                      </a:cubicBezTo>
                      <a:cubicBezTo>
                        <a:pt x="215" y="92"/>
                        <a:pt x="215" y="92"/>
                        <a:pt x="215" y="92"/>
                      </a:cubicBezTo>
                      <a:cubicBezTo>
                        <a:pt x="215" y="86"/>
                        <a:pt x="215" y="80"/>
                        <a:pt x="208" y="73"/>
                      </a:cubicBezTo>
                      <a:close/>
                    </a:path>
                  </a:pathLst>
                </a:custGeom>
                <a:solidFill>
                  <a:srgbClr val="7030A0"/>
                </a:solidFill>
                <a:ln w="9525">
                  <a:solidFill>
                    <a:srgbClr val="7030A0"/>
                  </a:solidFill>
                  <a:round/>
                  <a:headEnd/>
                  <a:tailEnd/>
                </a:ln>
              </p:spPr>
              <p:txBody>
                <a:bodyPr/>
                <a:lstStyle/>
                <a:p>
                  <a:endParaRPr lang="en-US">
                    <a:latin typeface="+mn-lt"/>
                  </a:endParaRPr>
                </a:p>
              </p:txBody>
            </p:sp>
            <p:sp>
              <p:nvSpPr>
                <p:cNvPr id="116" name="Isosceles Triangle 115"/>
                <p:cNvSpPr/>
                <p:nvPr/>
              </p:nvSpPr>
              <p:spPr bwMode="auto">
                <a:xfrm rot="18852164">
                  <a:off x="514112" y="2367659"/>
                  <a:ext cx="181685" cy="196357"/>
                </a:xfrm>
                <a:prstGeom prst="triangle">
                  <a:avLst/>
                </a:prstGeom>
                <a:solidFill>
                  <a:schemeClr val="bg1"/>
                </a:solidFill>
                <a:ln w="12700"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sp>
              <p:nvSpPr>
                <p:cNvPr id="117" name="Rounded Rectangle 30"/>
                <p:cNvSpPr/>
                <p:nvPr/>
              </p:nvSpPr>
              <p:spPr bwMode="auto">
                <a:xfrm>
                  <a:off x="403306" y="2345124"/>
                  <a:ext cx="249067" cy="199456"/>
                </a:xfrm>
                <a:prstGeom prst="roundRect">
                  <a:avLst/>
                </a:prstGeom>
                <a:solidFill>
                  <a:schemeClr val="bg1"/>
                </a:solidFill>
                <a:ln w="19050"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cxnSp>
              <p:nvCxnSpPr>
                <p:cNvPr id="118" name="Straight Connector 117"/>
                <p:cNvCxnSpPr/>
                <p:nvPr/>
              </p:nvCxnSpPr>
              <p:spPr bwMode="auto">
                <a:xfrm>
                  <a:off x="481991" y="2345124"/>
                  <a:ext cx="0" cy="199456"/>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19" name="Straight Connector 118"/>
                <p:cNvCxnSpPr/>
                <p:nvPr/>
              </p:nvCxnSpPr>
              <p:spPr bwMode="auto">
                <a:xfrm>
                  <a:off x="403306" y="2412530"/>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0" name="Straight Connector 119"/>
                <p:cNvCxnSpPr/>
                <p:nvPr/>
              </p:nvCxnSpPr>
              <p:spPr bwMode="auto">
                <a:xfrm>
                  <a:off x="400354" y="2476641"/>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1" name="Straight Connector 120"/>
                <p:cNvCxnSpPr/>
                <p:nvPr/>
              </p:nvCxnSpPr>
              <p:spPr bwMode="auto">
                <a:xfrm>
                  <a:off x="481606" y="2362666"/>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2" name="Straight Connector 121"/>
                <p:cNvCxnSpPr/>
                <p:nvPr/>
              </p:nvCxnSpPr>
              <p:spPr bwMode="auto">
                <a:xfrm>
                  <a:off x="564772" y="2416358"/>
                  <a:ext cx="0" cy="128222"/>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3" name="Straight Connector 122"/>
                <p:cNvCxnSpPr/>
                <p:nvPr/>
              </p:nvCxnSpPr>
              <p:spPr bwMode="auto">
                <a:xfrm>
                  <a:off x="569120" y="2412530"/>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4" name="Straight Connector 123"/>
                <p:cNvCxnSpPr/>
                <p:nvPr/>
              </p:nvCxnSpPr>
              <p:spPr bwMode="auto">
                <a:xfrm>
                  <a:off x="566167" y="2476641"/>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125" name="Straight Connector 124"/>
                <p:cNvCxnSpPr/>
                <p:nvPr/>
              </p:nvCxnSpPr>
              <p:spPr bwMode="auto">
                <a:xfrm>
                  <a:off x="485299" y="2526504"/>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grpSp>
        </p:grpSp>
        <p:sp>
          <p:nvSpPr>
            <p:cNvPr id="92" name="Left-Right Arrow 39"/>
            <p:cNvSpPr/>
            <p:nvPr/>
          </p:nvSpPr>
          <p:spPr bwMode="auto">
            <a:xfrm>
              <a:off x="2539505" y="4778200"/>
              <a:ext cx="5012872" cy="545068"/>
            </a:xfrm>
            <a:prstGeom prst="leftRightArrow">
              <a:avLst/>
            </a:prstGeom>
            <a:solidFill>
              <a:schemeClr val="bg1"/>
            </a:solidFill>
            <a:ln w="28575"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GB" sz="1600" b="1">
                  <a:solidFill>
                    <a:srgbClr val="7030A0"/>
                  </a:solidFill>
                  <a:latin typeface="+mn-lt"/>
                </a:rPr>
                <a:t>EAP-AKA’ or 5G-AKA</a:t>
              </a:r>
            </a:p>
          </p:txBody>
        </p:sp>
        <p:sp>
          <p:nvSpPr>
            <p:cNvPr id="93" name="TextBox 92"/>
            <p:cNvSpPr txBox="1"/>
            <p:nvPr/>
          </p:nvSpPr>
          <p:spPr>
            <a:xfrm>
              <a:off x="3105451" y="2212222"/>
              <a:ext cx="1518875" cy="461665"/>
            </a:xfrm>
            <a:prstGeom prst="rect">
              <a:avLst/>
            </a:prstGeom>
            <a:solidFill>
              <a:schemeClr val="bg1"/>
            </a:solidFill>
            <a:ln w="25400">
              <a:solidFill>
                <a:srgbClr val="C00000"/>
              </a:solidFill>
            </a:ln>
          </p:spPr>
          <p:txBody>
            <a:bodyPr wrap="square" lIns="0" rIns="0" rtlCol="0">
              <a:spAutoFit/>
            </a:bodyPr>
            <a:lstStyle/>
            <a:p>
              <a:pPr algn="ctr">
                <a:spcBef>
                  <a:spcPts val="0"/>
                </a:spcBef>
              </a:pPr>
              <a:r>
                <a:rPr lang="en-US" sz="1200" b="1">
                  <a:solidFill>
                    <a:srgbClr val="C00000"/>
                  </a:solidFill>
                  <a:latin typeface="+mn-lt"/>
                </a:rPr>
                <a:t>SIM-less UE </a:t>
              </a:r>
            </a:p>
            <a:p>
              <a:pPr algn="ctr">
                <a:spcBef>
                  <a:spcPts val="0"/>
                </a:spcBef>
              </a:pPr>
              <a:r>
                <a:rPr lang="en-US" sz="1200" b="1">
                  <a:solidFill>
                    <a:srgbClr val="C00000"/>
                  </a:solidFill>
                  <a:latin typeface="+mn-lt"/>
                </a:rPr>
                <a:t>(Id/IMSI +  non-AKA)</a:t>
              </a:r>
            </a:p>
          </p:txBody>
        </p:sp>
        <p:grpSp>
          <p:nvGrpSpPr>
            <p:cNvPr id="94" name="Group 93"/>
            <p:cNvGrpSpPr/>
            <p:nvPr/>
          </p:nvGrpSpPr>
          <p:grpSpPr>
            <a:xfrm>
              <a:off x="5676221" y="3414599"/>
              <a:ext cx="1298575" cy="1617764"/>
              <a:chOff x="4378382" y="3335168"/>
              <a:chExt cx="1442644" cy="1879101"/>
            </a:xfrm>
          </p:grpSpPr>
          <p:sp>
            <p:nvSpPr>
              <p:cNvPr id="107" name="AutoShape 238"/>
              <p:cNvSpPr>
                <a:spLocks noChangeAspect="1" noChangeArrowheads="1"/>
              </p:cNvSpPr>
              <p:nvPr/>
            </p:nvSpPr>
            <p:spPr bwMode="auto">
              <a:xfrm>
                <a:off x="4437219" y="3835240"/>
                <a:ext cx="1351652" cy="123666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08" name="Oval 239"/>
              <p:cNvSpPr>
                <a:spLocks noChangeAspect="1" noChangeArrowheads="1"/>
              </p:cNvSpPr>
              <p:nvPr/>
            </p:nvSpPr>
            <p:spPr bwMode="auto">
              <a:xfrm>
                <a:off x="4429495" y="3358820"/>
                <a:ext cx="1359375" cy="1199497"/>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09" name="Text Box 240"/>
              <p:cNvSpPr txBox="1">
                <a:spLocks noChangeAspect="1" noChangeArrowheads="1"/>
              </p:cNvSpPr>
              <p:nvPr/>
            </p:nvSpPr>
            <p:spPr bwMode="auto">
              <a:xfrm>
                <a:off x="4444034" y="4423800"/>
                <a:ext cx="1313034" cy="79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solidFill>
                      <a:srgbClr val="8F3F7B"/>
                    </a:solidFill>
                    <a:latin typeface="+mn-lt"/>
                    <a:ea typeface="Segoe UI" panose="020B0502040204020203" pitchFamily="34" charset="0"/>
                    <a:cs typeface="Segoe UI" panose="020B0502040204020203" pitchFamily="34" charset="0"/>
                  </a:rPr>
                  <a:t>AMF    </a:t>
                </a:r>
                <a:r>
                  <a:rPr lang="en-US" altLang="en-US" sz="1400" b="1">
                    <a:solidFill>
                      <a:srgbClr val="8F3F7B"/>
                    </a:solidFill>
                    <a:latin typeface="+mn-lt"/>
                    <a:ea typeface="Segoe UI" panose="020B0502040204020203" pitchFamily="34" charset="0"/>
                    <a:cs typeface="Segoe UI" panose="020B0502040204020203" pitchFamily="34" charset="0"/>
                  </a:rPr>
                  <a:t>(SEAF)</a:t>
                </a:r>
                <a:endParaRPr lang="en-US" altLang="en-US" sz="1600" b="1">
                  <a:solidFill>
                    <a:srgbClr val="8F3F7B"/>
                  </a:solidFill>
                  <a:latin typeface="+mn-lt"/>
                  <a:ea typeface="Segoe UI" panose="020B0502040204020203" pitchFamily="34" charset="0"/>
                  <a:cs typeface="Segoe UI" panose="020B0502040204020203" pitchFamily="34" charset="0"/>
                </a:endParaRPr>
              </a:p>
            </p:txBody>
          </p:sp>
          <p:sp>
            <p:nvSpPr>
              <p:cNvPr id="110" name="Rectangle 241"/>
              <p:cNvSpPr>
                <a:spLocks noChangeAspect="1" noChangeArrowheads="1"/>
              </p:cNvSpPr>
              <p:nvPr/>
            </p:nvSpPr>
            <p:spPr bwMode="auto">
              <a:xfrm>
                <a:off x="4378382" y="3335168"/>
                <a:ext cx="1401856" cy="175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latin typeface="+mn-lt"/>
                </a:endParaRPr>
              </a:p>
            </p:txBody>
          </p:sp>
          <p:sp>
            <p:nvSpPr>
              <p:cNvPr id="111" name="Freeform 11"/>
              <p:cNvSpPr>
                <a:spLocks noChangeAspect="1" noEditPoints="1"/>
              </p:cNvSpPr>
              <p:nvPr/>
            </p:nvSpPr>
            <p:spPr bwMode="auto">
              <a:xfrm>
                <a:off x="4419170" y="3335168"/>
                <a:ext cx="1401856" cy="1753631"/>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latin typeface="+mn-lt"/>
                </a:endParaRPr>
              </a:p>
            </p:txBody>
          </p:sp>
        </p:grpSp>
        <p:sp>
          <p:nvSpPr>
            <p:cNvPr id="95" name="Left-Right Arrow 60"/>
            <p:cNvSpPr/>
            <p:nvPr/>
          </p:nvSpPr>
          <p:spPr bwMode="auto">
            <a:xfrm>
              <a:off x="3696206" y="4072272"/>
              <a:ext cx="3665353" cy="545068"/>
            </a:xfrm>
            <a:prstGeom prst="leftRightArrow">
              <a:avLst/>
            </a:prstGeom>
            <a:solidFill>
              <a:schemeClr val="bg1"/>
            </a:solidFill>
            <a:ln w="28575" cap="flat" cmpd="sng" algn="ctr">
              <a:solidFill>
                <a:srgbClr val="C0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GB" sz="1600" b="1">
                  <a:solidFill>
                    <a:srgbClr val="C00000"/>
                  </a:solidFill>
                  <a:latin typeface="+mn-lt"/>
                </a:rPr>
                <a:t>EAP-Method</a:t>
              </a:r>
            </a:p>
          </p:txBody>
        </p:sp>
        <p:sp>
          <p:nvSpPr>
            <p:cNvPr id="97" name="Left-Right Arrow 61"/>
            <p:cNvSpPr/>
            <p:nvPr/>
          </p:nvSpPr>
          <p:spPr bwMode="auto">
            <a:xfrm>
              <a:off x="2539505" y="3384466"/>
              <a:ext cx="5012872" cy="559550"/>
            </a:xfrm>
            <a:prstGeom prst="leftRightArrow">
              <a:avLst/>
            </a:prstGeom>
            <a:solidFill>
              <a:schemeClr val="bg1"/>
            </a:solidFill>
            <a:ln w="28575"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r>
                <a:rPr kumimoji="0" lang="en-GB" sz="1600" b="1" i="0" u="none" strike="noStrike" cap="none" normalizeH="0" baseline="0">
                  <a:ln>
                    <a:noFill/>
                  </a:ln>
                  <a:solidFill>
                    <a:srgbClr val="7030A0"/>
                  </a:solidFill>
                  <a:effectLst/>
                  <a:latin typeface="+mn-lt"/>
                </a:rPr>
                <a:t>EAP-AKA’ or 5G-AKA</a:t>
              </a:r>
            </a:p>
          </p:txBody>
        </p:sp>
        <p:sp>
          <p:nvSpPr>
            <p:cNvPr id="99" name="TextBox 98"/>
            <p:cNvSpPr txBox="1"/>
            <p:nvPr/>
          </p:nvSpPr>
          <p:spPr>
            <a:xfrm>
              <a:off x="8804629" y="2567664"/>
              <a:ext cx="1446214" cy="646331"/>
            </a:xfrm>
            <a:prstGeom prst="rect">
              <a:avLst/>
            </a:prstGeom>
            <a:solidFill>
              <a:schemeClr val="bg1"/>
            </a:solidFill>
            <a:ln w="25400">
              <a:solidFill>
                <a:srgbClr val="00B0F0"/>
              </a:solidFill>
            </a:ln>
          </p:spPr>
          <p:txBody>
            <a:bodyPr wrap="square" lIns="0" rIns="0" rtlCol="0">
              <a:spAutoFit/>
            </a:bodyPr>
            <a:lstStyle/>
            <a:p>
              <a:pPr algn="ctr">
                <a:spcBef>
                  <a:spcPts val="0"/>
                </a:spcBef>
              </a:pPr>
              <a:r>
                <a:rPr lang="en-US" sz="1200" b="1">
                  <a:solidFill>
                    <a:srgbClr val="7030A0"/>
                  </a:solidFill>
                  <a:latin typeface="+mn-lt"/>
                </a:rPr>
                <a:t>IMSI + AKA Keys</a:t>
              </a:r>
            </a:p>
            <a:p>
              <a:pPr algn="ctr">
                <a:spcBef>
                  <a:spcPts val="0"/>
                </a:spcBef>
              </a:pPr>
              <a:r>
                <a:rPr lang="en-US" sz="1200" b="1">
                  <a:solidFill>
                    <a:srgbClr val="C00000"/>
                  </a:solidFill>
                  <a:latin typeface="+mn-lt"/>
                </a:rPr>
                <a:t>non-3GPP Ids</a:t>
              </a:r>
            </a:p>
            <a:p>
              <a:pPr algn="ctr">
                <a:spcBef>
                  <a:spcPts val="0"/>
                </a:spcBef>
              </a:pPr>
              <a:r>
                <a:rPr lang="en-US" sz="1200" b="1">
                  <a:solidFill>
                    <a:srgbClr val="C00000"/>
                  </a:solidFill>
                  <a:latin typeface="+mn-lt"/>
                </a:rPr>
                <a:t>Alternative Keys</a:t>
              </a:r>
            </a:p>
          </p:txBody>
        </p:sp>
        <p:cxnSp>
          <p:nvCxnSpPr>
            <p:cNvPr id="100" name="Straight Connector 99"/>
            <p:cNvCxnSpPr/>
            <p:nvPr/>
          </p:nvCxnSpPr>
          <p:spPr bwMode="auto">
            <a:xfrm>
              <a:off x="8204939" y="2905034"/>
              <a:ext cx="573697" cy="0"/>
            </a:xfrm>
            <a:prstGeom prst="line">
              <a:avLst/>
            </a:prstGeom>
            <a:noFill/>
            <a:ln w="25400">
              <a:solidFill>
                <a:srgbClr val="00B0F0"/>
              </a:solidFill>
              <a:prstDash val="sysDash"/>
              <a:round/>
              <a:headEnd/>
              <a:tailEnd/>
            </a:ln>
            <a:extLst>
              <a:ext uri="{909E8E84-426E-40DD-AFC4-6F175D3DCCD1}">
                <a14:hiddenFill xmlns:a14="http://schemas.microsoft.com/office/drawing/2010/main">
                  <a:noFill/>
                </a14:hiddenFill>
              </a:ext>
            </a:extLst>
          </p:spPr>
        </p:cxnSp>
        <p:grpSp>
          <p:nvGrpSpPr>
            <p:cNvPr id="101" name="Group 45"/>
            <p:cNvGrpSpPr>
              <a:grpSpLocks noChangeAspect="1"/>
            </p:cNvGrpSpPr>
            <p:nvPr/>
          </p:nvGrpSpPr>
          <p:grpSpPr bwMode="auto">
            <a:xfrm>
              <a:off x="7461160" y="2015569"/>
              <a:ext cx="890156" cy="1195123"/>
              <a:chOff x="1051" y="1587"/>
              <a:chExt cx="369" cy="520"/>
            </a:xfrm>
          </p:grpSpPr>
          <p:sp>
            <p:nvSpPr>
              <p:cNvPr id="102"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latin typeface="+mn-lt"/>
                </a:endParaRPr>
              </a:p>
            </p:txBody>
          </p:sp>
          <p:sp>
            <p:nvSpPr>
              <p:cNvPr id="103"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latin typeface="+mn-lt"/>
                </a:endParaRPr>
              </a:p>
            </p:txBody>
          </p:sp>
          <p:sp>
            <p:nvSpPr>
              <p:cNvPr id="104" name="Text Box 48"/>
              <p:cNvSpPr txBox="1">
                <a:spLocks noChangeAspect="1" noChangeArrowheads="1"/>
              </p:cNvSpPr>
              <p:nvPr/>
            </p:nvSpPr>
            <p:spPr bwMode="auto">
              <a:xfrm>
                <a:off x="1068" y="188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b="1">
                    <a:solidFill>
                      <a:srgbClr val="00B0F0"/>
                    </a:solidFill>
                    <a:latin typeface="+mn-lt"/>
                    <a:ea typeface="Segoe UI" panose="020B0502040204020203" pitchFamily="34" charset="0"/>
                    <a:cs typeface="Segoe UI" panose="020B0502040204020203" pitchFamily="34" charset="0"/>
                  </a:rPr>
                  <a:t>UDM (ARPF)</a:t>
                </a:r>
              </a:p>
            </p:txBody>
          </p:sp>
          <p:sp>
            <p:nvSpPr>
              <p:cNvPr id="10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latin typeface="+mn-lt"/>
                </a:endParaRPr>
              </a:p>
            </p:txBody>
          </p:sp>
          <p:sp>
            <p:nvSpPr>
              <p:cNvPr id="106" name="Freeform 11"/>
              <p:cNvSpPr>
                <a:spLocks noChangeAspect="1" noEditPoints="1"/>
              </p:cNvSpPr>
              <p:nvPr/>
            </p:nvSpPr>
            <p:spPr bwMode="auto">
              <a:xfrm>
                <a:off x="1051"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latin typeface="+mn-lt"/>
                </a:endParaRPr>
              </a:p>
            </p:txBody>
          </p:sp>
        </p:grpSp>
      </p:grpSp>
      <p:sp>
        <p:nvSpPr>
          <p:cNvPr id="47" name="Left-Right Arrow 46"/>
          <p:cNvSpPr/>
          <p:nvPr/>
        </p:nvSpPr>
        <p:spPr bwMode="auto">
          <a:xfrm>
            <a:off x="8261873" y="4001544"/>
            <a:ext cx="1085513" cy="545068"/>
          </a:xfrm>
          <a:prstGeom prst="leftRightArrow">
            <a:avLst/>
          </a:prstGeom>
          <a:solidFill>
            <a:schemeClr val="bg1"/>
          </a:solidFill>
          <a:ln w="28575" cap="flat" cmpd="sng" algn="ctr">
            <a:solidFill>
              <a:schemeClr val="accent2"/>
            </a:solidFill>
            <a:prstDash val="solid"/>
            <a:round/>
            <a:headEnd type="none" w="med" len="med"/>
            <a:tailEnd type="none" w="med" len="med"/>
          </a:ln>
          <a:effectLst/>
        </p:spPr>
        <p:txBody>
          <a:bodyPr vert="horz" wrap="none" lIns="0" tIns="45720" rIns="0" bIns="45720" numCol="1" rtlCol="0" anchor="t" anchorCtr="0" compatLnSpc="1">
            <a:prstTxWarp prst="textNoShape">
              <a:avLst/>
            </a:prstTxWarp>
          </a:bodyPr>
          <a:lstStyle/>
          <a:p>
            <a:pPr algn="ctr">
              <a:spcBef>
                <a:spcPts val="0"/>
              </a:spcBef>
            </a:pPr>
            <a:r>
              <a:rPr lang="en-GB" sz="1200" b="1">
                <a:solidFill>
                  <a:schemeClr val="accent2"/>
                </a:solidFill>
                <a:latin typeface="+mn-lt"/>
              </a:rPr>
              <a:t>EAP-Method</a:t>
            </a:r>
            <a:endParaRPr lang="en-GB" sz="1600" b="1">
              <a:solidFill>
                <a:schemeClr val="accent2"/>
              </a:solidFill>
              <a:latin typeface="+mn-lt"/>
            </a:endParaRPr>
          </a:p>
        </p:txBody>
      </p:sp>
      <p:sp>
        <p:nvSpPr>
          <p:cNvPr id="134" name="Rounded Rectangle 76"/>
          <p:cNvSpPr/>
          <p:nvPr/>
        </p:nvSpPr>
        <p:spPr bwMode="auto">
          <a:xfrm>
            <a:off x="3241336" y="5818377"/>
            <a:ext cx="2176690" cy="358025"/>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400" b="1">
                <a:latin typeface="+mn-lt"/>
              </a:rPr>
              <a:t>5G-AKA also allowed</a:t>
            </a:r>
          </a:p>
        </p:txBody>
      </p:sp>
      <p:sp>
        <p:nvSpPr>
          <p:cNvPr id="135" name="Rectangle 134">
            <a:extLst>
              <a:ext uri="{FF2B5EF4-FFF2-40B4-BE49-F238E27FC236}">
                <a16:creationId xmlns:a16="http://schemas.microsoft.com/office/drawing/2014/main" id="{9BCE542D-3C88-47B8-9BE2-BFF592BCB623}"/>
              </a:ext>
            </a:extLst>
          </p:cNvPr>
          <p:cNvSpPr/>
          <p:nvPr/>
        </p:nvSpPr>
        <p:spPr bwMode="auto">
          <a:xfrm>
            <a:off x="5029302" y="4944706"/>
            <a:ext cx="1050655" cy="219169"/>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mn-lt"/>
            </a:endParaRPr>
          </a:p>
        </p:txBody>
      </p:sp>
      <p:sp>
        <p:nvSpPr>
          <p:cNvPr id="136" name="Rectangle 135">
            <a:extLst>
              <a:ext uri="{FF2B5EF4-FFF2-40B4-BE49-F238E27FC236}">
                <a16:creationId xmlns:a16="http://schemas.microsoft.com/office/drawing/2014/main" id="{43E2498C-6C44-47CC-96FD-6996A091AD8B}"/>
              </a:ext>
            </a:extLst>
          </p:cNvPr>
          <p:cNvSpPr/>
          <p:nvPr/>
        </p:nvSpPr>
        <p:spPr bwMode="auto">
          <a:xfrm>
            <a:off x="5037037" y="3556698"/>
            <a:ext cx="1050655" cy="219169"/>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mn-lt"/>
            </a:endParaRPr>
          </a:p>
        </p:txBody>
      </p:sp>
    </p:spTree>
    <p:extLst>
      <p:ext uri="{BB962C8B-B14F-4D97-AF65-F5344CB8AC3E}">
        <p14:creationId xmlns:p14="http://schemas.microsoft.com/office/powerpoint/2010/main" val="396560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35"/>
                                        </p:tgtEl>
                                      </p:cBhvr>
                                    </p:animEffect>
                                    <p:set>
                                      <p:cBhvr>
                                        <p:cTn id="7" dur="1" fill="hold">
                                          <p:stCondLst>
                                            <p:cond delay="499"/>
                                          </p:stCondLst>
                                        </p:cTn>
                                        <p:tgtEl>
                                          <p:spTgt spid="13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36"/>
                                        </p:tgtEl>
                                      </p:cBhvr>
                                    </p:animEffect>
                                    <p:set>
                                      <p:cBhvr>
                                        <p:cTn id="10" dur="1" fill="hold">
                                          <p:stCondLst>
                                            <p:cond delay="499"/>
                                          </p:stCondLst>
                                        </p:cTn>
                                        <p:tgtEl>
                                          <p:spTgt spid="136"/>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96"/>
                                        </p:tgtEl>
                                      </p:cBhvr>
                                    </p:animEffect>
                                    <p:set>
                                      <p:cBhvr>
                                        <p:cTn id="13" dur="1" fill="hold">
                                          <p:stCondLst>
                                            <p:cond delay="499"/>
                                          </p:stCondLst>
                                        </p:cTn>
                                        <p:tgtEl>
                                          <p:spTgt spid="96"/>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98"/>
                                        </p:tgtEl>
                                      </p:cBhvr>
                                    </p:animEffect>
                                    <p:set>
                                      <p:cBhvr>
                                        <p:cTn id="16" dur="1" fill="hold">
                                          <p:stCondLst>
                                            <p:cond delay="499"/>
                                          </p:stCondLst>
                                        </p:cTn>
                                        <p:tgtEl>
                                          <p:spTgt spid="98"/>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fade">
                                      <p:cBhvr>
                                        <p:cTn id="19" dur="500"/>
                                        <p:tgtEl>
                                          <p:spTgt spid="13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7"/>
                                        </p:tgtEl>
                                        <p:attrNameLst>
                                          <p:attrName>style.visibility</p:attrName>
                                        </p:attrNameLst>
                                      </p:cBhvr>
                                      <p:to>
                                        <p:strVal val="visible"/>
                                      </p:to>
                                    </p:set>
                                    <p:animEffect transition="in" filter="fade">
                                      <p:cBhvr>
                                        <p:cTn id="24" dur="500"/>
                                        <p:tgtEl>
                                          <p:spTgt spid="87"/>
                                        </p:tgtEl>
                                      </p:cBhvr>
                                    </p:animEffect>
                                  </p:childTnLst>
                                </p:cTn>
                              </p:par>
                              <p:par>
                                <p:cTn id="25" presetID="10"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fade">
                                      <p:cBhvr>
                                        <p:cTn id="33" dur="500"/>
                                        <p:tgtEl>
                                          <p:spTgt spid="8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fade">
                                      <p:cBhvr>
                                        <p:cTn id="36" dur="500"/>
                                        <p:tgtEl>
                                          <p:spTgt spid="89"/>
                                        </p:tgtEl>
                                      </p:cBhvr>
                                    </p:animEffect>
                                  </p:childTnLst>
                                </p:cTn>
                              </p:par>
                              <p:par>
                                <p:cTn id="37" presetID="10" presetClass="exit" presetSubtype="0" fill="hold" grpId="0" nodeType="withEffect">
                                  <p:stCondLst>
                                    <p:cond delay="0"/>
                                  </p:stCondLst>
                                  <p:childTnLst>
                                    <p:animEffect transition="out" filter="fade">
                                      <p:cBhvr>
                                        <p:cTn id="38" dur="500"/>
                                        <p:tgtEl>
                                          <p:spTgt spid="88"/>
                                        </p:tgtEl>
                                      </p:cBhvr>
                                    </p:animEffect>
                                    <p:set>
                                      <p:cBhvr>
                                        <p:cTn id="39" dur="1" fill="hold">
                                          <p:stCondLst>
                                            <p:cond delay="499"/>
                                          </p:stCondLst>
                                        </p:cTn>
                                        <p:tgtEl>
                                          <p:spTgt spid="88"/>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fade">
                                      <p:cBhvr>
                                        <p:cTn id="44"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81" grpId="0" animBg="1"/>
      <p:bldP spid="89" grpId="0" animBg="1"/>
      <p:bldP spid="90" grpId="0" animBg="1"/>
      <p:bldP spid="88" grpId="0" animBg="1"/>
      <p:bldP spid="98" grpId="0" animBg="1"/>
      <p:bldP spid="47" grpId="0" animBg="1"/>
      <p:bldP spid="134" grpId="0" animBg="1"/>
      <p:bldP spid="135" grpId="0" animBg="1"/>
      <p:bldP spid="13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781273-66B6-4B55-86B6-644BEC846472}"/>
              </a:ext>
            </a:extLst>
          </p:cNvPr>
          <p:cNvSpPr>
            <a:spLocks noGrp="1"/>
          </p:cNvSpPr>
          <p:nvPr>
            <p:ph sz="quarter" idx="10"/>
          </p:nvPr>
        </p:nvSpPr>
        <p:spPr>
          <a:xfrm>
            <a:off x="479425" y="2148289"/>
            <a:ext cx="5472113" cy="4088999"/>
          </a:xfrm>
        </p:spPr>
        <p:txBody>
          <a:bodyPr/>
          <a:lstStyle/>
          <a:p>
            <a:r>
              <a:rPr lang="sv-SE"/>
              <a:t>Network slice specific authentication and authorization (NSSAA) is an optional to use feature for authenticating and authorizing access to a network slice (S-NSSAI)</a:t>
            </a:r>
          </a:p>
          <a:p>
            <a:endParaRPr lang="sv-SE"/>
          </a:p>
          <a:p>
            <a:r>
              <a:rPr lang="sv-SE"/>
              <a:t>Performed after and in addition to primary authentication</a:t>
            </a:r>
          </a:p>
          <a:p>
            <a:endParaRPr lang="sv-SE"/>
          </a:p>
          <a:p>
            <a:r>
              <a:rPr lang="sv-SE"/>
              <a:t>Allows the use of any EAP authentication method.</a:t>
            </a:r>
          </a:p>
          <a:p>
            <a:endParaRPr lang="sv-SE" sz="1800"/>
          </a:p>
          <a:p>
            <a:pPr lvl="1"/>
            <a:endParaRPr lang="sv-SE" sz="1800"/>
          </a:p>
          <a:p>
            <a:pPr marL="1092200" lvl="3" indent="0">
              <a:buNone/>
            </a:pPr>
            <a:endParaRPr lang="sv-SE" sz="1800"/>
          </a:p>
          <a:p>
            <a:pPr marL="1092200" lvl="3" indent="0">
              <a:buNone/>
            </a:pPr>
            <a:endParaRPr lang="sv-SE" sz="1800"/>
          </a:p>
          <a:p>
            <a:pPr lvl="2"/>
            <a:endParaRPr lang="sv-SE" sz="1800"/>
          </a:p>
          <a:p>
            <a:pPr lvl="3"/>
            <a:endParaRPr lang="sv-SE" sz="1800"/>
          </a:p>
          <a:p>
            <a:pPr lvl="1"/>
            <a:endParaRPr lang="sv-SE" sz="1800"/>
          </a:p>
          <a:p>
            <a:endParaRPr lang="sv-SE" sz="1800"/>
          </a:p>
        </p:txBody>
      </p:sp>
      <p:sp>
        <p:nvSpPr>
          <p:cNvPr id="4" name="Title 3">
            <a:extLst>
              <a:ext uri="{FF2B5EF4-FFF2-40B4-BE49-F238E27FC236}">
                <a16:creationId xmlns:a16="http://schemas.microsoft.com/office/drawing/2014/main" id="{6C92EA93-41E8-4958-BC00-0F9AC8286363}"/>
              </a:ext>
            </a:extLst>
          </p:cNvPr>
          <p:cNvSpPr>
            <a:spLocks noGrp="1"/>
          </p:cNvSpPr>
          <p:nvPr>
            <p:ph type="title"/>
          </p:nvPr>
        </p:nvSpPr>
        <p:spPr/>
        <p:txBody>
          <a:bodyPr/>
          <a:lstStyle/>
          <a:p>
            <a:r>
              <a:rPr lang="en-GB"/>
              <a:t>Network slice-specific authentication and authorization</a:t>
            </a:r>
            <a:endParaRPr lang="sv-SE">
              <a:solidFill>
                <a:srgbClr val="FF0000"/>
              </a:solidFill>
            </a:endParaRPr>
          </a:p>
        </p:txBody>
      </p:sp>
      <p:sp>
        <p:nvSpPr>
          <p:cNvPr id="36" name="Rectangle 35">
            <a:extLst>
              <a:ext uri="{FF2B5EF4-FFF2-40B4-BE49-F238E27FC236}">
                <a16:creationId xmlns:a16="http://schemas.microsoft.com/office/drawing/2014/main" id="{81DC9895-3477-4D08-B0E1-F20E11073981}"/>
              </a:ext>
            </a:extLst>
          </p:cNvPr>
          <p:cNvSpPr/>
          <p:nvPr/>
        </p:nvSpPr>
        <p:spPr bwMode="auto">
          <a:xfrm>
            <a:off x="10014364" y="2741360"/>
            <a:ext cx="1987138" cy="2080022"/>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sv-SE"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37" name="Rectangle 36">
            <a:extLst>
              <a:ext uri="{FF2B5EF4-FFF2-40B4-BE49-F238E27FC236}">
                <a16:creationId xmlns:a16="http://schemas.microsoft.com/office/drawing/2014/main" id="{BFC5E25C-D2AA-41D5-88B5-B5360D9124F6}"/>
              </a:ext>
            </a:extLst>
          </p:cNvPr>
          <p:cNvSpPr/>
          <p:nvPr/>
        </p:nvSpPr>
        <p:spPr bwMode="auto">
          <a:xfrm>
            <a:off x="6240464" y="2741361"/>
            <a:ext cx="3654501" cy="2080020"/>
          </a:xfrm>
          <a:prstGeom prst="rect">
            <a:avLst/>
          </a:prstGeom>
          <a:solidFill>
            <a:schemeClr val="tx1">
              <a:lumMod val="10000"/>
              <a:lumOff val="9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sv-SE" sz="2000" b="0" i="0" u="none" strike="noStrike" kern="1200" cap="none" spc="0" normalizeH="0" baseline="0" noProof="0" err="1">
              <a:ln>
                <a:noFill/>
              </a:ln>
              <a:solidFill>
                <a:srgbClr val="FFFFFF"/>
              </a:solidFill>
              <a:effectLst/>
              <a:uLnTx/>
              <a:uFillTx/>
              <a:latin typeface="Ericsson Hilda"/>
              <a:ea typeface="+mn-ea"/>
              <a:cs typeface="+mn-cs"/>
            </a:endParaRPr>
          </a:p>
        </p:txBody>
      </p:sp>
      <p:pic>
        <p:nvPicPr>
          <p:cNvPr id="38" name="Graphic 37">
            <a:extLst>
              <a:ext uri="{FF2B5EF4-FFF2-40B4-BE49-F238E27FC236}">
                <a16:creationId xmlns:a16="http://schemas.microsoft.com/office/drawing/2014/main" id="{40FDB04B-3C00-4188-A3C4-96F14A3A57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4623" y="3084942"/>
            <a:ext cx="306991" cy="429787"/>
          </a:xfrm>
          <a:prstGeom prst="rect">
            <a:avLst/>
          </a:prstGeom>
        </p:spPr>
      </p:pic>
      <p:cxnSp>
        <p:nvCxnSpPr>
          <p:cNvPr id="39" name="Straight Connector 38">
            <a:extLst>
              <a:ext uri="{FF2B5EF4-FFF2-40B4-BE49-F238E27FC236}">
                <a16:creationId xmlns:a16="http://schemas.microsoft.com/office/drawing/2014/main" id="{2E7E35F3-D166-43E2-9590-FF3465D95904}"/>
              </a:ext>
            </a:extLst>
          </p:cNvPr>
          <p:cNvCxnSpPr>
            <a:cxnSpLocks/>
            <a:stCxn id="38" idx="2"/>
          </p:cNvCxnSpPr>
          <p:nvPr/>
        </p:nvCxnSpPr>
        <p:spPr bwMode="auto">
          <a:xfrm>
            <a:off x="6478119" y="3514729"/>
            <a:ext cx="0" cy="1230831"/>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0" name="Straight Connector 39">
            <a:extLst>
              <a:ext uri="{FF2B5EF4-FFF2-40B4-BE49-F238E27FC236}">
                <a16:creationId xmlns:a16="http://schemas.microsoft.com/office/drawing/2014/main" id="{3E5C2388-6B01-4002-A4C7-89F5C6642A73}"/>
              </a:ext>
            </a:extLst>
          </p:cNvPr>
          <p:cNvCxnSpPr>
            <a:cxnSpLocks/>
          </p:cNvCxnSpPr>
          <p:nvPr/>
        </p:nvCxnSpPr>
        <p:spPr bwMode="auto">
          <a:xfrm>
            <a:off x="8686603" y="3570439"/>
            <a:ext cx="0" cy="1175121"/>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41" name="TextBox 40">
            <a:extLst>
              <a:ext uri="{FF2B5EF4-FFF2-40B4-BE49-F238E27FC236}">
                <a16:creationId xmlns:a16="http://schemas.microsoft.com/office/drawing/2014/main" id="{73F5B0A1-E701-4470-BBB2-C5266658E487}"/>
              </a:ext>
            </a:extLst>
          </p:cNvPr>
          <p:cNvSpPr txBox="1"/>
          <p:nvPr/>
        </p:nvSpPr>
        <p:spPr bwMode="auto">
          <a:xfrm>
            <a:off x="8429009" y="2828064"/>
            <a:ext cx="510587" cy="74003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Arial" charset="0"/>
                <a:ea typeface="+mn-ea"/>
                <a:cs typeface="+mn-cs"/>
              </a:rPr>
              <a:t>AUSF/ UDM</a:t>
            </a: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br>
              <a:rPr kumimoji="0" lang="en-US" sz="1200" b="0" i="0" u="none" strike="noStrike" kern="1200" cap="none" spc="0" normalizeH="0" baseline="0" noProof="0">
                <a:ln>
                  <a:noFill/>
                </a:ln>
                <a:solidFill>
                  <a:srgbClr val="181818"/>
                </a:solidFill>
                <a:effectLst/>
                <a:uLnTx/>
                <a:uFillTx/>
                <a:latin typeface="Arial" charset="0"/>
                <a:ea typeface="+mn-ea"/>
                <a:cs typeface="+mn-cs"/>
              </a:rPr>
            </a:br>
            <a:br>
              <a:rPr kumimoji="0" lang="en-US" sz="1200" b="0" i="0" u="none" strike="noStrike" kern="1200" cap="none" spc="0" normalizeH="0" baseline="0" noProof="0">
                <a:ln>
                  <a:noFill/>
                </a:ln>
                <a:solidFill>
                  <a:srgbClr val="181818"/>
                </a:solidFill>
                <a:effectLst/>
                <a:uLnTx/>
                <a:uFillTx/>
                <a:latin typeface="Arial" charset="0"/>
                <a:ea typeface="+mn-ea"/>
                <a:cs typeface="+mn-cs"/>
              </a:rPr>
            </a:br>
            <a:endParaRPr kumimoji="0" lang="en-US" sz="1200"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42" name="Straight Connector 41">
            <a:extLst>
              <a:ext uri="{FF2B5EF4-FFF2-40B4-BE49-F238E27FC236}">
                <a16:creationId xmlns:a16="http://schemas.microsoft.com/office/drawing/2014/main" id="{FE92E2A7-1E93-426D-8C50-6E24E7C9551B}"/>
              </a:ext>
            </a:extLst>
          </p:cNvPr>
          <p:cNvCxnSpPr>
            <a:cxnSpLocks/>
          </p:cNvCxnSpPr>
          <p:nvPr/>
        </p:nvCxnSpPr>
        <p:spPr bwMode="auto">
          <a:xfrm>
            <a:off x="7537709" y="3576305"/>
            <a:ext cx="0" cy="1169255"/>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43" name="TextBox 42">
            <a:extLst>
              <a:ext uri="{FF2B5EF4-FFF2-40B4-BE49-F238E27FC236}">
                <a16:creationId xmlns:a16="http://schemas.microsoft.com/office/drawing/2014/main" id="{BDFCEA0C-960C-43B7-B4A7-868F0C92CF67}"/>
              </a:ext>
            </a:extLst>
          </p:cNvPr>
          <p:cNvSpPr txBox="1"/>
          <p:nvPr/>
        </p:nvSpPr>
        <p:spPr bwMode="auto">
          <a:xfrm>
            <a:off x="7277632" y="2822197"/>
            <a:ext cx="539820" cy="754108"/>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Arial" charset="0"/>
                <a:ea typeface="+mn-ea"/>
                <a:cs typeface="+mn-cs"/>
              </a:rPr>
              <a:t>AMF</a:t>
            </a: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br>
              <a:rPr kumimoji="0" lang="en-US" sz="1200" b="0" i="0" u="none" strike="noStrike" kern="1200" cap="none" spc="0" normalizeH="0" baseline="0" noProof="0">
                <a:ln>
                  <a:noFill/>
                </a:ln>
                <a:solidFill>
                  <a:srgbClr val="181818"/>
                </a:solidFill>
                <a:effectLst/>
                <a:uLnTx/>
                <a:uFillTx/>
                <a:latin typeface="Arial" charset="0"/>
                <a:ea typeface="+mn-ea"/>
                <a:cs typeface="+mn-cs"/>
              </a:rPr>
            </a:br>
            <a:br>
              <a:rPr kumimoji="0" lang="en-US" sz="1200" b="0" i="0" u="none" strike="noStrike" kern="1200" cap="none" spc="0" normalizeH="0" baseline="0" noProof="0">
                <a:ln>
                  <a:noFill/>
                </a:ln>
                <a:solidFill>
                  <a:srgbClr val="181818"/>
                </a:solidFill>
                <a:effectLst/>
                <a:uLnTx/>
                <a:uFillTx/>
                <a:latin typeface="Arial" charset="0"/>
                <a:ea typeface="+mn-ea"/>
                <a:cs typeface="+mn-cs"/>
              </a:rPr>
            </a:br>
            <a:endParaRPr kumimoji="0" lang="en-US" sz="1200"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44" name="Straight Connector 43">
            <a:extLst>
              <a:ext uri="{FF2B5EF4-FFF2-40B4-BE49-F238E27FC236}">
                <a16:creationId xmlns:a16="http://schemas.microsoft.com/office/drawing/2014/main" id="{2452D27B-DDA9-4B46-AE33-EBB58C67729C}"/>
              </a:ext>
            </a:extLst>
          </p:cNvPr>
          <p:cNvCxnSpPr>
            <a:cxnSpLocks/>
          </p:cNvCxnSpPr>
          <p:nvPr/>
        </p:nvCxnSpPr>
        <p:spPr bwMode="auto">
          <a:xfrm>
            <a:off x="10815852" y="3569234"/>
            <a:ext cx="0" cy="944783"/>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45" name="TextBox 44">
            <a:extLst>
              <a:ext uri="{FF2B5EF4-FFF2-40B4-BE49-F238E27FC236}">
                <a16:creationId xmlns:a16="http://schemas.microsoft.com/office/drawing/2014/main" id="{6F2A3F3E-8109-40E8-AEF4-57D2863429A4}"/>
              </a:ext>
            </a:extLst>
          </p:cNvPr>
          <p:cNvSpPr txBox="1"/>
          <p:nvPr/>
        </p:nvSpPr>
        <p:spPr bwMode="auto">
          <a:xfrm>
            <a:off x="10548945" y="2822197"/>
            <a:ext cx="529367" cy="747037"/>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Arial" charset="0"/>
                <a:ea typeface="+mn-ea"/>
                <a:cs typeface="+mn-cs"/>
              </a:rPr>
              <a:t>AAA-S</a:t>
            </a: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br>
              <a:rPr kumimoji="0" lang="en-US" sz="1200" b="0" i="0" u="none" strike="noStrike" kern="1200" cap="none" spc="0" normalizeH="0" baseline="0" noProof="0">
                <a:ln>
                  <a:noFill/>
                </a:ln>
                <a:solidFill>
                  <a:srgbClr val="181818"/>
                </a:solidFill>
                <a:effectLst/>
                <a:uLnTx/>
                <a:uFillTx/>
                <a:latin typeface="Arial" charset="0"/>
                <a:ea typeface="+mn-ea"/>
                <a:cs typeface="+mn-cs"/>
              </a:rPr>
            </a:br>
            <a:br>
              <a:rPr kumimoji="0" lang="en-US" sz="1200" b="0" i="0" u="none" strike="noStrike" kern="1200" cap="none" spc="0" normalizeH="0" baseline="0" noProof="0">
                <a:ln>
                  <a:noFill/>
                </a:ln>
                <a:solidFill>
                  <a:srgbClr val="181818"/>
                </a:solidFill>
                <a:effectLst/>
                <a:uLnTx/>
                <a:uFillTx/>
                <a:latin typeface="Arial" charset="0"/>
                <a:ea typeface="+mn-ea"/>
                <a:cs typeface="+mn-cs"/>
              </a:rPr>
            </a:br>
            <a:endParaRPr kumimoji="0" lang="en-US" sz="1200" b="0" i="0" u="none" strike="noStrike" kern="1200" cap="none" spc="0" normalizeH="0" baseline="0" noProof="0">
              <a:ln>
                <a:noFill/>
              </a:ln>
              <a:solidFill>
                <a:srgbClr val="181818"/>
              </a:solidFill>
              <a:effectLst/>
              <a:uLnTx/>
              <a:uFillTx/>
              <a:latin typeface="Arial" charset="0"/>
              <a:ea typeface="+mn-ea"/>
              <a:cs typeface="+mn-cs"/>
            </a:endParaRPr>
          </a:p>
        </p:txBody>
      </p:sp>
      <p:sp>
        <p:nvSpPr>
          <p:cNvPr id="46" name="TextBox 45">
            <a:extLst>
              <a:ext uri="{FF2B5EF4-FFF2-40B4-BE49-F238E27FC236}">
                <a16:creationId xmlns:a16="http://schemas.microsoft.com/office/drawing/2014/main" id="{E6A0DC41-A7D4-4585-96D4-97D57057ACB5}"/>
              </a:ext>
            </a:extLst>
          </p:cNvPr>
          <p:cNvSpPr txBox="1"/>
          <p:nvPr/>
        </p:nvSpPr>
        <p:spPr bwMode="auto">
          <a:xfrm>
            <a:off x="9954665" y="4418069"/>
            <a:ext cx="1987138" cy="655428"/>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sv-SE" sz="1200" b="0" i="1" u="none" strike="noStrike" kern="1200" cap="none" spc="0" normalizeH="0" baseline="0" noProof="0">
                <a:ln>
                  <a:noFill/>
                </a:ln>
                <a:solidFill>
                  <a:srgbClr val="181818"/>
                </a:solidFill>
                <a:effectLst/>
                <a:uLnTx/>
                <a:uFillTx/>
                <a:latin typeface="Arial" charset="0"/>
                <a:ea typeface="+mn-ea"/>
                <a:cs typeface="+mn-cs"/>
              </a:rPr>
              <a:t>Slice specific authentication infrastructure</a:t>
            </a:r>
          </a:p>
        </p:txBody>
      </p:sp>
      <p:cxnSp>
        <p:nvCxnSpPr>
          <p:cNvPr id="47" name="Straight Arrow Connector 46">
            <a:extLst>
              <a:ext uri="{FF2B5EF4-FFF2-40B4-BE49-F238E27FC236}">
                <a16:creationId xmlns:a16="http://schemas.microsoft.com/office/drawing/2014/main" id="{82D4D2B0-A7DB-446E-9B8F-2DC5CDB42FFD}"/>
              </a:ext>
            </a:extLst>
          </p:cNvPr>
          <p:cNvCxnSpPr/>
          <p:nvPr/>
        </p:nvCxnSpPr>
        <p:spPr bwMode="auto">
          <a:xfrm>
            <a:off x="6476165" y="3833036"/>
            <a:ext cx="2208485" cy="0"/>
          </a:xfrm>
          <a:prstGeom prst="straightConnector1">
            <a:avLst/>
          </a:prstGeom>
          <a:solidFill>
            <a:schemeClr val="accent1"/>
          </a:solidFill>
          <a:ln w="12700" cap="flat" cmpd="sng" algn="ctr">
            <a:solidFill>
              <a:schemeClr val="tx1"/>
            </a:solidFill>
            <a:prstDash val="solid"/>
            <a:round/>
            <a:headEnd type="triangle"/>
            <a:tailEnd type="triangle"/>
          </a:ln>
          <a:effectLst/>
        </p:spPr>
      </p:cxnSp>
      <p:sp>
        <p:nvSpPr>
          <p:cNvPr id="48" name="TextBox 47">
            <a:extLst>
              <a:ext uri="{FF2B5EF4-FFF2-40B4-BE49-F238E27FC236}">
                <a16:creationId xmlns:a16="http://schemas.microsoft.com/office/drawing/2014/main" id="{6998D55B-3379-4619-B802-01AD5F4F7A79}"/>
              </a:ext>
            </a:extLst>
          </p:cNvPr>
          <p:cNvSpPr txBox="1"/>
          <p:nvPr/>
        </p:nvSpPr>
        <p:spPr bwMode="auto">
          <a:xfrm>
            <a:off x="6772004" y="3713806"/>
            <a:ext cx="1542151" cy="205372"/>
          </a:xfrm>
          <a:prstGeom prst="rect">
            <a:avLst/>
          </a:prstGeom>
          <a:solidFill>
            <a:schemeClr val="bg1"/>
          </a:solid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sv-SE" sz="1050" b="0" i="0" u="none" strike="noStrike" kern="1200" cap="none" spc="0" normalizeH="0" baseline="0" noProof="0">
                <a:ln>
                  <a:noFill/>
                </a:ln>
                <a:solidFill>
                  <a:srgbClr val="181818"/>
                </a:solidFill>
                <a:effectLst/>
                <a:uLnTx/>
                <a:uFillTx/>
                <a:latin typeface="Arial" charset="0"/>
                <a:ea typeface="+mn-ea"/>
                <a:cs typeface="+mn-cs"/>
              </a:rPr>
              <a:t>Primary Authentication</a:t>
            </a:r>
          </a:p>
        </p:txBody>
      </p:sp>
      <p:cxnSp>
        <p:nvCxnSpPr>
          <p:cNvPr id="49" name="Straight Arrow Connector 48">
            <a:extLst>
              <a:ext uri="{FF2B5EF4-FFF2-40B4-BE49-F238E27FC236}">
                <a16:creationId xmlns:a16="http://schemas.microsoft.com/office/drawing/2014/main" id="{CBFB3BD2-A581-4BE6-BC7A-939E0EEDF855}"/>
              </a:ext>
            </a:extLst>
          </p:cNvPr>
          <p:cNvCxnSpPr>
            <a:cxnSpLocks/>
          </p:cNvCxnSpPr>
          <p:nvPr/>
        </p:nvCxnSpPr>
        <p:spPr bwMode="auto">
          <a:xfrm flipV="1">
            <a:off x="9486116" y="4384936"/>
            <a:ext cx="1329736" cy="3433"/>
          </a:xfrm>
          <a:prstGeom prst="straightConnector1">
            <a:avLst/>
          </a:prstGeom>
          <a:solidFill>
            <a:schemeClr val="accent1"/>
          </a:solidFill>
          <a:ln w="12700" cap="flat" cmpd="sng" algn="ctr">
            <a:solidFill>
              <a:schemeClr val="accent6"/>
            </a:solidFill>
            <a:prstDash val="dash"/>
            <a:round/>
            <a:headEnd type="triangle"/>
            <a:tailEnd type="triangle"/>
          </a:ln>
          <a:effectLst/>
        </p:spPr>
      </p:cxnSp>
      <p:sp>
        <p:nvSpPr>
          <p:cNvPr id="51" name="TextBox 50">
            <a:extLst>
              <a:ext uri="{FF2B5EF4-FFF2-40B4-BE49-F238E27FC236}">
                <a16:creationId xmlns:a16="http://schemas.microsoft.com/office/drawing/2014/main" id="{C9F021D9-6ADD-4789-9F22-7B5F5FF7D006}"/>
              </a:ext>
            </a:extLst>
          </p:cNvPr>
          <p:cNvSpPr txBox="1"/>
          <p:nvPr/>
        </p:nvSpPr>
        <p:spPr bwMode="auto">
          <a:xfrm>
            <a:off x="6240465" y="2747221"/>
            <a:ext cx="619560" cy="25847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sv-SE" sz="1200" b="0" i="1" u="none" strike="noStrike" kern="1200" cap="none" spc="0" normalizeH="0" baseline="0" noProof="0">
                <a:ln>
                  <a:noFill/>
                </a:ln>
                <a:solidFill>
                  <a:srgbClr val="181818"/>
                </a:solidFill>
                <a:effectLst/>
                <a:uLnTx/>
                <a:uFillTx/>
                <a:latin typeface="Arial" charset="0"/>
                <a:ea typeface="+mn-ea"/>
                <a:cs typeface="+mn-cs"/>
              </a:rPr>
              <a:t>5GS</a:t>
            </a:r>
          </a:p>
        </p:txBody>
      </p:sp>
      <p:cxnSp>
        <p:nvCxnSpPr>
          <p:cNvPr id="53" name="Straight Arrow Connector 52">
            <a:extLst>
              <a:ext uri="{FF2B5EF4-FFF2-40B4-BE49-F238E27FC236}">
                <a16:creationId xmlns:a16="http://schemas.microsoft.com/office/drawing/2014/main" id="{3033C01A-C613-435D-95FA-F0AB1909C787}"/>
              </a:ext>
            </a:extLst>
          </p:cNvPr>
          <p:cNvCxnSpPr>
            <a:cxnSpLocks/>
          </p:cNvCxnSpPr>
          <p:nvPr/>
        </p:nvCxnSpPr>
        <p:spPr bwMode="auto">
          <a:xfrm>
            <a:off x="6478119" y="4374301"/>
            <a:ext cx="3007997" cy="0"/>
          </a:xfrm>
          <a:prstGeom prst="straightConnector1">
            <a:avLst/>
          </a:prstGeom>
          <a:solidFill>
            <a:schemeClr val="accent1"/>
          </a:solidFill>
          <a:ln w="12700" cap="flat" cmpd="sng" algn="ctr">
            <a:solidFill>
              <a:srgbClr val="FF0000"/>
            </a:solidFill>
            <a:prstDash val="dash"/>
            <a:round/>
            <a:headEnd type="triangle"/>
            <a:tailEnd type="triangle"/>
          </a:ln>
          <a:effectLst/>
        </p:spPr>
      </p:cxnSp>
      <p:sp>
        <p:nvSpPr>
          <p:cNvPr id="55" name="TextBox 54">
            <a:extLst>
              <a:ext uri="{FF2B5EF4-FFF2-40B4-BE49-F238E27FC236}">
                <a16:creationId xmlns:a16="http://schemas.microsoft.com/office/drawing/2014/main" id="{E412E54F-E01F-42DD-BF02-D81B6AF8CEC1}"/>
              </a:ext>
            </a:extLst>
          </p:cNvPr>
          <p:cNvSpPr txBox="1"/>
          <p:nvPr/>
        </p:nvSpPr>
        <p:spPr bwMode="auto">
          <a:xfrm>
            <a:off x="7012990" y="4200244"/>
            <a:ext cx="1069389" cy="397404"/>
          </a:xfrm>
          <a:prstGeom prst="rect">
            <a:avLst/>
          </a:prstGeom>
          <a:solidFill>
            <a:schemeClr val="bg1"/>
          </a:solid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sv-SE" sz="1050" b="0" i="0" u="none" strike="noStrike" kern="1200" cap="none" spc="0" normalizeH="0" baseline="0" noProof="0">
                <a:ln>
                  <a:noFill/>
                </a:ln>
                <a:solidFill>
                  <a:srgbClr val="FF0000"/>
                </a:solidFill>
                <a:effectLst/>
                <a:uLnTx/>
                <a:uFillTx/>
                <a:latin typeface="Arial" charset="0"/>
                <a:ea typeface="+mn-ea"/>
                <a:cs typeface="+mn-cs"/>
              </a:rPr>
              <a:t>Slice Specific Authentication</a:t>
            </a:r>
          </a:p>
        </p:txBody>
      </p:sp>
      <p:sp>
        <p:nvSpPr>
          <p:cNvPr id="56" name="TextBox 55">
            <a:extLst>
              <a:ext uri="{FF2B5EF4-FFF2-40B4-BE49-F238E27FC236}">
                <a16:creationId xmlns:a16="http://schemas.microsoft.com/office/drawing/2014/main" id="{9F494CB6-54DA-4450-B2A0-34B9168D4A45}"/>
              </a:ext>
            </a:extLst>
          </p:cNvPr>
          <p:cNvSpPr txBox="1"/>
          <p:nvPr/>
        </p:nvSpPr>
        <p:spPr bwMode="auto">
          <a:xfrm>
            <a:off x="7839282" y="2005356"/>
            <a:ext cx="1987138" cy="346848"/>
          </a:xfrm>
          <a:prstGeom prst="rect">
            <a:avLst/>
          </a:prstGeom>
          <a:solidFill>
            <a:schemeClr val="accent2"/>
          </a:solid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sv-SE" sz="1400" b="1" i="0" u="none" strike="noStrike" kern="1200" cap="none" spc="0" normalizeH="0" baseline="0" noProof="0">
                <a:ln>
                  <a:noFill/>
                </a:ln>
                <a:solidFill>
                  <a:srgbClr val="FFFFFF"/>
                </a:solidFill>
                <a:effectLst/>
                <a:uLnTx/>
                <a:uFillTx/>
                <a:latin typeface="Arial" charset="0"/>
                <a:ea typeface="+mn-ea"/>
                <a:cs typeface="+mn-cs"/>
              </a:rPr>
              <a:t>Normative: TS </a:t>
            </a:r>
            <a:r>
              <a:rPr kumimoji="0" lang="sv-SE" sz="1400" b="1" i="0" u="none" strike="noStrike" kern="1200" cap="none" spc="0" normalizeH="0" baseline="0" noProof="0">
                <a:ln>
                  <a:noFill/>
                </a:ln>
                <a:solidFill>
                  <a:srgbClr val="0082F0">
                    <a:lumMod val="75000"/>
                  </a:srgbClr>
                </a:solidFill>
                <a:effectLst/>
                <a:uLnTx/>
                <a:uFillTx/>
                <a:latin typeface="Arial" charset="0"/>
                <a:ea typeface="+mn-ea"/>
                <a:cs typeface="+mn-cs"/>
                <a:hlinkClick r:id="rId5"/>
              </a:rPr>
              <a:t>33.501</a:t>
            </a:r>
            <a:endParaRPr kumimoji="0" lang="sv-SE" sz="1600" b="1" i="0" u="none" strike="noStrike" kern="1200" cap="none" spc="0" normalizeH="0" baseline="0" noProof="0">
              <a:ln>
                <a:noFill/>
              </a:ln>
              <a:solidFill>
                <a:srgbClr val="0082F0">
                  <a:lumMod val="75000"/>
                </a:srgbClr>
              </a:solidFill>
              <a:effectLst/>
              <a:uLnTx/>
              <a:uFillTx/>
              <a:latin typeface="Arial" charset="0"/>
              <a:ea typeface="+mn-ea"/>
              <a:cs typeface="+mn-cs"/>
            </a:endParaRPr>
          </a:p>
        </p:txBody>
      </p:sp>
      <p:cxnSp>
        <p:nvCxnSpPr>
          <p:cNvPr id="24" name="Straight Connector 23">
            <a:extLst>
              <a:ext uri="{FF2B5EF4-FFF2-40B4-BE49-F238E27FC236}">
                <a16:creationId xmlns:a16="http://schemas.microsoft.com/office/drawing/2014/main" id="{5DA8B41C-CB1F-4CBD-A9F0-4DB404573141}"/>
              </a:ext>
            </a:extLst>
          </p:cNvPr>
          <p:cNvCxnSpPr>
            <a:cxnSpLocks/>
          </p:cNvCxnSpPr>
          <p:nvPr/>
        </p:nvCxnSpPr>
        <p:spPr bwMode="auto">
          <a:xfrm>
            <a:off x="9486116" y="3568094"/>
            <a:ext cx="0" cy="1175121"/>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25" name="TextBox 24">
            <a:extLst>
              <a:ext uri="{FF2B5EF4-FFF2-40B4-BE49-F238E27FC236}">
                <a16:creationId xmlns:a16="http://schemas.microsoft.com/office/drawing/2014/main" id="{CA7CA5AF-6CBA-4504-9091-7C7BAE5F9A9A}"/>
              </a:ext>
            </a:extLst>
          </p:cNvPr>
          <p:cNvSpPr txBox="1"/>
          <p:nvPr/>
        </p:nvSpPr>
        <p:spPr bwMode="auto">
          <a:xfrm>
            <a:off x="9192589" y="2822197"/>
            <a:ext cx="510587" cy="745897"/>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24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endParaRPr kumimoji="0" lang="en-US" sz="2400" b="0" i="0" u="none" strike="noStrike" kern="1200" cap="none" spc="0" normalizeH="0" baseline="0" noProof="0">
              <a:ln>
                <a:noFill/>
              </a:ln>
              <a:solidFill>
                <a:srgbClr val="181818"/>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000" b="0" i="0" u="none" strike="noStrike" kern="1200" cap="none" spc="0" normalizeH="0" baseline="0" noProof="0">
                <a:ln>
                  <a:noFill/>
                </a:ln>
                <a:solidFill>
                  <a:srgbClr val="181818"/>
                </a:solidFill>
                <a:effectLst/>
                <a:uLnTx/>
                <a:uFillTx/>
                <a:latin typeface="Arial" charset="0"/>
                <a:ea typeface="+mn-ea"/>
                <a:cs typeface="+mn-cs"/>
              </a:rPr>
              <a:t>NSSAAF</a:t>
            </a: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br>
              <a:rPr kumimoji="0" lang="en-US" sz="1200" b="0" i="0" u="none" strike="noStrike" kern="1200" cap="none" spc="0" normalizeH="0" baseline="0" noProof="0">
                <a:ln>
                  <a:noFill/>
                </a:ln>
                <a:solidFill>
                  <a:srgbClr val="181818"/>
                </a:solidFill>
                <a:effectLst/>
                <a:uLnTx/>
                <a:uFillTx/>
                <a:latin typeface="Arial" charset="0"/>
                <a:ea typeface="+mn-ea"/>
                <a:cs typeface="+mn-cs"/>
              </a:rPr>
            </a:br>
            <a:br>
              <a:rPr kumimoji="0" lang="en-US" sz="1200" b="0" i="0" u="none" strike="noStrike" kern="1200" cap="none" spc="0" normalizeH="0" baseline="0" noProof="0">
                <a:ln>
                  <a:noFill/>
                </a:ln>
                <a:solidFill>
                  <a:srgbClr val="181818"/>
                </a:solidFill>
                <a:effectLst/>
                <a:uLnTx/>
                <a:uFillTx/>
                <a:latin typeface="Arial" charset="0"/>
                <a:ea typeface="+mn-ea"/>
                <a:cs typeface="+mn-cs"/>
              </a:rPr>
            </a:br>
            <a:endParaRPr kumimoji="0" lang="en-US" sz="1200" b="0" i="0" u="none" strike="noStrike" kern="1200" cap="none" spc="0" normalizeH="0" baseline="0" noProof="0">
              <a:ln>
                <a:noFill/>
              </a:ln>
              <a:solidFill>
                <a:srgbClr val="181818"/>
              </a:solidFill>
              <a:effectLst/>
              <a:uLnTx/>
              <a:uFillTx/>
              <a:latin typeface="Arial" charset="0"/>
              <a:ea typeface="+mn-ea"/>
              <a:cs typeface="+mn-cs"/>
            </a:endParaRPr>
          </a:p>
        </p:txBody>
      </p:sp>
    </p:spTree>
    <p:extLst>
      <p:ext uri="{BB962C8B-B14F-4D97-AF65-F5344CB8AC3E}">
        <p14:creationId xmlns:p14="http://schemas.microsoft.com/office/powerpoint/2010/main" val="38173310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F7392EA-742F-4911-89D8-E1E2CB7A6298}"/>
              </a:ext>
            </a:extLst>
          </p:cNvPr>
          <p:cNvSpPr>
            <a:spLocks noGrp="1"/>
          </p:cNvSpPr>
          <p:nvPr>
            <p:ph sz="quarter" idx="11"/>
          </p:nvPr>
        </p:nvSpPr>
        <p:spPr>
          <a:xfrm>
            <a:off x="4581593" y="4149724"/>
            <a:ext cx="7290930" cy="2087564"/>
          </a:xfrm>
        </p:spPr>
        <p:txBody>
          <a:bodyPr/>
          <a:lstStyle/>
          <a:p>
            <a:r>
              <a:rPr lang="en-GB" sz="1800"/>
              <a:t>UDM interacts with 5GC using </a:t>
            </a:r>
            <a:r>
              <a:rPr lang="en-GB" sz="1800" err="1"/>
              <a:t>Nudm</a:t>
            </a:r>
            <a:r>
              <a:rPr lang="en-GB" sz="1800"/>
              <a:t> SBA service operations. </a:t>
            </a:r>
          </a:p>
          <a:p>
            <a:pPr lvl="1"/>
            <a:r>
              <a:rPr lang="en-US" sz="1600"/>
              <a:t>AUSF authenticates and retrieves credentials from UDM.  </a:t>
            </a:r>
          </a:p>
          <a:p>
            <a:pPr lvl="1"/>
            <a:r>
              <a:rPr lang="en-US" sz="1600"/>
              <a:t>AMF, SMF and SMSF register to and fetch data from UDM separately reusing same service operations. </a:t>
            </a:r>
          </a:p>
          <a:p>
            <a:pPr lvl="1"/>
            <a:r>
              <a:rPr lang="en-US" sz="1600"/>
              <a:t>UDM also supports </a:t>
            </a:r>
            <a:r>
              <a:rPr lang="en-US" sz="1600" err="1"/>
              <a:t>Nudm</a:t>
            </a:r>
            <a:r>
              <a:rPr lang="en-US" sz="1600"/>
              <a:t> service for Exposure purposes with NEF. </a:t>
            </a:r>
          </a:p>
          <a:p>
            <a:pPr lvl="1"/>
            <a:r>
              <a:rPr lang="en-US" sz="1600" kern="0"/>
              <a:t>UDM also consumer NF of services offered by other NFs (e.g. </a:t>
            </a:r>
            <a:r>
              <a:rPr lang="en-US" sz="1600" kern="0" err="1"/>
              <a:t>Namf_EventExposure</a:t>
            </a:r>
            <a:r>
              <a:rPr lang="en-US" sz="1600" kern="0"/>
              <a:t>). </a:t>
            </a:r>
            <a:endParaRPr lang="en-US" sz="2800" kern="0"/>
          </a:p>
        </p:txBody>
      </p:sp>
      <p:sp>
        <p:nvSpPr>
          <p:cNvPr id="5" name="Content Placeholder 4">
            <a:extLst>
              <a:ext uri="{FF2B5EF4-FFF2-40B4-BE49-F238E27FC236}">
                <a16:creationId xmlns:a16="http://schemas.microsoft.com/office/drawing/2014/main" id="{48B0C868-3B46-4752-B888-25DB57C4EFA0}"/>
              </a:ext>
            </a:extLst>
          </p:cNvPr>
          <p:cNvSpPr>
            <a:spLocks noGrp="1"/>
          </p:cNvSpPr>
          <p:nvPr>
            <p:ph sz="quarter" idx="10"/>
          </p:nvPr>
        </p:nvSpPr>
        <p:spPr>
          <a:xfrm>
            <a:off x="4581593" y="1844675"/>
            <a:ext cx="7290930" cy="2089150"/>
          </a:xfrm>
        </p:spPr>
        <p:txBody>
          <a:bodyPr/>
          <a:lstStyle/>
          <a:p>
            <a:r>
              <a:rPr lang="en-US" sz="1800" kern="0"/>
              <a:t>UDM evolution of </a:t>
            </a:r>
            <a:r>
              <a:rPr lang="en-US" sz="1800" b="1" kern="0"/>
              <a:t>EPC HSS/</a:t>
            </a:r>
            <a:r>
              <a:rPr lang="en-US" sz="1800" b="1" kern="0" err="1"/>
              <a:t>AuC</a:t>
            </a:r>
            <a:r>
              <a:rPr lang="en-US" sz="1800" kern="0"/>
              <a:t>. Similar role as HSS/</a:t>
            </a:r>
            <a:r>
              <a:rPr lang="en-US" sz="1800" kern="0" err="1"/>
              <a:t>AuC</a:t>
            </a:r>
            <a:r>
              <a:rPr lang="en-US" sz="1800" kern="0"/>
              <a:t> </a:t>
            </a:r>
            <a:r>
              <a:rPr lang="en-US" sz="1800" kern="0" err="1"/>
              <a:t>wrt</a:t>
            </a:r>
            <a:r>
              <a:rPr lang="en-US" sz="1800" kern="0"/>
              <a:t> … </a:t>
            </a:r>
          </a:p>
          <a:p>
            <a:pPr lvl="1"/>
            <a:r>
              <a:rPr lang="en-US" sz="1600" kern="0"/>
              <a:t>AKA AV generation + Authentication method decision. </a:t>
            </a:r>
          </a:p>
          <a:p>
            <a:pPr lvl="1"/>
            <a:r>
              <a:rPr lang="en-US" sz="1600" kern="0"/>
              <a:t>Identity management (SUPI/SUCI handling, External Id to SUPI mapping), </a:t>
            </a:r>
          </a:p>
          <a:p>
            <a:pPr lvl="1"/>
            <a:r>
              <a:rPr lang="en-US" sz="1600" kern="0"/>
              <a:t>Access and Mobility management support (AMF Reg/de-Reg), </a:t>
            </a:r>
          </a:p>
          <a:p>
            <a:pPr lvl="1"/>
            <a:r>
              <a:rPr lang="en-US" sz="1600" kern="0"/>
              <a:t>Session management support (Session continuity),</a:t>
            </a:r>
          </a:p>
          <a:p>
            <a:pPr lvl="1"/>
            <a:r>
              <a:rPr lang="en-US" sz="1600" kern="0"/>
              <a:t>Subs Data management (Access, Session). </a:t>
            </a:r>
          </a:p>
          <a:p>
            <a:pPr lvl="1"/>
            <a:r>
              <a:rPr lang="en-US" sz="1600" kern="0"/>
              <a:t>Service Capability Exposure support (NEF interactions). </a:t>
            </a:r>
          </a:p>
        </p:txBody>
      </p:sp>
      <p:sp>
        <p:nvSpPr>
          <p:cNvPr id="2" name="Title 1"/>
          <p:cNvSpPr>
            <a:spLocks noGrp="1"/>
          </p:cNvSpPr>
          <p:nvPr>
            <p:ph type="title"/>
          </p:nvPr>
        </p:nvSpPr>
        <p:spPr/>
        <p:txBody>
          <a:bodyPr>
            <a:normAutofit/>
          </a:bodyPr>
          <a:lstStyle/>
          <a:p>
            <a:r>
              <a:rPr lang="en-US"/>
              <a:t>Subscription Data Management</a:t>
            </a:r>
            <a:br>
              <a:rPr lang="en-US" sz="3600">
                <a:solidFill>
                  <a:schemeClr val="tx2"/>
                </a:solidFill>
              </a:rPr>
            </a:br>
            <a:r>
              <a:rPr lang="en-US" sz="3600">
                <a:solidFill>
                  <a:schemeClr val="tx2"/>
                </a:solidFill>
              </a:rPr>
              <a:t>UDM Role </a:t>
            </a:r>
            <a:endParaRPr lang="en-US" sz="3200">
              <a:solidFill>
                <a:schemeClr val="tx2"/>
              </a:solidFill>
              <a:latin typeface="+mn-lt"/>
            </a:endParaRPr>
          </a:p>
        </p:txBody>
      </p:sp>
      <p:sp>
        <p:nvSpPr>
          <p:cNvPr id="42" name="Rectangle 41"/>
          <p:cNvSpPr/>
          <p:nvPr/>
        </p:nvSpPr>
        <p:spPr bwMode="auto">
          <a:xfrm>
            <a:off x="10293284" y="3705524"/>
            <a:ext cx="659496" cy="184515"/>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cxnSp>
        <p:nvCxnSpPr>
          <p:cNvPr id="77" name="Straight Connector 203">
            <a:extLst>
              <a:ext uri="{FF2B5EF4-FFF2-40B4-BE49-F238E27FC236}">
                <a16:creationId xmlns:a16="http://schemas.microsoft.com/office/drawing/2014/main" id="{7175D4B6-3586-44D2-AB45-55894D21C213}"/>
              </a:ext>
            </a:extLst>
          </p:cNvPr>
          <p:cNvCxnSpPr>
            <a:cxnSpLocks noChangeShapeType="1"/>
            <a:stCxn id="88" idx="0"/>
            <a:endCxn id="93" idx="2"/>
          </p:cNvCxnSpPr>
          <p:nvPr/>
        </p:nvCxnSpPr>
        <p:spPr bwMode="auto">
          <a:xfrm rot="5400000" flipH="1" flipV="1">
            <a:off x="1554185" y="3488666"/>
            <a:ext cx="532710" cy="924349"/>
          </a:xfrm>
          <a:prstGeom prst="bentConnector3">
            <a:avLst>
              <a:gd name="adj1" fmla="val 50000"/>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8" name="Straight Connector 203">
            <a:extLst>
              <a:ext uri="{FF2B5EF4-FFF2-40B4-BE49-F238E27FC236}">
                <a16:creationId xmlns:a16="http://schemas.microsoft.com/office/drawing/2014/main" id="{72B904EE-7F60-42C0-8E2B-62BDADBBFF27}"/>
              </a:ext>
            </a:extLst>
          </p:cNvPr>
          <p:cNvCxnSpPr>
            <a:cxnSpLocks noChangeShapeType="1"/>
            <a:stCxn id="89" idx="0"/>
            <a:endCxn id="94" idx="2"/>
          </p:cNvCxnSpPr>
          <p:nvPr/>
        </p:nvCxnSpPr>
        <p:spPr bwMode="auto">
          <a:xfrm rot="5400000" flipH="1" flipV="1">
            <a:off x="3396378" y="3446509"/>
            <a:ext cx="542178" cy="99919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79" name="Text Box 144">
            <a:extLst>
              <a:ext uri="{FF2B5EF4-FFF2-40B4-BE49-F238E27FC236}">
                <a16:creationId xmlns:a16="http://schemas.microsoft.com/office/drawing/2014/main" id="{0B55F5FB-63E2-4EB6-B8DC-79E9B40A54F1}"/>
              </a:ext>
            </a:extLst>
          </p:cNvPr>
          <p:cNvSpPr txBox="1">
            <a:spLocks noChangeAspect="1" noChangeArrowheads="1"/>
          </p:cNvSpPr>
          <p:nvPr/>
        </p:nvSpPr>
        <p:spPr bwMode="auto">
          <a:xfrm>
            <a:off x="3887608" y="3719977"/>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f</a:t>
            </a:r>
            <a:endParaRPr lang="en-US" altLang="en-US" sz="1100">
              <a:latin typeface="+mn-lt"/>
            </a:endParaRPr>
          </a:p>
        </p:txBody>
      </p:sp>
      <p:sp>
        <p:nvSpPr>
          <p:cNvPr id="80" name="Text Box 144">
            <a:extLst>
              <a:ext uri="{FF2B5EF4-FFF2-40B4-BE49-F238E27FC236}">
                <a16:creationId xmlns:a16="http://schemas.microsoft.com/office/drawing/2014/main" id="{ECE7559E-92C2-4709-B5B5-25E9D25AE309}"/>
              </a:ext>
            </a:extLst>
          </p:cNvPr>
          <p:cNvSpPr txBox="1">
            <a:spLocks noChangeAspect="1" noChangeArrowheads="1"/>
          </p:cNvSpPr>
          <p:nvPr/>
        </p:nvSpPr>
        <p:spPr bwMode="auto">
          <a:xfrm>
            <a:off x="2438420" y="3712806"/>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nef</a:t>
            </a:r>
            <a:endParaRPr lang="en-US" altLang="en-US" sz="1100">
              <a:latin typeface="+mn-lt"/>
            </a:endParaRPr>
          </a:p>
        </p:txBody>
      </p:sp>
      <p:sp>
        <p:nvSpPr>
          <p:cNvPr id="81" name="Text Box 144">
            <a:extLst>
              <a:ext uri="{FF2B5EF4-FFF2-40B4-BE49-F238E27FC236}">
                <a16:creationId xmlns:a16="http://schemas.microsoft.com/office/drawing/2014/main" id="{ACC38144-0760-44E8-BAF7-893BBCEDE4C2}"/>
              </a:ext>
            </a:extLst>
          </p:cNvPr>
          <p:cNvSpPr txBox="1">
            <a:spLocks noChangeAspect="1" noChangeArrowheads="1"/>
          </p:cNvSpPr>
          <p:nvPr/>
        </p:nvSpPr>
        <p:spPr bwMode="auto">
          <a:xfrm>
            <a:off x="1541764" y="3712029"/>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udm</a:t>
            </a:r>
            <a:endParaRPr lang="en-US" altLang="en-US" sz="1100">
              <a:latin typeface="+mn-lt"/>
            </a:endParaRPr>
          </a:p>
        </p:txBody>
      </p:sp>
      <p:sp>
        <p:nvSpPr>
          <p:cNvPr id="82" name="Text Box 144">
            <a:extLst>
              <a:ext uri="{FF2B5EF4-FFF2-40B4-BE49-F238E27FC236}">
                <a16:creationId xmlns:a16="http://schemas.microsoft.com/office/drawing/2014/main" id="{4A9504CA-0650-4FAC-ADB0-927488C9EED3}"/>
              </a:ext>
            </a:extLst>
          </p:cNvPr>
          <p:cNvSpPr txBox="1">
            <a:spLocks noChangeAspect="1" noChangeArrowheads="1"/>
          </p:cNvSpPr>
          <p:nvPr/>
        </p:nvSpPr>
        <p:spPr bwMode="auto">
          <a:xfrm>
            <a:off x="1541764" y="4051377"/>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smf</a:t>
            </a:r>
            <a:endParaRPr lang="en-US" altLang="en-US" sz="1100">
              <a:latin typeface="+mn-lt"/>
            </a:endParaRPr>
          </a:p>
        </p:txBody>
      </p:sp>
      <p:sp>
        <p:nvSpPr>
          <p:cNvPr id="83" name="Text Box 144">
            <a:extLst>
              <a:ext uri="{FF2B5EF4-FFF2-40B4-BE49-F238E27FC236}">
                <a16:creationId xmlns:a16="http://schemas.microsoft.com/office/drawing/2014/main" id="{707674FC-9B5E-4769-95FB-9417F6A2AEAA}"/>
              </a:ext>
            </a:extLst>
          </p:cNvPr>
          <p:cNvSpPr txBox="1">
            <a:spLocks noChangeAspect="1" noChangeArrowheads="1"/>
          </p:cNvSpPr>
          <p:nvPr/>
        </p:nvSpPr>
        <p:spPr bwMode="auto">
          <a:xfrm>
            <a:off x="2434039" y="4050948"/>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smsf</a:t>
            </a:r>
            <a:endParaRPr lang="en-US" altLang="en-US" sz="1100">
              <a:latin typeface="+mn-lt"/>
            </a:endParaRPr>
          </a:p>
        </p:txBody>
      </p:sp>
      <p:sp>
        <p:nvSpPr>
          <p:cNvPr id="84" name="Text Box 144">
            <a:extLst>
              <a:ext uri="{FF2B5EF4-FFF2-40B4-BE49-F238E27FC236}">
                <a16:creationId xmlns:a16="http://schemas.microsoft.com/office/drawing/2014/main" id="{9D4CB5F1-E5ED-49B2-B446-1FEF3A829247}"/>
              </a:ext>
            </a:extLst>
          </p:cNvPr>
          <p:cNvSpPr txBox="1">
            <a:spLocks noChangeAspect="1" noChangeArrowheads="1"/>
          </p:cNvSpPr>
          <p:nvPr/>
        </p:nvSpPr>
        <p:spPr bwMode="auto">
          <a:xfrm>
            <a:off x="651150" y="3721458"/>
            <a:ext cx="992350" cy="13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usf</a:t>
            </a:r>
            <a:endParaRPr lang="en-US" altLang="en-US" sz="1100">
              <a:latin typeface="+mn-lt"/>
            </a:endParaRPr>
          </a:p>
        </p:txBody>
      </p:sp>
      <p:sp>
        <p:nvSpPr>
          <p:cNvPr id="85" name="Text Box 144">
            <a:extLst>
              <a:ext uri="{FF2B5EF4-FFF2-40B4-BE49-F238E27FC236}">
                <a16:creationId xmlns:a16="http://schemas.microsoft.com/office/drawing/2014/main" id="{1E8E5322-DF00-4A4E-B637-D02B3BE7DD8F}"/>
              </a:ext>
            </a:extLst>
          </p:cNvPr>
          <p:cNvSpPr txBox="1">
            <a:spLocks noChangeAspect="1" noChangeArrowheads="1"/>
          </p:cNvSpPr>
          <p:nvPr/>
        </p:nvSpPr>
        <p:spPr bwMode="auto">
          <a:xfrm>
            <a:off x="649913" y="4060350"/>
            <a:ext cx="992350" cy="1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err="1">
                <a:latin typeface="+mn-lt"/>
              </a:rPr>
              <a:t>Namf</a:t>
            </a:r>
            <a:endParaRPr lang="en-US" altLang="en-US" sz="1100">
              <a:latin typeface="+mn-lt"/>
            </a:endParaRPr>
          </a:p>
        </p:txBody>
      </p:sp>
      <p:cxnSp>
        <p:nvCxnSpPr>
          <p:cNvPr id="86" name="Straight Connector 10">
            <a:extLst>
              <a:ext uri="{FF2B5EF4-FFF2-40B4-BE49-F238E27FC236}">
                <a16:creationId xmlns:a16="http://schemas.microsoft.com/office/drawing/2014/main" id="{4F904681-8E59-418A-A9AC-7ACFCB31DDF9}"/>
              </a:ext>
            </a:extLst>
          </p:cNvPr>
          <p:cNvCxnSpPr>
            <a:cxnSpLocks/>
            <a:stCxn id="90" idx="2"/>
            <a:endCxn id="87" idx="0"/>
          </p:cNvCxnSpPr>
          <p:nvPr/>
        </p:nvCxnSpPr>
        <p:spPr bwMode="auto">
          <a:xfrm rot="5400000">
            <a:off x="2450447" y="3509492"/>
            <a:ext cx="546144" cy="877197"/>
          </a:xfrm>
          <a:prstGeom prst="bentConnector3">
            <a:avLst>
              <a:gd name="adj1" fmla="val 50000"/>
            </a:avLst>
          </a:prstGeom>
          <a:solidFill>
            <a:schemeClr val="accent1"/>
          </a:solidFill>
          <a:ln w="9525" cap="flat" cmpd="sng" algn="ctr">
            <a:solidFill>
              <a:schemeClr val="tx1"/>
            </a:solidFill>
            <a:prstDash val="dash"/>
            <a:round/>
            <a:headEnd type="none" w="med" len="med"/>
            <a:tailEnd type="none" w="med" len="med"/>
          </a:ln>
          <a:effectLst/>
        </p:spPr>
      </p:cxnSp>
      <p:sp>
        <p:nvSpPr>
          <p:cNvPr id="87" name="TextBox 86">
            <a:extLst>
              <a:ext uri="{FF2B5EF4-FFF2-40B4-BE49-F238E27FC236}">
                <a16:creationId xmlns:a16="http://schemas.microsoft.com/office/drawing/2014/main" id="{D67C73B3-E17D-4DCE-97B0-7F523617A6E0}"/>
              </a:ext>
            </a:extLst>
          </p:cNvPr>
          <p:cNvSpPr txBox="1"/>
          <p:nvPr/>
        </p:nvSpPr>
        <p:spPr bwMode="auto">
          <a:xfrm>
            <a:off x="1994429" y="4221162"/>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SMF</a:t>
            </a:r>
          </a:p>
        </p:txBody>
      </p:sp>
      <p:sp>
        <p:nvSpPr>
          <p:cNvPr id="88" name="TextBox 87">
            <a:extLst>
              <a:ext uri="{FF2B5EF4-FFF2-40B4-BE49-F238E27FC236}">
                <a16:creationId xmlns:a16="http://schemas.microsoft.com/office/drawing/2014/main" id="{01A856D3-A927-4A26-B401-A12348B00AF9}"/>
              </a:ext>
            </a:extLst>
          </p:cNvPr>
          <p:cNvSpPr txBox="1"/>
          <p:nvPr/>
        </p:nvSpPr>
        <p:spPr bwMode="auto">
          <a:xfrm>
            <a:off x="1067875" y="4217195"/>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AMF</a:t>
            </a:r>
          </a:p>
        </p:txBody>
      </p:sp>
      <p:sp>
        <p:nvSpPr>
          <p:cNvPr id="89" name="TextBox 88">
            <a:extLst>
              <a:ext uri="{FF2B5EF4-FFF2-40B4-BE49-F238E27FC236}">
                <a16:creationId xmlns:a16="http://schemas.microsoft.com/office/drawing/2014/main" id="{4C3EB700-A86E-43D8-A843-FD8178EC85C8}"/>
              </a:ext>
            </a:extLst>
          </p:cNvPr>
          <p:cNvSpPr txBox="1"/>
          <p:nvPr/>
        </p:nvSpPr>
        <p:spPr bwMode="auto">
          <a:xfrm>
            <a:off x="2877378" y="4217196"/>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SMSF</a:t>
            </a:r>
          </a:p>
        </p:txBody>
      </p:sp>
      <p:sp>
        <p:nvSpPr>
          <p:cNvPr id="90" name="TextBox 89">
            <a:extLst>
              <a:ext uri="{FF2B5EF4-FFF2-40B4-BE49-F238E27FC236}">
                <a16:creationId xmlns:a16="http://schemas.microsoft.com/office/drawing/2014/main" id="{A4383C1A-AFC5-4DB2-AD60-24AFCC5BE17F}"/>
              </a:ext>
            </a:extLst>
          </p:cNvPr>
          <p:cNvSpPr txBox="1"/>
          <p:nvPr/>
        </p:nvSpPr>
        <p:spPr bwMode="auto">
          <a:xfrm>
            <a:off x="2871626" y="2863782"/>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800">
                <a:latin typeface="Ericsson Technical Icons" panose="00000500000000000000" pitchFamily="2" charset="0"/>
              </a:rPr>
              <a:t>S</a:t>
            </a:r>
            <a:br>
              <a:rPr lang="en-US" sz="1800">
                <a:latin typeface="Ericsson Technical Icons" panose="00000500000000000000" pitchFamily="2" charset="0"/>
              </a:rPr>
            </a:br>
            <a:r>
              <a:rPr lang="en-US" sz="1800">
                <a:latin typeface="Ericsson Technical Icons" panose="00000500000000000000" pitchFamily="2" charset="0"/>
              </a:rPr>
              <a:t>D</a:t>
            </a: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NEF</a:t>
            </a:r>
          </a:p>
        </p:txBody>
      </p:sp>
      <p:sp>
        <p:nvSpPr>
          <p:cNvPr id="91" name="TextBox 90">
            <a:extLst>
              <a:ext uri="{FF2B5EF4-FFF2-40B4-BE49-F238E27FC236}">
                <a16:creationId xmlns:a16="http://schemas.microsoft.com/office/drawing/2014/main" id="{F7152E3B-2D66-4843-B863-F42817086673}"/>
              </a:ext>
            </a:extLst>
          </p:cNvPr>
          <p:cNvSpPr txBox="1"/>
          <p:nvPr/>
        </p:nvSpPr>
        <p:spPr bwMode="auto">
          <a:xfrm>
            <a:off x="143195" y="2847312"/>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UDR</a:t>
            </a:r>
          </a:p>
        </p:txBody>
      </p:sp>
      <p:sp>
        <p:nvSpPr>
          <p:cNvPr id="92" name="TextBox 91">
            <a:extLst>
              <a:ext uri="{FF2B5EF4-FFF2-40B4-BE49-F238E27FC236}">
                <a16:creationId xmlns:a16="http://schemas.microsoft.com/office/drawing/2014/main" id="{9BA447E1-9B59-465B-AA70-B89781CC4D5D}"/>
              </a:ext>
            </a:extLst>
          </p:cNvPr>
          <p:cNvSpPr txBox="1"/>
          <p:nvPr/>
        </p:nvSpPr>
        <p:spPr bwMode="auto">
          <a:xfrm>
            <a:off x="1068674" y="2863922"/>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AUSF</a:t>
            </a:r>
          </a:p>
        </p:txBody>
      </p:sp>
      <p:sp>
        <p:nvSpPr>
          <p:cNvPr id="93" name="TextBox 92">
            <a:extLst>
              <a:ext uri="{FF2B5EF4-FFF2-40B4-BE49-F238E27FC236}">
                <a16:creationId xmlns:a16="http://schemas.microsoft.com/office/drawing/2014/main" id="{47A98FC9-545F-4CAA-81D8-FB10D8FD70E1}"/>
              </a:ext>
            </a:extLst>
          </p:cNvPr>
          <p:cNvSpPr txBox="1"/>
          <p:nvPr/>
        </p:nvSpPr>
        <p:spPr bwMode="auto">
          <a:xfrm>
            <a:off x="1991956" y="2859462"/>
            <a:ext cx="581517" cy="825023"/>
          </a:xfrm>
          <a:prstGeom prst="rect">
            <a:avLst/>
          </a:prstGeom>
          <a:solidFill>
            <a:schemeClr val="bg1"/>
          </a:solidFill>
          <a:ln w="1270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2"/>
                </a:solidFill>
                <a:effectLst/>
                <a:uLnTx/>
                <a:uFillTx/>
                <a:latin typeface="Ericsson Hilda"/>
                <a:ea typeface="+mn-ea"/>
                <a:cs typeface="+mn-cs"/>
              </a:rPr>
              <a:t>UDM</a:t>
            </a:r>
          </a:p>
        </p:txBody>
      </p:sp>
      <p:sp>
        <p:nvSpPr>
          <p:cNvPr id="94" name="TextBox 93">
            <a:extLst>
              <a:ext uri="{FF2B5EF4-FFF2-40B4-BE49-F238E27FC236}">
                <a16:creationId xmlns:a16="http://schemas.microsoft.com/office/drawing/2014/main" id="{003D9F7A-A200-4EA9-A7FE-E8C0D999330C}"/>
              </a:ext>
            </a:extLst>
          </p:cNvPr>
          <p:cNvSpPr txBox="1"/>
          <p:nvPr/>
        </p:nvSpPr>
        <p:spPr bwMode="auto">
          <a:xfrm>
            <a:off x="3876306" y="2849995"/>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AF</a:t>
            </a:r>
          </a:p>
        </p:txBody>
      </p:sp>
      <p:cxnSp>
        <p:nvCxnSpPr>
          <p:cNvPr id="95" name="Straight Connector 10">
            <a:extLst>
              <a:ext uri="{FF2B5EF4-FFF2-40B4-BE49-F238E27FC236}">
                <a16:creationId xmlns:a16="http://schemas.microsoft.com/office/drawing/2014/main" id="{F93F8EBE-714C-4E92-BBC5-6FCCE7F9E5E3}"/>
              </a:ext>
            </a:extLst>
          </p:cNvPr>
          <p:cNvCxnSpPr>
            <a:cxnSpLocks/>
            <a:stCxn id="92" idx="2"/>
            <a:endCxn id="91" idx="2"/>
          </p:cNvCxnSpPr>
          <p:nvPr/>
        </p:nvCxnSpPr>
        <p:spPr bwMode="auto">
          <a:xfrm rot="5400000" flipH="1">
            <a:off x="888389" y="3217901"/>
            <a:ext cx="16610" cy="925479"/>
          </a:xfrm>
          <a:prstGeom prst="bentConnector3">
            <a:avLst>
              <a:gd name="adj1" fmla="val -1582366"/>
            </a:avLst>
          </a:prstGeom>
          <a:solidFill>
            <a:schemeClr val="accent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5232135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AF402B66-E20F-4D46-B258-F2861D61C7BA}"/>
              </a:ext>
            </a:extLst>
          </p:cNvPr>
          <p:cNvSpPr txBox="1"/>
          <p:nvPr/>
        </p:nvSpPr>
        <p:spPr bwMode="auto">
          <a:xfrm>
            <a:off x="3811653" y="3976762"/>
            <a:ext cx="662961" cy="90481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800">
                <a:latin typeface="Ericsson Technical Icons" panose="00000500000000000000" pitchFamily="2" charset="0"/>
              </a:rPr>
              <a:t>S</a:t>
            </a:r>
            <a:br>
              <a:rPr lang="en-US" sz="1800">
                <a:latin typeface="Ericsson Technical Icons" panose="00000500000000000000" pitchFamily="2" charset="0"/>
              </a:rPr>
            </a:br>
            <a:r>
              <a:rPr lang="en-US" sz="1800">
                <a:latin typeface="Ericsson Technical Icons" panose="00000500000000000000" pitchFamily="2" charset="0"/>
              </a:rPr>
              <a:t>D</a:t>
            </a: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1100">
                <a:latin typeface="Ericsson Hilda"/>
              </a:rPr>
              <a:t>NE</a:t>
            </a:r>
            <a:r>
              <a:rPr kumimoji="0" lang="en-US" sz="1100" b="0" i="0" u="none" strike="noStrike" kern="1200" cap="none" spc="0" normalizeH="0" baseline="0" noProof="0">
                <a:ln>
                  <a:noFill/>
                </a:ln>
                <a:effectLst/>
                <a:uLnTx/>
                <a:uFillTx/>
                <a:latin typeface="Ericsson Hilda"/>
                <a:ea typeface="+mn-ea"/>
                <a:cs typeface="+mn-cs"/>
              </a:rPr>
              <a:t>F/UDR</a:t>
            </a:r>
          </a:p>
        </p:txBody>
      </p:sp>
      <p:sp>
        <p:nvSpPr>
          <p:cNvPr id="132" name="TextBox 131">
            <a:extLst>
              <a:ext uri="{FF2B5EF4-FFF2-40B4-BE49-F238E27FC236}">
                <a16:creationId xmlns:a16="http://schemas.microsoft.com/office/drawing/2014/main" id="{780300E8-1349-4D7F-8912-C65087282392}"/>
              </a:ext>
            </a:extLst>
          </p:cNvPr>
          <p:cNvSpPr txBox="1"/>
          <p:nvPr/>
        </p:nvSpPr>
        <p:spPr bwMode="auto">
          <a:xfrm>
            <a:off x="3813260" y="3978097"/>
            <a:ext cx="670054" cy="903481"/>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NEF</a:t>
            </a:r>
          </a:p>
        </p:txBody>
      </p:sp>
      <p:sp>
        <p:nvSpPr>
          <p:cNvPr id="118" name="TextBox 117">
            <a:extLst>
              <a:ext uri="{FF2B5EF4-FFF2-40B4-BE49-F238E27FC236}">
                <a16:creationId xmlns:a16="http://schemas.microsoft.com/office/drawing/2014/main" id="{3039590E-B50B-434F-8475-AB1E27B3A997}"/>
              </a:ext>
            </a:extLst>
          </p:cNvPr>
          <p:cNvSpPr txBox="1"/>
          <p:nvPr/>
        </p:nvSpPr>
        <p:spPr bwMode="auto">
          <a:xfrm>
            <a:off x="2526248" y="3975309"/>
            <a:ext cx="662961" cy="90481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800">
                <a:latin typeface="Ericsson Technical Icons" panose="00000500000000000000" pitchFamily="2" charset="0"/>
              </a:rPr>
              <a:t>S</a:t>
            </a:r>
            <a:br>
              <a:rPr lang="en-US" sz="1800">
                <a:latin typeface="Ericsson Technical Icons" panose="00000500000000000000" pitchFamily="2" charset="0"/>
              </a:rPr>
            </a:br>
            <a:r>
              <a:rPr lang="en-US" sz="1800">
                <a:latin typeface="Ericsson Technical Icons" panose="00000500000000000000" pitchFamily="2" charset="0"/>
              </a:rPr>
              <a:t>D</a:t>
            </a: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effectLst/>
                <a:uLnTx/>
                <a:uFillTx/>
                <a:latin typeface="Ericsson Hilda"/>
                <a:ea typeface="+mn-ea"/>
                <a:cs typeface="+mn-cs"/>
              </a:rPr>
              <a:t>PCF/UDR</a:t>
            </a:r>
          </a:p>
        </p:txBody>
      </p:sp>
      <p:sp>
        <p:nvSpPr>
          <p:cNvPr id="119" name="TextBox 118">
            <a:extLst>
              <a:ext uri="{FF2B5EF4-FFF2-40B4-BE49-F238E27FC236}">
                <a16:creationId xmlns:a16="http://schemas.microsoft.com/office/drawing/2014/main" id="{3500849D-0B22-4A68-BB00-FF3315A73573}"/>
              </a:ext>
            </a:extLst>
          </p:cNvPr>
          <p:cNvSpPr txBox="1"/>
          <p:nvPr/>
        </p:nvSpPr>
        <p:spPr bwMode="auto">
          <a:xfrm>
            <a:off x="2520767" y="3976644"/>
            <a:ext cx="670054" cy="903481"/>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PCF</a:t>
            </a:r>
          </a:p>
        </p:txBody>
      </p:sp>
      <p:sp>
        <p:nvSpPr>
          <p:cNvPr id="3" name="Content Placeholder 2">
            <a:extLst>
              <a:ext uri="{FF2B5EF4-FFF2-40B4-BE49-F238E27FC236}">
                <a16:creationId xmlns:a16="http://schemas.microsoft.com/office/drawing/2014/main" id="{3E490C3F-0A52-4633-A83D-98F8AC8F4DB4}"/>
              </a:ext>
            </a:extLst>
          </p:cNvPr>
          <p:cNvSpPr>
            <a:spLocks noGrp="1"/>
          </p:cNvSpPr>
          <p:nvPr>
            <p:ph sz="quarter" idx="10"/>
          </p:nvPr>
        </p:nvSpPr>
        <p:spPr>
          <a:xfrm>
            <a:off x="6046193" y="1844675"/>
            <a:ext cx="5666382" cy="4392613"/>
          </a:xfrm>
        </p:spPr>
        <p:txBody>
          <a:bodyPr/>
          <a:lstStyle/>
          <a:p>
            <a:r>
              <a:rPr lang="en-US" sz="1800"/>
              <a:t>5GC allows UDM and PCF to store user profile data in a Unified Data Repository, UDR. </a:t>
            </a:r>
          </a:p>
          <a:p>
            <a:pPr lvl="1"/>
            <a:r>
              <a:rPr lang="en-US" sz="1600"/>
              <a:t>Single point of provisioning and access for user profile information (Security, Access/Mobility Authorization, Service Authorization including SMS and Policy profiles).</a:t>
            </a:r>
          </a:p>
          <a:p>
            <a:pPr lvl="1"/>
            <a:endParaRPr lang="en-US" sz="1000"/>
          </a:p>
          <a:p>
            <a:pPr lvl="1"/>
            <a:endParaRPr lang="en-US" sz="1000"/>
          </a:p>
          <a:p>
            <a:r>
              <a:rPr lang="en-US" sz="1800" kern="0"/>
              <a:t>NEF may also use UDR as external storage for application and exposure data. </a:t>
            </a:r>
          </a:p>
          <a:p>
            <a:r>
              <a:rPr lang="en-US" sz="1800" kern="0"/>
              <a:t>Flexible UDR deployment options where each FE could use separate UDR.  </a:t>
            </a:r>
          </a:p>
          <a:p>
            <a:pPr lvl="1"/>
            <a:r>
              <a:rPr lang="en-US" sz="1600" kern="0"/>
              <a:t>E.g. NEF may use a separate UDR.</a:t>
            </a:r>
          </a:p>
        </p:txBody>
      </p:sp>
      <p:sp>
        <p:nvSpPr>
          <p:cNvPr id="2" name="Title 1"/>
          <p:cNvSpPr>
            <a:spLocks noGrp="1"/>
          </p:cNvSpPr>
          <p:nvPr>
            <p:ph type="title"/>
          </p:nvPr>
        </p:nvSpPr>
        <p:spPr>
          <a:xfrm>
            <a:off x="479424" y="476250"/>
            <a:ext cx="8580169" cy="1081088"/>
          </a:xfrm>
        </p:spPr>
        <p:txBody>
          <a:bodyPr>
            <a:normAutofit/>
          </a:bodyPr>
          <a:lstStyle/>
          <a:p>
            <a:r>
              <a:rPr lang="en-US"/>
              <a:t>Subscription Data Management</a:t>
            </a:r>
            <a:br>
              <a:rPr lang="en-US" sz="3600">
                <a:solidFill>
                  <a:schemeClr val="tx2"/>
                </a:solidFill>
              </a:rPr>
            </a:br>
            <a:r>
              <a:rPr lang="en-US" sz="3600">
                <a:solidFill>
                  <a:schemeClr val="tx2"/>
                </a:solidFill>
              </a:rPr>
              <a:t>Data storage – UDR</a:t>
            </a:r>
            <a:endParaRPr lang="en-US" sz="3200">
              <a:solidFill>
                <a:schemeClr val="tx2"/>
              </a:solidFill>
              <a:latin typeface="+mn-lt"/>
            </a:endParaRPr>
          </a:p>
        </p:txBody>
      </p:sp>
      <p:sp>
        <p:nvSpPr>
          <p:cNvPr id="42" name="Rectangle 41"/>
          <p:cNvSpPr/>
          <p:nvPr/>
        </p:nvSpPr>
        <p:spPr bwMode="auto">
          <a:xfrm>
            <a:off x="10293284" y="3705524"/>
            <a:ext cx="659496" cy="184515"/>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cxnSp>
        <p:nvCxnSpPr>
          <p:cNvPr id="85" name="Straight Connector 84">
            <a:extLst>
              <a:ext uri="{FF2B5EF4-FFF2-40B4-BE49-F238E27FC236}">
                <a16:creationId xmlns:a16="http://schemas.microsoft.com/office/drawing/2014/main" id="{4CAC7DAC-182E-40D2-8227-97FF197D79D4}"/>
              </a:ext>
            </a:extLst>
          </p:cNvPr>
          <p:cNvCxnSpPr>
            <a:cxnSpLocks/>
          </p:cNvCxnSpPr>
          <p:nvPr/>
        </p:nvCxnSpPr>
        <p:spPr bwMode="auto">
          <a:xfrm flipV="1">
            <a:off x="1039479" y="5338635"/>
            <a:ext cx="4255171" cy="25261"/>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87" name="Straight Connector 86">
            <a:extLst>
              <a:ext uri="{FF2B5EF4-FFF2-40B4-BE49-F238E27FC236}">
                <a16:creationId xmlns:a16="http://schemas.microsoft.com/office/drawing/2014/main" id="{2C86EFC5-05F2-468B-A4CE-D6018916B9B1}"/>
              </a:ext>
            </a:extLst>
          </p:cNvPr>
          <p:cNvCxnSpPr>
            <a:cxnSpLocks/>
            <a:stCxn id="115" idx="2"/>
          </p:cNvCxnSpPr>
          <p:nvPr/>
        </p:nvCxnSpPr>
        <p:spPr bwMode="auto">
          <a:xfrm>
            <a:off x="1514487" y="4880125"/>
            <a:ext cx="6086" cy="46312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cxnSp>
        <p:nvCxnSpPr>
          <p:cNvPr id="90" name="Straight Connector 89">
            <a:extLst>
              <a:ext uri="{FF2B5EF4-FFF2-40B4-BE49-F238E27FC236}">
                <a16:creationId xmlns:a16="http://schemas.microsoft.com/office/drawing/2014/main" id="{5BF7F442-E19A-4D00-BE02-8B0C8E83F635}"/>
              </a:ext>
            </a:extLst>
          </p:cNvPr>
          <p:cNvCxnSpPr>
            <a:cxnSpLocks/>
          </p:cNvCxnSpPr>
          <p:nvPr/>
        </p:nvCxnSpPr>
        <p:spPr bwMode="auto">
          <a:xfrm>
            <a:off x="2853075" y="4866474"/>
            <a:ext cx="7186" cy="478160"/>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92" name="Oval 91">
            <a:extLst>
              <a:ext uri="{FF2B5EF4-FFF2-40B4-BE49-F238E27FC236}">
                <a16:creationId xmlns:a16="http://schemas.microsoft.com/office/drawing/2014/main" id="{A8CFFEA8-4563-484E-BD4D-B43C1672D79D}"/>
              </a:ext>
            </a:extLst>
          </p:cNvPr>
          <p:cNvSpPr/>
          <p:nvPr/>
        </p:nvSpPr>
        <p:spPr bwMode="auto">
          <a:xfrm>
            <a:off x="1454444" y="5013329"/>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a:latin typeface="+mn-lt"/>
            </a:endParaRPr>
          </a:p>
        </p:txBody>
      </p:sp>
      <p:sp>
        <p:nvSpPr>
          <p:cNvPr id="93" name="Oval 92">
            <a:extLst>
              <a:ext uri="{FF2B5EF4-FFF2-40B4-BE49-F238E27FC236}">
                <a16:creationId xmlns:a16="http://schemas.microsoft.com/office/drawing/2014/main" id="{15F6BFC5-FF74-439C-8E9B-ACFB41FB01E0}"/>
              </a:ext>
            </a:extLst>
          </p:cNvPr>
          <p:cNvSpPr/>
          <p:nvPr/>
        </p:nvSpPr>
        <p:spPr bwMode="auto">
          <a:xfrm>
            <a:off x="2787073" y="5005763"/>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a:latin typeface="+mn-lt"/>
            </a:endParaRPr>
          </a:p>
        </p:txBody>
      </p:sp>
      <p:cxnSp>
        <p:nvCxnSpPr>
          <p:cNvPr id="129" name="Straight Connector 128">
            <a:extLst>
              <a:ext uri="{FF2B5EF4-FFF2-40B4-BE49-F238E27FC236}">
                <a16:creationId xmlns:a16="http://schemas.microsoft.com/office/drawing/2014/main" id="{E17C7635-7156-47FD-AF67-0D4EAB386510}"/>
              </a:ext>
            </a:extLst>
          </p:cNvPr>
          <p:cNvCxnSpPr>
            <a:cxnSpLocks/>
            <a:stCxn id="132" idx="2"/>
          </p:cNvCxnSpPr>
          <p:nvPr/>
        </p:nvCxnSpPr>
        <p:spPr bwMode="auto">
          <a:xfrm>
            <a:off x="4148287" y="4881578"/>
            <a:ext cx="0" cy="453228"/>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30" name="Oval 129">
            <a:extLst>
              <a:ext uri="{FF2B5EF4-FFF2-40B4-BE49-F238E27FC236}">
                <a16:creationId xmlns:a16="http://schemas.microsoft.com/office/drawing/2014/main" id="{47C7EEBE-B5E8-4B33-B9A9-1AABF3C88CC6}"/>
              </a:ext>
            </a:extLst>
          </p:cNvPr>
          <p:cNvSpPr/>
          <p:nvPr/>
        </p:nvSpPr>
        <p:spPr bwMode="auto">
          <a:xfrm>
            <a:off x="4075099" y="4995935"/>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a:latin typeface="+mn-lt"/>
            </a:endParaRPr>
          </a:p>
        </p:txBody>
      </p:sp>
      <p:cxnSp>
        <p:nvCxnSpPr>
          <p:cNvPr id="144" name="Straight Connector 143">
            <a:extLst>
              <a:ext uri="{FF2B5EF4-FFF2-40B4-BE49-F238E27FC236}">
                <a16:creationId xmlns:a16="http://schemas.microsoft.com/office/drawing/2014/main" id="{C816692E-F73C-43ED-9669-E16E154615B9}"/>
              </a:ext>
            </a:extLst>
          </p:cNvPr>
          <p:cNvCxnSpPr>
            <a:cxnSpLocks/>
            <a:stCxn id="113" idx="2"/>
          </p:cNvCxnSpPr>
          <p:nvPr/>
        </p:nvCxnSpPr>
        <p:spPr bwMode="auto">
          <a:xfrm flipH="1">
            <a:off x="2185123" y="3728649"/>
            <a:ext cx="3402" cy="1629151"/>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45" name="Oval 144">
            <a:extLst>
              <a:ext uri="{FF2B5EF4-FFF2-40B4-BE49-F238E27FC236}">
                <a16:creationId xmlns:a16="http://schemas.microsoft.com/office/drawing/2014/main" id="{5B19D1F6-E86C-41E6-A4AF-1DBACDB5AB31}"/>
              </a:ext>
            </a:extLst>
          </p:cNvPr>
          <p:cNvSpPr/>
          <p:nvPr/>
        </p:nvSpPr>
        <p:spPr bwMode="auto">
          <a:xfrm>
            <a:off x="2120487" y="3864641"/>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a:latin typeface="+mn-lt"/>
            </a:endParaRPr>
          </a:p>
        </p:txBody>
      </p:sp>
      <p:cxnSp>
        <p:nvCxnSpPr>
          <p:cNvPr id="200" name="Straight Connector 199">
            <a:extLst>
              <a:ext uri="{FF2B5EF4-FFF2-40B4-BE49-F238E27FC236}">
                <a16:creationId xmlns:a16="http://schemas.microsoft.com/office/drawing/2014/main" id="{F9D643FB-574E-47C6-B01A-E4D5ABB1A674}"/>
              </a:ext>
            </a:extLst>
          </p:cNvPr>
          <p:cNvCxnSpPr>
            <a:cxnSpLocks/>
            <a:stCxn id="120" idx="2"/>
          </p:cNvCxnSpPr>
          <p:nvPr/>
        </p:nvCxnSpPr>
        <p:spPr bwMode="auto">
          <a:xfrm>
            <a:off x="4837322" y="3717062"/>
            <a:ext cx="13349" cy="161774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01" name="Oval 200">
            <a:extLst>
              <a:ext uri="{FF2B5EF4-FFF2-40B4-BE49-F238E27FC236}">
                <a16:creationId xmlns:a16="http://schemas.microsoft.com/office/drawing/2014/main" id="{6DFA998B-88EA-4BA0-9B38-5699E4067A9C}"/>
              </a:ext>
            </a:extLst>
          </p:cNvPr>
          <p:cNvSpPr/>
          <p:nvPr/>
        </p:nvSpPr>
        <p:spPr bwMode="auto">
          <a:xfrm>
            <a:off x="4765091" y="3855539"/>
            <a:ext cx="145622" cy="14043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a:latin typeface="+mn-lt"/>
            </a:endParaRPr>
          </a:p>
        </p:txBody>
      </p:sp>
      <p:sp>
        <p:nvSpPr>
          <p:cNvPr id="89" name="Rounded Rectangle 76">
            <a:extLst>
              <a:ext uri="{FF2B5EF4-FFF2-40B4-BE49-F238E27FC236}">
                <a16:creationId xmlns:a16="http://schemas.microsoft.com/office/drawing/2014/main" id="{DFD41FB2-F65E-469A-9409-45A89F371A18}"/>
              </a:ext>
            </a:extLst>
          </p:cNvPr>
          <p:cNvSpPr/>
          <p:nvPr/>
        </p:nvSpPr>
        <p:spPr bwMode="auto">
          <a:xfrm>
            <a:off x="695160" y="1632693"/>
            <a:ext cx="1795158" cy="1087990"/>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200" b="1">
                <a:latin typeface="+mn-lt"/>
              </a:rPr>
              <a:t>5G Ready Subs profs</a:t>
            </a:r>
          </a:p>
          <a:p>
            <a:pPr marL="285750" indent="-285750">
              <a:spcBef>
                <a:spcPts val="0"/>
              </a:spcBef>
              <a:buFontTx/>
              <a:buChar char="-"/>
            </a:pPr>
            <a:r>
              <a:rPr lang="en-US" sz="1200">
                <a:latin typeface="+mn-lt"/>
              </a:rPr>
              <a:t>Security</a:t>
            </a:r>
          </a:p>
          <a:p>
            <a:pPr marL="285750" indent="-285750">
              <a:spcBef>
                <a:spcPts val="0"/>
              </a:spcBef>
              <a:buFontTx/>
              <a:buChar char="-"/>
            </a:pPr>
            <a:r>
              <a:rPr lang="en-US" sz="1200">
                <a:latin typeface="+mn-lt"/>
              </a:rPr>
              <a:t>Access &amp; Service</a:t>
            </a:r>
          </a:p>
          <a:p>
            <a:pPr marL="285750" indent="-285750">
              <a:spcBef>
                <a:spcPts val="0"/>
              </a:spcBef>
              <a:buFontTx/>
              <a:buChar char="-"/>
            </a:pPr>
            <a:r>
              <a:rPr lang="en-US" sz="1200">
                <a:latin typeface="+mn-lt"/>
              </a:rPr>
              <a:t>Policy</a:t>
            </a:r>
          </a:p>
          <a:p>
            <a:pPr marL="285750" indent="-285750">
              <a:spcBef>
                <a:spcPts val="0"/>
              </a:spcBef>
              <a:buFontTx/>
              <a:buChar char="-"/>
            </a:pPr>
            <a:r>
              <a:rPr lang="en-US" sz="1200">
                <a:latin typeface="+mn-lt"/>
              </a:rPr>
              <a:t>SMS</a:t>
            </a:r>
          </a:p>
        </p:txBody>
      </p:sp>
      <p:sp>
        <p:nvSpPr>
          <p:cNvPr id="91" name="Freeform 8">
            <a:extLst>
              <a:ext uri="{FF2B5EF4-FFF2-40B4-BE49-F238E27FC236}">
                <a16:creationId xmlns:a16="http://schemas.microsoft.com/office/drawing/2014/main" id="{80FE24E8-FC49-4D47-8CC4-4C5A2AFA7769}"/>
              </a:ext>
            </a:extLst>
          </p:cNvPr>
          <p:cNvSpPr>
            <a:spLocks noChangeAspect="1" noEditPoints="1"/>
          </p:cNvSpPr>
          <p:nvPr/>
        </p:nvSpPr>
        <p:spPr bwMode="auto">
          <a:xfrm>
            <a:off x="556784" y="2787919"/>
            <a:ext cx="447862" cy="539037"/>
          </a:xfrm>
          <a:custGeom>
            <a:avLst/>
            <a:gdLst>
              <a:gd name="T0" fmla="*/ 2147483647 w 304"/>
              <a:gd name="T1" fmla="*/ 2147483647 h 355"/>
              <a:gd name="T2" fmla="*/ 2147483647 w 304"/>
              <a:gd name="T3" fmla="*/ 2147483647 h 355"/>
              <a:gd name="T4" fmla="*/ 2147483647 w 304"/>
              <a:gd name="T5" fmla="*/ 2147483647 h 355"/>
              <a:gd name="T6" fmla="*/ 2147483647 w 304"/>
              <a:gd name="T7" fmla="*/ 2147483647 h 355"/>
              <a:gd name="T8" fmla="*/ 2147483647 w 304"/>
              <a:gd name="T9" fmla="*/ 2147483647 h 355"/>
              <a:gd name="T10" fmla="*/ 2147483647 w 304"/>
              <a:gd name="T11" fmla="*/ 2147483647 h 355"/>
              <a:gd name="T12" fmla="*/ 2147483647 w 304"/>
              <a:gd name="T13" fmla="*/ 2147483647 h 355"/>
              <a:gd name="T14" fmla="*/ 2147483647 w 304"/>
              <a:gd name="T15" fmla="*/ 2147483647 h 355"/>
              <a:gd name="T16" fmla="*/ 2147483647 w 304"/>
              <a:gd name="T17" fmla="*/ 2147483647 h 355"/>
              <a:gd name="T18" fmla="*/ 2147483647 w 304"/>
              <a:gd name="T19" fmla="*/ 2147483647 h 355"/>
              <a:gd name="T20" fmla="*/ 2147483647 w 304"/>
              <a:gd name="T21" fmla="*/ 2147483647 h 355"/>
              <a:gd name="T22" fmla="*/ 2147483647 w 304"/>
              <a:gd name="T23" fmla="*/ 2147483647 h 355"/>
              <a:gd name="T24" fmla="*/ 2147483647 w 304"/>
              <a:gd name="T25" fmla="*/ 2147483647 h 355"/>
              <a:gd name="T26" fmla="*/ 2147483647 w 304"/>
              <a:gd name="T27" fmla="*/ 2147483647 h 355"/>
              <a:gd name="T28" fmla="*/ 2147483647 w 304"/>
              <a:gd name="T29" fmla="*/ 0 h 355"/>
              <a:gd name="T30" fmla="*/ 0 w 304"/>
              <a:gd name="T31" fmla="*/ 2147483647 h 355"/>
              <a:gd name="T32" fmla="*/ 2147483647 w 304"/>
              <a:gd name="T33" fmla="*/ 2147483647 h 355"/>
              <a:gd name="T34" fmla="*/ 2147483647 w 304"/>
              <a:gd name="T35" fmla="*/ 2147483647 h 355"/>
              <a:gd name="T36" fmla="*/ 2147483647 w 304"/>
              <a:gd name="T37" fmla="*/ 2147483647 h 355"/>
              <a:gd name="T38" fmla="*/ 2147483647 w 304"/>
              <a:gd name="T39" fmla="*/ 2147483647 h 355"/>
              <a:gd name="T40" fmla="*/ 2147483647 w 304"/>
              <a:gd name="T41" fmla="*/ 2147483647 h 355"/>
              <a:gd name="T42" fmla="*/ 2147483647 w 304"/>
              <a:gd name="T43" fmla="*/ 2147483647 h 355"/>
              <a:gd name="T44" fmla="*/ 2147483647 w 304"/>
              <a:gd name="T45" fmla="*/ 2147483647 h 355"/>
              <a:gd name="T46" fmla="*/ 2147483647 w 304"/>
              <a:gd name="T47" fmla="*/ 2147483647 h 355"/>
              <a:gd name="T48" fmla="*/ 2147483647 w 304"/>
              <a:gd name="T49" fmla="*/ 2147483647 h 355"/>
              <a:gd name="T50" fmla="*/ 2147483647 w 304"/>
              <a:gd name="T51" fmla="*/ 2147483647 h 355"/>
              <a:gd name="T52" fmla="*/ 2147483647 w 304"/>
              <a:gd name="T53" fmla="*/ 2147483647 h 355"/>
              <a:gd name="T54" fmla="*/ 2147483647 w 304"/>
              <a:gd name="T55" fmla="*/ 2147483647 h 355"/>
              <a:gd name="T56" fmla="*/ 2147483647 w 304"/>
              <a:gd name="T57" fmla="*/ 2147483647 h 355"/>
              <a:gd name="T58" fmla="*/ 2147483647 w 304"/>
              <a:gd name="T59" fmla="*/ 2147483647 h 355"/>
              <a:gd name="T60" fmla="*/ 2147483647 w 304"/>
              <a:gd name="T61" fmla="*/ 2147483647 h 355"/>
              <a:gd name="T62" fmla="*/ 2147483647 w 304"/>
              <a:gd name="T63" fmla="*/ 2147483647 h 355"/>
              <a:gd name="T64" fmla="*/ 2147483647 w 304"/>
              <a:gd name="T65" fmla="*/ 2147483647 h 355"/>
              <a:gd name="T66" fmla="*/ 2147483647 w 304"/>
              <a:gd name="T67" fmla="*/ 2147483647 h 355"/>
              <a:gd name="T68" fmla="*/ 2147483647 w 304"/>
              <a:gd name="T69" fmla="*/ 2147483647 h 355"/>
              <a:gd name="T70" fmla="*/ 2147483647 w 304"/>
              <a:gd name="T71" fmla="*/ 2147483647 h 355"/>
              <a:gd name="T72" fmla="*/ 2147483647 w 304"/>
              <a:gd name="T73" fmla="*/ 2147483647 h 355"/>
              <a:gd name="T74" fmla="*/ 2147483647 w 304"/>
              <a:gd name="T75" fmla="*/ 2147483647 h 355"/>
              <a:gd name="T76" fmla="*/ 2147483647 w 304"/>
              <a:gd name="T77" fmla="*/ 2147483647 h 35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4" h="355">
                <a:moveTo>
                  <a:pt x="178" y="93"/>
                </a:moveTo>
                <a:cubicBezTo>
                  <a:pt x="170" y="89"/>
                  <a:pt x="161" y="87"/>
                  <a:pt x="152" y="87"/>
                </a:cubicBezTo>
                <a:cubicBezTo>
                  <a:pt x="119" y="88"/>
                  <a:pt x="92" y="114"/>
                  <a:pt x="92" y="148"/>
                </a:cubicBezTo>
                <a:cubicBezTo>
                  <a:pt x="92" y="181"/>
                  <a:pt x="119" y="208"/>
                  <a:pt x="152" y="208"/>
                </a:cubicBezTo>
                <a:cubicBezTo>
                  <a:pt x="185" y="208"/>
                  <a:pt x="212" y="181"/>
                  <a:pt x="212" y="148"/>
                </a:cubicBezTo>
                <a:cubicBezTo>
                  <a:pt x="212" y="139"/>
                  <a:pt x="210" y="130"/>
                  <a:pt x="207" y="122"/>
                </a:cubicBezTo>
                <a:cubicBezTo>
                  <a:pt x="201" y="109"/>
                  <a:pt x="190" y="99"/>
                  <a:pt x="178" y="93"/>
                </a:cubicBezTo>
                <a:close/>
                <a:moveTo>
                  <a:pt x="231" y="187"/>
                </a:moveTo>
                <a:cubicBezTo>
                  <a:pt x="248" y="183"/>
                  <a:pt x="260" y="168"/>
                  <a:pt x="260" y="150"/>
                </a:cubicBezTo>
                <a:cubicBezTo>
                  <a:pt x="260" y="135"/>
                  <a:pt x="250" y="122"/>
                  <a:pt x="238" y="116"/>
                </a:cubicBezTo>
                <a:cubicBezTo>
                  <a:pt x="234" y="105"/>
                  <a:pt x="228" y="93"/>
                  <a:pt x="218" y="83"/>
                </a:cubicBezTo>
                <a:cubicBezTo>
                  <a:pt x="202" y="67"/>
                  <a:pt x="180" y="58"/>
                  <a:pt x="152" y="58"/>
                </a:cubicBezTo>
                <a:cubicBezTo>
                  <a:pt x="124" y="58"/>
                  <a:pt x="102" y="67"/>
                  <a:pt x="86" y="83"/>
                </a:cubicBezTo>
                <a:cubicBezTo>
                  <a:pt x="76" y="93"/>
                  <a:pt x="70" y="105"/>
                  <a:pt x="66" y="116"/>
                </a:cubicBezTo>
                <a:cubicBezTo>
                  <a:pt x="54" y="122"/>
                  <a:pt x="44" y="135"/>
                  <a:pt x="44" y="150"/>
                </a:cubicBezTo>
                <a:cubicBezTo>
                  <a:pt x="44" y="168"/>
                  <a:pt x="56" y="183"/>
                  <a:pt x="73" y="187"/>
                </a:cubicBezTo>
                <a:cubicBezTo>
                  <a:pt x="77" y="188"/>
                  <a:pt x="80" y="184"/>
                  <a:pt x="80" y="180"/>
                </a:cubicBezTo>
                <a:cubicBezTo>
                  <a:pt x="80" y="180"/>
                  <a:pt x="80" y="132"/>
                  <a:pt x="80" y="128"/>
                </a:cubicBezTo>
                <a:cubicBezTo>
                  <a:pt x="80" y="124"/>
                  <a:pt x="83" y="118"/>
                  <a:pt x="83" y="116"/>
                </a:cubicBezTo>
                <a:cubicBezTo>
                  <a:pt x="87" y="108"/>
                  <a:pt x="91" y="101"/>
                  <a:pt x="97" y="95"/>
                </a:cubicBezTo>
                <a:cubicBezTo>
                  <a:pt x="111" y="81"/>
                  <a:pt x="129" y="74"/>
                  <a:pt x="152" y="74"/>
                </a:cubicBezTo>
                <a:cubicBezTo>
                  <a:pt x="175" y="74"/>
                  <a:pt x="193" y="81"/>
                  <a:pt x="206" y="94"/>
                </a:cubicBezTo>
                <a:cubicBezTo>
                  <a:pt x="213" y="101"/>
                  <a:pt x="217" y="108"/>
                  <a:pt x="221" y="116"/>
                </a:cubicBezTo>
                <a:cubicBezTo>
                  <a:pt x="221" y="116"/>
                  <a:pt x="224" y="123"/>
                  <a:pt x="224" y="128"/>
                </a:cubicBezTo>
                <a:cubicBezTo>
                  <a:pt x="224" y="132"/>
                  <a:pt x="224" y="180"/>
                  <a:pt x="224" y="180"/>
                </a:cubicBezTo>
                <a:cubicBezTo>
                  <a:pt x="224" y="184"/>
                  <a:pt x="227" y="188"/>
                  <a:pt x="231" y="187"/>
                </a:cubicBezTo>
                <a:close/>
                <a:moveTo>
                  <a:pt x="296" y="41"/>
                </a:moveTo>
                <a:cubicBezTo>
                  <a:pt x="300" y="41"/>
                  <a:pt x="304" y="37"/>
                  <a:pt x="304" y="33"/>
                </a:cubicBezTo>
                <a:cubicBezTo>
                  <a:pt x="304" y="25"/>
                  <a:pt x="304" y="25"/>
                  <a:pt x="304" y="25"/>
                </a:cubicBezTo>
                <a:cubicBezTo>
                  <a:pt x="304" y="12"/>
                  <a:pt x="293" y="0"/>
                  <a:pt x="279" y="0"/>
                </a:cubicBezTo>
                <a:cubicBezTo>
                  <a:pt x="25" y="0"/>
                  <a:pt x="25" y="0"/>
                  <a:pt x="25" y="0"/>
                </a:cubicBezTo>
                <a:cubicBezTo>
                  <a:pt x="11" y="0"/>
                  <a:pt x="0" y="12"/>
                  <a:pt x="0" y="25"/>
                </a:cubicBezTo>
                <a:cubicBezTo>
                  <a:pt x="0" y="222"/>
                  <a:pt x="0" y="222"/>
                  <a:pt x="0" y="222"/>
                </a:cubicBezTo>
                <a:cubicBezTo>
                  <a:pt x="0" y="236"/>
                  <a:pt x="11" y="247"/>
                  <a:pt x="25" y="247"/>
                </a:cubicBezTo>
                <a:cubicBezTo>
                  <a:pt x="68" y="247"/>
                  <a:pt x="68" y="247"/>
                  <a:pt x="68" y="247"/>
                </a:cubicBezTo>
                <a:cubicBezTo>
                  <a:pt x="67" y="251"/>
                  <a:pt x="66" y="256"/>
                  <a:pt x="66" y="260"/>
                </a:cubicBezTo>
                <a:cubicBezTo>
                  <a:pt x="66" y="283"/>
                  <a:pt x="66" y="335"/>
                  <a:pt x="66" y="335"/>
                </a:cubicBezTo>
                <a:cubicBezTo>
                  <a:pt x="66" y="345"/>
                  <a:pt x="74" y="355"/>
                  <a:pt x="84" y="355"/>
                </a:cubicBezTo>
                <a:cubicBezTo>
                  <a:pt x="220" y="355"/>
                  <a:pt x="220" y="355"/>
                  <a:pt x="220" y="355"/>
                </a:cubicBezTo>
                <a:cubicBezTo>
                  <a:pt x="230" y="355"/>
                  <a:pt x="238" y="345"/>
                  <a:pt x="238" y="335"/>
                </a:cubicBezTo>
                <a:cubicBezTo>
                  <a:pt x="238" y="335"/>
                  <a:pt x="238" y="283"/>
                  <a:pt x="238" y="260"/>
                </a:cubicBezTo>
                <a:cubicBezTo>
                  <a:pt x="238" y="256"/>
                  <a:pt x="237" y="251"/>
                  <a:pt x="236" y="247"/>
                </a:cubicBezTo>
                <a:cubicBezTo>
                  <a:pt x="279" y="247"/>
                  <a:pt x="279" y="247"/>
                  <a:pt x="279" y="247"/>
                </a:cubicBezTo>
                <a:cubicBezTo>
                  <a:pt x="293" y="247"/>
                  <a:pt x="304" y="236"/>
                  <a:pt x="304" y="222"/>
                </a:cubicBezTo>
                <a:cubicBezTo>
                  <a:pt x="304" y="65"/>
                  <a:pt x="304" y="65"/>
                  <a:pt x="304" y="65"/>
                </a:cubicBezTo>
                <a:cubicBezTo>
                  <a:pt x="304" y="60"/>
                  <a:pt x="300" y="57"/>
                  <a:pt x="296" y="57"/>
                </a:cubicBezTo>
                <a:cubicBezTo>
                  <a:pt x="291" y="57"/>
                  <a:pt x="287" y="60"/>
                  <a:pt x="287" y="65"/>
                </a:cubicBezTo>
                <a:cubicBezTo>
                  <a:pt x="287" y="222"/>
                  <a:pt x="287" y="222"/>
                  <a:pt x="287" y="222"/>
                </a:cubicBezTo>
                <a:cubicBezTo>
                  <a:pt x="287" y="227"/>
                  <a:pt x="284" y="230"/>
                  <a:pt x="279" y="230"/>
                </a:cubicBezTo>
                <a:cubicBezTo>
                  <a:pt x="228" y="230"/>
                  <a:pt x="228" y="230"/>
                  <a:pt x="228" y="230"/>
                </a:cubicBezTo>
                <a:cubicBezTo>
                  <a:pt x="227" y="228"/>
                  <a:pt x="226" y="226"/>
                  <a:pt x="224" y="224"/>
                </a:cubicBezTo>
                <a:cubicBezTo>
                  <a:pt x="219" y="217"/>
                  <a:pt x="212" y="211"/>
                  <a:pt x="205" y="207"/>
                </a:cubicBezTo>
                <a:cubicBezTo>
                  <a:pt x="192" y="223"/>
                  <a:pt x="173" y="229"/>
                  <a:pt x="152" y="229"/>
                </a:cubicBezTo>
                <a:cubicBezTo>
                  <a:pt x="131" y="229"/>
                  <a:pt x="112" y="223"/>
                  <a:pt x="99" y="207"/>
                </a:cubicBezTo>
                <a:cubicBezTo>
                  <a:pt x="92" y="211"/>
                  <a:pt x="85" y="217"/>
                  <a:pt x="80" y="224"/>
                </a:cubicBezTo>
                <a:cubicBezTo>
                  <a:pt x="78" y="226"/>
                  <a:pt x="77" y="228"/>
                  <a:pt x="76" y="230"/>
                </a:cubicBezTo>
                <a:cubicBezTo>
                  <a:pt x="25" y="230"/>
                  <a:pt x="25" y="230"/>
                  <a:pt x="25" y="230"/>
                </a:cubicBezTo>
                <a:cubicBezTo>
                  <a:pt x="20" y="230"/>
                  <a:pt x="17" y="227"/>
                  <a:pt x="17" y="222"/>
                </a:cubicBezTo>
                <a:cubicBezTo>
                  <a:pt x="17" y="25"/>
                  <a:pt x="17" y="25"/>
                  <a:pt x="17" y="25"/>
                </a:cubicBezTo>
                <a:cubicBezTo>
                  <a:pt x="17" y="21"/>
                  <a:pt x="20" y="17"/>
                  <a:pt x="25" y="17"/>
                </a:cubicBezTo>
                <a:cubicBezTo>
                  <a:pt x="279" y="17"/>
                  <a:pt x="279" y="17"/>
                  <a:pt x="279" y="17"/>
                </a:cubicBezTo>
                <a:cubicBezTo>
                  <a:pt x="284" y="17"/>
                  <a:pt x="287" y="21"/>
                  <a:pt x="287" y="25"/>
                </a:cubicBezTo>
                <a:cubicBezTo>
                  <a:pt x="287" y="33"/>
                  <a:pt x="287" y="33"/>
                  <a:pt x="287" y="33"/>
                </a:cubicBezTo>
                <a:cubicBezTo>
                  <a:pt x="287" y="37"/>
                  <a:pt x="291" y="41"/>
                  <a:pt x="296" y="41"/>
                </a:cubicBezTo>
                <a:close/>
                <a:moveTo>
                  <a:pt x="193" y="255"/>
                </a:moveTo>
                <a:cubicBezTo>
                  <a:pt x="193" y="250"/>
                  <a:pt x="197" y="247"/>
                  <a:pt x="201" y="247"/>
                </a:cubicBezTo>
                <a:cubicBezTo>
                  <a:pt x="206" y="247"/>
                  <a:pt x="209" y="250"/>
                  <a:pt x="209" y="255"/>
                </a:cubicBezTo>
                <a:cubicBezTo>
                  <a:pt x="209" y="324"/>
                  <a:pt x="209" y="324"/>
                  <a:pt x="209" y="324"/>
                </a:cubicBezTo>
                <a:cubicBezTo>
                  <a:pt x="209" y="328"/>
                  <a:pt x="206" y="332"/>
                  <a:pt x="201" y="332"/>
                </a:cubicBezTo>
                <a:cubicBezTo>
                  <a:pt x="197" y="332"/>
                  <a:pt x="193" y="328"/>
                  <a:pt x="193" y="324"/>
                </a:cubicBezTo>
                <a:lnTo>
                  <a:pt x="193" y="255"/>
                </a:lnTo>
                <a:close/>
                <a:moveTo>
                  <a:pt x="95" y="255"/>
                </a:moveTo>
                <a:cubicBezTo>
                  <a:pt x="95" y="250"/>
                  <a:pt x="98" y="247"/>
                  <a:pt x="103" y="247"/>
                </a:cubicBezTo>
                <a:cubicBezTo>
                  <a:pt x="107" y="247"/>
                  <a:pt x="111" y="250"/>
                  <a:pt x="111" y="255"/>
                </a:cubicBezTo>
                <a:cubicBezTo>
                  <a:pt x="111" y="324"/>
                  <a:pt x="111" y="324"/>
                  <a:pt x="111" y="324"/>
                </a:cubicBezTo>
                <a:cubicBezTo>
                  <a:pt x="111" y="328"/>
                  <a:pt x="107" y="332"/>
                  <a:pt x="103" y="332"/>
                </a:cubicBezTo>
                <a:cubicBezTo>
                  <a:pt x="98" y="332"/>
                  <a:pt x="95" y="328"/>
                  <a:pt x="95" y="324"/>
                </a:cubicBezTo>
                <a:lnTo>
                  <a:pt x="95" y="25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n-lt"/>
            </a:endParaRPr>
          </a:p>
        </p:txBody>
      </p:sp>
      <p:sp>
        <p:nvSpPr>
          <p:cNvPr id="94" name="Text Box 9">
            <a:extLst>
              <a:ext uri="{FF2B5EF4-FFF2-40B4-BE49-F238E27FC236}">
                <a16:creationId xmlns:a16="http://schemas.microsoft.com/office/drawing/2014/main" id="{709A552B-914E-438F-BB2C-2293E0214D11}"/>
              </a:ext>
            </a:extLst>
          </p:cNvPr>
          <p:cNvSpPr txBox="1">
            <a:spLocks noChangeArrowheads="1"/>
          </p:cNvSpPr>
          <p:nvPr/>
        </p:nvSpPr>
        <p:spPr bwMode="auto">
          <a:xfrm>
            <a:off x="479425" y="3308803"/>
            <a:ext cx="67439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spAutoFit/>
          </a:bodyP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eaLnBrk="1" hangingPunct="1">
              <a:spcBef>
                <a:spcPct val="50000"/>
              </a:spcBef>
              <a:buClrTx/>
              <a:buFontTx/>
              <a:buNone/>
            </a:pPr>
            <a:r>
              <a:rPr lang="sv-SE" altLang="en-US" sz="2000">
                <a:solidFill>
                  <a:schemeClr val="accent2"/>
                </a:solidFill>
                <a:latin typeface="+mn-lt"/>
              </a:rPr>
              <a:t>CAS</a:t>
            </a:r>
            <a:endParaRPr lang="en-US" altLang="en-US" sz="2000">
              <a:solidFill>
                <a:schemeClr val="accent2"/>
              </a:solidFill>
              <a:latin typeface="+mn-lt"/>
            </a:endParaRPr>
          </a:p>
        </p:txBody>
      </p:sp>
      <p:cxnSp>
        <p:nvCxnSpPr>
          <p:cNvPr id="95" name="Straight Connector 94">
            <a:extLst>
              <a:ext uri="{FF2B5EF4-FFF2-40B4-BE49-F238E27FC236}">
                <a16:creationId xmlns:a16="http://schemas.microsoft.com/office/drawing/2014/main" id="{FEF3661F-4A14-42DD-BEEF-E50D7D7D1A36}"/>
              </a:ext>
            </a:extLst>
          </p:cNvPr>
          <p:cNvCxnSpPr>
            <a:cxnSpLocks/>
            <a:endCxn id="113" idx="1"/>
          </p:cNvCxnSpPr>
          <p:nvPr/>
        </p:nvCxnSpPr>
        <p:spPr bwMode="auto">
          <a:xfrm>
            <a:off x="1020688" y="3211995"/>
            <a:ext cx="839905" cy="58374"/>
          </a:xfrm>
          <a:prstGeom prst="line">
            <a:avLst/>
          </a:prstGeom>
          <a:noFill/>
          <a:ln w="38100">
            <a:solidFill>
              <a:schemeClr val="accent2"/>
            </a:solidFill>
            <a:prstDash val="solid"/>
            <a:round/>
            <a:headEnd/>
            <a:tailEnd/>
          </a:ln>
          <a:extLst>
            <a:ext uri="{909E8E84-426E-40DD-AFC4-6F175D3DCCD1}">
              <a14:hiddenFill xmlns:a14="http://schemas.microsoft.com/office/drawing/2010/main">
                <a:noFill/>
              </a14:hiddenFill>
            </a:ext>
          </a:extLst>
        </p:spPr>
      </p:cxnSp>
      <p:sp>
        <p:nvSpPr>
          <p:cNvPr id="96" name="Oval 95">
            <a:extLst>
              <a:ext uri="{FF2B5EF4-FFF2-40B4-BE49-F238E27FC236}">
                <a16:creationId xmlns:a16="http://schemas.microsoft.com/office/drawing/2014/main" id="{17323181-A0F7-4529-BD5C-8AD8E324B863}"/>
              </a:ext>
            </a:extLst>
          </p:cNvPr>
          <p:cNvSpPr/>
          <p:nvPr/>
        </p:nvSpPr>
        <p:spPr bwMode="auto">
          <a:xfrm rot="5400000">
            <a:off x="2106719" y="4849541"/>
            <a:ext cx="118013" cy="426596"/>
          </a:xfrm>
          <a:prstGeom prst="ellipse">
            <a:avLst/>
          </a:prstGeom>
          <a:noFill/>
          <a:ln w="12700" cap="flat" cmpd="sng" algn="ctr">
            <a:solidFill>
              <a:schemeClr val="tx2"/>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mn-lt"/>
            </a:endParaRPr>
          </a:p>
        </p:txBody>
      </p:sp>
      <p:cxnSp>
        <p:nvCxnSpPr>
          <p:cNvPr id="97" name="Straight Connector 96">
            <a:extLst>
              <a:ext uri="{FF2B5EF4-FFF2-40B4-BE49-F238E27FC236}">
                <a16:creationId xmlns:a16="http://schemas.microsoft.com/office/drawing/2014/main" id="{01D99651-B558-4A16-8DF5-EA6A6A0D9959}"/>
              </a:ext>
            </a:extLst>
          </p:cNvPr>
          <p:cNvCxnSpPr>
            <a:cxnSpLocks/>
            <a:stCxn id="96" idx="5"/>
          </p:cNvCxnSpPr>
          <p:nvPr/>
        </p:nvCxnSpPr>
        <p:spPr bwMode="auto">
          <a:xfrm flipH="1">
            <a:off x="1610840" y="5104563"/>
            <a:ext cx="404062" cy="801338"/>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8" name="Rounded Rectangle 76">
            <a:extLst>
              <a:ext uri="{FF2B5EF4-FFF2-40B4-BE49-F238E27FC236}">
                <a16:creationId xmlns:a16="http://schemas.microsoft.com/office/drawing/2014/main" id="{77772F62-12CE-48D7-BBD7-879190DA6FA0}"/>
              </a:ext>
            </a:extLst>
          </p:cNvPr>
          <p:cNvSpPr/>
          <p:nvPr/>
        </p:nvSpPr>
        <p:spPr bwMode="auto">
          <a:xfrm>
            <a:off x="1161277" y="5881295"/>
            <a:ext cx="1625796" cy="500455"/>
          </a:xfrm>
          <a:prstGeom prst="roundRect">
            <a:avLst>
              <a:gd name="adj" fmla="val 8832"/>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200">
                <a:latin typeface="+mn-lt"/>
              </a:rPr>
              <a:t>One path for policy data access via </a:t>
            </a:r>
            <a:r>
              <a:rPr lang="en-US" sz="1200" err="1">
                <a:latin typeface="+mn-lt"/>
              </a:rPr>
              <a:t>Nudr</a:t>
            </a:r>
            <a:r>
              <a:rPr lang="en-US" sz="1200">
                <a:latin typeface="+mn-lt"/>
              </a:rPr>
              <a:t> </a:t>
            </a:r>
          </a:p>
        </p:txBody>
      </p:sp>
      <p:sp>
        <p:nvSpPr>
          <p:cNvPr id="99" name="Text Box 144">
            <a:extLst>
              <a:ext uri="{FF2B5EF4-FFF2-40B4-BE49-F238E27FC236}">
                <a16:creationId xmlns:a16="http://schemas.microsoft.com/office/drawing/2014/main" id="{2210A824-D592-43FC-BB89-079F1BF27388}"/>
              </a:ext>
            </a:extLst>
          </p:cNvPr>
          <p:cNvSpPr txBox="1">
            <a:spLocks noChangeAspect="1" noChangeArrowheads="1"/>
          </p:cNvSpPr>
          <p:nvPr/>
        </p:nvSpPr>
        <p:spPr bwMode="auto">
          <a:xfrm>
            <a:off x="1490965" y="3773431"/>
            <a:ext cx="744044"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solidFill>
                  <a:schemeClr val="accent2"/>
                </a:solidFill>
                <a:latin typeface="+mn-lt"/>
              </a:rPr>
              <a:t>Nudr</a:t>
            </a:r>
            <a:endParaRPr lang="en-US" altLang="en-US" sz="1400">
              <a:solidFill>
                <a:schemeClr val="accent2"/>
              </a:solidFill>
              <a:latin typeface="+mn-lt"/>
            </a:endParaRPr>
          </a:p>
        </p:txBody>
      </p:sp>
      <p:sp>
        <p:nvSpPr>
          <p:cNvPr id="102" name="Rounded Rectangle 76">
            <a:extLst>
              <a:ext uri="{FF2B5EF4-FFF2-40B4-BE49-F238E27FC236}">
                <a16:creationId xmlns:a16="http://schemas.microsoft.com/office/drawing/2014/main" id="{90C6C933-C0E7-4EB4-83B5-53286B94A14D}"/>
              </a:ext>
            </a:extLst>
          </p:cNvPr>
          <p:cNvSpPr/>
          <p:nvPr/>
        </p:nvSpPr>
        <p:spPr bwMode="auto">
          <a:xfrm>
            <a:off x="2949191" y="2345521"/>
            <a:ext cx="2349533" cy="398810"/>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200" b="1">
                <a:latin typeface="+mn-lt"/>
              </a:rPr>
              <a:t>Application &amp; Exposure Data</a:t>
            </a:r>
          </a:p>
        </p:txBody>
      </p:sp>
      <p:sp>
        <p:nvSpPr>
          <p:cNvPr id="112" name="TextBox 111">
            <a:extLst>
              <a:ext uri="{FF2B5EF4-FFF2-40B4-BE49-F238E27FC236}">
                <a16:creationId xmlns:a16="http://schemas.microsoft.com/office/drawing/2014/main" id="{7DBCF4BC-C0A1-43D3-B58E-ACEDE84A17D5}"/>
              </a:ext>
            </a:extLst>
          </p:cNvPr>
          <p:cNvSpPr txBox="1"/>
          <p:nvPr/>
        </p:nvSpPr>
        <p:spPr bwMode="auto">
          <a:xfrm>
            <a:off x="1184941" y="3975309"/>
            <a:ext cx="662961" cy="90481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sz="1800">
                <a:latin typeface="Ericsson Technical Icons" panose="00000500000000000000" pitchFamily="2" charset="0"/>
              </a:rPr>
              <a:t>S</a:t>
            </a:r>
            <a:br>
              <a:rPr lang="en-US" sz="1800">
                <a:latin typeface="Ericsson Technical Icons" panose="00000500000000000000" pitchFamily="2" charset="0"/>
              </a:rPr>
            </a:br>
            <a:r>
              <a:rPr lang="en-US" sz="1800">
                <a:latin typeface="Ericsson Technical Icons" panose="00000500000000000000" pitchFamily="2" charset="0"/>
              </a:rPr>
              <a:t>D</a:t>
            </a: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0" i="0" u="none" strike="noStrike" kern="1200" cap="none" spc="0" normalizeH="0" baseline="0" noProof="0">
                <a:ln>
                  <a:noFill/>
                </a:ln>
                <a:effectLst/>
                <a:uLnTx/>
                <a:uFillTx/>
                <a:latin typeface="Ericsson Hilda"/>
                <a:ea typeface="+mn-ea"/>
                <a:cs typeface="+mn-cs"/>
              </a:rPr>
              <a:t>UDM/UDR</a:t>
            </a:r>
          </a:p>
        </p:txBody>
      </p:sp>
      <p:sp>
        <p:nvSpPr>
          <p:cNvPr id="113" name="TextBox 112">
            <a:extLst>
              <a:ext uri="{FF2B5EF4-FFF2-40B4-BE49-F238E27FC236}">
                <a16:creationId xmlns:a16="http://schemas.microsoft.com/office/drawing/2014/main" id="{4CDBE660-B3BF-4661-B3B9-5CFEF415C7FB}"/>
              </a:ext>
            </a:extLst>
          </p:cNvPr>
          <p:cNvSpPr txBox="1"/>
          <p:nvPr/>
        </p:nvSpPr>
        <p:spPr bwMode="auto">
          <a:xfrm>
            <a:off x="1860593" y="2812089"/>
            <a:ext cx="655864" cy="916560"/>
          </a:xfrm>
          <a:prstGeom prst="rect">
            <a:avLst/>
          </a:prstGeom>
          <a:solidFill>
            <a:schemeClr val="bg1"/>
          </a:solidFill>
          <a:ln w="1270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2"/>
                </a:solidFill>
                <a:effectLst/>
                <a:uLnTx/>
                <a:uFillTx/>
                <a:latin typeface="Ericsson Hilda"/>
                <a:ea typeface="+mn-ea"/>
                <a:cs typeface="+mn-cs"/>
              </a:rPr>
              <a:t>UDR</a:t>
            </a:r>
          </a:p>
        </p:txBody>
      </p:sp>
      <p:sp>
        <p:nvSpPr>
          <p:cNvPr id="115" name="TextBox 114">
            <a:extLst>
              <a:ext uri="{FF2B5EF4-FFF2-40B4-BE49-F238E27FC236}">
                <a16:creationId xmlns:a16="http://schemas.microsoft.com/office/drawing/2014/main" id="{B3190ED8-43E3-4652-99A9-D55016F3B483}"/>
              </a:ext>
            </a:extLst>
          </p:cNvPr>
          <p:cNvSpPr txBox="1"/>
          <p:nvPr/>
        </p:nvSpPr>
        <p:spPr bwMode="auto">
          <a:xfrm>
            <a:off x="1179460" y="3976644"/>
            <a:ext cx="670054" cy="903481"/>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UDM</a:t>
            </a:r>
          </a:p>
        </p:txBody>
      </p:sp>
      <p:sp>
        <p:nvSpPr>
          <p:cNvPr id="120" name="TextBox 119">
            <a:extLst>
              <a:ext uri="{FF2B5EF4-FFF2-40B4-BE49-F238E27FC236}">
                <a16:creationId xmlns:a16="http://schemas.microsoft.com/office/drawing/2014/main" id="{831FA8AE-C03E-49E7-A497-D448341CC782}"/>
              </a:ext>
            </a:extLst>
          </p:cNvPr>
          <p:cNvSpPr txBox="1"/>
          <p:nvPr/>
        </p:nvSpPr>
        <p:spPr bwMode="auto">
          <a:xfrm>
            <a:off x="4509390" y="2800502"/>
            <a:ext cx="655864" cy="916560"/>
          </a:xfrm>
          <a:prstGeom prst="rect">
            <a:avLst/>
          </a:prstGeom>
          <a:solidFill>
            <a:schemeClr val="bg1"/>
          </a:solidFill>
          <a:ln w="1270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D</a:t>
            </a:r>
            <a:endParaRPr kumimoji="0" lang="en-US" sz="7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solidFill>
                <a:schemeClr val="accent2"/>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2"/>
                </a:solidFill>
                <a:effectLst/>
                <a:uLnTx/>
                <a:uFillTx/>
                <a:latin typeface="Ericsson Hilda"/>
                <a:ea typeface="+mn-ea"/>
                <a:cs typeface="+mn-cs"/>
              </a:rPr>
              <a:t>UDR</a:t>
            </a:r>
          </a:p>
        </p:txBody>
      </p:sp>
    </p:spTree>
    <p:extLst>
      <p:ext uri="{BB962C8B-B14F-4D97-AF65-F5344CB8AC3E}">
        <p14:creationId xmlns:p14="http://schemas.microsoft.com/office/powerpoint/2010/main" val="378452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par>
                                <p:cTn id="9" presetID="10" presetClass="entr" presetSubtype="0" fill="hold" nodeType="withEffect">
                                  <p:stCondLst>
                                    <p:cond delay="0"/>
                                  </p:stCondLst>
                                  <p:childTnLst>
                                    <p:set>
                                      <p:cBhvr>
                                        <p:cTn id="10" dur="1" fill="hold">
                                          <p:stCondLst>
                                            <p:cond delay="0"/>
                                          </p:stCondLst>
                                        </p:cTn>
                                        <p:tgtEl>
                                          <p:spTgt spid="144"/>
                                        </p:tgtEl>
                                        <p:attrNameLst>
                                          <p:attrName>style.visibility</p:attrName>
                                        </p:attrNameLst>
                                      </p:cBhvr>
                                      <p:to>
                                        <p:strVal val="visible"/>
                                      </p:to>
                                    </p:set>
                                    <p:animEffect transition="in" filter="fade">
                                      <p:cBhvr>
                                        <p:cTn id="11" dur="500"/>
                                        <p:tgtEl>
                                          <p:spTgt spid="14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45"/>
                                        </p:tgtEl>
                                        <p:attrNameLst>
                                          <p:attrName>style.visibility</p:attrName>
                                        </p:attrNameLst>
                                      </p:cBhvr>
                                      <p:to>
                                        <p:strVal val="visible"/>
                                      </p:to>
                                    </p:set>
                                    <p:animEffect transition="in" filter="fade">
                                      <p:cBhvr>
                                        <p:cTn id="14" dur="500"/>
                                        <p:tgtEl>
                                          <p:spTgt spid="145"/>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119"/>
                                        </p:tgtEl>
                                        <p:attrNameLst>
                                          <p:attrName>style.visibility</p:attrName>
                                        </p:attrNameLst>
                                      </p:cBhvr>
                                      <p:to>
                                        <p:strVal val="visible"/>
                                      </p:to>
                                    </p:set>
                                  </p:childTnLst>
                                </p:cTn>
                              </p:par>
                              <p:par>
                                <p:cTn id="17" presetID="10"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animEffect transition="in" filter="fade">
                                      <p:cBhvr>
                                        <p:cTn id="19" dur="500"/>
                                        <p:tgtEl>
                                          <p:spTgt spid="9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fade">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animEffect transition="in" filter="fade">
                                      <p:cBhvr>
                                        <p:cTn id="31" dur="500"/>
                                        <p:tgtEl>
                                          <p:spTgt spid="89"/>
                                        </p:tgtEl>
                                      </p:cBhvr>
                                    </p:animEffect>
                                  </p:childTnLst>
                                </p:cTn>
                              </p:par>
                              <p:par>
                                <p:cTn id="32" presetID="10" presetClass="entr" presetSubtype="0" fill="hold" nodeType="withEffect">
                                  <p:stCondLst>
                                    <p:cond delay="0"/>
                                  </p:stCondLst>
                                  <p:childTnLst>
                                    <p:set>
                                      <p:cBhvr>
                                        <p:cTn id="33" dur="1" fill="hold">
                                          <p:stCondLst>
                                            <p:cond delay="0"/>
                                          </p:stCondLst>
                                        </p:cTn>
                                        <p:tgtEl>
                                          <p:spTgt spid="97"/>
                                        </p:tgtEl>
                                        <p:attrNameLst>
                                          <p:attrName>style.visibility</p:attrName>
                                        </p:attrNameLst>
                                      </p:cBhvr>
                                      <p:to>
                                        <p:strVal val="visible"/>
                                      </p:to>
                                    </p:set>
                                    <p:animEffect transition="in" filter="fade">
                                      <p:cBhvr>
                                        <p:cTn id="34" dur="500"/>
                                        <p:tgtEl>
                                          <p:spTgt spid="9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fade">
                                      <p:cBhvr>
                                        <p:cTn id="37" dur="500"/>
                                        <p:tgtEl>
                                          <p:spTgt spid="9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8"/>
                                        </p:tgtEl>
                                        <p:attrNameLst>
                                          <p:attrName>style.visibility</p:attrName>
                                        </p:attrNameLst>
                                      </p:cBhvr>
                                      <p:to>
                                        <p:strVal val="visible"/>
                                      </p:to>
                                    </p:set>
                                    <p:animEffect transition="in" filter="fade">
                                      <p:cBhvr>
                                        <p:cTn id="40" dur="500"/>
                                        <p:tgtEl>
                                          <p:spTgt spid="98"/>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32"/>
                                        </p:tgtEl>
                                        <p:attrNameLst>
                                          <p:attrName>style.visibility</p:attrName>
                                        </p:attrNameLst>
                                      </p:cBhvr>
                                      <p:to>
                                        <p:strVal val="visible"/>
                                      </p:to>
                                    </p:set>
                                  </p:childTnLst>
                                </p:cTn>
                              </p:par>
                              <p:par>
                                <p:cTn id="45" presetID="10" presetClass="entr" presetSubtype="0" fill="hold" nodeType="withEffect">
                                  <p:stCondLst>
                                    <p:cond delay="0"/>
                                  </p:stCondLst>
                                  <p:childTnLst>
                                    <p:set>
                                      <p:cBhvr>
                                        <p:cTn id="46" dur="1" fill="hold">
                                          <p:stCondLst>
                                            <p:cond delay="0"/>
                                          </p:stCondLst>
                                        </p:cTn>
                                        <p:tgtEl>
                                          <p:spTgt spid="200"/>
                                        </p:tgtEl>
                                        <p:attrNameLst>
                                          <p:attrName>style.visibility</p:attrName>
                                        </p:attrNameLst>
                                      </p:cBhvr>
                                      <p:to>
                                        <p:strVal val="visible"/>
                                      </p:to>
                                    </p:set>
                                    <p:animEffect transition="in" filter="fade">
                                      <p:cBhvr>
                                        <p:cTn id="47" dur="500"/>
                                        <p:tgtEl>
                                          <p:spTgt spid="20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01"/>
                                        </p:tgtEl>
                                        <p:attrNameLst>
                                          <p:attrName>style.visibility</p:attrName>
                                        </p:attrNameLst>
                                      </p:cBhvr>
                                      <p:to>
                                        <p:strVal val="visible"/>
                                      </p:to>
                                    </p:set>
                                    <p:animEffect transition="in" filter="fade">
                                      <p:cBhvr>
                                        <p:cTn id="50" dur="500"/>
                                        <p:tgtEl>
                                          <p:spTgt spid="20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fade">
                                      <p:cBhvr>
                                        <p:cTn id="53" dur="500"/>
                                        <p:tgtEl>
                                          <p:spTgt spid="102"/>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1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19" grpId="0" animBg="1"/>
      <p:bldP spid="145" grpId="0" animBg="1"/>
      <p:bldP spid="201" grpId="0" animBg="1"/>
      <p:bldP spid="89" grpId="0" animBg="1"/>
      <p:bldP spid="91" grpId="0" animBg="1"/>
      <p:bldP spid="94" grpId="0"/>
      <p:bldP spid="96" grpId="0" animBg="1"/>
      <p:bldP spid="98" grpId="0" animBg="1"/>
      <p:bldP spid="99" grpId="0"/>
      <p:bldP spid="102" grpId="0" animBg="1"/>
      <p:bldP spid="113" grpId="0" animBg="1"/>
      <p:bldP spid="115" grpId="0" animBg="1"/>
      <p:bldP spid="120"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D268906-126B-44AD-B225-2EB8201E53B1}"/>
              </a:ext>
            </a:extLst>
          </p:cNvPr>
          <p:cNvSpPr>
            <a:spLocks noGrp="1"/>
          </p:cNvSpPr>
          <p:nvPr>
            <p:ph sz="quarter" idx="10"/>
          </p:nvPr>
        </p:nvSpPr>
        <p:spPr>
          <a:xfrm>
            <a:off x="4969377" y="1458520"/>
            <a:ext cx="7009260" cy="4967243"/>
          </a:xfrm>
        </p:spPr>
        <p:txBody>
          <a:bodyPr/>
          <a:lstStyle/>
          <a:p>
            <a:r>
              <a:rPr lang="en-US" sz="1800"/>
              <a:t>In order to enable smooth migration and co-existence with 4G/LTE, both 5GC and EPC access user profile in a common HSS/UDM. </a:t>
            </a:r>
          </a:p>
          <a:p>
            <a:pPr lvl="1"/>
            <a:r>
              <a:rPr lang="en-US" sz="1600"/>
              <a:t>5G profiles are evolution of the corresponding profiles used in EPC.</a:t>
            </a:r>
          </a:p>
          <a:p>
            <a:pPr lvl="1"/>
            <a:r>
              <a:rPr lang="en-US" sz="1600"/>
              <a:t>UDM interacts using </a:t>
            </a:r>
            <a:r>
              <a:rPr lang="en-US" sz="1600" err="1"/>
              <a:t>Nudm</a:t>
            </a:r>
            <a:r>
              <a:rPr lang="en-US" sz="1600"/>
              <a:t> SBA service operations with 5GC, and HSS interacts using Diameter S6a/</a:t>
            </a:r>
            <a:r>
              <a:rPr lang="en-US" sz="1600" err="1"/>
              <a:t>SWx</a:t>
            </a:r>
            <a:r>
              <a:rPr lang="en-US" sz="1600"/>
              <a:t> with EPC. </a:t>
            </a:r>
          </a:p>
          <a:p>
            <a:pPr lvl="1"/>
            <a:r>
              <a:rPr lang="en-US" sz="1600"/>
              <a:t>HSS-UDM interworking is specified in R16 (see UDICOM slide). </a:t>
            </a:r>
          </a:p>
          <a:p>
            <a:pPr lvl="1"/>
            <a:endParaRPr lang="en-US" sz="1000"/>
          </a:p>
          <a:p>
            <a:r>
              <a:rPr lang="en-US" sz="1800"/>
              <a:t>EIR also required to interact with 5GC using SBA services (N5g-eir) and with EPC using Diameter (S13). </a:t>
            </a:r>
          </a:p>
          <a:p>
            <a:endParaRPr lang="en-US" sz="1000"/>
          </a:p>
          <a:p>
            <a:r>
              <a:rPr lang="en-US" sz="1800"/>
              <a:t>LCS/GMLC interacts with UDM (to get serving AMF) and AMF using SBA service operations. </a:t>
            </a:r>
          </a:p>
          <a:p>
            <a:pPr lvl="1"/>
            <a:r>
              <a:rPr lang="en-US" sz="1600"/>
              <a:t>Diameter </a:t>
            </a:r>
            <a:r>
              <a:rPr lang="en-US" sz="1600" err="1"/>
              <a:t>SLh</a:t>
            </a:r>
            <a:r>
              <a:rPr lang="en-US" sz="1600"/>
              <a:t> to HSS still available to fetch serving MME.</a:t>
            </a:r>
          </a:p>
          <a:p>
            <a:endParaRPr lang="en-US" sz="1000"/>
          </a:p>
          <a:p>
            <a:r>
              <a:rPr lang="en-US" sz="1800"/>
              <a:t>IMS can interact with HSS-IMS using diameter ref points (Rel-15) or using new SBI services exposed by HSS, </a:t>
            </a:r>
            <a:r>
              <a:rPr lang="en-US" sz="1800" err="1"/>
              <a:t>Nhss</a:t>
            </a:r>
            <a:r>
              <a:rPr lang="en-US" sz="1800"/>
              <a:t> (Rel-16). </a:t>
            </a:r>
          </a:p>
          <a:p>
            <a:endParaRPr lang="en-US" sz="1000">
              <a:solidFill>
                <a:srgbClr val="FF0000"/>
              </a:solidFill>
            </a:endParaRPr>
          </a:p>
          <a:p>
            <a:r>
              <a:rPr lang="en-US" sz="1800"/>
              <a:t>GMSC (SMS) use existing (MAP/diameter based) ref points towards HSS to interact with UDM. </a:t>
            </a:r>
          </a:p>
        </p:txBody>
      </p:sp>
      <p:sp>
        <p:nvSpPr>
          <p:cNvPr id="4" name="Title 3"/>
          <p:cNvSpPr>
            <a:spLocks noGrp="1"/>
          </p:cNvSpPr>
          <p:nvPr>
            <p:ph type="title"/>
          </p:nvPr>
        </p:nvSpPr>
        <p:spPr/>
        <p:txBody>
          <a:bodyPr/>
          <a:lstStyle/>
          <a:p>
            <a:r>
              <a:rPr lang="en-US"/>
              <a:t>Subscription Data Management</a:t>
            </a:r>
            <a:br>
              <a:rPr lang="en-US"/>
            </a:br>
            <a:r>
              <a:rPr lang="en-US" sz="3600">
                <a:solidFill>
                  <a:schemeClr val="tx2"/>
                </a:solidFill>
              </a:rPr>
              <a:t>Interworking</a:t>
            </a:r>
            <a:endParaRPr lang="en-US"/>
          </a:p>
        </p:txBody>
      </p:sp>
      <p:cxnSp>
        <p:nvCxnSpPr>
          <p:cNvPr id="179" name="Straight Connector 178">
            <a:extLst>
              <a:ext uri="{FF2B5EF4-FFF2-40B4-BE49-F238E27FC236}">
                <a16:creationId xmlns:a16="http://schemas.microsoft.com/office/drawing/2014/main" id="{F7DA27B3-4CDB-41EC-B7B9-7976DF6FA575}"/>
              </a:ext>
            </a:extLst>
          </p:cNvPr>
          <p:cNvCxnSpPr>
            <a:cxnSpLocks/>
          </p:cNvCxnSpPr>
          <p:nvPr/>
        </p:nvCxnSpPr>
        <p:spPr bwMode="auto">
          <a:xfrm>
            <a:off x="2646926" y="4947329"/>
            <a:ext cx="0" cy="21453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80" name="Straight Connector 179">
            <a:extLst>
              <a:ext uri="{FF2B5EF4-FFF2-40B4-BE49-F238E27FC236}">
                <a16:creationId xmlns:a16="http://schemas.microsoft.com/office/drawing/2014/main" id="{25F4F4E6-7D16-41E4-8ABA-DA644677A7AA}"/>
              </a:ext>
            </a:extLst>
          </p:cNvPr>
          <p:cNvCxnSpPr>
            <a:cxnSpLocks/>
          </p:cNvCxnSpPr>
          <p:nvPr/>
        </p:nvCxnSpPr>
        <p:spPr bwMode="auto">
          <a:xfrm>
            <a:off x="2101182" y="5160045"/>
            <a:ext cx="0" cy="440847"/>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81" name="Straight Connector 180">
            <a:extLst>
              <a:ext uri="{FF2B5EF4-FFF2-40B4-BE49-F238E27FC236}">
                <a16:creationId xmlns:a16="http://schemas.microsoft.com/office/drawing/2014/main" id="{4EE77B60-CC42-4595-8D01-02ED7EF05631}"/>
              </a:ext>
            </a:extLst>
          </p:cNvPr>
          <p:cNvCxnSpPr>
            <a:cxnSpLocks/>
          </p:cNvCxnSpPr>
          <p:nvPr/>
        </p:nvCxnSpPr>
        <p:spPr bwMode="auto">
          <a:xfrm>
            <a:off x="1100752" y="5156879"/>
            <a:ext cx="0" cy="23368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82" name="Straight Connector 181">
            <a:extLst>
              <a:ext uri="{FF2B5EF4-FFF2-40B4-BE49-F238E27FC236}">
                <a16:creationId xmlns:a16="http://schemas.microsoft.com/office/drawing/2014/main" id="{17B73F98-403D-4886-A5C6-F38FAD6DFE60}"/>
              </a:ext>
            </a:extLst>
          </p:cNvPr>
          <p:cNvCxnSpPr>
            <a:cxnSpLocks/>
          </p:cNvCxnSpPr>
          <p:nvPr/>
        </p:nvCxnSpPr>
        <p:spPr bwMode="auto">
          <a:xfrm flipV="1">
            <a:off x="636464" y="5158338"/>
            <a:ext cx="4019674" cy="1706"/>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83" name="Text Box 144">
            <a:extLst>
              <a:ext uri="{FF2B5EF4-FFF2-40B4-BE49-F238E27FC236}">
                <a16:creationId xmlns:a16="http://schemas.microsoft.com/office/drawing/2014/main" id="{80D0BCA9-9BA3-417C-85F5-88B13F14BC25}"/>
              </a:ext>
            </a:extLst>
          </p:cNvPr>
          <p:cNvSpPr txBox="1">
            <a:spLocks noChangeAspect="1" noChangeArrowheads="1"/>
          </p:cNvSpPr>
          <p:nvPr/>
        </p:nvSpPr>
        <p:spPr bwMode="auto">
          <a:xfrm>
            <a:off x="2051669" y="4915028"/>
            <a:ext cx="1119978" cy="17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solidFill>
                  <a:schemeClr val="accent2"/>
                </a:solidFill>
                <a:latin typeface="+mn-lt"/>
              </a:rPr>
              <a:t>Nudm</a:t>
            </a:r>
            <a:r>
              <a:rPr lang="en-US" altLang="en-US" sz="1400">
                <a:solidFill>
                  <a:schemeClr val="accent2"/>
                </a:solidFill>
                <a:latin typeface="+mn-lt"/>
              </a:rPr>
              <a:t>     </a:t>
            </a:r>
            <a:r>
              <a:rPr lang="en-US" altLang="en-US" sz="1400" err="1">
                <a:solidFill>
                  <a:schemeClr val="accent2"/>
                </a:solidFill>
                <a:latin typeface="+mn-lt"/>
              </a:rPr>
              <a:t>Nhss</a:t>
            </a:r>
            <a:endParaRPr lang="en-US" altLang="en-US" sz="1400">
              <a:solidFill>
                <a:schemeClr val="accent2"/>
              </a:solidFill>
              <a:latin typeface="+mn-lt"/>
            </a:endParaRPr>
          </a:p>
        </p:txBody>
      </p:sp>
      <p:sp>
        <p:nvSpPr>
          <p:cNvPr id="206" name="Freeform 34">
            <a:extLst>
              <a:ext uri="{FF2B5EF4-FFF2-40B4-BE49-F238E27FC236}">
                <a16:creationId xmlns:a16="http://schemas.microsoft.com/office/drawing/2014/main" id="{5A4C1016-F12A-477F-B363-FA07E4E26C4C}"/>
              </a:ext>
            </a:extLst>
          </p:cNvPr>
          <p:cNvSpPr>
            <a:spLocks noChangeAspect="1"/>
          </p:cNvSpPr>
          <p:nvPr/>
        </p:nvSpPr>
        <p:spPr bwMode="auto">
          <a:xfrm>
            <a:off x="296493" y="2081328"/>
            <a:ext cx="1062787" cy="8354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2"/>
          </a:solidFill>
          <a:ln w="0">
            <a:solidFill>
              <a:schemeClr val="tx2"/>
            </a:solidFill>
          </a:ln>
        </p:spPr>
        <p:txBody>
          <a:bodyPr anchor="ctr"/>
          <a:lstStyle/>
          <a:p>
            <a:endParaRPr lang="en-US">
              <a:latin typeface="+mn-lt"/>
            </a:endParaRPr>
          </a:p>
        </p:txBody>
      </p:sp>
      <p:sp>
        <p:nvSpPr>
          <p:cNvPr id="207" name="Rectangle 206">
            <a:extLst>
              <a:ext uri="{FF2B5EF4-FFF2-40B4-BE49-F238E27FC236}">
                <a16:creationId xmlns:a16="http://schemas.microsoft.com/office/drawing/2014/main" id="{C5C9CC62-939B-40AE-9A9B-BF3B68D6A44A}"/>
              </a:ext>
            </a:extLst>
          </p:cNvPr>
          <p:cNvSpPr/>
          <p:nvPr/>
        </p:nvSpPr>
        <p:spPr>
          <a:xfrm>
            <a:off x="241584" y="2215093"/>
            <a:ext cx="1148182" cy="584774"/>
          </a:xfrm>
          <a:prstGeom prst="rect">
            <a:avLst/>
          </a:prstGeom>
          <a:ln>
            <a:noFill/>
          </a:ln>
        </p:spPr>
        <p:txBody>
          <a:bodyPr wrap="square">
            <a:spAutoFit/>
          </a:bodyPr>
          <a:lstStyle/>
          <a:p>
            <a:pPr algn="ctr"/>
            <a:r>
              <a:rPr lang="es-ES_tradnl" sz="1600" b="1">
                <a:solidFill>
                  <a:schemeClr val="tx2"/>
                </a:solidFill>
                <a:latin typeface="+mn-lt"/>
                <a:ea typeface="Segoe UI" panose="020B0502040204020203" pitchFamily="34" charset="0"/>
                <a:cs typeface="Segoe UI" panose="020B0502040204020203" pitchFamily="34" charset="0"/>
              </a:rPr>
              <a:t>EPC CN/RAN</a:t>
            </a:r>
            <a:endParaRPr lang="en-US" sz="1600" b="1">
              <a:solidFill>
                <a:schemeClr val="tx2"/>
              </a:solidFill>
              <a:latin typeface="+mn-lt"/>
              <a:ea typeface="Segoe UI" panose="020B0502040204020203" pitchFamily="34" charset="0"/>
              <a:cs typeface="Segoe UI" panose="020B0502040204020203" pitchFamily="34" charset="0"/>
            </a:endParaRPr>
          </a:p>
        </p:txBody>
      </p:sp>
      <p:sp>
        <p:nvSpPr>
          <p:cNvPr id="208" name="Freeform 34">
            <a:extLst>
              <a:ext uri="{FF2B5EF4-FFF2-40B4-BE49-F238E27FC236}">
                <a16:creationId xmlns:a16="http://schemas.microsoft.com/office/drawing/2014/main" id="{400E5B50-500D-4E32-A0A7-78A7488E8D1E}"/>
              </a:ext>
            </a:extLst>
          </p:cNvPr>
          <p:cNvSpPr>
            <a:spLocks noChangeAspect="1"/>
          </p:cNvSpPr>
          <p:nvPr/>
        </p:nvSpPr>
        <p:spPr bwMode="auto">
          <a:xfrm>
            <a:off x="3149297" y="2088653"/>
            <a:ext cx="1062787" cy="8354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2"/>
          </a:solidFill>
          <a:ln w="0">
            <a:solidFill>
              <a:schemeClr val="tx2"/>
            </a:solidFill>
          </a:ln>
        </p:spPr>
        <p:txBody>
          <a:bodyPr anchor="ctr"/>
          <a:lstStyle/>
          <a:p>
            <a:endParaRPr lang="en-US">
              <a:latin typeface="+mn-lt"/>
            </a:endParaRPr>
          </a:p>
        </p:txBody>
      </p:sp>
      <p:sp>
        <p:nvSpPr>
          <p:cNvPr id="209" name="TextBox 208">
            <a:extLst>
              <a:ext uri="{FF2B5EF4-FFF2-40B4-BE49-F238E27FC236}">
                <a16:creationId xmlns:a16="http://schemas.microsoft.com/office/drawing/2014/main" id="{9D48BC3E-E511-4AD2-BDDE-9A9543D54464}"/>
              </a:ext>
            </a:extLst>
          </p:cNvPr>
          <p:cNvSpPr txBox="1"/>
          <p:nvPr/>
        </p:nvSpPr>
        <p:spPr>
          <a:xfrm>
            <a:off x="3137589" y="3202745"/>
            <a:ext cx="651748" cy="34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defPPr>
              <a:defRPr lang="en-GB"/>
            </a:defPPr>
            <a:lvl1pPr algn="ctr" eaLnBrk="1" hangingPunct="1">
              <a:lnSpc>
                <a:spcPct val="80000"/>
              </a:lnSpc>
              <a:defRPr sz="1400">
                <a:solidFill>
                  <a:schemeClr val="tx2"/>
                </a:solidFill>
                <a:ea typeface="MS PGothic" charset="-128"/>
              </a:defRPr>
            </a:lvl1pPr>
            <a:lvl2pPr marL="742950" indent="-285750" eaLnBrk="0" hangingPunct="0">
              <a:defRPr>
                <a:ea typeface="MS PGothic" charset="-128"/>
              </a:defRPr>
            </a:lvl2pPr>
            <a:lvl3pPr marL="1143000" indent="-228600" eaLnBrk="0" hangingPunct="0">
              <a:defRPr>
                <a:ea typeface="MS PGothic" charset="-128"/>
              </a:defRPr>
            </a:lvl3pPr>
            <a:lvl4pPr marL="1600200" indent="-228600" eaLnBrk="0" hangingPunct="0">
              <a:defRPr>
                <a:ea typeface="MS PGothic" charset="-128"/>
              </a:defRPr>
            </a:lvl4pPr>
            <a:lvl5pPr marL="2057400" indent="-228600" eaLnBrk="0" hangingPunct="0">
              <a:defRPr>
                <a:ea typeface="MS PGothic" charset="-128"/>
              </a:defRPr>
            </a:lvl5pPr>
            <a:lvl6pPr marL="2514600" indent="-228600" eaLnBrk="0" fontAlgn="base" hangingPunct="0">
              <a:spcBef>
                <a:spcPct val="0"/>
              </a:spcBef>
              <a:spcAft>
                <a:spcPct val="0"/>
              </a:spcAft>
              <a:defRPr>
                <a:ea typeface="MS PGothic" charset="-128"/>
              </a:defRPr>
            </a:lvl6pPr>
            <a:lvl7pPr marL="2971800" indent="-228600" eaLnBrk="0" fontAlgn="base" hangingPunct="0">
              <a:spcBef>
                <a:spcPct val="0"/>
              </a:spcBef>
              <a:spcAft>
                <a:spcPct val="0"/>
              </a:spcAft>
              <a:defRPr>
                <a:ea typeface="MS PGothic" charset="-128"/>
              </a:defRPr>
            </a:lvl7pPr>
            <a:lvl8pPr marL="3429000" indent="-228600" eaLnBrk="0" fontAlgn="base" hangingPunct="0">
              <a:spcBef>
                <a:spcPct val="0"/>
              </a:spcBef>
              <a:spcAft>
                <a:spcPct val="0"/>
              </a:spcAft>
              <a:defRPr>
                <a:ea typeface="MS PGothic" charset="-128"/>
              </a:defRPr>
            </a:lvl8pPr>
            <a:lvl9pPr marL="3886200" indent="-228600" eaLnBrk="0" fontAlgn="base" hangingPunct="0">
              <a:spcBef>
                <a:spcPct val="0"/>
              </a:spcBef>
              <a:spcAft>
                <a:spcPct val="0"/>
              </a:spcAft>
              <a:defRPr>
                <a:ea typeface="MS PGothic" charset="-128"/>
              </a:defRPr>
            </a:lvl9pPr>
          </a:lstStyle>
          <a:p>
            <a:pPr algn="l">
              <a:spcBef>
                <a:spcPts val="0"/>
              </a:spcBef>
            </a:pPr>
            <a:r>
              <a:rPr lang="es-ES_tradnl" err="1">
                <a:latin typeface="+mn-lt"/>
              </a:rPr>
              <a:t>Cx</a:t>
            </a:r>
            <a:r>
              <a:rPr lang="es-ES_tradnl">
                <a:latin typeface="+mn-lt"/>
              </a:rPr>
              <a:t>/</a:t>
            </a:r>
            <a:r>
              <a:rPr lang="es-ES_tradnl" err="1">
                <a:latin typeface="+mn-lt"/>
              </a:rPr>
              <a:t>Sh</a:t>
            </a:r>
            <a:r>
              <a:rPr lang="es-ES_tradnl">
                <a:latin typeface="+mn-lt"/>
              </a:rPr>
              <a:t> </a:t>
            </a:r>
          </a:p>
          <a:p>
            <a:pPr algn="l">
              <a:spcBef>
                <a:spcPts val="0"/>
              </a:spcBef>
            </a:pPr>
            <a:r>
              <a:rPr lang="es-ES_tradnl">
                <a:latin typeface="+mn-lt"/>
              </a:rPr>
              <a:t>(Rel15) </a:t>
            </a:r>
          </a:p>
        </p:txBody>
      </p:sp>
      <p:cxnSp>
        <p:nvCxnSpPr>
          <p:cNvPr id="210" name="Straight Connector 209">
            <a:extLst>
              <a:ext uri="{FF2B5EF4-FFF2-40B4-BE49-F238E27FC236}">
                <a16:creationId xmlns:a16="http://schemas.microsoft.com/office/drawing/2014/main" id="{AD9BEB75-60B6-4E93-9507-AA02B5E3B487}"/>
              </a:ext>
            </a:extLst>
          </p:cNvPr>
          <p:cNvCxnSpPr>
            <a:cxnSpLocks/>
          </p:cNvCxnSpPr>
          <p:nvPr/>
        </p:nvCxnSpPr>
        <p:spPr bwMode="auto">
          <a:xfrm>
            <a:off x="2909855" y="3300969"/>
            <a:ext cx="0" cy="373068"/>
          </a:xfrm>
          <a:prstGeom prst="line">
            <a:avLst/>
          </a:prstGeom>
          <a:solidFill>
            <a:schemeClr val="accent1"/>
          </a:solidFill>
          <a:ln w="19050" cap="flat" cmpd="sng" algn="ctr">
            <a:solidFill>
              <a:schemeClr val="tx2"/>
            </a:solidFill>
            <a:prstDash val="dash"/>
            <a:round/>
            <a:headEnd type="none" w="med" len="med"/>
            <a:tailEnd type="none" w="med" len="med"/>
          </a:ln>
          <a:effectLst/>
        </p:spPr>
      </p:cxnSp>
      <p:sp>
        <p:nvSpPr>
          <p:cNvPr id="211" name="Rectangle 210">
            <a:extLst>
              <a:ext uri="{FF2B5EF4-FFF2-40B4-BE49-F238E27FC236}">
                <a16:creationId xmlns:a16="http://schemas.microsoft.com/office/drawing/2014/main" id="{260D0EED-54A9-4282-B20E-7241F7C12E3F}"/>
              </a:ext>
            </a:extLst>
          </p:cNvPr>
          <p:cNvSpPr/>
          <p:nvPr/>
        </p:nvSpPr>
        <p:spPr>
          <a:xfrm>
            <a:off x="2945480" y="2397959"/>
            <a:ext cx="1451605" cy="276999"/>
          </a:xfrm>
          <a:prstGeom prst="rect">
            <a:avLst/>
          </a:prstGeom>
        </p:spPr>
        <p:txBody>
          <a:bodyPr wrap="square">
            <a:spAutoFit/>
          </a:bodyPr>
          <a:lstStyle/>
          <a:p>
            <a:pPr algn="ctr">
              <a:spcBef>
                <a:spcPts val="0"/>
              </a:spcBef>
            </a:pPr>
            <a:r>
              <a:rPr lang="es-ES_tradnl" sz="1200" b="1">
                <a:solidFill>
                  <a:schemeClr val="tx2"/>
                </a:solidFill>
                <a:latin typeface="+mn-lt"/>
                <a:ea typeface="Segoe UI" panose="020B0502040204020203" pitchFamily="34" charset="0"/>
                <a:cs typeface="Segoe UI" panose="020B0502040204020203" pitchFamily="34" charset="0"/>
              </a:rPr>
              <a:t>IMS CN</a:t>
            </a:r>
            <a:endParaRPr lang="en-US" sz="1200" b="1">
              <a:solidFill>
                <a:schemeClr val="tx2"/>
              </a:solidFill>
              <a:latin typeface="+mn-lt"/>
              <a:ea typeface="Segoe UI" panose="020B0502040204020203" pitchFamily="34" charset="0"/>
              <a:cs typeface="Segoe UI" panose="020B0502040204020203" pitchFamily="34" charset="0"/>
            </a:endParaRPr>
          </a:p>
        </p:txBody>
      </p:sp>
      <p:cxnSp>
        <p:nvCxnSpPr>
          <p:cNvPr id="212" name="Straight Connector 211">
            <a:extLst>
              <a:ext uri="{FF2B5EF4-FFF2-40B4-BE49-F238E27FC236}">
                <a16:creationId xmlns:a16="http://schemas.microsoft.com/office/drawing/2014/main" id="{D75765ED-ED13-4885-90EB-FDF02BAB01FD}"/>
              </a:ext>
            </a:extLst>
          </p:cNvPr>
          <p:cNvCxnSpPr>
            <a:cxnSpLocks/>
          </p:cNvCxnSpPr>
          <p:nvPr/>
        </p:nvCxnSpPr>
        <p:spPr bwMode="auto">
          <a:xfrm>
            <a:off x="2446102" y="3347894"/>
            <a:ext cx="7278" cy="284593"/>
          </a:xfrm>
          <a:prstGeom prst="line">
            <a:avLst/>
          </a:prstGeom>
          <a:solidFill>
            <a:schemeClr val="accent1"/>
          </a:solidFill>
          <a:ln w="19050" cap="flat" cmpd="sng" algn="ctr">
            <a:solidFill>
              <a:schemeClr val="tx2"/>
            </a:solidFill>
            <a:prstDash val="dash"/>
            <a:round/>
            <a:headEnd type="none" w="med" len="med"/>
            <a:tailEnd type="none" w="med" len="med"/>
          </a:ln>
          <a:effectLst/>
        </p:spPr>
      </p:cxnSp>
      <p:cxnSp>
        <p:nvCxnSpPr>
          <p:cNvPr id="213" name="Straight Connector 212">
            <a:extLst>
              <a:ext uri="{FF2B5EF4-FFF2-40B4-BE49-F238E27FC236}">
                <a16:creationId xmlns:a16="http://schemas.microsoft.com/office/drawing/2014/main" id="{6C81ABD3-C49A-4FB6-8A39-BBA412AB718A}"/>
              </a:ext>
            </a:extLst>
          </p:cNvPr>
          <p:cNvCxnSpPr>
            <a:cxnSpLocks/>
          </p:cNvCxnSpPr>
          <p:nvPr/>
        </p:nvCxnSpPr>
        <p:spPr bwMode="auto">
          <a:xfrm>
            <a:off x="1271099" y="2819881"/>
            <a:ext cx="1171750" cy="475428"/>
          </a:xfrm>
          <a:prstGeom prst="line">
            <a:avLst/>
          </a:prstGeom>
          <a:solidFill>
            <a:schemeClr val="accent1"/>
          </a:solidFill>
          <a:ln w="19050" cap="flat" cmpd="sng" algn="ctr">
            <a:solidFill>
              <a:schemeClr val="tx2"/>
            </a:solidFill>
            <a:prstDash val="dash"/>
            <a:round/>
            <a:headEnd type="none" w="med" len="med"/>
            <a:tailEnd type="none" w="med" len="med"/>
          </a:ln>
          <a:effectLst/>
        </p:spPr>
      </p:cxnSp>
      <p:sp>
        <p:nvSpPr>
          <p:cNvPr id="214" name="TextBox 213">
            <a:extLst>
              <a:ext uri="{FF2B5EF4-FFF2-40B4-BE49-F238E27FC236}">
                <a16:creationId xmlns:a16="http://schemas.microsoft.com/office/drawing/2014/main" id="{89429312-8B75-40B7-8CBE-26AC028CBC26}"/>
              </a:ext>
            </a:extLst>
          </p:cNvPr>
          <p:cNvSpPr txBox="1"/>
          <p:nvPr/>
        </p:nvSpPr>
        <p:spPr>
          <a:xfrm>
            <a:off x="1497060" y="3053499"/>
            <a:ext cx="484271" cy="344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defPPr>
              <a:defRPr lang="en-GB"/>
            </a:defPPr>
            <a:lvl1pPr algn="ctr" eaLnBrk="1" hangingPunct="1">
              <a:lnSpc>
                <a:spcPct val="80000"/>
              </a:lnSpc>
              <a:defRPr sz="1400">
                <a:solidFill>
                  <a:schemeClr val="tx2"/>
                </a:solidFill>
                <a:ea typeface="MS PGothic" charset="-128"/>
              </a:defRPr>
            </a:lvl1pPr>
            <a:lvl2pPr marL="742950" indent="-285750" eaLnBrk="0" hangingPunct="0">
              <a:defRPr>
                <a:ea typeface="MS PGothic" charset="-128"/>
              </a:defRPr>
            </a:lvl2pPr>
            <a:lvl3pPr marL="1143000" indent="-228600" eaLnBrk="0" hangingPunct="0">
              <a:defRPr>
                <a:ea typeface="MS PGothic" charset="-128"/>
              </a:defRPr>
            </a:lvl3pPr>
            <a:lvl4pPr marL="1600200" indent="-228600" eaLnBrk="0" hangingPunct="0">
              <a:defRPr>
                <a:ea typeface="MS PGothic" charset="-128"/>
              </a:defRPr>
            </a:lvl4pPr>
            <a:lvl5pPr marL="2057400" indent="-228600" eaLnBrk="0" hangingPunct="0">
              <a:defRPr>
                <a:ea typeface="MS PGothic" charset="-128"/>
              </a:defRPr>
            </a:lvl5pPr>
            <a:lvl6pPr marL="2514600" indent="-228600" eaLnBrk="0" fontAlgn="base" hangingPunct="0">
              <a:spcBef>
                <a:spcPct val="0"/>
              </a:spcBef>
              <a:spcAft>
                <a:spcPct val="0"/>
              </a:spcAft>
              <a:defRPr>
                <a:ea typeface="MS PGothic" charset="-128"/>
              </a:defRPr>
            </a:lvl6pPr>
            <a:lvl7pPr marL="2971800" indent="-228600" eaLnBrk="0" fontAlgn="base" hangingPunct="0">
              <a:spcBef>
                <a:spcPct val="0"/>
              </a:spcBef>
              <a:spcAft>
                <a:spcPct val="0"/>
              </a:spcAft>
              <a:defRPr>
                <a:ea typeface="MS PGothic" charset="-128"/>
              </a:defRPr>
            </a:lvl7pPr>
            <a:lvl8pPr marL="3429000" indent="-228600" eaLnBrk="0" fontAlgn="base" hangingPunct="0">
              <a:spcBef>
                <a:spcPct val="0"/>
              </a:spcBef>
              <a:spcAft>
                <a:spcPct val="0"/>
              </a:spcAft>
              <a:defRPr>
                <a:ea typeface="MS PGothic" charset="-128"/>
              </a:defRPr>
            </a:lvl8pPr>
            <a:lvl9pPr marL="3886200" indent="-228600" eaLnBrk="0" fontAlgn="base" hangingPunct="0">
              <a:spcBef>
                <a:spcPct val="0"/>
              </a:spcBef>
              <a:spcAft>
                <a:spcPct val="0"/>
              </a:spcAft>
              <a:defRPr>
                <a:ea typeface="MS PGothic" charset="-128"/>
              </a:defRPr>
            </a:lvl9pPr>
          </a:lstStyle>
          <a:p>
            <a:pPr algn="l">
              <a:spcBef>
                <a:spcPts val="0"/>
              </a:spcBef>
            </a:pPr>
            <a:r>
              <a:rPr lang="es-ES_tradnl">
                <a:latin typeface="+mn-lt"/>
              </a:rPr>
              <a:t>S6a</a:t>
            </a:r>
          </a:p>
          <a:p>
            <a:pPr algn="l">
              <a:spcBef>
                <a:spcPts val="0"/>
              </a:spcBef>
            </a:pPr>
            <a:r>
              <a:rPr lang="es-ES_tradnl" err="1">
                <a:latin typeface="+mn-lt"/>
              </a:rPr>
              <a:t>SWx</a:t>
            </a:r>
            <a:endParaRPr lang="en-US">
              <a:latin typeface="+mn-lt"/>
            </a:endParaRPr>
          </a:p>
        </p:txBody>
      </p:sp>
      <p:grpSp>
        <p:nvGrpSpPr>
          <p:cNvPr id="222" name="Group 221">
            <a:extLst>
              <a:ext uri="{FF2B5EF4-FFF2-40B4-BE49-F238E27FC236}">
                <a16:creationId xmlns:a16="http://schemas.microsoft.com/office/drawing/2014/main" id="{9C4F5A26-25F0-4A7A-8AE5-FAE24D26FA6F}"/>
              </a:ext>
            </a:extLst>
          </p:cNvPr>
          <p:cNvGrpSpPr/>
          <p:nvPr/>
        </p:nvGrpSpPr>
        <p:grpSpPr>
          <a:xfrm rot="16200000">
            <a:off x="2542215" y="4912653"/>
            <a:ext cx="242575" cy="63248"/>
            <a:chOff x="8659822" y="1749235"/>
            <a:chExt cx="275758" cy="73983"/>
          </a:xfrm>
        </p:grpSpPr>
        <p:cxnSp>
          <p:nvCxnSpPr>
            <p:cNvPr id="223" name="Straight Connector 222">
              <a:extLst>
                <a:ext uri="{FF2B5EF4-FFF2-40B4-BE49-F238E27FC236}">
                  <a16:creationId xmlns:a16="http://schemas.microsoft.com/office/drawing/2014/main" id="{A1753C22-18BA-4DD8-BBC9-C4860F648F85}"/>
                </a:ext>
              </a:extLst>
            </p:cNvPr>
            <p:cNvCxnSpPr>
              <a:cxnSpLocks/>
            </p:cNvCxnSpPr>
            <p:nvPr/>
          </p:nvCxnSpPr>
          <p:spPr bwMode="auto">
            <a:xfrm flipV="1">
              <a:off x="8935580" y="1756698"/>
              <a:ext cx="0" cy="1"/>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24" name="Oval 223">
              <a:extLst>
                <a:ext uri="{FF2B5EF4-FFF2-40B4-BE49-F238E27FC236}">
                  <a16:creationId xmlns:a16="http://schemas.microsoft.com/office/drawing/2014/main" id="{0B554F24-CBED-4CC5-B748-0062E438D116}"/>
                </a:ext>
              </a:extLst>
            </p:cNvPr>
            <p:cNvSpPr/>
            <p:nvPr/>
          </p:nvSpPr>
          <p:spPr bwMode="auto">
            <a:xfrm rot="15563684">
              <a:off x="8658456" y="1750601"/>
              <a:ext cx="73983" cy="71252"/>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a:ln>
                  <a:noFill/>
                </a:ln>
                <a:solidFill>
                  <a:schemeClr val="tx1"/>
                </a:solidFill>
                <a:effectLst/>
                <a:latin typeface="+mn-lt"/>
              </a:endParaRPr>
            </a:p>
          </p:txBody>
        </p:sp>
        <p:cxnSp>
          <p:nvCxnSpPr>
            <p:cNvPr id="225" name="Straight Connector 224">
              <a:extLst>
                <a:ext uri="{FF2B5EF4-FFF2-40B4-BE49-F238E27FC236}">
                  <a16:creationId xmlns:a16="http://schemas.microsoft.com/office/drawing/2014/main" id="{62105719-84EE-4F0C-BE42-2BD0C2DF43FC}"/>
                </a:ext>
              </a:extLst>
            </p:cNvPr>
            <p:cNvCxnSpPr>
              <a:cxnSpLocks/>
            </p:cNvCxnSpPr>
            <p:nvPr/>
          </p:nvCxnSpPr>
          <p:spPr bwMode="auto">
            <a:xfrm flipH="1">
              <a:off x="8715951" y="1779597"/>
              <a:ext cx="173939" cy="73"/>
            </a:xfrm>
            <a:prstGeom prst="line">
              <a:avLst/>
            </a:prstGeom>
            <a:solidFill>
              <a:schemeClr val="accent1"/>
            </a:solidFill>
            <a:ln w="28575" cap="flat" cmpd="sng" algn="ctr">
              <a:solidFill>
                <a:schemeClr val="tx1"/>
              </a:solidFill>
              <a:prstDash val="solid"/>
              <a:round/>
              <a:headEnd type="none" w="med" len="med"/>
              <a:tailEnd type="none" w="med" len="med"/>
            </a:ln>
            <a:effectLst/>
          </p:spPr>
        </p:cxnSp>
      </p:grpSp>
      <p:sp>
        <p:nvSpPr>
          <p:cNvPr id="226" name="Text Box 144">
            <a:extLst>
              <a:ext uri="{FF2B5EF4-FFF2-40B4-BE49-F238E27FC236}">
                <a16:creationId xmlns:a16="http://schemas.microsoft.com/office/drawing/2014/main" id="{C0A92C6A-2904-4614-8822-E3BF163328F6}"/>
              </a:ext>
            </a:extLst>
          </p:cNvPr>
          <p:cNvSpPr txBox="1">
            <a:spLocks noChangeAspect="1" noChangeArrowheads="1"/>
          </p:cNvSpPr>
          <p:nvPr/>
        </p:nvSpPr>
        <p:spPr bwMode="auto">
          <a:xfrm>
            <a:off x="22306" y="4463328"/>
            <a:ext cx="744044"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5g-eir</a:t>
            </a:r>
          </a:p>
        </p:txBody>
      </p:sp>
      <p:grpSp>
        <p:nvGrpSpPr>
          <p:cNvPr id="227" name="Group 226">
            <a:extLst>
              <a:ext uri="{FF2B5EF4-FFF2-40B4-BE49-F238E27FC236}">
                <a16:creationId xmlns:a16="http://schemas.microsoft.com/office/drawing/2014/main" id="{C1210BE8-6FD0-41A0-9404-334B42D9B4FD}"/>
              </a:ext>
            </a:extLst>
          </p:cNvPr>
          <p:cNvGrpSpPr/>
          <p:nvPr/>
        </p:nvGrpSpPr>
        <p:grpSpPr>
          <a:xfrm rot="16200000">
            <a:off x="1346070" y="4343753"/>
            <a:ext cx="242574" cy="267886"/>
            <a:chOff x="8659823" y="1756698"/>
            <a:chExt cx="275757" cy="313353"/>
          </a:xfrm>
        </p:grpSpPr>
        <p:cxnSp>
          <p:nvCxnSpPr>
            <p:cNvPr id="228" name="Straight Connector 227">
              <a:extLst>
                <a:ext uri="{FF2B5EF4-FFF2-40B4-BE49-F238E27FC236}">
                  <a16:creationId xmlns:a16="http://schemas.microsoft.com/office/drawing/2014/main" id="{2325C1C0-2A9B-400F-94AC-5FD7F6710AF1}"/>
                </a:ext>
              </a:extLst>
            </p:cNvPr>
            <p:cNvCxnSpPr>
              <a:cxnSpLocks/>
            </p:cNvCxnSpPr>
            <p:nvPr/>
          </p:nvCxnSpPr>
          <p:spPr bwMode="auto">
            <a:xfrm flipV="1">
              <a:off x="8935580" y="1756698"/>
              <a:ext cx="0" cy="1"/>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29" name="Oval 228">
              <a:extLst>
                <a:ext uri="{FF2B5EF4-FFF2-40B4-BE49-F238E27FC236}">
                  <a16:creationId xmlns:a16="http://schemas.microsoft.com/office/drawing/2014/main" id="{B426B95D-F35D-409C-9678-7950FEC84367}"/>
                </a:ext>
              </a:extLst>
            </p:cNvPr>
            <p:cNvSpPr/>
            <p:nvPr/>
          </p:nvSpPr>
          <p:spPr bwMode="auto">
            <a:xfrm rot="15563684">
              <a:off x="8658457" y="1997434"/>
              <a:ext cx="73983" cy="71252"/>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a:ln>
                  <a:noFill/>
                </a:ln>
                <a:solidFill>
                  <a:schemeClr val="tx1"/>
                </a:solidFill>
                <a:effectLst/>
                <a:latin typeface="+mn-lt"/>
              </a:endParaRPr>
            </a:p>
          </p:txBody>
        </p:sp>
        <p:cxnSp>
          <p:nvCxnSpPr>
            <p:cNvPr id="230" name="Straight Connector 229">
              <a:extLst>
                <a:ext uri="{FF2B5EF4-FFF2-40B4-BE49-F238E27FC236}">
                  <a16:creationId xmlns:a16="http://schemas.microsoft.com/office/drawing/2014/main" id="{7E83E9D7-9FDB-4FAA-AC39-043C9E588B7E}"/>
                </a:ext>
              </a:extLst>
            </p:cNvPr>
            <p:cNvCxnSpPr>
              <a:cxnSpLocks/>
            </p:cNvCxnSpPr>
            <p:nvPr/>
          </p:nvCxnSpPr>
          <p:spPr bwMode="auto">
            <a:xfrm flipH="1">
              <a:off x="8715951" y="2026434"/>
              <a:ext cx="173939" cy="73"/>
            </a:xfrm>
            <a:prstGeom prst="line">
              <a:avLst/>
            </a:prstGeom>
            <a:solidFill>
              <a:schemeClr val="accent1"/>
            </a:solidFill>
            <a:ln w="28575" cap="flat" cmpd="sng" algn="ctr">
              <a:solidFill>
                <a:schemeClr val="tx1"/>
              </a:solidFill>
              <a:prstDash val="solid"/>
              <a:round/>
              <a:headEnd type="none" w="med" len="med"/>
              <a:tailEnd type="none" w="med" len="med"/>
            </a:ln>
            <a:effectLst/>
          </p:spPr>
        </p:cxnSp>
      </p:grpSp>
      <p:cxnSp>
        <p:nvCxnSpPr>
          <p:cNvPr id="231" name="Straight Connector 230">
            <a:extLst>
              <a:ext uri="{FF2B5EF4-FFF2-40B4-BE49-F238E27FC236}">
                <a16:creationId xmlns:a16="http://schemas.microsoft.com/office/drawing/2014/main" id="{0066E4DC-AA75-4608-B1EC-F38CA938BC5A}"/>
              </a:ext>
            </a:extLst>
          </p:cNvPr>
          <p:cNvCxnSpPr>
            <a:cxnSpLocks/>
          </p:cNvCxnSpPr>
          <p:nvPr/>
        </p:nvCxnSpPr>
        <p:spPr bwMode="auto">
          <a:xfrm>
            <a:off x="753223" y="4655701"/>
            <a:ext cx="11280" cy="48529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32" name="Straight Connector 231">
            <a:extLst>
              <a:ext uri="{FF2B5EF4-FFF2-40B4-BE49-F238E27FC236}">
                <a16:creationId xmlns:a16="http://schemas.microsoft.com/office/drawing/2014/main" id="{DDBD090E-E005-4257-AB2C-6F3ACACA0F64}"/>
              </a:ext>
            </a:extLst>
          </p:cNvPr>
          <p:cNvCxnSpPr>
            <a:cxnSpLocks/>
          </p:cNvCxnSpPr>
          <p:nvPr/>
        </p:nvCxnSpPr>
        <p:spPr bwMode="auto">
          <a:xfrm>
            <a:off x="1555182" y="4610255"/>
            <a:ext cx="17876" cy="55614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39" name="Text Box 144">
            <a:extLst>
              <a:ext uri="{FF2B5EF4-FFF2-40B4-BE49-F238E27FC236}">
                <a16:creationId xmlns:a16="http://schemas.microsoft.com/office/drawing/2014/main" id="{AD78060A-9DF5-41AF-AA17-310FCC3B8D37}"/>
              </a:ext>
            </a:extLst>
          </p:cNvPr>
          <p:cNvSpPr txBox="1">
            <a:spLocks noChangeAspect="1" noChangeArrowheads="1"/>
          </p:cNvSpPr>
          <p:nvPr/>
        </p:nvSpPr>
        <p:spPr bwMode="auto">
          <a:xfrm>
            <a:off x="843222" y="4475951"/>
            <a:ext cx="744044"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latin typeface="+mn-lt"/>
              </a:rPr>
              <a:t>Nausf</a:t>
            </a:r>
            <a:endParaRPr lang="en-US" altLang="en-US" sz="1400">
              <a:latin typeface="+mn-lt"/>
            </a:endParaRPr>
          </a:p>
        </p:txBody>
      </p:sp>
      <p:cxnSp>
        <p:nvCxnSpPr>
          <p:cNvPr id="240" name="Straight Connector 239">
            <a:extLst>
              <a:ext uri="{FF2B5EF4-FFF2-40B4-BE49-F238E27FC236}">
                <a16:creationId xmlns:a16="http://schemas.microsoft.com/office/drawing/2014/main" id="{744E6BE9-756B-4368-BB89-01422BBF5527}"/>
              </a:ext>
            </a:extLst>
          </p:cNvPr>
          <p:cNvCxnSpPr>
            <a:cxnSpLocks/>
          </p:cNvCxnSpPr>
          <p:nvPr/>
        </p:nvCxnSpPr>
        <p:spPr bwMode="auto">
          <a:xfrm rot="16200000" flipH="1">
            <a:off x="674716" y="4492226"/>
            <a:ext cx="153008" cy="62"/>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241" name="Oval 240">
            <a:extLst>
              <a:ext uri="{FF2B5EF4-FFF2-40B4-BE49-F238E27FC236}">
                <a16:creationId xmlns:a16="http://schemas.microsoft.com/office/drawing/2014/main" id="{1EA68F66-2BE7-4151-9E58-CD8D79C35659}"/>
              </a:ext>
            </a:extLst>
          </p:cNvPr>
          <p:cNvSpPr/>
          <p:nvPr/>
        </p:nvSpPr>
        <p:spPr bwMode="auto">
          <a:xfrm rot="10163684">
            <a:off x="731873" y="4555458"/>
            <a:ext cx="63248" cy="62678"/>
          </a:xfrm>
          <a:prstGeom prst="ellipse">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a:ln>
                <a:noFill/>
              </a:ln>
              <a:solidFill>
                <a:schemeClr val="tx1"/>
              </a:solidFill>
              <a:effectLst/>
              <a:latin typeface="+mn-lt"/>
            </a:endParaRPr>
          </a:p>
        </p:txBody>
      </p:sp>
      <p:cxnSp>
        <p:nvCxnSpPr>
          <p:cNvPr id="242" name="Straight Connector 241">
            <a:extLst>
              <a:ext uri="{FF2B5EF4-FFF2-40B4-BE49-F238E27FC236}">
                <a16:creationId xmlns:a16="http://schemas.microsoft.com/office/drawing/2014/main" id="{102AFC20-A5F6-48B6-B94E-7CED94529CCE}"/>
              </a:ext>
            </a:extLst>
          </p:cNvPr>
          <p:cNvCxnSpPr>
            <a:cxnSpLocks/>
          </p:cNvCxnSpPr>
          <p:nvPr/>
        </p:nvCxnSpPr>
        <p:spPr bwMode="auto">
          <a:xfrm>
            <a:off x="3290816" y="5166404"/>
            <a:ext cx="0" cy="21453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43" name="Straight Connector 242">
            <a:extLst>
              <a:ext uri="{FF2B5EF4-FFF2-40B4-BE49-F238E27FC236}">
                <a16:creationId xmlns:a16="http://schemas.microsoft.com/office/drawing/2014/main" id="{DDE72852-8ADB-4509-9712-E62F677C1A56}"/>
              </a:ext>
            </a:extLst>
          </p:cNvPr>
          <p:cNvCxnSpPr>
            <a:cxnSpLocks/>
          </p:cNvCxnSpPr>
          <p:nvPr/>
        </p:nvCxnSpPr>
        <p:spPr bwMode="auto">
          <a:xfrm flipH="1">
            <a:off x="761496" y="2927592"/>
            <a:ext cx="3007" cy="637311"/>
          </a:xfrm>
          <a:prstGeom prst="line">
            <a:avLst/>
          </a:prstGeom>
          <a:solidFill>
            <a:schemeClr val="accent1"/>
          </a:solidFill>
          <a:ln w="19050" cap="flat" cmpd="sng" algn="ctr">
            <a:solidFill>
              <a:schemeClr val="tx2"/>
            </a:solidFill>
            <a:prstDash val="dash"/>
            <a:round/>
            <a:headEnd type="none" w="med" len="med"/>
            <a:tailEnd type="none" w="med" len="med"/>
          </a:ln>
          <a:effectLst/>
        </p:spPr>
      </p:cxnSp>
      <p:sp>
        <p:nvSpPr>
          <p:cNvPr id="244" name="TextBox 243">
            <a:extLst>
              <a:ext uri="{FF2B5EF4-FFF2-40B4-BE49-F238E27FC236}">
                <a16:creationId xmlns:a16="http://schemas.microsoft.com/office/drawing/2014/main" id="{4347606E-003D-48A8-96EB-1731737ECEE1}"/>
              </a:ext>
            </a:extLst>
          </p:cNvPr>
          <p:cNvSpPr txBox="1"/>
          <p:nvPr/>
        </p:nvSpPr>
        <p:spPr>
          <a:xfrm>
            <a:off x="207828" y="3087397"/>
            <a:ext cx="460163"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defPPr>
              <a:defRPr lang="en-GB"/>
            </a:defPPr>
            <a:lvl1pPr algn="ctr" eaLnBrk="1" hangingPunct="1">
              <a:lnSpc>
                <a:spcPct val="80000"/>
              </a:lnSpc>
              <a:defRPr sz="1400">
                <a:solidFill>
                  <a:schemeClr val="tx2"/>
                </a:solidFill>
                <a:ea typeface="MS PGothic" charset="-128"/>
              </a:defRPr>
            </a:lvl1pPr>
            <a:lvl2pPr marL="742950" indent="-285750" eaLnBrk="0" hangingPunct="0">
              <a:defRPr>
                <a:ea typeface="MS PGothic" charset="-128"/>
              </a:defRPr>
            </a:lvl2pPr>
            <a:lvl3pPr marL="1143000" indent="-228600" eaLnBrk="0" hangingPunct="0">
              <a:defRPr>
                <a:ea typeface="MS PGothic" charset="-128"/>
              </a:defRPr>
            </a:lvl3pPr>
            <a:lvl4pPr marL="1600200" indent="-228600" eaLnBrk="0" hangingPunct="0">
              <a:defRPr>
                <a:ea typeface="MS PGothic" charset="-128"/>
              </a:defRPr>
            </a:lvl4pPr>
            <a:lvl5pPr marL="2057400" indent="-228600" eaLnBrk="0" hangingPunct="0">
              <a:defRPr>
                <a:ea typeface="MS PGothic" charset="-128"/>
              </a:defRPr>
            </a:lvl5pPr>
            <a:lvl6pPr marL="2514600" indent="-228600" eaLnBrk="0" fontAlgn="base" hangingPunct="0">
              <a:spcBef>
                <a:spcPct val="0"/>
              </a:spcBef>
              <a:spcAft>
                <a:spcPct val="0"/>
              </a:spcAft>
              <a:defRPr>
                <a:ea typeface="MS PGothic" charset="-128"/>
              </a:defRPr>
            </a:lvl6pPr>
            <a:lvl7pPr marL="2971800" indent="-228600" eaLnBrk="0" fontAlgn="base" hangingPunct="0">
              <a:spcBef>
                <a:spcPct val="0"/>
              </a:spcBef>
              <a:spcAft>
                <a:spcPct val="0"/>
              </a:spcAft>
              <a:defRPr>
                <a:ea typeface="MS PGothic" charset="-128"/>
              </a:defRPr>
            </a:lvl7pPr>
            <a:lvl8pPr marL="3429000" indent="-228600" eaLnBrk="0" fontAlgn="base" hangingPunct="0">
              <a:spcBef>
                <a:spcPct val="0"/>
              </a:spcBef>
              <a:spcAft>
                <a:spcPct val="0"/>
              </a:spcAft>
              <a:defRPr>
                <a:ea typeface="MS PGothic" charset="-128"/>
              </a:defRPr>
            </a:lvl8pPr>
            <a:lvl9pPr marL="3886200" indent="-228600" eaLnBrk="0" fontAlgn="base" hangingPunct="0">
              <a:spcBef>
                <a:spcPct val="0"/>
              </a:spcBef>
              <a:spcAft>
                <a:spcPct val="0"/>
              </a:spcAft>
              <a:defRPr>
                <a:ea typeface="MS PGothic" charset="-128"/>
              </a:defRPr>
            </a:lvl9pPr>
          </a:lstStyle>
          <a:p>
            <a:pPr algn="l">
              <a:spcBef>
                <a:spcPts val="0"/>
              </a:spcBef>
            </a:pPr>
            <a:r>
              <a:rPr lang="es-ES_tradnl">
                <a:latin typeface="+mn-lt"/>
              </a:rPr>
              <a:t>S13</a:t>
            </a:r>
          </a:p>
        </p:txBody>
      </p:sp>
      <p:cxnSp>
        <p:nvCxnSpPr>
          <p:cNvPr id="119" name="Straight Connector 118">
            <a:extLst>
              <a:ext uri="{FF2B5EF4-FFF2-40B4-BE49-F238E27FC236}">
                <a16:creationId xmlns:a16="http://schemas.microsoft.com/office/drawing/2014/main" id="{CBAF699D-F223-4A6F-8463-05E8EABB4D26}"/>
              </a:ext>
            </a:extLst>
          </p:cNvPr>
          <p:cNvCxnSpPr>
            <a:cxnSpLocks/>
          </p:cNvCxnSpPr>
          <p:nvPr/>
        </p:nvCxnSpPr>
        <p:spPr bwMode="auto">
          <a:xfrm>
            <a:off x="4558611" y="2967381"/>
            <a:ext cx="0" cy="219902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78" name="Straight Connector 77">
            <a:extLst>
              <a:ext uri="{FF2B5EF4-FFF2-40B4-BE49-F238E27FC236}">
                <a16:creationId xmlns:a16="http://schemas.microsoft.com/office/drawing/2014/main" id="{D295AE2E-9AF7-4D29-A6FB-AFF346DDEBC9}"/>
              </a:ext>
            </a:extLst>
          </p:cNvPr>
          <p:cNvCxnSpPr>
            <a:cxnSpLocks/>
          </p:cNvCxnSpPr>
          <p:nvPr/>
        </p:nvCxnSpPr>
        <p:spPr bwMode="auto">
          <a:xfrm flipV="1">
            <a:off x="2924281" y="2868668"/>
            <a:ext cx="733530" cy="425941"/>
          </a:xfrm>
          <a:prstGeom prst="line">
            <a:avLst/>
          </a:prstGeom>
          <a:solidFill>
            <a:schemeClr val="accent1"/>
          </a:solidFill>
          <a:ln w="19050" cap="flat" cmpd="sng" algn="ctr">
            <a:solidFill>
              <a:schemeClr val="tx2"/>
            </a:solidFill>
            <a:prstDash val="dash"/>
            <a:round/>
            <a:headEnd type="none" w="med" len="med"/>
            <a:tailEnd type="none" w="med" len="med"/>
          </a:ln>
          <a:effectLst/>
        </p:spPr>
      </p:cxnSp>
      <p:cxnSp>
        <p:nvCxnSpPr>
          <p:cNvPr id="92" name="Straight Connector 91">
            <a:extLst>
              <a:ext uri="{FF2B5EF4-FFF2-40B4-BE49-F238E27FC236}">
                <a16:creationId xmlns:a16="http://schemas.microsoft.com/office/drawing/2014/main" id="{7DD565A9-AE3B-4645-B87B-48F3F93FE340}"/>
              </a:ext>
            </a:extLst>
          </p:cNvPr>
          <p:cNvCxnSpPr>
            <a:cxnSpLocks/>
          </p:cNvCxnSpPr>
          <p:nvPr/>
        </p:nvCxnSpPr>
        <p:spPr bwMode="auto">
          <a:xfrm>
            <a:off x="3854440" y="2900168"/>
            <a:ext cx="9431" cy="2256711"/>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98" name="TextBox 97">
            <a:extLst>
              <a:ext uri="{FF2B5EF4-FFF2-40B4-BE49-F238E27FC236}">
                <a16:creationId xmlns:a16="http://schemas.microsoft.com/office/drawing/2014/main" id="{2C9AC66E-E282-4709-9824-C4D19B80B9A1}"/>
              </a:ext>
            </a:extLst>
          </p:cNvPr>
          <p:cNvSpPr txBox="1"/>
          <p:nvPr/>
        </p:nvSpPr>
        <p:spPr>
          <a:xfrm>
            <a:off x="3273544" y="4085787"/>
            <a:ext cx="636570" cy="34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defPPr>
              <a:defRPr lang="en-GB"/>
            </a:defPPr>
            <a:lvl1pPr algn="ctr" eaLnBrk="1" hangingPunct="1">
              <a:lnSpc>
                <a:spcPct val="80000"/>
              </a:lnSpc>
              <a:defRPr sz="1400">
                <a:solidFill>
                  <a:schemeClr val="tx2"/>
                </a:solidFill>
                <a:ea typeface="MS PGothic" charset="-128"/>
              </a:defRPr>
            </a:lvl1pPr>
            <a:lvl2pPr marL="742950" indent="-285750" eaLnBrk="0" hangingPunct="0">
              <a:defRPr>
                <a:ea typeface="MS PGothic" charset="-128"/>
              </a:defRPr>
            </a:lvl2pPr>
            <a:lvl3pPr marL="1143000" indent="-228600" eaLnBrk="0" hangingPunct="0">
              <a:defRPr>
                <a:ea typeface="MS PGothic" charset="-128"/>
              </a:defRPr>
            </a:lvl3pPr>
            <a:lvl4pPr marL="1600200" indent="-228600" eaLnBrk="0" hangingPunct="0">
              <a:defRPr>
                <a:ea typeface="MS PGothic" charset="-128"/>
              </a:defRPr>
            </a:lvl4pPr>
            <a:lvl5pPr marL="2057400" indent="-228600" eaLnBrk="0" hangingPunct="0">
              <a:defRPr>
                <a:ea typeface="MS PGothic" charset="-128"/>
              </a:defRPr>
            </a:lvl5pPr>
            <a:lvl6pPr marL="2514600" indent="-228600" eaLnBrk="0" fontAlgn="base" hangingPunct="0">
              <a:spcBef>
                <a:spcPct val="0"/>
              </a:spcBef>
              <a:spcAft>
                <a:spcPct val="0"/>
              </a:spcAft>
              <a:defRPr>
                <a:ea typeface="MS PGothic" charset="-128"/>
              </a:defRPr>
            </a:lvl6pPr>
            <a:lvl7pPr marL="2971800" indent="-228600" eaLnBrk="0" fontAlgn="base" hangingPunct="0">
              <a:spcBef>
                <a:spcPct val="0"/>
              </a:spcBef>
              <a:spcAft>
                <a:spcPct val="0"/>
              </a:spcAft>
              <a:defRPr>
                <a:ea typeface="MS PGothic" charset="-128"/>
              </a:defRPr>
            </a:lvl7pPr>
            <a:lvl8pPr marL="3429000" indent="-228600" eaLnBrk="0" fontAlgn="base" hangingPunct="0">
              <a:spcBef>
                <a:spcPct val="0"/>
              </a:spcBef>
              <a:spcAft>
                <a:spcPct val="0"/>
              </a:spcAft>
              <a:defRPr>
                <a:ea typeface="MS PGothic" charset="-128"/>
              </a:defRPr>
            </a:lvl8pPr>
            <a:lvl9pPr marL="3886200" indent="-228600" eaLnBrk="0" fontAlgn="base" hangingPunct="0">
              <a:spcBef>
                <a:spcPct val="0"/>
              </a:spcBef>
              <a:spcAft>
                <a:spcPct val="0"/>
              </a:spcAft>
              <a:defRPr>
                <a:ea typeface="MS PGothic" charset="-128"/>
              </a:defRPr>
            </a:lvl9pPr>
          </a:lstStyle>
          <a:p>
            <a:pPr algn="l">
              <a:spcBef>
                <a:spcPts val="0"/>
              </a:spcBef>
            </a:pPr>
            <a:r>
              <a:rPr lang="es-ES_tradnl" err="1">
                <a:latin typeface="+mn-lt"/>
              </a:rPr>
              <a:t>Nhss</a:t>
            </a:r>
            <a:r>
              <a:rPr lang="es-ES_tradnl">
                <a:latin typeface="+mn-lt"/>
              </a:rPr>
              <a:t> </a:t>
            </a:r>
          </a:p>
          <a:p>
            <a:pPr algn="l">
              <a:spcBef>
                <a:spcPts val="0"/>
              </a:spcBef>
            </a:pPr>
            <a:r>
              <a:rPr lang="es-ES_tradnl">
                <a:latin typeface="+mn-lt"/>
              </a:rPr>
              <a:t>(Rel16)</a:t>
            </a:r>
            <a:endParaRPr lang="en-US">
              <a:latin typeface="+mn-lt"/>
            </a:endParaRPr>
          </a:p>
        </p:txBody>
      </p:sp>
      <p:cxnSp>
        <p:nvCxnSpPr>
          <p:cNvPr id="102" name="Straight Connector 101">
            <a:extLst>
              <a:ext uri="{FF2B5EF4-FFF2-40B4-BE49-F238E27FC236}">
                <a16:creationId xmlns:a16="http://schemas.microsoft.com/office/drawing/2014/main" id="{1106DFA4-10C1-42F6-81D9-DC670EA66AAE}"/>
              </a:ext>
            </a:extLst>
          </p:cNvPr>
          <p:cNvCxnSpPr>
            <a:cxnSpLocks/>
          </p:cNvCxnSpPr>
          <p:nvPr/>
        </p:nvCxnSpPr>
        <p:spPr bwMode="auto">
          <a:xfrm flipH="1">
            <a:off x="2664395" y="2968707"/>
            <a:ext cx="1860" cy="640335"/>
          </a:xfrm>
          <a:prstGeom prst="line">
            <a:avLst/>
          </a:prstGeom>
          <a:solidFill>
            <a:schemeClr val="accent1"/>
          </a:solidFill>
          <a:ln w="19050" cap="flat" cmpd="sng" algn="ctr">
            <a:solidFill>
              <a:schemeClr val="tx2"/>
            </a:solidFill>
            <a:prstDash val="dash"/>
            <a:round/>
            <a:headEnd type="none" w="med" len="med"/>
            <a:tailEnd type="none" w="med" len="med"/>
          </a:ln>
          <a:effectLst/>
        </p:spPr>
      </p:cxnSp>
      <p:sp>
        <p:nvSpPr>
          <p:cNvPr id="104" name="TextBox 103">
            <a:extLst>
              <a:ext uri="{FF2B5EF4-FFF2-40B4-BE49-F238E27FC236}">
                <a16:creationId xmlns:a16="http://schemas.microsoft.com/office/drawing/2014/main" id="{85CB7B5D-5D9A-4E49-8134-D49B1FE4DB31}"/>
              </a:ext>
            </a:extLst>
          </p:cNvPr>
          <p:cNvSpPr txBox="1"/>
          <p:nvPr/>
        </p:nvSpPr>
        <p:spPr>
          <a:xfrm>
            <a:off x="2280551" y="3007898"/>
            <a:ext cx="731500" cy="17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defPPr>
              <a:defRPr lang="en-GB"/>
            </a:defPPr>
            <a:lvl1pPr algn="ctr" eaLnBrk="1" hangingPunct="1">
              <a:lnSpc>
                <a:spcPct val="80000"/>
              </a:lnSpc>
              <a:defRPr sz="1400">
                <a:solidFill>
                  <a:schemeClr val="tx2"/>
                </a:solidFill>
                <a:ea typeface="MS PGothic" charset="-128"/>
              </a:defRPr>
            </a:lvl1pPr>
            <a:lvl2pPr marL="742950" indent="-285750" eaLnBrk="0" hangingPunct="0">
              <a:defRPr>
                <a:ea typeface="MS PGothic" charset="-128"/>
              </a:defRPr>
            </a:lvl2pPr>
            <a:lvl3pPr marL="1143000" indent="-228600" eaLnBrk="0" hangingPunct="0">
              <a:defRPr>
                <a:ea typeface="MS PGothic" charset="-128"/>
              </a:defRPr>
            </a:lvl3pPr>
            <a:lvl4pPr marL="1600200" indent="-228600" eaLnBrk="0" hangingPunct="0">
              <a:defRPr>
                <a:ea typeface="MS PGothic" charset="-128"/>
              </a:defRPr>
            </a:lvl4pPr>
            <a:lvl5pPr marL="2057400" indent="-228600" eaLnBrk="0" hangingPunct="0">
              <a:defRPr>
                <a:ea typeface="MS PGothic" charset="-128"/>
              </a:defRPr>
            </a:lvl5pPr>
            <a:lvl6pPr marL="2514600" indent="-228600" eaLnBrk="0" fontAlgn="base" hangingPunct="0">
              <a:spcBef>
                <a:spcPct val="0"/>
              </a:spcBef>
              <a:spcAft>
                <a:spcPct val="0"/>
              </a:spcAft>
              <a:defRPr>
                <a:ea typeface="MS PGothic" charset="-128"/>
              </a:defRPr>
            </a:lvl6pPr>
            <a:lvl7pPr marL="2971800" indent="-228600" eaLnBrk="0" fontAlgn="base" hangingPunct="0">
              <a:spcBef>
                <a:spcPct val="0"/>
              </a:spcBef>
              <a:spcAft>
                <a:spcPct val="0"/>
              </a:spcAft>
              <a:defRPr>
                <a:ea typeface="MS PGothic" charset="-128"/>
              </a:defRPr>
            </a:lvl7pPr>
            <a:lvl8pPr marL="3429000" indent="-228600" eaLnBrk="0" fontAlgn="base" hangingPunct="0">
              <a:spcBef>
                <a:spcPct val="0"/>
              </a:spcBef>
              <a:spcAft>
                <a:spcPct val="0"/>
              </a:spcAft>
              <a:defRPr>
                <a:ea typeface="MS PGothic" charset="-128"/>
              </a:defRPr>
            </a:lvl8pPr>
            <a:lvl9pPr marL="3886200" indent="-228600" eaLnBrk="0" fontAlgn="base" hangingPunct="0">
              <a:spcBef>
                <a:spcPct val="0"/>
              </a:spcBef>
              <a:spcAft>
                <a:spcPct val="0"/>
              </a:spcAft>
              <a:defRPr>
                <a:ea typeface="MS PGothic" charset="-128"/>
              </a:defRPr>
            </a:lvl9pPr>
          </a:lstStyle>
          <a:p>
            <a:pPr algn="l">
              <a:spcBef>
                <a:spcPts val="0"/>
              </a:spcBef>
            </a:pPr>
            <a:r>
              <a:rPr lang="es-ES_tradnl">
                <a:latin typeface="+mn-lt"/>
              </a:rPr>
              <a:t>MAP/S6c</a:t>
            </a:r>
          </a:p>
        </p:txBody>
      </p:sp>
      <p:sp>
        <p:nvSpPr>
          <p:cNvPr id="101" name="TextBox 100">
            <a:extLst>
              <a:ext uri="{FF2B5EF4-FFF2-40B4-BE49-F238E27FC236}">
                <a16:creationId xmlns:a16="http://schemas.microsoft.com/office/drawing/2014/main" id="{3570F4E0-8A95-44D5-B8A0-C5A99BCC0B72}"/>
              </a:ext>
            </a:extLst>
          </p:cNvPr>
          <p:cNvSpPr txBox="1"/>
          <p:nvPr/>
        </p:nvSpPr>
        <p:spPr bwMode="auto">
          <a:xfrm>
            <a:off x="1805337" y="5373071"/>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SMF</a:t>
            </a:r>
          </a:p>
        </p:txBody>
      </p:sp>
      <p:sp>
        <p:nvSpPr>
          <p:cNvPr id="103" name="TextBox 102">
            <a:extLst>
              <a:ext uri="{FF2B5EF4-FFF2-40B4-BE49-F238E27FC236}">
                <a16:creationId xmlns:a16="http://schemas.microsoft.com/office/drawing/2014/main" id="{3CF3C7D4-AD26-4029-8C7D-B837E4F33B89}"/>
              </a:ext>
            </a:extLst>
          </p:cNvPr>
          <p:cNvSpPr txBox="1"/>
          <p:nvPr/>
        </p:nvSpPr>
        <p:spPr bwMode="auto">
          <a:xfrm>
            <a:off x="813591" y="5374352"/>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AMF</a:t>
            </a:r>
          </a:p>
        </p:txBody>
      </p:sp>
      <p:sp>
        <p:nvSpPr>
          <p:cNvPr id="105" name="TextBox 104">
            <a:extLst>
              <a:ext uri="{FF2B5EF4-FFF2-40B4-BE49-F238E27FC236}">
                <a16:creationId xmlns:a16="http://schemas.microsoft.com/office/drawing/2014/main" id="{B19E06FD-543C-4F6D-8CCC-CD3E651A93A4}"/>
              </a:ext>
            </a:extLst>
          </p:cNvPr>
          <p:cNvSpPr txBox="1"/>
          <p:nvPr/>
        </p:nvSpPr>
        <p:spPr bwMode="auto">
          <a:xfrm>
            <a:off x="3000325" y="5380468"/>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SMSF</a:t>
            </a:r>
          </a:p>
        </p:txBody>
      </p:sp>
      <p:sp>
        <p:nvSpPr>
          <p:cNvPr id="110" name="TextBox 109">
            <a:extLst>
              <a:ext uri="{FF2B5EF4-FFF2-40B4-BE49-F238E27FC236}">
                <a16:creationId xmlns:a16="http://schemas.microsoft.com/office/drawing/2014/main" id="{61B5778C-66FE-4C9A-8F8E-28A9350A8E0A}"/>
              </a:ext>
            </a:extLst>
          </p:cNvPr>
          <p:cNvSpPr txBox="1"/>
          <p:nvPr/>
        </p:nvSpPr>
        <p:spPr bwMode="auto">
          <a:xfrm>
            <a:off x="4293288" y="2127004"/>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effectLst/>
                <a:uLnTx/>
                <a:uFillTx/>
                <a:latin typeface="Ericsson Hilda"/>
                <a:ea typeface="+mn-ea"/>
                <a:cs typeface="+mn-cs"/>
              </a:rPr>
              <a:t>LCS/</a:t>
            </a:r>
            <a:br>
              <a:rPr kumimoji="0" lang="en-US" sz="1200" b="0" i="0" u="none" strike="noStrike" kern="1200" cap="none" spc="0" normalizeH="0" baseline="0" noProof="0">
                <a:ln>
                  <a:noFill/>
                </a:ln>
                <a:effectLst/>
                <a:uLnTx/>
                <a:uFillTx/>
                <a:latin typeface="Ericsson Hilda"/>
                <a:ea typeface="+mn-ea"/>
                <a:cs typeface="+mn-cs"/>
              </a:rPr>
            </a:br>
            <a:r>
              <a:rPr kumimoji="0" lang="en-US" sz="1200" b="0" i="0" u="none" strike="noStrike" kern="1200" cap="none" spc="0" normalizeH="0" baseline="0" noProof="0">
                <a:ln>
                  <a:noFill/>
                </a:ln>
                <a:effectLst/>
                <a:uLnTx/>
                <a:uFillTx/>
                <a:latin typeface="Ericsson Hilda"/>
                <a:ea typeface="+mn-ea"/>
                <a:cs typeface="+mn-cs"/>
              </a:rPr>
              <a:t>GMLC</a:t>
            </a:r>
          </a:p>
        </p:txBody>
      </p:sp>
      <p:sp>
        <p:nvSpPr>
          <p:cNvPr id="112" name="TextBox 111">
            <a:extLst>
              <a:ext uri="{FF2B5EF4-FFF2-40B4-BE49-F238E27FC236}">
                <a16:creationId xmlns:a16="http://schemas.microsoft.com/office/drawing/2014/main" id="{C20B6B50-954F-4930-A0A4-53FD507BB1EF}"/>
              </a:ext>
            </a:extLst>
          </p:cNvPr>
          <p:cNvSpPr txBox="1"/>
          <p:nvPr/>
        </p:nvSpPr>
        <p:spPr bwMode="auto">
          <a:xfrm>
            <a:off x="2258896" y="3553655"/>
            <a:ext cx="807980" cy="1252541"/>
          </a:xfrm>
          <a:prstGeom prst="rect">
            <a:avLst/>
          </a:prstGeom>
          <a:solidFill>
            <a:schemeClr val="bg1"/>
          </a:solidFill>
          <a:ln w="1270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fontAlgn="auto">
              <a:spcBef>
                <a:spcPts val="0"/>
              </a:spcBef>
              <a:spcAft>
                <a:spcPts val="0"/>
              </a:spcAft>
              <a:buClr>
                <a:srgbClr val="181818"/>
              </a:buClr>
              <a:defRPr/>
            </a:pPr>
            <a:r>
              <a:rPr lang="en-US">
                <a:solidFill>
                  <a:schemeClr val="accent2"/>
                </a:solidFill>
                <a:latin typeface="Ericsson Technical Icons" panose="00000500000000000000" pitchFamily="2" charset="0"/>
              </a:rPr>
              <a:t>S</a:t>
            </a:r>
            <a:br>
              <a:rPr lang="en-US">
                <a:solidFill>
                  <a:schemeClr val="accent2"/>
                </a:solidFill>
                <a:latin typeface="Ericsson Technical Icons" panose="00000500000000000000" pitchFamily="2" charset="0"/>
              </a:rPr>
            </a:br>
            <a:r>
              <a:rPr lang="en-US">
                <a:solidFill>
                  <a:schemeClr val="accent2"/>
                </a:solidFill>
                <a:latin typeface="Ericsson Technical Icons" panose="00000500000000000000" pitchFamily="2" charset="0"/>
              </a:rPr>
              <a:t>D</a:t>
            </a:r>
          </a:p>
          <a:p>
            <a:pPr algn="ctr" fontAlgn="auto">
              <a:spcBef>
                <a:spcPts val="0"/>
              </a:spcBef>
              <a:spcAft>
                <a:spcPts val="0"/>
              </a:spcAft>
              <a:buClr>
                <a:srgbClr val="181818"/>
              </a:buClr>
              <a:defRPr/>
            </a:pPr>
            <a:endParaRPr kumimoji="0" lang="en-US" sz="1050" b="0" i="0" u="none" strike="noStrike" kern="1200" cap="none" spc="0" normalizeH="0" baseline="0" noProof="0">
              <a:ln>
                <a:noFill/>
              </a:ln>
              <a:solidFill>
                <a:schemeClr val="accent2"/>
              </a:solidFill>
              <a:effectLst/>
              <a:uLnTx/>
              <a:uFillTx/>
              <a:latin typeface="Ericsson Hilda"/>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lang="en-US" sz="1600">
                <a:solidFill>
                  <a:schemeClr val="accent2"/>
                </a:solidFill>
                <a:latin typeface="Ericsson Hilda"/>
              </a:rPr>
              <a:t>UDM/</a:t>
            </a:r>
            <a:br>
              <a:rPr lang="en-US" sz="1600">
                <a:solidFill>
                  <a:schemeClr val="accent2"/>
                </a:solidFill>
                <a:latin typeface="Ericsson Hilda"/>
              </a:rPr>
            </a:br>
            <a:r>
              <a:rPr lang="en-US" sz="1600">
                <a:solidFill>
                  <a:schemeClr val="accent2"/>
                </a:solidFill>
                <a:latin typeface="Ericsson Hilda"/>
              </a:rPr>
              <a:t>UDR</a:t>
            </a:r>
            <a:endParaRPr kumimoji="0" lang="en-US" sz="1600" b="0" i="0" u="none" strike="noStrike" kern="1200" cap="none" spc="0" normalizeH="0" baseline="0" noProof="0">
              <a:ln>
                <a:noFill/>
              </a:ln>
              <a:solidFill>
                <a:schemeClr val="accent2"/>
              </a:solidFill>
              <a:effectLst/>
              <a:uLnTx/>
              <a:uFillTx/>
              <a:latin typeface="Ericsson Hilda"/>
              <a:ea typeface="+mn-ea"/>
              <a:cs typeface="+mn-cs"/>
            </a:endParaRPr>
          </a:p>
        </p:txBody>
      </p:sp>
      <p:sp>
        <p:nvSpPr>
          <p:cNvPr id="113" name="TextBox 112">
            <a:extLst>
              <a:ext uri="{FF2B5EF4-FFF2-40B4-BE49-F238E27FC236}">
                <a16:creationId xmlns:a16="http://schemas.microsoft.com/office/drawing/2014/main" id="{70B3D773-8769-4602-B998-60F089888A6E}"/>
              </a:ext>
            </a:extLst>
          </p:cNvPr>
          <p:cNvSpPr txBox="1"/>
          <p:nvPr/>
        </p:nvSpPr>
        <p:spPr bwMode="auto">
          <a:xfrm>
            <a:off x="459904" y="3580157"/>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EIR</a:t>
            </a:r>
          </a:p>
        </p:txBody>
      </p:sp>
      <p:sp>
        <p:nvSpPr>
          <p:cNvPr id="114" name="TextBox 113">
            <a:extLst>
              <a:ext uri="{FF2B5EF4-FFF2-40B4-BE49-F238E27FC236}">
                <a16:creationId xmlns:a16="http://schemas.microsoft.com/office/drawing/2014/main" id="{382A0E7E-C8B8-4AE3-9890-96CC21E0D3C9}"/>
              </a:ext>
            </a:extLst>
          </p:cNvPr>
          <p:cNvSpPr txBox="1"/>
          <p:nvPr/>
        </p:nvSpPr>
        <p:spPr bwMode="auto">
          <a:xfrm>
            <a:off x="2375912" y="2122928"/>
            <a:ext cx="581517" cy="825023"/>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endParaRPr kumimoji="0" lang="en-US" sz="7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effectLst/>
                <a:uLnTx/>
                <a:uFillTx/>
                <a:latin typeface="Ericsson Hilda"/>
                <a:ea typeface="+mn-ea"/>
                <a:cs typeface="+mn-cs"/>
              </a:rPr>
              <a:t>SMS-SC</a:t>
            </a:r>
          </a:p>
        </p:txBody>
      </p:sp>
      <p:sp>
        <p:nvSpPr>
          <p:cNvPr id="115" name="TextBox 114">
            <a:extLst>
              <a:ext uri="{FF2B5EF4-FFF2-40B4-BE49-F238E27FC236}">
                <a16:creationId xmlns:a16="http://schemas.microsoft.com/office/drawing/2014/main" id="{2D84E477-DC41-41F4-AEC6-88C808CA571E}"/>
              </a:ext>
            </a:extLst>
          </p:cNvPr>
          <p:cNvSpPr txBox="1"/>
          <p:nvPr/>
        </p:nvSpPr>
        <p:spPr bwMode="auto">
          <a:xfrm>
            <a:off x="1284091" y="3593944"/>
            <a:ext cx="580981" cy="811236"/>
          </a:xfrm>
          <a:prstGeom prst="rect">
            <a:avLst/>
          </a:prstGeom>
          <a:solidFill>
            <a:schemeClr val="bg1"/>
          </a:solidFill>
          <a:ln w="12700">
            <a:solidFill>
              <a:schemeClr val="tx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endParaRPr kumimoji="0" lang="en-US" sz="1200" b="0" i="0" u="none" strike="noStrike" kern="1200" cap="none" spc="0" normalizeH="0" baseline="0" noProof="0">
              <a:ln>
                <a:noFill/>
              </a:ln>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effectLst/>
                <a:uLnTx/>
                <a:uFillTx/>
                <a:latin typeface="Ericsson Hilda"/>
                <a:ea typeface="+mn-ea"/>
                <a:cs typeface="+mn-cs"/>
              </a:rPr>
              <a:t>AUSF</a:t>
            </a:r>
          </a:p>
        </p:txBody>
      </p:sp>
    </p:spTree>
    <p:extLst>
      <p:ext uri="{BB962C8B-B14F-4D97-AF65-F5344CB8AC3E}">
        <p14:creationId xmlns:p14="http://schemas.microsoft.com/office/powerpoint/2010/main" val="358729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4"/>
                                        </p:tgtEl>
                                        <p:attrNameLst>
                                          <p:attrName>style.visibility</p:attrName>
                                        </p:attrNameLst>
                                      </p:cBhvr>
                                      <p:to>
                                        <p:strVal val="visible"/>
                                      </p:to>
                                    </p:set>
                                    <p:animEffect transition="in" filter="fade">
                                      <p:cBhvr>
                                        <p:cTn id="7" dur="500"/>
                                        <p:tgtEl>
                                          <p:spTgt spid="244"/>
                                        </p:tgtEl>
                                      </p:cBhvr>
                                    </p:animEffect>
                                  </p:childTnLst>
                                </p:cTn>
                              </p:par>
                              <p:par>
                                <p:cTn id="8" presetID="10" presetClass="entr" presetSubtype="0" fill="hold" nodeType="withEffect">
                                  <p:stCondLst>
                                    <p:cond delay="0"/>
                                  </p:stCondLst>
                                  <p:childTnLst>
                                    <p:set>
                                      <p:cBhvr>
                                        <p:cTn id="9" dur="1" fill="hold">
                                          <p:stCondLst>
                                            <p:cond delay="0"/>
                                          </p:stCondLst>
                                        </p:cTn>
                                        <p:tgtEl>
                                          <p:spTgt spid="243"/>
                                        </p:tgtEl>
                                        <p:attrNameLst>
                                          <p:attrName>style.visibility</p:attrName>
                                        </p:attrNameLst>
                                      </p:cBhvr>
                                      <p:to>
                                        <p:strVal val="visible"/>
                                      </p:to>
                                    </p:set>
                                    <p:animEffect transition="in" filter="fade">
                                      <p:cBhvr>
                                        <p:cTn id="10" dur="500"/>
                                        <p:tgtEl>
                                          <p:spTgt spid="24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113"/>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226"/>
                                        </p:tgtEl>
                                        <p:attrNameLst>
                                          <p:attrName>style.visibility</p:attrName>
                                        </p:attrNameLst>
                                      </p:cBhvr>
                                      <p:to>
                                        <p:strVal val="visible"/>
                                      </p:to>
                                    </p:set>
                                    <p:animEffect transition="in" filter="fade">
                                      <p:cBhvr>
                                        <p:cTn id="15" dur="500"/>
                                        <p:tgtEl>
                                          <p:spTgt spid="226"/>
                                        </p:tgtEl>
                                      </p:cBhvr>
                                    </p:animEffect>
                                  </p:childTnLst>
                                </p:cTn>
                              </p:par>
                              <p:par>
                                <p:cTn id="16" presetID="10" presetClass="entr" presetSubtype="0" fill="hold" nodeType="withEffect">
                                  <p:stCondLst>
                                    <p:cond delay="0"/>
                                  </p:stCondLst>
                                  <p:childTnLst>
                                    <p:set>
                                      <p:cBhvr>
                                        <p:cTn id="17" dur="1" fill="hold">
                                          <p:stCondLst>
                                            <p:cond delay="0"/>
                                          </p:stCondLst>
                                        </p:cTn>
                                        <p:tgtEl>
                                          <p:spTgt spid="240"/>
                                        </p:tgtEl>
                                        <p:attrNameLst>
                                          <p:attrName>style.visibility</p:attrName>
                                        </p:attrNameLst>
                                      </p:cBhvr>
                                      <p:to>
                                        <p:strVal val="visible"/>
                                      </p:to>
                                    </p:set>
                                    <p:animEffect transition="in" filter="fade">
                                      <p:cBhvr>
                                        <p:cTn id="18" dur="500"/>
                                        <p:tgtEl>
                                          <p:spTgt spid="24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1"/>
                                        </p:tgtEl>
                                        <p:attrNameLst>
                                          <p:attrName>style.visibility</p:attrName>
                                        </p:attrNameLst>
                                      </p:cBhvr>
                                      <p:to>
                                        <p:strVal val="visible"/>
                                      </p:to>
                                    </p:set>
                                    <p:animEffect transition="in" filter="fade">
                                      <p:cBhvr>
                                        <p:cTn id="21" dur="500"/>
                                        <p:tgtEl>
                                          <p:spTgt spid="241"/>
                                        </p:tgtEl>
                                      </p:cBhvr>
                                    </p:animEffect>
                                  </p:childTnLst>
                                </p:cTn>
                              </p:par>
                              <p:par>
                                <p:cTn id="22" presetID="10" presetClass="entr" presetSubtype="0"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fade">
                                      <p:cBhvr>
                                        <p:cTn id="24" dur="500"/>
                                        <p:tgtEl>
                                          <p:spTgt spid="23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9"/>
                                        </p:tgtEl>
                                        <p:attrNameLst>
                                          <p:attrName>style.visibility</p:attrName>
                                        </p:attrNameLst>
                                      </p:cBhvr>
                                      <p:to>
                                        <p:strVal val="visible"/>
                                      </p:to>
                                    </p:set>
                                    <p:animEffect transition="in" filter="fade">
                                      <p:cBhvr>
                                        <p:cTn id="29" dur="500"/>
                                        <p:tgtEl>
                                          <p:spTgt spid="119"/>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11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8"/>
                                        </p:tgtEl>
                                        <p:attrNameLst>
                                          <p:attrName>style.visibility</p:attrName>
                                        </p:attrNameLst>
                                      </p:cBhvr>
                                      <p:to>
                                        <p:strVal val="visible"/>
                                      </p:to>
                                    </p:set>
                                    <p:animEffect transition="in" filter="fade">
                                      <p:cBhvr>
                                        <p:cTn id="36" dur="500"/>
                                        <p:tgtEl>
                                          <p:spTgt spid="20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11"/>
                                        </p:tgtEl>
                                        <p:attrNameLst>
                                          <p:attrName>style.visibility</p:attrName>
                                        </p:attrNameLst>
                                      </p:cBhvr>
                                      <p:to>
                                        <p:strVal val="visible"/>
                                      </p:to>
                                    </p:set>
                                    <p:animEffect transition="in" filter="fade">
                                      <p:cBhvr>
                                        <p:cTn id="39" dur="500"/>
                                        <p:tgtEl>
                                          <p:spTgt spid="21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9"/>
                                        </p:tgtEl>
                                        <p:attrNameLst>
                                          <p:attrName>style.visibility</p:attrName>
                                        </p:attrNameLst>
                                      </p:cBhvr>
                                      <p:to>
                                        <p:strVal val="visible"/>
                                      </p:to>
                                    </p:set>
                                    <p:animEffect transition="in" filter="fade">
                                      <p:cBhvr>
                                        <p:cTn id="42" dur="500"/>
                                        <p:tgtEl>
                                          <p:spTgt spid="209"/>
                                        </p:tgtEl>
                                      </p:cBhvr>
                                    </p:animEffect>
                                  </p:childTnLst>
                                </p:cTn>
                              </p:par>
                              <p:par>
                                <p:cTn id="43" presetID="10" presetClass="entr" presetSubtype="0" fill="hold" nodeType="withEffect">
                                  <p:stCondLst>
                                    <p:cond delay="0"/>
                                  </p:stCondLst>
                                  <p:childTnLst>
                                    <p:set>
                                      <p:cBhvr>
                                        <p:cTn id="44" dur="1" fill="hold">
                                          <p:stCondLst>
                                            <p:cond delay="0"/>
                                          </p:stCondLst>
                                        </p:cTn>
                                        <p:tgtEl>
                                          <p:spTgt spid="210"/>
                                        </p:tgtEl>
                                        <p:attrNameLst>
                                          <p:attrName>style.visibility</p:attrName>
                                        </p:attrNameLst>
                                      </p:cBhvr>
                                      <p:to>
                                        <p:strVal val="visible"/>
                                      </p:to>
                                    </p:set>
                                    <p:animEffect transition="in" filter="fade">
                                      <p:cBhvr>
                                        <p:cTn id="45" dur="500"/>
                                        <p:tgtEl>
                                          <p:spTgt spid="210"/>
                                        </p:tgtEl>
                                      </p:cBhvr>
                                    </p:animEffect>
                                  </p:childTnLst>
                                </p:cTn>
                              </p:par>
                              <p:par>
                                <p:cTn id="46" presetID="10" presetClass="entr" presetSubtype="0" fill="hold" nodeType="withEffect">
                                  <p:stCondLst>
                                    <p:cond delay="0"/>
                                  </p:stCondLst>
                                  <p:childTnLst>
                                    <p:set>
                                      <p:cBhvr>
                                        <p:cTn id="47" dur="1" fill="hold">
                                          <p:stCondLst>
                                            <p:cond delay="0"/>
                                          </p:stCondLst>
                                        </p:cTn>
                                        <p:tgtEl>
                                          <p:spTgt spid="92"/>
                                        </p:tgtEl>
                                        <p:attrNameLst>
                                          <p:attrName>style.visibility</p:attrName>
                                        </p:attrNameLst>
                                      </p:cBhvr>
                                      <p:to>
                                        <p:strVal val="visible"/>
                                      </p:to>
                                    </p:set>
                                    <p:animEffect transition="in" filter="fade">
                                      <p:cBhvr>
                                        <p:cTn id="48" dur="500"/>
                                        <p:tgtEl>
                                          <p:spTgt spid="9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8"/>
                                        </p:tgtEl>
                                        <p:attrNameLst>
                                          <p:attrName>style.visibility</p:attrName>
                                        </p:attrNameLst>
                                      </p:cBhvr>
                                      <p:to>
                                        <p:strVal val="visible"/>
                                      </p:to>
                                    </p:set>
                                    <p:animEffect transition="in" filter="fade">
                                      <p:cBhvr>
                                        <p:cTn id="51" dur="500"/>
                                        <p:tgtEl>
                                          <p:spTgt spid="98"/>
                                        </p:tgtEl>
                                      </p:cBhvr>
                                    </p:animEffect>
                                  </p:childTnLst>
                                </p:cTn>
                              </p:par>
                              <p:par>
                                <p:cTn id="52" presetID="10" presetClass="entr" presetSubtype="0" fill="hold" nodeType="withEffect">
                                  <p:stCondLst>
                                    <p:cond delay="0"/>
                                  </p:stCondLst>
                                  <p:childTnLst>
                                    <p:set>
                                      <p:cBhvr>
                                        <p:cTn id="53" dur="1" fill="hold">
                                          <p:stCondLst>
                                            <p:cond delay="0"/>
                                          </p:stCondLst>
                                        </p:cTn>
                                        <p:tgtEl>
                                          <p:spTgt spid="78"/>
                                        </p:tgtEl>
                                        <p:attrNameLst>
                                          <p:attrName>style.visibility</p:attrName>
                                        </p:attrNameLst>
                                      </p:cBhvr>
                                      <p:to>
                                        <p:strVal val="visible"/>
                                      </p:to>
                                    </p:set>
                                    <p:animEffect transition="in" filter="fade">
                                      <p:cBhvr>
                                        <p:cTn id="54" dur="500"/>
                                        <p:tgtEl>
                                          <p:spTgt spid="7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42"/>
                                        </p:tgtEl>
                                        <p:attrNameLst>
                                          <p:attrName>style.visibility</p:attrName>
                                        </p:attrNameLst>
                                      </p:cBhvr>
                                      <p:to>
                                        <p:strVal val="visible"/>
                                      </p:to>
                                    </p:set>
                                    <p:animEffect transition="in" filter="fade">
                                      <p:cBhvr>
                                        <p:cTn id="59" dur="500"/>
                                        <p:tgtEl>
                                          <p:spTgt spid="242"/>
                                        </p:tgtEl>
                                      </p:cBhvr>
                                    </p:animEffect>
                                  </p:childTnLst>
                                </p:cTn>
                              </p:par>
                              <p:par>
                                <p:cTn id="60" presetID="10" presetClass="entr" presetSubtype="0" fill="hold" nodeType="withEffect">
                                  <p:stCondLst>
                                    <p:cond delay="0"/>
                                  </p:stCondLst>
                                  <p:childTnLst>
                                    <p:set>
                                      <p:cBhvr>
                                        <p:cTn id="61" dur="1" fill="hold">
                                          <p:stCondLst>
                                            <p:cond delay="0"/>
                                          </p:stCondLst>
                                        </p:cTn>
                                        <p:tgtEl>
                                          <p:spTgt spid="102"/>
                                        </p:tgtEl>
                                        <p:attrNameLst>
                                          <p:attrName>style.visibility</p:attrName>
                                        </p:attrNameLst>
                                      </p:cBhvr>
                                      <p:to>
                                        <p:strVal val="visible"/>
                                      </p:to>
                                    </p:set>
                                    <p:animEffect transition="in" filter="fade">
                                      <p:cBhvr>
                                        <p:cTn id="62" dur="500"/>
                                        <p:tgtEl>
                                          <p:spTgt spid="10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par>
                                <p:cTn id="66" presetID="1" presetClass="entr" presetSubtype="0" fill="hold" grpId="0" nodeType="withEffect">
                                  <p:stCondLst>
                                    <p:cond delay="0"/>
                                  </p:stCondLst>
                                  <p:childTnLst>
                                    <p:set>
                                      <p:cBhvr>
                                        <p:cTn id="67"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8" grpId="0" animBg="1"/>
      <p:bldP spid="209" grpId="0"/>
      <p:bldP spid="211" grpId="0"/>
      <p:bldP spid="226" grpId="0"/>
      <p:bldP spid="241" grpId="0" animBg="1"/>
      <p:bldP spid="244" grpId="0"/>
      <p:bldP spid="98" grpId="0"/>
      <p:bldP spid="104" grpId="0"/>
      <p:bldP spid="110" grpId="0" animBg="1"/>
      <p:bldP spid="113" grpId="0" animBg="1"/>
      <p:bldP spid="11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32B229B3-1AD9-4C8F-A4EE-2DBA7061CAA9}"/>
              </a:ext>
            </a:extLst>
          </p:cNvPr>
          <p:cNvSpPr>
            <a:spLocks noGrp="1" noChangeArrowheads="1"/>
          </p:cNvSpPr>
          <p:nvPr>
            <p:ph type="title"/>
          </p:nvPr>
        </p:nvSpPr>
        <p:spPr>
          <a:xfrm>
            <a:off x="479425" y="476250"/>
            <a:ext cx="8353426" cy="1081088"/>
          </a:xfrm>
        </p:spPr>
        <p:txBody>
          <a:bodyPr/>
          <a:lstStyle/>
          <a:p>
            <a:r>
              <a:rPr lang="es-ES_tradnl" altLang="en-US" sz="4000"/>
              <a:t>UDICOM (Rel-16)</a:t>
            </a:r>
            <a:br>
              <a:rPr lang="es-ES_tradnl" altLang="en-US" sz="4000"/>
            </a:br>
            <a:r>
              <a:rPr lang="en-US" altLang="en-US" sz="2400"/>
              <a:t>User data interworking, coexistence and migration</a:t>
            </a:r>
            <a:endParaRPr lang="es-ES" altLang="en-US" sz="2400" b="1"/>
          </a:p>
        </p:txBody>
      </p:sp>
      <p:sp>
        <p:nvSpPr>
          <p:cNvPr id="3" name="Content Placeholder 2">
            <a:extLst>
              <a:ext uri="{FF2B5EF4-FFF2-40B4-BE49-F238E27FC236}">
                <a16:creationId xmlns:a16="http://schemas.microsoft.com/office/drawing/2014/main" id="{6DC2B2A7-F029-4C85-9F79-2D513DEDEBDB}"/>
              </a:ext>
            </a:extLst>
          </p:cNvPr>
          <p:cNvSpPr>
            <a:spLocks noGrp="1"/>
          </p:cNvSpPr>
          <p:nvPr>
            <p:ph sz="quarter" idx="10"/>
          </p:nvPr>
        </p:nvSpPr>
        <p:spPr>
          <a:xfrm>
            <a:off x="479425" y="1844675"/>
            <a:ext cx="5872823" cy="4392612"/>
          </a:xfrm>
        </p:spPr>
        <p:txBody>
          <a:bodyPr/>
          <a:lstStyle/>
          <a:p>
            <a:pPr>
              <a:lnSpc>
                <a:spcPct val="90000"/>
              </a:lnSpc>
            </a:pPr>
            <a:r>
              <a:rPr lang="en-GB" altLang="es-ES" sz="1600">
                <a:ea typeface="SimSun" panose="02010600030101010101" pitchFamily="2" charset="-122"/>
              </a:rPr>
              <a:t>Standardized service-based interface between HSS (EPC) and UDM (5GC) supporting interworking for: </a:t>
            </a:r>
          </a:p>
          <a:p>
            <a:pPr lvl="1">
              <a:lnSpc>
                <a:spcPct val="90000"/>
              </a:lnSpc>
            </a:pPr>
            <a:r>
              <a:rPr lang="en-GB" altLang="es-ES" sz="1400">
                <a:ea typeface="SimSun" panose="02010600030101010101" pitchFamily="2" charset="-122"/>
              </a:rPr>
              <a:t>Authentication</a:t>
            </a:r>
          </a:p>
          <a:p>
            <a:pPr lvl="1">
              <a:lnSpc>
                <a:spcPct val="90000"/>
              </a:lnSpc>
            </a:pPr>
            <a:r>
              <a:rPr lang="en-GB" altLang="es-ES" sz="1400">
                <a:ea typeface="SimSun" panose="02010600030101010101" pitchFamily="2" charset="-122"/>
              </a:rPr>
              <a:t>5GC interworking with EPC</a:t>
            </a:r>
          </a:p>
          <a:p>
            <a:pPr lvl="1">
              <a:lnSpc>
                <a:spcPct val="90000"/>
              </a:lnSpc>
            </a:pPr>
            <a:r>
              <a:rPr lang="en-GB" altLang="es-ES" sz="1400">
                <a:ea typeface="SimSun" panose="02010600030101010101" pitchFamily="2" charset="-122"/>
              </a:rPr>
              <a:t>IMS support (T-ADS, NPLI, UE Reachability/User-State and P-CSCF restoration)</a:t>
            </a:r>
          </a:p>
          <a:p>
            <a:pPr lvl="1">
              <a:lnSpc>
                <a:spcPct val="90000"/>
              </a:lnSpc>
            </a:pPr>
            <a:r>
              <a:rPr lang="en-GB" altLang="es-ES" sz="1400">
                <a:ea typeface="SimSun" panose="02010600030101010101" pitchFamily="2" charset="-122"/>
              </a:rPr>
              <a:t>SMS Support</a:t>
            </a:r>
          </a:p>
          <a:p>
            <a:pPr>
              <a:lnSpc>
                <a:spcPct val="90000"/>
              </a:lnSpc>
            </a:pPr>
            <a:r>
              <a:rPr lang="en-GB" altLang="es-ES" sz="1600">
                <a:ea typeface="SimSun" panose="02010600030101010101" pitchFamily="2" charset="-122"/>
              </a:rPr>
              <a:t>Based on SBA approach (i.e. REST APIs)</a:t>
            </a:r>
          </a:p>
          <a:p>
            <a:pPr>
              <a:lnSpc>
                <a:spcPct val="90000"/>
              </a:lnSpc>
            </a:pPr>
            <a:r>
              <a:rPr lang="en-GB" altLang="es-ES" sz="1600">
                <a:ea typeface="SimSun" panose="02010600030101010101" pitchFamily="2" charset="-122"/>
              </a:rPr>
              <a:t>Normative stage-2 and stage-3 work done in CT4</a:t>
            </a:r>
          </a:p>
          <a:p>
            <a:pPr>
              <a:lnSpc>
                <a:spcPct val="90000"/>
              </a:lnSpc>
            </a:pPr>
            <a:r>
              <a:rPr lang="en-GB" altLang="es-ES" sz="1600">
                <a:ea typeface="SimSun" panose="02010600030101010101" pitchFamily="2" charset="-122"/>
              </a:rPr>
              <a:t>Additionally, two deployment models to be documented</a:t>
            </a:r>
          </a:p>
          <a:p>
            <a:pPr marL="0" indent="0">
              <a:buNone/>
              <a:defRPr/>
            </a:pPr>
            <a:endParaRPr lang="en-US" sz="1800">
              <a:solidFill>
                <a:schemeClr val="bg1"/>
              </a:solidFill>
            </a:endParaRPr>
          </a:p>
          <a:p>
            <a:pPr marL="0" indent="0">
              <a:buNone/>
              <a:defRPr/>
            </a:pPr>
            <a:endParaRPr lang="es-ES" sz="1200"/>
          </a:p>
        </p:txBody>
      </p:sp>
      <p:pic>
        <p:nvPicPr>
          <p:cNvPr id="6" name="Content Placeholder 3">
            <a:extLst>
              <a:ext uri="{FF2B5EF4-FFF2-40B4-BE49-F238E27FC236}">
                <a16:creationId xmlns:a16="http://schemas.microsoft.com/office/drawing/2014/main" id="{E3F564E3-ABE4-4AA6-85EE-E22C9693DAA9}"/>
              </a:ext>
            </a:extLst>
          </p:cNvPr>
          <p:cNvPicPr>
            <a:picLocks noChangeAspect="1"/>
          </p:cNvPicPr>
          <p:nvPr/>
        </p:nvPicPr>
        <p:blipFill>
          <a:blip r:embed="rId3"/>
          <a:stretch>
            <a:fillRect/>
          </a:stretch>
        </p:blipFill>
        <p:spPr>
          <a:xfrm>
            <a:off x="4207858" y="4858821"/>
            <a:ext cx="7642178" cy="1732334"/>
          </a:xfrm>
          <a:prstGeom prst="rect">
            <a:avLst/>
          </a:prstGeom>
        </p:spPr>
      </p:pic>
      <p:pic>
        <p:nvPicPr>
          <p:cNvPr id="2" name="Picture 1">
            <a:extLst>
              <a:ext uri="{FF2B5EF4-FFF2-40B4-BE49-F238E27FC236}">
                <a16:creationId xmlns:a16="http://schemas.microsoft.com/office/drawing/2014/main" id="{A84FB95A-073D-481F-8C71-48FD7C3AB16D}"/>
              </a:ext>
            </a:extLst>
          </p:cNvPr>
          <p:cNvPicPr>
            <a:picLocks noChangeAspect="1"/>
          </p:cNvPicPr>
          <p:nvPr/>
        </p:nvPicPr>
        <p:blipFill>
          <a:blip r:embed="rId4"/>
          <a:stretch>
            <a:fillRect/>
          </a:stretch>
        </p:blipFill>
        <p:spPr>
          <a:xfrm>
            <a:off x="6488172" y="1270684"/>
            <a:ext cx="5008514" cy="3442021"/>
          </a:xfrm>
          <a:prstGeom prst="rect">
            <a:avLst/>
          </a:prstGeom>
        </p:spPr>
      </p:pic>
    </p:spTree>
    <p:extLst>
      <p:ext uri="{BB962C8B-B14F-4D97-AF65-F5344CB8AC3E}">
        <p14:creationId xmlns:p14="http://schemas.microsoft.com/office/powerpoint/2010/main" val="8259974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296150" y="2024063"/>
            <a:ext cx="4831051" cy="3895099"/>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3" name="Title 2"/>
          <p:cNvSpPr>
            <a:spLocks noGrp="1"/>
          </p:cNvSpPr>
          <p:nvPr>
            <p:ph type="title"/>
          </p:nvPr>
        </p:nvSpPr>
        <p:spPr/>
        <p:txBody>
          <a:bodyPr>
            <a:normAutofit/>
          </a:bodyPr>
          <a:lstStyle/>
          <a:p>
            <a:pPr lvl="1">
              <a:lnSpc>
                <a:spcPct val="75000"/>
              </a:lnSpc>
            </a:pPr>
            <a:r>
              <a:rPr lang="en-US" sz="4400">
                <a:solidFill>
                  <a:schemeClr val="bg1"/>
                </a:solidFill>
                <a:latin typeface="+mj-lt"/>
              </a:rPr>
              <a:t>5G Policy Framework</a:t>
            </a:r>
            <a:br>
              <a:rPr lang="en-US" sz="3200">
                <a:solidFill>
                  <a:schemeClr val="bg1"/>
                </a:solidFill>
                <a:latin typeface="+mj-lt"/>
              </a:rPr>
            </a:br>
            <a:r>
              <a:rPr lang="en-US" sz="3200">
                <a:solidFill>
                  <a:schemeClr val="bg1"/>
                </a:solidFill>
                <a:latin typeface="+mj-lt"/>
              </a:rPr>
              <a:t>Details</a:t>
            </a:r>
            <a:endParaRPr lang="en-US" sz="4400">
              <a:solidFill>
                <a:schemeClr val="bg1"/>
              </a:solidFill>
              <a:latin typeface="+mj-lt"/>
            </a:endParaRPr>
          </a:p>
        </p:txBody>
      </p:sp>
      <p:sp>
        <p:nvSpPr>
          <p:cNvPr id="2" name="Content Placeholder 1"/>
          <p:cNvSpPr>
            <a:spLocks noGrp="1"/>
          </p:cNvSpPr>
          <p:nvPr>
            <p:ph idx="4294967295"/>
          </p:nvPr>
        </p:nvSpPr>
        <p:spPr>
          <a:xfrm>
            <a:off x="125412" y="1557338"/>
            <a:ext cx="7170738" cy="4824412"/>
          </a:xfrm>
          <a:prstGeom prst="rect">
            <a:avLst/>
          </a:prstGeom>
        </p:spPr>
        <p:txBody>
          <a:bodyPr>
            <a:noAutofit/>
          </a:bodyPr>
          <a:lstStyle/>
          <a:p>
            <a:pPr hangingPunct="0">
              <a:buClr>
                <a:schemeClr val="bg1"/>
              </a:buClr>
              <a:buFontTx/>
              <a:buChar char="—"/>
            </a:pPr>
            <a:r>
              <a:rPr lang="en-US" sz="1800" b="1">
                <a:solidFill>
                  <a:schemeClr val="bg1"/>
                </a:solidFill>
                <a:cs typeface="Arial" panose="020B0604020202020204" pitchFamily="34" charset="0"/>
              </a:rPr>
              <a:t>Policy Control Function (PCF), stand-alone function in 5GC</a:t>
            </a:r>
            <a:endParaRPr lang="en-US" sz="1800"/>
          </a:p>
          <a:p>
            <a:pPr lvl="1" hangingPunct="0">
              <a:buClr>
                <a:schemeClr val="bg1"/>
              </a:buClr>
              <a:buFontTx/>
              <a:buChar char="—"/>
            </a:pPr>
            <a:r>
              <a:rPr lang="en-US" sz="1400">
                <a:solidFill>
                  <a:schemeClr val="bg1"/>
                </a:solidFill>
                <a:cs typeface="Arial" panose="020B0604020202020204" pitchFamily="34" charset="0"/>
              </a:rPr>
              <a:t>PCF provides policy decisions to SMF and AMF. And policies to the UE.</a:t>
            </a:r>
          </a:p>
          <a:p>
            <a:pPr lvl="1">
              <a:buClr>
                <a:schemeClr val="bg1"/>
              </a:buClr>
              <a:buFontTx/>
              <a:buChar char="—"/>
            </a:pPr>
            <a:r>
              <a:rPr lang="en-US" sz="1400">
                <a:solidFill>
                  <a:schemeClr val="bg1"/>
                </a:solidFill>
                <a:cs typeface="Arial" panose="020B0604020202020204" pitchFamily="34" charset="0"/>
              </a:rPr>
              <a:t>Access the policy subscription profile in UDR.</a:t>
            </a:r>
            <a:endParaRPr lang="en-US" sz="1400"/>
          </a:p>
          <a:p>
            <a:pPr lvl="1" hangingPunct="0">
              <a:buClr>
                <a:schemeClr val="bg1"/>
              </a:buClr>
              <a:buFontTx/>
              <a:buChar char="—"/>
            </a:pPr>
            <a:endParaRPr lang="en-US" sz="1100">
              <a:solidFill>
                <a:schemeClr val="bg1"/>
              </a:solidFill>
              <a:cs typeface="Arial" panose="020B0604020202020204" pitchFamily="34" charset="0"/>
            </a:endParaRPr>
          </a:p>
          <a:p>
            <a:pPr hangingPunct="0">
              <a:buClr>
                <a:schemeClr val="bg1"/>
              </a:buClr>
              <a:buFontTx/>
              <a:buChar char="—"/>
            </a:pPr>
            <a:r>
              <a:rPr lang="en-US" sz="1800" b="1">
                <a:solidFill>
                  <a:schemeClr val="bg1"/>
                </a:solidFill>
                <a:cs typeface="Arial" panose="020B0604020202020204" pitchFamily="34" charset="0"/>
              </a:rPr>
              <a:t>Provides existing functionality in EPC</a:t>
            </a:r>
          </a:p>
          <a:p>
            <a:pPr lvl="1">
              <a:buClr>
                <a:schemeClr val="bg1"/>
              </a:buClr>
              <a:buFontTx/>
              <a:buChar char="—"/>
            </a:pPr>
            <a:r>
              <a:rPr lang="en-US" sz="1400">
                <a:solidFill>
                  <a:schemeClr val="bg1"/>
                </a:solidFill>
                <a:cs typeface="Arial" panose="020B0604020202020204" pitchFamily="34" charset="0"/>
              </a:rPr>
              <a:t>Usage monitoring, gating, traffic steering, spending limits… </a:t>
            </a:r>
          </a:p>
          <a:p>
            <a:pPr lvl="1" hangingPunct="0">
              <a:buClr>
                <a:schemeClr val="bg1"/>
              </a:buClr>
              <a:buFontTx/>
              <a:buChar char="—"/>
            </a:pPr>
            <a:r>
              <a:rPr lang="en-US" sz="1400">
                <a:solidFill>
                  <a:schemeClr val="bg1"/>
                </a:solidFill>
                <a:cs typeface="Arial" panose="020B0604020202020204" pitchFamily="34" charset="0"/>
              </a:rPr>
              <a:t>Rx to interwork with AFs with IMS and MCPTT services.</a:t>
            </a:r>
            <a:r>
              <a:rPr lang="en-GB" sz="1400">
                <a:solidFill>
                  <a:schemeClr val="bg1"/>
                </a:solidFill>
                <a:cs typeface="Arial" panose="020B0604020202020204" pitchFamily="34" charset="0"/>
              </a:rPr>
              <a:t> </a:t>
            </a:r>
          </a:p>
          <a:p>
            <a:pPr lvl="1" hangingPunct="0">
              <a:buClr>
                <a:schemeClr val="bg1"/>
              </a:buClr>
              <a:buFontTx/>
              <a:buChar char="—"/>
            </a:pPr>
            <a:endParaRPr lang="en-GB" sz="1100">
              <a:solidFill>
                <a:schemeClr val="bg1"/>
              </a:solidFill>
              <a:cs typeface="Arial" panose="020B0604020202020204" pitchFamily="34" charset="0"/>
            </a:endParaRPr>
          </a:p>
          <a:p>
            <a:pPr hangingPunct="0">
              <a:buClr>
                <a:schemeClr val="bg1"/>
              </a:buClr>
              <a:buFontTx/>
              <a:buChar char="—"/>
            </a:pPr>
            <a:r>
              <a:rPr lang="en-US" sz="1800" b="1">
                <a:solidFill>
                  <a:schemeClr val="bg1"/>
                </a:solidFill>
                <a:cs typeface="Arial" panose="020B0604020202020204" pitchFamily="34" charset="0"/>
              </a:rPr>
              <a:t>New 5GC functionality</a:t>
            </a:r>
          </a:p>
          <a:p>
            <a:pPr lvl="1" hangingPunct="0">
              <a:buClr>
                <a:schemeClr val="bg1"/>
              </a:buClr>
              <a:buFontTx/>
              <a:buChar char="—"/>
            </a:pPr>
            <a:r>
              <a:rPr lang="en-US" sz="1400">
                <a:solidFill>
                  <a:schemeClr val="bg1"/>
                </a:solidFill>
                <a:cs typeface="Arial" panose="020B0604020202020204" pitchFamily="34" charset="0"/>
              </a:rPr>
              <a:t>Enhanced PCC rules for 5G (e.g. 5GC QoS framework, LBO).</a:t>
            </a:r>
          </a:p>
          <a:p>
            <a:pPr lvl="1" hangingPunct="0">
              <a:buClr>
                <a:schemeClr val="bg1"/>
              </a:buClr>
              <a:buFontTx/>
              <a:buChar char="—"/>
            </a:pPr>
            <a:r>
              <a:rPr lang="en-US" sz="1400">
                <a:solidFill>
                  <a:schemeClr val="bg1"/>
                </a:solidFill>
                <a:cs typeface="Arial" panose="020B0604020202020204" pitchFamily="34" charset="0"/>
              </a:rPr>
              <a:t>New interface to the AMF for:</a:t>
            </a:r>
          </a:p>
          <a:p>
            <a:pPr marL="1186180" lvl="2" indent="-285750" hangingPunct="0">
              <a:buClr>
                <a:schemeClr val="bg1"/>
              </a:buClr>
              <a:buFontTx/>
              <a:buChar char="—"/>
            </a:pPr>
            <a:r>
              <a:rPr lang="en-US" sz="1400">
                <a:solidFill>
                  <a:schemeClr val="bg1"/>
                </a:solidFill>
                <a:cs typeface="Arial" panose="020B0604020202020204" pitchFamily="34" charset="0"/>
              </a:rPr>
              <a:t>Access and MM policies (service area restrictions, RFSP index).</a:t>
            </a:r>
          </a:p>
          <a:p>
            <a:pPr marL="1186180" lvl="2" indent="-285750" hangingPunct="0">
              <a:buClr>
                <a:schemeClr val="bg1"/>
              </a:buClr>
              <a:buFontTx/>
              <a:buChar char="—"/>
            </a:pPr>
            <a:r>
              <a:rPr lang="en-GB" sz="1400">
                <a:solidFill>
                  <a:schemeClr val="bg1"/>
                </a:solidFill>
                <a:cs typeface="Arial" panose="020B0604020202020204" pitchFamily="34" charset="0"/>
              </a:rPr>
              <a:t>Policies to the UE:  UE Route Selection Policies (Network Slice selection, SSC Mode selection…) and Access Network Discovery and Selection policies.</a:t>
            </a:r>
          </a:p>
          <a:p>
            <a:pPr lvl="1">
              <a:buClr>
                <a:schemeClr val="bg1"/>
              </a:buClr>
              <a:buFontTx/>
              <a:buChar char="—"/>
            </a:pPr>
            <a:r>
              <a:rPr lang="en-US" sz="1400">
                <a:solidFill>
                  <a:schemeClr val="bg1"/>
                </a:solidFill>
                <a:cs typeface="Arial" panose="020B0604020202020204" pitchFamily="34" charset="0"/>
              </a:rPr>
              <a:t>New interface with a </a:t>
            </a:r>
            <a:r>
              <a:rPr lang="en-GB" sz="1400">
                <a:solidFill>
                  <a:schemeClr val="bg1"/>
                </a:solidFill>
                <a:cs typeface="Arial" panose="020B0604020202020204" pitchFamily="34" charset="0"/>
              </a:rPr>
              <a:t>Network Data Analytics Function (NWDAF) to receive</a:t>
            </a:r>
            <a:r>
              <a:rPr lang="en-GB" sz="1400">
                <a:solidFill>
                  <a:srgbClr val="FFFFFF"/>
                </a:solidFill>
                <a:cs typeface="Arial"/>
              </a:rPr>
              <a:t> </a:t>
            </a:r>
            <a:r>
              <a:rPr lang="en-GB" sz="1400">
                <a:solidFill>
                  <a:schemeClr val="bg1"/>
                </a:solidFill>
                <a:cs typeface="Arial" panose="020B0604020202020204" pitchFamily="34" charset="0"/>
              </a:rPr>
              <a:t>network status analytics as input to policy decisions.  </a:t>
            </a:r>
            <a:endParaRPr lang="en-GB" sz="1400">
              <a:cs typeface="Arial"/>
            </a:endParaRPr>
          </a:p>
          <a:p>
            <a:pPr lvl="1" hangingPunct="0">
              <a:buClr>
                <a:schemeClr val="bg1"/>
              </a:buClr>
              <a:buFontTx/>
              <a:buChar char="—"/>
            </a:pPr>
            <a:r>
              <a:rPr lang="en-GB" sz="1400">
                <a:solidFill>
                  <a:schemeClr val="bg1"/>
                </a:solidFill>
                <a:cs typeface="Arial" panose="020B0604020202020204" pitchFamily="34" charset="0"/>
              </a:rPr>
              <a:t>Interface with NEF for exposure and new use cases (e.g. application influence on traffic routing)</a:t>
            </a:r>
            <a:r>
              <a:rPr lang="en-GB" sz="1600">
                <a:solidFill>
                  <a:schemeClr val="bg1"/>
                </a:solidFill>
                <a:cs typeface="Arial" panose="020B0604020202020204" pitchFamily="34" charset="0"/>
              </a:rPr>
              <a:t>.</a:t>
            </a:r>
          </a:p>
          <a:p>
            <a:pPr lvl="1" hangingPunct="0">
              <a:buClr>
                <a:schemeClr val="bg1"/>
              </a:buClr>
              <a:buFontTx/>
              <a:buChar char="—"/>
            </a:pPr>
            <a:r>
              <a:rPr lang="en-US" sz="1400">
                <a:solidFill>
                  <a:schemeClr val="bg1"/>
                </a:solidFill>
                <a:cs typeface="Arial" panose="020B0604020202020204" pitchFamily="34" charset="0"/>
              </a:rPr>
              <a:t>Enhanced negotiation for future background data transfer.</a:t>
            </a:r>
          </a:p>
        </p:txBody>
      </p:sp>
      <p:sp>
        <p:nvSpPr>
          <p:cNvPr id="13" name="TextBox 12"/>
          <p:cNvSpPr txBox="1"/>
          <p:nvPr/>
        </p:nvSpPr>
        <p:spPr>
          <a:xfrm>
            <a:off x="7386781" y="5488996"/>
            <a:ext cx="4713479" cy="276999"/>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5G non-roaming policy framework architecture SBA representation</a:t>
            </a:r>
            <a:endParaRPr lang="en-US" sz="1200" i="1">
              <a:cs typeface="Arial"/>
            </a:endParaRPr>
          </a:p>
        </p:txBody>
      </p:sp>
      <p:pic>
        <p:nvPicPr>
          <p:cNvPr id="16" name="Picture 15">
            <a:extLst>
              <a:ext uri="{FF2B5EF4-FFF2-40B4-BE49-F238E27FC236}">
                <a16:creationId xmlns:a16="http://schemas.microsoft.com/office/drawing/2014/main" id="{8DA6E853-85F4-48DF-A9D5-3066B7567FDC}"/>
              </a:ext>
            </a:extLst>
          </p:cNvPr>
          <p:cNvPicPr>
            <a:picLocks noChangeAspect="1"/>
          </p:cNvPicPr>
          <p:nvPr/>
        </p:nvPicPr>
        <p:blipFill>
          <a:blip r:embed="rId3"/>
          <a:stretch>
            <a:fillRect/>
          </a:stretch>
        </p:blipFill>
        <p:spPr>
          <a:xfrm>
            <a:off x="7386781" y="3159500"/>
            <a:ext cx="4773582" cy="1566808"/>
          </a:xfrm>
          <a:prstGeom prst="rect">
            <a:avLst/>
          </a:prstGeom>
        </p:spPr>
      </p:pic>
    </p:spTree>
    <p:extLst>
      <p:ext uri="{BB962C8B-B14F-4D97-AF65-F5344CB8AC3E}">
        <p14:creationId xmlns:p14="http://schemas.microsoft.com/office/powerpoint/2010/main" val="22457579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ular Callout 98"/>
          <p:cNvSpPr/>
          <p:nvPr/>
        </p:nvSpPr>
        <p:spPr bwMode="auto">
          <a:xfrm>
            <a:off x="5215456" y="755154"/>
            <a:ext cx="2219675" cy="817367"/>
          </a:xfrm>
          <a:prstGeom prst="wedgeRectCallout">
            <a:avLst>
              <a:gd name="adj1" fmla="val 15324"/>
              <a:gd name="adj2" fmla="val 275257"/>
            </a:avLst>
          </a:prstGeom>
          <a:solidFill>
            <a:schemeClr val="bg1"/>
          </a:solidFill>
          <a:ln w="1270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y enforcement control part:</a:t>
            </a:r>
          </a:p>
          <a:p>
            <a:pPr defTabSz="914377">
              <a:spcBef>
                <a:spcPts val="0"/>
              </a:spcBef>
              <a:defRPr/>
            </a:pPr>
            <a:r>
              <a:rPr lang="en-US" sz="1067">
                <a:solidFill>
                  <a:srgbClr val="58585A"/>
                </a:solidFill>
                <a:latin typeface="+mn-lt"/>
              </a:rPr>
              <a:t> - Request for policy decisions</a:t>
            </a:r>
          </a:p>
          <a:p>
            <a:pPr defTabSz="914377">
              <a:spcBef>
                <a:spcPts val="0"/>
              </a:spcBef>
              <a:defRPr/>
            </a:pPr>
            <a:r>
              <a:rPr lang="en-US" sz="1067">
                <a:solidFill>
                  <a:srgbClr val="58585A"/>
                </a:solidFill>
                <a:latin typeface="+mn-lt"/>
              </a:rPr>
              <a:t> - Enforces and distributes  policy </a:t>
            </a:r>
          </a:p>
          <a:p>
            <a:pPr defTabSz="914377">
              <a:spcBef>
                <a:spcPts val="0"/>
              </a:spcBef>
              <a:defRPr/>
            </a:pPr>
            <a:r>
              <a:rPr lang="en-US" sz="1067">
                <a:solidFill>
                  <a:srgbClr val="58585A"/>
                </a:solidFill>
                <a:latin typeface="+mn-lt"/>
              </a:rPr>
              <a:t>   decisions to UPF and NG RAN.</a:t>
            </a:r>
          </a:p>
        </p:txBody>
      </p:sp>
      <p:sp>
        <p:nvSpPr>
          <p:cNvPr id="58" name="Rectangular Callout 104"/>
          <p:cNvSpPr/>
          <p:nvPr/>
        </p:nvSpPr>
        <p:spPr bwMode="auto">
          <a:xfrm>
            <a:off x="553150" y="2203856"/>
            <a:ext cx="2113720" cy="425700"/>
          </a:xfrm>
          <a:prstGeom prst="wedgeRectCallout">
            <a:avLst>
              <a:gd name="adj1" fmla="val 62571"/>
              <a:gd name="adj2" fmla="val 467530"/>
            </a:avLst>
          </a:prstGeom>
          <a:solidFill>
            <a:schemeClr val="bg1"/>
          </a:solidFill>
          <a:ln w="1270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y decisions propagated</a:t>
            </a:r>
          </a:p>
          <a:p>
            <a:pPr defTabSz="914377">
              <a:spcBef>
                <a:spcPts val="0"/>
              </a:spcBef>
              <a:defRPr/>
            </a:pPr>
            <a:r>
              <a:rPr lang="en-US" sz="1067">
                <a:solidFill>
                  <a:srgbClr val="58585A"/>
                </a:solidFill>
                <a:latin typeface="+mn-lt"/>
              </a:rPr>
              <a:t>to the NG RAN for  enforcement</a:t>
            </a:r>
          </a:p>
        </p:txBody>
      </p:sp>
      <p:sp>
        <p:nvSpPr>
          <p:cNvPr id="4" name="Title 3"/>
          <p:cNvSpPr>
            <a:spLocks noGrp="1"/>
          </p:cNvSpPr>
          <p:nvPr>
            <p:ph type="title"/>
          </p:nvPr>
        </p:nvSpPr>
        <p:spPr>
          <a:xfrm>
            <a:off x="143910" y="110683"/>
            <a:ext cx="8353425" cy="1081088"/>
          </a:xfrm>
        </p:spPr>
        <p:txBody>
          <a:bodyPr/>
          <a:lstStyle/>
          <a:p>
            <a:r>
              <a:rPr lang="en-US"/>
              <a:t>Policy Architecture</a:t>
            </a:r>
            <a:br>
              <a:rPr lang="en-US" sz="3200"/>
            </a:br>
            <a:r>
              <a:rPr lang="en-US" sz="3200"/>
              <a:t>Details</a:t>
            </a:r>
            <a:endParaRPr lang="es-ES"/>
          </a:p>
        </p:txBody>
      </p:sp>
      <p:sp>
        <p:nvSpPr>
          <p:cNvPr id="55" name="Rectangular Callout 101"/>
          <p:cNvSpPr/>
          <p:nvPr/>
        </p:nvSpPr>
        <p:spPr bwMode="auto">
          <a:xfrm>
            <a:off x="849274" y="4799411"/>
            <a:ext cx="1778044" cy="383778"/>
          </a:xfrm>
          <a:prstGeom prst="wedgeRectCallout">
            <a:avLst>
              <a:gd name="adj1" fmla="val 40207"/>
              <a:gd name="adj2" fmla="val 129044"/>
            </a:avLst>
          </a:prstGeom>
          <a:solidFill>
            <a:schemeClr val="bg1"/>
          </a:solidFill>
          <a:ln w="1270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Enforces policy  decisions </a:t>
            </a:r>
            <a:br>
              <a:rPr lang="en-US" sz="1067">
                <a:solidFill>
                  <a:srgbClr val="58585A"/>
                </a:solidFill>
                <a:latin typeface="+mn-lt"/>
              </a:rPr>
            </a:br>
            <a:r>
              <a:rPr lang="en-US" sz="1067">
                <a:solidFill>
                  <a:srgbClr val="58585A"/>
                </a:solidFill>
                <a:latin typeface="+mn-lt"/>
              </a:rPr>
              <a:t>received from the Core </a:t>
            </a:r>
          </a:p>
        </p:txBody>
      </p:sp>
      <p:sp>
        <p:nvSpPr>
          <p:cNvPr id="60" name="Rectangular Callout 130"/>
          <p:cNvSpPr/>
          <p:nvPr/>
        </p:nvSpPr>
        <p:spPr bwMode="auto">
          <a:xfrm>
            <a:off x="50249" y="3268285"/>
            <a:ext cx="1548328" cy="404159"/>
          </a:xfrm>
          <a:prstGeom prst="wedgeRectCallout">
            <a:avLst>
              <a:gd name="adj1" fmla="val -13612"/>
              <a:gd name="adj2" fmla="val 484828"/>
            </a:avLst>
          </a:prstGeom>
          <a:solidFill>
            <a:schemeClr val="bg1"/>
          </a:solidFill>
          <a:ln w="1270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ies provided to </a:t>
            </a:r>
          </a:p>
          <a:p>
            <a:pPr defTabSz="914377">
              <a:spcBef>
                <a:spcPts val="0"/>
              </a:spcBef>
              <a:defRPr/>
            </a:pPr>
            <a:r>
              <a:rPr lang="en-US" sz="1067">
                <a:solidFill>
                  <a:srgbClr val="58585A"/>
                </a:solidFill>
                <a:latin typeface="+mn-lt"/>
              </a:rPr>
              <a:t>the UE via N1 interface</a:t>
            </a:r>
          </a:p>
        </p:txBody>
      </p:sp>
      <p:sp>
        <p:nvSpPr>
          <p:cNvPr id="87" name="Rectangular Callout 104"/>
          <p:cNvSpPr/>
          <p:nvPr/>
        </p:nvSpPr>
        <p:spPr bwMode="auto">
          <a:xfrm>
            <a:off x="518539" y="1215157"/>
            <a:ext cx="2060213" cy="595018"/>
          </a:xfrm>
          <a:prstGeom prst="wedgeRectCallout">
            <a:avLst>
              <a:gd name="adj1" fmla="val 210099"/>
              <a:gd name="adj2" fmla="val 113062"/>
            </a:avLst>
          </a:prstGeom>
          <a:solidFill>
            <a:schemeClr val="bg1"/>
          </a:solidFill>
          <a:ln w="1270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 New interface for mobility</a:t>
            </a:r>
          </a:p>
          <a:p>
            <a:pPr defTabSz="914377">
              <a:spcBef>
                <a:spcPts val="0"/>
              </a:spcBef>
              <a:defRPr/>
            </a:pPr>
            <a:r>
              <a:rPr lang="en-US" sz="1067">
                <a:solidFill>
                  <a:srgbClr val="58585A"/>
                </a:solidFill>
                <a:latin typeface="+mn-lt"/>
              </a:rPr>
              <a:t> management policies. </a:t>
            </a:r>
          </a:p>
          <a:p>
            <a:pPr defTabSz="914377">
              <a:spcBef>
                <a:spcPts val="0"/>
              </a:spcBef>
              <a:defRPr/>
            </a:pPr>
            <a:r>
              <a:rPr lang="en-US" sz="1067">
                <a:solidFill>
                  <a:srgbClr val="58585A"/>
                </a:solidFill>
                <a:latin typeface="+mn-lt"/>
              </a:rPr>
              <a:t>Also convey policies to the UE</a:t>
            </a:r>
          </a:p>
        </p:txBody>
      </p:sp>
      <p:cxnSp>
        <p:nvCxnSpPr>
          <p:cNvPr id="5" name="Elbow Connector 55"/>
          <p:cNvCxnSpPr>
            <a:cxnSpLocks/>
          </p:cNvCxnSpPr>
          <p:nvPr/>
        </p:nvCxnSpPr>
        <p:spPr bwMode="auto">
          <a:xfrm rot="16200000" flipV="1">
            <a:off x="8017264" y="3400888"/>
            <a:ext cx="2241099" cy="1557107"/>
          </a:xfrm>
          <a:prstGeom prst="bentConnector3">
            <a:avLst>
              <a:gd name="adj1" fmla="val 109842"/>
            </a:avLst>
          </a:prstGeom>
          <a:noFill/>
          <a:ln w="6350">
            <a:solidFill>
              <a:schemeClr val="accent4">
                <a:lumMod val="50000"/>
              </a:schemeClr>
            </a:solidFill>
            <a:prstDash val="dash"/>
            <a:round/>
            <a:headEnd/>
            <a:tailEnd/>
          </a:ln>
        </p:spPr>
      </p:cxnSp>
      <p:sp>
        <p:nvSpPr>
          <p:cNvPr id="6" name="Freeform 33"/>
          <p:cNvSpPr>
            <a:spLocks noChangeAspect="1"/>
          </p:cNvSpPr>
          <p:nvPr/>
        </p:nvSpPr>
        <p:spPr bwMode="auto">
          <a:xfrm>
            <a:off x="9606129" y="5252561"/>
            <a:ext cx="1813183" cy="1365481"/>
          </a:xfrm>
          <a:custGeom>
            <a:avLst/>
            <a:gdLst>
              <a:gd name="T0" fmla="*/ 23212394 w 583"/>
              <a:gd name="T1" fmla="*/ 24752448 h 439"/>
              <a:gd name="T2" fmla="*/ 40875666 w 583"/>
              <a:gd name="T3" fmla="*/ 15336394 h 439"/>
              <a:gd name="T4" fmla="*/ 70776747 w 583"/>
              <a:gd name="T5" fmla="*/ 17683385 h 439"/>
              <a:gd name="T6" fmla="*/ 86095846 w 583"/>
              <a:gd name="T7" fmla="*/ 33018500 h 439"/>
              <a:gd name="T8" fmla="*/ 86781414 w 583"/>
              <a:gd name="T9" fmla="*/ 53028597 h 439"/>
              <a:gd name="T10" fmla="*/ 67551617 w 583"/>
              <a:gd name="T11" fmla="*/ 62444583 h 439"/>
              <a:gd name="T12" fmla="*/ 49401852 w 583"/>
              <a:gd name="T13" fmla="*/ 65680410 h 439"/>
              <a:gd name="T14" fmla="*/ 27913807 w 583"/>
              <a:gd name="T15" fmla="*/ 62818800 h 439"/>
              <a:gd name="T16" fmla="*/ 14432446 w 583"/>
              <a:gd name="T17" fmla="*/ 49348522 h 439"/>
              <a:gd name="T18" fmla="*/ 23212394 w 583"/>
              <a:gd name="T19" fmla="*/ 2475244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77">
              <a:defRPr/>
            </a:pPr>
            <a:endParaRPr lang="en-US">
              <a:solidFill>
                <a:srgbClr val="58585A"/>
              </a:solidFill>
              <a:latin typeface="+mn-lt"/>
            </a:endParaRPr>
          </a:p>
        </p:txBody>
      </p:sp>
      <p:sp>
        <p:nvSpPr>
          <p:cNvPr id="7" name="Freeform 34"/>
          <p:cNvSpPr>
            <a:spLocks noChangeAspect="1"/>
          </p:cNvSpPr>
          <p:nvPr/>
        </p:nvSpPr>
        <p:spPr bwMode="auto">
          <a:xfrm>
            <a:off x="9147903" y="5224454"/>
            <a:ext cx="2018028" cy="1157289"/>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defTabSz="914377">
              <a:defRPr/>
            </a:pPr>
            <a:endParaRPr lang="en-US">
              <a:solidFill>
                <a:srgbClr val="58585A"/>
              </a:solidFill>
              <a:latin typeface="+mn-lt"/>
            </a:endParaRPr>
          </a:p>
        </p:txBody>
      </p:sp>
      <p:sp>
        <p:nvSpPr>
          <p:cNvPr id="8" name="Text Box 35"/>
          <p:cNvSpPr txBox="1">
            <a:spLocks noChangeAspect="1" noChangeArrowheads="1"/>
          </p:cNvSpPr>
          <p:nvPr/>
        </p:nvSpPr>
        <p:spPr bwMode="auto">
          <a:xfrm>
            <a:off x="9612202" y="5524459"/>
            <a:ext cx="1075615" cy="748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defTabSz="914377" eaLnBrk="1" hangingPunct="1">
              <a:lnSpc>
                <a:spcPct val="80000"/>
              </a:lnSpc>
              <a:spcBef>
                <a:spcPct val="0"/>
              </a:spcBef>
              <a:buClrTx/>
              <a:buNone/>
              <a:defRPr/>
            </a:pPr>
            <a:r>
              <a:rPr lang="en-US" altLang="en-US" sz="1333" b="1">
                <a:solidFill>
                  <a:srgbClr val="58585A"/>
                </a:solidFill>
                <a:latin typeface="+mn-lt"/>
                <a:ea typeface="MS PGothic" pitchFamily="34" charset="-128"/>
              </a:rPr>
              <a:t>IP services </a:t>
            </a:r>
          </a:p>
          <a:p>
            <a:pPr algn="ctr" defTabSz="914377" eaLnBrk="1" hangingPunct="1">
              <a:lnSpc>
                <a:spcPct val="80000"/>
              </a:lnSpc>
              <a:spcBef>
                <a:spcPct val="0"/>
              </a:spcBef>
              <a:buClrTx/>
              <a:buNone/>
              <a:defRPr/>
            </a:pPr>
            <a:r>
              <a:rPr lang="en-US" altLang="en-US" sz="1333" b="1">
                <a:solidFill>
                  <a:srgbClr val="58585A"/>
                </a:solidFill>
                <a:latin typeface="+mn-lt"/>
                <a:ea typeface="MS PGothic" pitchFamily="34" charset="-128"/>
              </a:rPr>
              <a:t>network </a:t>
            </a:r>
          </a:p>
          <a:p>
            <a:pPr algn="ctr" defTabSz="914377" eaLnBrk="1" hangingPunct="1">
              <a:lnSpc>
                <a:spcPct val="80000"/>
              </a:lnSpc>
              <a:spcBef>
                <a:spcPct val="0"/>
              </a:spcBef>
              <a:buClrTx/>
              <a:buNone/>
              <a:defRPr/>
            </a:pPr>
            <a:r>
              <a:rPr lang="en-US" altLang="en-US" sz="1333">
                <a:solidFill>
                  <a:srgbClr val="58585A"/>
                </a:solidFill>
                <a:latin typeface="+mn-lt"/>
                <a:ea typeface="MS PGothic" pitchFamily="34" charset="-128"/>
              </a:rPr>
              <a:t>(e.g. operator </a:t>
            </a:r>
          </a:p>
          <a:p>
            <a:pPr algn="ctr" defTabSz="914377" eaLnBrk="1" hangingPunct="1">
              <a:lnSpc>
                <a:spcPct val="80000"/>
              </a:lnSpc>
              <a:spcBef>
                <a:spcPct val="0"/>
              </a:spcBef>
              <a:buClrTx/>
              <a:buNone/>
              <a:defRPr/>
            </a:pPr>
            <a:r>
              <a:rPr lang="en-US" altLang="en-US" sz="1333">
                <a:solidFill>
                  <a:srgbClr val="58585A"/>
                </a:solidFill>
                <a:latin typeface="+mn-lt"/>
                <a:ea typeface="MS PGothic" pitchFamily="34" charset="-128"/>
              </a:rPr>
              <a:t>or Internet)</a:t>
            </a:r>
          </a:p>
        </p:txBody>
      </p:sp>
      <p:cxnSp>
        <p:nvCxnSpPr>
          <p:cNvPr id="9" name="Elbow Connector 59"/>
          <p:cNvCxnSpPr>
            <a:cxnSpLocks/>
            <a:stCxn id="33" idx="0"/>
          </p:cNvCxnSpPr>
          <p:nvPr/>
        </p:nvCxnSpPr>
        <p:spPr bwMode="auto">
          <a:xfrm rot="5400000" flipH="1" flipV="1">
            <a:off x="4278995" y="2586408"/>
            <a:ext cx="1356775" cy="4309869"/>
          </a:xfrm>
          <a:prstGeom prst="bentConnector2">
            <a:avLst/>
          </a:prstGeom>
          <a:noFill/>
          <a:ln w="6350">
            <a:solidFill>
              <a:schemeClr val="accent4">
                <a:lumMod val="50000"/>
              </a:schemeClr>
            </a:solidFill>
            <a:prstDash val="dash"/>
            <a:round/>
            <a:headEnd/>
            <a:tailEnd/>
          </a:ln>
        </p:spPr>
      </p:cxnSp>
      <p:grpSp>
        <p:nvGrpSpPr>
          <p:cNvPr id="11" name="Group 10"/>
          <p:cNvGrpSpPr/>
          <p:nvPr/>
        </p:nvGrpSpPr>
        <p:grpSpPr>
          <a:xfrm>
            <a:off x="5396662" y="3292616"/>
            <a:ext cx="745567" cy="1018219"/>
            <a:chOff x="4338871" y="2725624"/>
            <a:chExt cx="1199053" cy="1626215"/>
          </a:xfrm>
        </p:grpSpPr>
        <p:sp>
          <p:nvSpPr>
            <p:cNvPr id="1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AMF</a:t>
              </a:r>
            </a:p>
          </p:txBody>
        </p:sp>
        <p:sp>
          <p:nvSpPr>
            <p:cNvPr id="1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sp>
        <p:nvSpPr>
          <p:cNvPr id="18" name="Freeform 4"/>
          <p:cNvSpPr>
            <a:spLocks noChangeAspect="1" noEditPoints="1"/>
          </p:cNvSpPr>
          <p:nvPr/>
        </p:nvSpPr>
        <p:spPr bwMode="auto">
          <a:xfrm>
            <a:off x="597646" y="5499270"/>
            <a:ext cx="391495" cy="53631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en-US">
              <a:solidFill>
                <a:srgbClr val="58585A"/>
              </a:solidFill>
              <a:latin typeface="+mn-lt"/>
            </a:endParaRPr>
          </a:p>
        </p:txBody>
      </p:sp>
      <p:sp>
        <p:nvSpPr>
          <p:cNvPr id="19" name="Freeform 88"/>
          <p:cNvSpPr>
            <a:spLocks/>
          </p:cNvSpPr>
          <p:nvPr/>
        </p:nvSpPr>
        <p:spPr bwMode="auto">
          <a:xfrm rot="2583056" flipH="1">
            <a:off x="1186550" y="5507510"/>
            <a:ext cx="1009741" cy="677953"/>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defTabSz="914377">
              <a:defRPr/>
            </a:pPr>
            <a:endParaRPr lang="en-US" sz="1051" b="1">
              <a:solidFill>
                <a:srgbClr val="58585A"/>
              </a:solidFill>
              <a:latin typeface="+mn-lt"/>
            </a:endParaRPr>
          </a:p>
        </p:txBody>
      </p:sp>
      <p:cxnSp>
        <p:nvCxnSpPr>
          <p:cNvPr id="20" name="Elbow Connector 95"/>
          <p:cNvCxnSpPr>
            <a:cxnSpLocks/>
          </p:cNvCxnSpPr>
          <p:nvPr/>
        </p:nvCxnSpPr>
        <p:spPr bwMode="auto">
          <a:xfrm>
            <a:off x="4729335" y="2800259"/>
            <a:ext cx="706427" cy="619559"/>
          </a:xfrm>
          <a:prstGeom prst="bentConnector3">
            <a:avLst>
              <a:gd name="adj1" fmla="val 50000"/>
            </a:avLst>
          </a:prstGeom>
          <a:noFill/>
          <a:ln w="6350">
            <a:solidFill>
              <a:schemeClr val="accent4">
                <a:lumMod val="50000"/>
              </a:schemeClr>
            </a:solidFill>
            <a:prstDash val="dash"/>
            <a:round/>
            <a:headEnd/>
            <a:tailEnd/>
          </a:ln>
        </p:spPr>
      </p:cxnSp>
      <p:cxnSp>
        <p:nvCxnSpPr>
          <p:cNvPr id="21" name="Elbow Connector 96"/>
          <p:cNvCxnSpPr/>
          <p:nvPr/>
        </p:nvCxnSpPr>
        <p:spPr bwMode="auto">
          <a:xfrm rot="5400000" flipH="1" flipV="1">
            <a:off x="6744961" y="3070506"/>
            <a:ext cx="1512763" cy="951471"/>
          </a:xfrm>
          <a:prstGeom prst="bentConnector3">
            <a:avLst>
              <a:gd name="adj1" fmla="val 69604"/>
            </a:avLst>
          </a:prstGeom>
          <a:noFill/>
          <a:ln w="6350">
            <a:solidFill>
              <a:schemeClr val="accent4">
                <a:lumMod val="50000"/>
              </a:schemeClr>
            </a:solidFill>
            <a:prstDash val="dash"/>
            <a:round/>
            <a:headEnd/>
            <a:tailEnd/>
          </a:ln>
        </p:spPr>
      </p:cxnSp>
      <p:cxnSp>
        <p:nvCxnSpPr>
          <p:cNvPr id="22" name="Elbow Connector 105"/>
          <p:cNvCxnSpPr>
            <a:cxnSpLocks/>
          </p:cNvCxnSpPr>
          <p:nvPr/>
        </p:nvCxnSpPr>
        <p:spPr bwMode="auto">
          <a:xfrm rot="16200000" flipV="1">
            <a:off x="6182811" y="4654116"/>
            <a:ext cx="1332957" cy="2373"/>
          </a:xfrm>
          <a:prstGeom prst="bentConnector3">
            <a:avLst>
              <a:gd name="adj1" fmla="val 48884"/>
            </a:avLst>
          </a:prstGeom>
          <a:noFill/>
          <a:ln w="6350">
            <a:solidFill>
              <a:schemeClr val="accent4">
                <a:lumMod val="50000"/>
              </a:schemeClr>
            </a:solidFill>
            <a:prstDash val="dash"/>
            <a:round/>
            <a:headEnd/>
            <a:tailEnd/>
          </a:ln>
        </p:spPr>
      </p:cxnSp>
      <p:sp>
        <p:nvSpPr>
          <p:cNvPr id="23" name="Text Box 144"/>
          <p:cNvSpPr txBox="1">
            <a:spLocks noChangeAspect="1" noChangeArrowheads="1"/>
          </p:cNvSpPr>
          <p:nvPr/>
        </p:nvSpPr>
        <p:spPr bwMode="auto">
          <a:xfrm>
            <a:off x="375082" y="6004470"/>
            <a:ext cx="992351" cy="686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800">
                <a:solidFill>
                  <a:srgbClr val="58585A"/>
                </a:solidFill>
                <a:latin typeface="+mn-lt"/>
              </a:rPr>
              <a:t>NG UE</a:t>
            </a:r>
          </a:p>
        </p:txBody>
      </p:sp>
      <p:sp>
        <p:nvSpPr>
          <p:cNvPr id="24" name="Text Box 144"/>
          <p:cNvSpPr txBox="1">
            <a:spLocks noChangeAspect="1" noChangeArrowheads="1"/>
          </p:cNvSpPr>
          <p:nvPr/>
        </p:nvSpPr>
        <p:spPr bwMode="auto">
          <a:xfrm>
            <a:off x="2530757" y="4429584"/>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2</a:t>
            </a:r>
          </a:p>
        </p:txBody>
      </p:sp>
      <p:sp>
        <p:nvSpPr>
          <p:cNvPr id="25" name="Text Box 144"/>
          <p:cNvSpPr txBox="1">
            <a:spLocks noChangeAspect="1" noChangeArrowheads="1"/>
          </p:cNvSpPr>
          <p:nvPr/>
        </p:nvSpPr>
        <p:spPr bwMode="auto">
          <a:xfrm>
            <a:off x="3971135" y="6027963"/>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3</a:t>
            </a:r>
          </a:p>
        </p:txBody>
      </p:sp>
      <p:sp>
        <p:nvSpPr>
          <p:cNvPr id="26" name="Text Box 144"/>
          <p:cNvSpPr txBox="1">
            <a:spLocks noChangeAspect="1" noChangeArrowheads="1"/>
          </p:cNvSpPr>
          <p:nvPr/>
        </p:nvSpPr>
        <p:spPr bwMode="auto">
          <a:xfrm>
            <a:off x="7762523" y="5674217"/>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6</a:t>
            </a:r>
          </a:p>
        </p:txBody>
      </p:sp>
      <p:sp>
        <p:nvSpPr>
          <p:cNvPr id="27" name="Text Box 144"/>
          <p:cNvSpPr txBox="1">
            <a:spLocks noChangeAspect="1" noChangeArrowheads="1"/>
          </p:cNvSpPr>
          <p:nvPr/>
        </p:nvSpPr>
        <p:spPr bwMode="auto">
          <a:xfrm>
            <a:off x="4861086" y="3123471"/>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8</a:t>
            </a:r>
          </a:p>
        </p:txBody>
      </p:sp>
      <p:sp>
        <p:nvSpPr>
          <p:cNvPr id="28" name="Text Box 144"/>
          <p:cNvSpPr txBox="1">
            <a:spLocks noChangeAspect="1" noChangeArrowheads="1"/>
          </p:cNvSpPr>
          <p:nvPr/>
        </p:nvSpPr>
        <p:spPr bwMode="auto">
          <a:xfrm>
            <a:off x="7126953" y="3090598"/>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7</a:t>
            </a:r>
          </a:p>
        </p:txBody>
      </p:sp>
      <p:sp>
        <p:nvSpPr>
          <p:cNvPr id="29" name="Text Box 144"/>
          <p:cNvSpPr txBox="1">
            <a:spLocks noChangeAspect="1" noChangeArrowheads="1"/>
          </p:cNvSpPr>
          <p:nvPr/>
        </p:nvSpPr>
        <p:spPr bwMode="auto">
          <a:xfrm>
            <a:off x="9669262" y="4256763"/>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5</a:t>
            </a:r>
          </a:p>
        </p:txBody>
      </p:sp>
      <p:sp>
        <p:nvSpPr>
          <p:cNvPr id="30" name="Text Box 144"/>
          <p:cNvSpPr txBox="1">
            <a:spLocks noChangeAspect="1" noChangeArrowheads="1"/>
          </p:cNvSpPr>
          <p:nvPr/>
        </p:nvSpPr>
        <p:spPr bwMode="auto">
          <a:xfrm>
            <a:off x="6153740" y="4835016"/>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4</a:t>
            </a:r>
          </a:p>
        </p:txBody>
      </p:sp>
      <p:grpSp>
        <p:nvGrpSpPr>
          <p:cNvPr id="31" name="Group 30"/>
          <p:cNvGrpSpPr/>
          <p:nvPr/>
        </p:nvGrpSpPr>
        <p:grpSpPr>
          <a:xfrm>
            <a:off x="2328174" y="5406449"/>
            <a:ext cx="951169" cy="986681"/>
            <a:chOff x="936376" y="2900085"/>
            <a:chExt cx="864096" cy="1240668"/>
          </a:xfrm>
        </p:grpSpPr>
        <p:sp>
          <p:nvSpPr>
            <p:cNvPr id="32"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defTabSz="914377" eaLnBrk="1" hangingPunct="1">
                <a:spcBef>
                  <a:spcPct val="0"/>
                </a:spcBef>
                <a:buClrTx/>
                <a:buNone/>
                <a:defRPr/>
              </a:pPr>
              <a:endParaRPr lang="sv-SE" altLang="en-US" sz="1000">
                <a:solidFill>
                  <a:srgbClr val="58585A"/>
                </a:solidFill>
                <a:latin typeface="+mn-lt"/>
              </a:endParaRPr>
            </a:p>
          </p:txBody>
        </p:sp>
        <p:sp>
          <p:nvSpPr>
            <p:cNvPr id="33"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defTabSz="914377" eaLnBrk="1" hangingPunct="1">
                <a:spcBef>
                  <a:spcPct val="0"/>
                </a:spcBef>
                <a:buClrTx/>
                <a:buNone/>
                <a:defRPr/>
              </a:pPr>
              <a:endParaRPr lang="sv-SE" altLang="en-US" sz="1000">
                <a:solidFill>
                  <a:srgbClr val="58585A"/>
                </a:solidFill>
                <a:latin typeface="+mn-lt"/>
              </a:endParaRPr>
            </a:p>
          </p:txBody>
        </p:sp>
        <p:sp>
          <p:nvSpPr>
            <p:cNvPr id="34"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defTabSz="914377" eaLnBrk="1" hangingPunct="1">
                <a:lnSpc>
                  <a:spcPct val="80000"/>
                </a:lnSpc>
                <a:spcBef>
                  <a:spcPct val="0"/>
                </a:spcBef>
                <a:buClrTx/>
                <a:buNone/>
                <a:defRPr/>
              </a:pPr>
              <a:r>
                <a:rPr lang="en-US" altLang="en-US" sz="2000">
                  <a:solidFill>
                    <a:srgbClr val="58585A"/>
                  </a:solidFill>
                  <a:latin typeface="+mn-lt"/>
                  <a:ea typeface="Segoe UI" panose="020B0502040204020203" pitchFamily="34" charset="0"/>
                  <a:cs typeface="Arial" panose="020B0604020202020204" pitchFamily="34" charset="0"/>
                </a:rPr>
                <a:t> </a:t>
              </a:r>
              <a:r>
                <a:rPr lang="en-US" altLang="en-US" sz="1600">
                  <a:solidFill>
                    <a:srgbClr val="58585A"/>
                  </a:solidFill>
                  <a:latin typeface="+mn-lt"/>
                  <a:ea typeface="Segoe UI" panose="020B0502040204020203" pitchFamily="34" charset="0"/>
                  <a:cs typeface="Arial" panose="020B0604020202020204" pitchFamily="34" charset="0"/>
                </a:rPr>
                <a:t>NG- RAN</a:t>
              </a:r>
            </a:p>
          </p:txBody>
        </p:sp>
        <p:sp>
          <p:nvSpPr>
            <p:cNvPr id="35"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defTabSz="914377" eaLnBrk="1" hangingPunct="1">
                <a:spcBef>
                  <a:spcPct val="0"/>
                </a:spcBef>
                <a:buClrTx/>
                <a:buNone/>
                <a:defRPr/>
              </a:pPr>
              <a:endParaRPr lang="sv-SE" altLang="en-US" sz="1000">
                <a:solidFill>
                  <a:srgbClr val="58585A"/>
                </a:solidFill>
                <a:latin typeface="+mn-lt"/>
              </a:endParaRPr>
            </a:p>
          </p:txBody>
        </p:sp>
        <p:sp>
          <p:nvSpPr>
            <p:cNvPr id="36"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sp>
        <p:nvSpPr>
          <p:cNvPr id="37" name="Line 30"/>
          <p:cNvSpPr>
            <a:spLocks noChangeShapeType="1"/>
          </p:cNvSpPr>
          <p:nvPr/>
        </p:nvSpPr>
        <p:spPr bwMode="auto">
          <a:xfrm flipV="1">
            <a:off x="3233910" y="5909089"/>
            <a:ext cx="5933361" cy="9219"/>
          </a:xfrm>
          <a:prstGeom prst="line">
            <a:avLst/>
          </a:prstGeom>
          <a:noFill/>
          <a:ln w="6350">
            <a:solidFill>
              <a:schemeClr val="accent4">
                <a:lumMod val="50000"/>
              </a:schemeClr>
            </a:solidFill>
            <a:round/>
            <a:headEnd/>
            <a:tailEnd/>
          </a:ln>
        </p:spPr>
        <p:txBody>
          <a:bodyPr lIns="91439" tIns="45719" rIns="91439" bIns="45719"/>
          <a:lstStyle/>
          <a:p>
            <a:pPr defTabSz="914377">
              <a:defRPr/>
            </a:pPr>
            <a:endParaRPr lang="sv-SE" sz="2400">
              <a:solidFill>
                <a:srgbClr val="58585A"/>
              </a:solidFill>
              <a:latin typeface="+mn-lt"/>
              <a:ea typeface="ＭＳ Ｐゴシック" charset="0"/>
              <a:cs typeface="Arial" charset="0"/>
            </a:endParaRPr>
          </a:p>
        </p:txBody>
      </p:sp>
      <p:grpSp>
        <p:nvGrpSpPr>
          <p:cNvPr id="38" name="Group 37"/>
          <p:cNvGrpSpPr/>
          <p:nvPr/>
        </p:nvGrpSpPr>
        <p:grpSpPr>
          <a:xfrm>
            <a:off x="6615207" y="5357762"/>
            <a:ext cx="741140" cy="850535"/>
            <a:chOff x="5979156" y="5040856"/>
            <a:chExt cx="1101600" cy="1587600"/>
          </a:xfrm>
        </p:grpSpPr>
        <p:cxnSp>
          <p:nvCxnSpPr>
            <p:cNvPr id="39" name="Straight Connector 38"/>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40"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1"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2" name="Text Box 144"/>
            <p:cNvSpPr txBox="1">
              <a:spLocks noChangeAspect="1" noChangeArrowheads="1"/>
            </p:cNvSpPr>
            <p:nvPr/>
          </p:nvSpPr>
          <p:spPr bwMode="auto">
            <a:xfrm>
              <a:off x="6030746" y="5976073"/>
              <a:ext cx="992350" cy="615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UPF</a:t>
              </a:r>
            </a:p>
          </p:txBody>
        </p:sp>
        <p:sp>
          <p:nvSpPr>
            <p:cNvPr id="43"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4"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grpSp>
        <p:nvGrpSpPr>
          <p:cNvPr id="45" name="Group 44"/>
          <p:cNvGrpSpPr/>
          <p:nvPr/>
        </p:nvGrpSpPr>
        <p:grpSpPr>
          <a:xfrm>
            <a:off x="6478307" y="3309386"/>
            <a:ext cx="778223" cy="1032993"/>
            <a:chOff x="4338871" y="2725624"/>
            <a:chExt cx="1199053" cy="1626215"/>
          </a:xfrm>
        </p:grpSpPr>
        <p:sp>
          <p:nvSpPr>
            <p:cNvPr id="4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4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SMF</a:t>
              </a:r>
            </a:p>
          </p:txBody>
        </p:sp>
        <p:sp>
          <p:nvSpPr>
            <p:cNvPr id="5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5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sp>
        <p:nvSpPr>
          <p:cNvPr id="53" name="Rectangular Callout 99"/>
          <p:cNvSpPr/>
          <p:nvPr/>
        </p:nvSpPr>
        <p:spPr bwMode="auto">
          <a:xfrm>
            <a:off x="7527495" y="6163025"/>
            <a:ext cx="1667145" cy="528388"/>
          </a:xfrm>
          <a:prstGeom prst="wedgeRectCallout">
            <a:avLst>
              <a:gd name="adj1" fmla="val -59827"/>
              <a:gd name="adj2" fmla="val -79866"/>
            </a:avLst>
          </a:prstGeom>
          <a:solidFill>
            <a:schemeClr val="bg1"/>
          </a:solidFill>
          <a:ln w="1270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y enforcement in UP</a:t>
            </a:r>
          </a:p>
          <a:p>
            <a:pPr defTabSz="914377">
              <a:spcBef>
                <a:spcPts val="0"/>
              </a:spcBef>
              <a:defRPr/>
            </a:pPr>
            <a:r>
              <a:rPr lang="en-US" sz="1067">
                <a:solidFill>
                  <a:srgbClr val="58585A"/>
                </a:solidFill>
                <a:latin typeface="+mn-lt"/>
              </a:rPr>
              <a:t>enforces policy decisions</a:t>
            </a:r>
          </a:p>
          <a:p>
            <a:pPr defTabSz="914377">
              <a:spcBef>
                <a:spcPts val="0"/>
              </a:spcBef>
              <a:defRPr/>
            </a:pPr>
            <a:r>
              <a:rPr lang="en-US" sz="1067">
                <a:solidFill>
                  <a:srgbClr val="58585A"/>
                </a:solidFill>
                <a:latin typeface="+mn-lt"/>
              </a:rPr>
              <a:t>in UP (</a:t>
            </a:r>
            <a:r>
              <a:rPr lang="en-US" sz="1067" err="1">
                <a:solidFill>
                  <a:srgbClr val="58585A"/>
                </a:solidFill>
                <a:latin typeface="+mn-lt"/>
              </a:rPr>
              <a:t>e.g</a:t>
            </a:r>
            <a:r>
              <a:rPr lang="en-US" sz="1067">
                <a:solidFill>
                  <a:srgbClr val="58585A"/>
                </a:solidFill>
                <a:latin typeface="+mn-lt"/>
              </a:rPr>
              <a:t> QoS).</a:t>
            </a:r>
          </a:p>
        </p:txBody>
      </p:sp>
      <p:sp>
        <p:nvSpPr>
          <p:cNvPr id="54" name="Rectangular Callout 100"/>
          <p:cNvSpPr/>
          <p:nvPr/>
        </p:nvSpPr>
        <p:spPr bwMode="auto">
          <a:xfrm>
            <a:off x="7561547" y="466779"/>
            <a:ext cx="3126270" cy="839493"/>
          </a:xfrm>
          <a:prstGeom prst="wedgeRectCallout">
            <a:avLst>
              <a:gd name="adj1" fmla="val -28076"/>
              <a:gd name="adj2" fmla="val 116729"/>
            </a:avLst>
          </a:prstGeom>
          <a:solidFill>
            <a:schemeClr val="bg1"/>
          </a:solidFill>
          <a:ln w="12700" cap="flat" cmpd="sng" algn="ctr">
            <a:solidFill>
              <a:srgbClr val="00A9D4"/>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rovides policy decisions at reception of:</a:t>
            </a:r>
          </a:p>
          <a:p>
            <a:pPr marL="171446" indent="-171446" defTabSz="914377">
              <a:spcBef>
                <a:spcPts val="0"/>
              </a:spcBef>
              <a:buFontTx/>
              <a:buChar char="-"/>
              <a:defRPr/>
            </a:pPr>
            <a:r>
              <a:rPr lang="en-US" sz="1067">
                <a:solidFill>
                  <a:srgbClr val="58585A"/>
                </a:solidFill>
                <a:latin typeface="+mn-lt"/>
              </a:rPr>
              <a:t>Request from NG Core Control functions</a:t>
            </a:r>
          </a:p>
          <a:p>
            <a:pPr marL="171446" indent="-171446" defTabSz="914377">
              <a:spcBef>
                <a:spcPts val="0"/>
              </a:spcBef>
              <a:buFontTx/>
              <a:buChar char="-"/>
              <a:defRPr/>
            </a:pPr>
            <a:r>
              <a:rPr lang="en-US" sz="1067">
                <a:solidFill>
                  <a:srgbClr val="58585A"/>
                </a:solidFill>
                <a:latin typeface="+mn-lt"/>
              </a:rPr>
              <a:t>Events (e.g. request from service network)</a:t>
            </a:r>
          </a:p>
          <a:p>
            <a:pPr marL="171446" indent="-171446" defTabSz="914377">
              <a:spcBef>
                <a:spcPts val="0"/>
              </a:spcBef>
              <a:buFontTx/>
              <a:buChar char="-"/>
              <a:defRPr/>
            </a:pPr>
            <a:r>
              <a:rPr lang="en-US" sz="1067">
                <a:solidFill>
                  <a:srgbClr val="58585A"/>
                </a:solidFill>
                <a:latin typeface="+mn-lt"/>
              </a:rPr>
              <a:t>Retrieve the subscription policy data from UDR</a:t>
            </a:r>
          </a:p>
        </p:txBody>
      </p:sp>
      <p:sp>
        <p:nvSpPr>
          <p:cNvPr id="56" name="Rectangular Callout 102"/>
          <p:cNvSpPr/>
          <p:nvPr/>
        </p:nvSpPr>
        <p:spPr bwMode="auto">
          <a:xfrm>
            <a:off x="10549358" y="4678726"/>
            <a:ext cx="1496425" cy="388946"/>
          </a:xfrm>
          <a:prstGeom prst="wedgeRectCallout">
            <a:avLst>
              <a:gd name="adj1" fmla="val -68068"/>
              <a:gd name="adj2" fmla="val -123936"/>
            </a:avLst>
          </a:prstGeom>
          <a:solidFill>
            <a:schemeClr val="bg1"/>
          </a:solidFill>
          <a:ln w="12700"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Transport application</a:t>
            </a:r>
          </a:p>
          <a:p>
            <a:pPr defTabSz="914377">
              <a:spcBef>
                <a:spcPts val="0"/>
              </a:spcBef>
              <a:defRPr/>
            </a:pPr>
            <a:r>
              <a:rPr lang="en-US" sz="1067">
                <a:solidFill>
                  <a:srgbClr val="58585A"/>
                </a:solidFill>
                <a:latin typeface="+mn-lt"/>
              </a:rPr>
              <a:t>level session info</a:t>
            </a:r>
          </a:p>
        </p:txBody>
      </p:sp>
      <p:sp>
        <p:nvSpPr>
          <p:cNvPr id="57" name="Rectangular Callout 103"/>
          <p:cNvSpPr/>
          <p:nvPr/>
        </p:nvSpPr>
        <p:spPr bwMode="auto">
          <a:xfrm>
            <a:off x="7514728" y="3986991"/>
            <a:ext cx="1262118" cy="432519"/>
          </a:xfrm>
          <a:prstGeom prst="wedgeRectCallout">
            <a:avLst>
              <a:gd name="adj1" fmla="val -38827"/>
              <a:gd name="adj2" fmla="val -213807"/>
            </a:avLst>
          </a:prstGeom>
          <a:solidFill>
            <a:schemeClr val="bg1"/>
          </a:solidFill>
          <a:ln w="12700"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latin typeface="+mn-lt"/>
              </a:rPr>
              <a:t>Dynamic policy and </a:t>
            </a:r>
          </a:p>
          <a:p>
            <a:pPr defTabSz="914377">
              <a:spcBef>
                <a:spcPts val="0"/>
              </a:spcBef>
              <a:defRPr/>
            </a:pPr>
            <a:r>
              <a:rPr lang="en-US" sz="1067">
                <a:latin typeface="+mn-lt"/>
              </a:rPr>
              <a:t>charging control </a:t>
            </a:r>
            <a:endParaRPr lang="en-US" sz="1067">
              <a:solidFill>
                <a:srgbClr val="58585A"/>
              </a:solidFill>
              <a:latin typeface="+mn-lt"/>
            </a:endParaRPr>
          </a:p>
        </p:txBody>
      </p:sp>
      <p:sp>
        <p:nvSpPr>
          <p:cNvPr id="59" name="Rectangular Callout 124"/>
          <p:cNvSpPr/>
          <p:nvPr/>
        </p:nvSpPr>
        <p:spPr bwMode="auto">
          <a:xfrm>
            <a:off x="7571988" y="4783298"/>
            <a:ext cx="1813184" cy="463445"/>
          </a:xfrm>
          <a:prstGeom prst="wedgeRectCallout">
            <a:avLst>
              <a:gd name="adj1" fmla="val -90846"/>
              <a:gd name="adj2" fmla="val -22488"/>
            </a:avLst>
          </a:prstGeom>
          <a:solidFill>
            <a:schemeClr val="bg1"/>
          </a:solidFill>
          <a:ln w="1270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y decisions propagated</a:t>
            </a:r>
          </a:p>
          <a:p>
            <a:pPr defTabSz="914377">
              <a:spcBef>
                <a:spcPts val="0"/>
              </a:spcBef>
              <a:defRPr/>
            </a:pPr>
            <a:r>
              <a:rPr lang="en-US" sz="1067">
                <a:solidFill>
                  <a:srgbClr val="58585A"/>
                </a:solidFill>
                <a:latin typeface="+mn-lt"/>
              </a:rPr>
              <a:t> to the UP for enforcement</a:t>
            </a:r>
          </a:p>
        </p:txBody>
      </p:sp>
      <p:sp>
        <p:nvSpPr>
          <p:cNvPr id="61" name="Text Box 144"/>
          <p:cNvSpPr txBox="1">
            <a:spLocks noChangeAspect="1" noChangeArrowheads="1"/>
          </p:cNvSpPr>
          <p:nvPr/>
        </p:nvSpPr>
        <p:spPr bwMode="auto">
          <a:xfrm rot="16200000">
            <a:off x="5850058" y="3598185"/>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1</a:t>
            </a:r>
          </a:p>
        </p:txBody>
      </p:sp>
      <p:cxnSp>
        <p:nvCxnSpPr>
          <p:cNvPr id="62" name="Elbow Connector 133"/>
          <p:cNvCxnSpPr>
            <a:cxnSpLocks/>
          </p:cNvCxnSpPr>
          <p:nvPr/>
        </p:nvCxnSpPr>
        <p:spPr bwMode="auto">
          <a:xfrm flipV="1">
            <a:off x="738815" y="4061615"/>
            <a:ext cx="4069319" cy="1373333"/>
          </a:xfrm>
          <a:prstGeom prst="bentConnector3">
            <a:avLst>
              <a:gd name="adj1" fmla="val 143"/>
            </a:avLst>
          </a:prstGeom>
          <a:noFill/>
          <a:ln w="6350">
            <a:solidFill>
              <a:schemeClr val="accent4">
                <a:lumMod val="50000"/>
              </a:schemeClr>
            </a:solidFill>
            <a:prstDash val="dash"/>
            <a:round/>
            <a:headEnd/>
            <a:tailEnd/>
          </a:ln>
        </p:spPr>
      </p:cxnSp>
      <p:sp>
        <p:nvSpPr>
          <p:cNvPr id="63" name="Text Box 144"/>
          <p:cNvSpPr txBox="1">
            <a:spLocks noChangeAspect="1" noChangeArrowheads="1"/>
          </p:cNvSpPr>
          <p:nvPr/>
        </p:nvSpPr>
        <p:spPr bwMode="auto">
          <a:xfrm>
            <a:off x="487053" y="4441311"/>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a:t>
            </a:r>
          </a:p>
        </p:txBody>
      </p:sp>
      <p:cxnSp>
        <p:nvCxnSpPr>
          <p:cNvPr id="64" name="Elbow Connector 96"/>
          <p:cNvCxnSpPr>
            <a:cxnSpLocks/>
          </p:cNvCxnSpPr>
          <p:nvPr/>
        </p:nvCxnSpPr>
        <p:spPr bwMode="auto">
          <a:xfrm flipV="1">
            <a:off x="5646691" y="2353438"/>
            <a:ext cx="2336096" cy="919212"/>
          </a:xfrm>
          <a:prstGeom prst="bentConnector3">
            <a:avLst>
              <a:gd name="adj1" fmla="val 461"/>
            </a:avLst>
          </a:prstGeom>
          <a:noFill/>
          <a:ln w="6350">
            <a:solidFill>
              <a:schemeClr val="accent4">
                <a:lumMod val="50000"/>
              </a:schemeClr>
            </a:solidFill>
            <a:prstDash val="dash"/>
            <a:round/>
            <a:headEnd/>
            <a:tailEnd/>
          </a:ln>
        </p:spPr>
      </p:cxnSp>
      <p:sp>
        <p:nvSpPr>
          <p:cNvPr id="65" name="Text Box 144"/>
          <p:cNvSpPr txBox="1">
            <a:spLocks noChangeAspect="1" noChangeArrowheads="1"/>
          </p:cNvSpPr>
          <p:nvPr/>
        </p:nvSpPr>
        <p:spPr bwMode="auto">
          <a:xfrm>
            <a:off x="5549605" y="2169061"/>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5</a:t>
            </a:r>
          </a:p>
        </p:txBody>
      </p:sp>
      <p:sp>
        <p:nvSpPr>
          <p:cNvPr id="66" name="Rectangular Callout 98"/>
          <p:cNvSpPr/>
          <p:nvPr/>
        </p:nvSpPr>
        <p:spPr bwMode="auto">
          <a:xfrm>
            <a:off x="3400863" y="4706422"/>
            <a:ext cx="2301169" cy="1045038"/>
          </a:xfrm>
          <a:prstGeom prst="wedgeRectCallout">
            <a:avLst>
              <a:gd name="adj1" fmla="val 47770"/>
              <a:gd name="adj2" fmla="val -90092"/>
            </a:avLst>
          </a:prstGeom>
          <a:solidFill>
            <a:schemeClr val="bg1"/>
          </a:solidFill>
          <a:ln w="1270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US" sz="1067">
                <a:solidFill>
                  <a:srgbClr val="58585A"/>
                </a:solidFill>
                <a:latin typeface="+mn-lt"/>
              </a:rPr>
              <a:t>Policy enforcement control part:</a:t>
            </a:r>
          </a:p>
          <a:p>
            <a:pPr defTabSz="914377">
              <a:spcBef>
                <a:spcPts val="0"/>
              </a:spcBef>
              <a:defRPr/>
            </a:pPr>
            <a:r>
              <a:rPr lang="en-US" sz="1067">
                <a:solidFill>
                  <a:srgbClr val="58585A"/>
                </a:solidFill>
                <a:latin typeface="+mn-lt"/>
              </a:rPr>
              <a:t> - Request for Access and Mobility</a:t>
            </a:r>
          </a:p>
          <a:p>
            <a:pPr defTabSz="914377">
              <a:spcBef>
                <a:spcPts val="0"/>
              </a:spcBef>
              <a:defRPr/>
            </a:pPr>
            <a:r>
              <a:rPr lang="en-US" sz="1067">
                <a:solidFill>
                  <a:srgbClr val="58585A"/>
                </a:solidFill>
                <a:latin typeface="+mn-lt"/>
              </a:rPr>
              <a:t>   policy decisions</a:t>
            </a:r>
          </a:p>
          <a:p>
            <a:pPr defTabSz="914377">
              <a:spcBef>
                <a:spcPts val="0"/>
              </a:spcBef>
              <a:defRPr/>
            </a:pPr>
            <a:r>
              <a:rPr lang="en-US" sz="1067">
                <a:solidFill>
                  <a:srgbClr val="58585A"/>
                </a:solidFill>
                <a:latin typeface="+mn-lt"/>
              </a:rPr>
              <a:t> - Enforces and distributes mobility</a:t>
            </a:r>
            <a:br>
              <a:rPr lang="en-US" sz="1067">
                <a:solidFill>
                  <a:srgbClr val="58585A"/>
                </a:solidFill>
                <a:latin typeface="+mn-lt"/>
              </a:rPr>
            </a:br>
            <a:r>
              <a:rPr lang="en-US" sz="1067">
                <a:solidFill>
                  <a:srgbClr val="58585A"/>
                </a:solidFill>
                <a:latin typeface="+mn-lt"/>
              </a:rPr>
              <a:t>   policy decisions to 5G RAN.</a:t>
            </a:r>
          </a:p>
          <a:p>
            <a:pPr defTabSz="914377">
              <a:spcBef>
                <a:spcPts val="0"/>
              </a:spcBef>
              <a:defRPr/>
            </a:pPr>
            <a:r>
              <a:rPr lang="en-US" sz="1067">
                <a:solidFill>
                  <a:srgbClr val="58585A"/>
                </a:solidFill>
                <a:latin typeface="+mn-lt"/>
              </a:rPr>
              <a:t>- Provides policies to the UE via N1.</a:t>
            </a:r>
          </a:p>
        </p:txBody>
      </p:sp>
      <p:grpSp>
        <p:nvGrpSpPr>
          <p:cNvPr id="74" name="Group 73"/>
          <p:cNvGrpSpPr/>
          <p:nvPr/>
        </p:nvGrpSpPr>
        <p:grpSpPr>
          <a:xfrm>
            <a:off x="4106500" y="2158220"/>
            <a:ext cx="665705" cy="939909"/>
            <a:chOff x="4338871" y="2725624"/>
            <a:chExt cx="1199053" cy="1626215"/>
          </a:xfrm>
        </p:grpSpPr>
        <p:sp>
          <p:nvSpPr>
            <p:cNvPr id="7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7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7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7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UDM</a:t>
              </a:r>
            </a:p>
          </p:txBody>
        </p:sp>
        <p:sp>
          <p:nvSpPr>
            <p:cNvPr id="7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8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grpSp>
        <p:nvGrpSpPr>
          <p:cNvPr id="2" name="Group 1"/>
          <p:cNvGrpSpPr/>
          <p:nvPr/>
        </p:nvGrpSpPr>
        <p:grpSpPr>
          <a:xfrm>
            <a:off x="3931240" y="1029419"/>
            <a:ext cx="967259" cy="530357"/>
            <a:chOff x="5585896" y="1027725"/>
            <a:chExt cx="967259" cy="658393"/>
          </a:xfrm>
        </p:grpSpPr>
        <p:sp>
          <p:nvSpPr>
            <p:cNvPr id="81" name="Can 1"/>
            <p:cNvSpPr/>
            <p:nvPr/>
          </p:nvSpPr>
          <p:spPr bwMode="auto">
            <a:xfrm>
              <a:off x="5585896" y="1027725"/>
              <a:ext cx="967259" cy="658393"/>
            </a:xfrm>
            <a:prstGeom prst="can">
              <a:avLst/>
            </a:prstGeom>
            <a:noFill/>
            <a:ln w="41275"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defRPr/>
              </a:pPr>
              <a:endParaRPr lang="es-ES">
                <a:solidFill>
                  <a:srgbClr val="58585A"/>
                </a:solidFill>
                <a:latin typeface="+mn-lt"/>
              </a:endParaRPr>
            </a:p>
          </p:txBody>
        </p:sp>
        <p:sp>
          <p:nvSpPr>
            <p:cNvPr id="82" name="TextBox 81"/>
            <p:cNvSpPr txBox="1"/>
            <p:nvPr/>
          </p:nvSpPr>
          <p:spPr>
            <a:xfrm>
              <a:off x="5683860" y="1216672"/>
              <a:ext cx="770120" cy="382079"/>
            </a:xfrm>
            <a:prstGeom prst="rect">
              <a:avLst/>
            </a:prstGeom>
            <a:noFill/>
            <a:ln>
              <a:noFill/>
            </a:ln>
          </p:spPr>
          <p:txBody>
            <a:bodyPr wrap="square" rtlCol="0">
              <a:spAutoFit/>
            </a:bodyPr>
            <a:lstStyle/>
            <a:p>
              <a:pPr algn="ctr" defTabSz="914377">
                <a:spcBef>
                  <a:spcPts val="0"/>
                </a:spcBef>
                <a:defRPr/>
              </a:pPr>
              <a:r>
                <a:rPr lang="es-ES_tradnl" sz="1400">
                  <a:solidFill>
                    <a:srgbClr val="F08A00"/>
                  </a:solidFill>
                  <a:latin typeface="+mn-lt"/>
                </a:rPr>
                <a:t>UDR</a:t>
              </a:r>
              <a:endParaRPr lang="es-ES" sz="1400">
                <a:solidFill>
                  <a:srgbClr val="F08A00"/>
                </a:solidFill>
                <a:latin typeface="+mn-lt"/>
              </a:endParaRPr>
            </a:p>
          </p:txBody>
        </p:sp>
      </p:grpSp>
      <p:cxnSp>
        <p:nvCxnSpPr>
          <p:cNvPr id="85" name="Elbow Connector 142"/>
          <p:cNvCxnSpPr>
            <a:cxnSpLocks/>
            <a:endCxn id="81" idx="3"/>
          </p:cNvCxnSpPr>
          <p:nvPr/>
        </p:nvCxnSpPr>
        <p:spPr bwMode="auto">
          <a:xfrm rot="16200000" flipV="1">
            <a:off x="4134524" y="1840122"/>
            <a:ext cx="563664" cy="2973"/>
          </a:xfrm>
          <a:prstGeom prst="bentConnector3">
            <a:avLst>
              <a:gd name="adj1" fmla="val 50000"/>
            </a:avLst>
          </a:prstGeom>
          <a:noFill/>
          <a:ln w="6350">
            <a:solidFill>
              <a:schemeClr val="accent2"/>
            </a:solidFill>
            <a:prstDash val="dash"/>
            <a:round/>
            <a:headEnd/>
            <a:tailEnd/>
          </a:ln>
        </p:spPr>
      </p:cxnSp>
      <p:sp>
        <p:nvSpPr>
          <p:cNvPr id="86" name="Text Box 144"/>
          <p:cNvSpPr txBox="1">
            <a:spLocks noChangeAspect="1" noChangeArrowheads="1"/>
          </p:cNvSpPr>
          <p:nvPr/>
        </p:nvSpPr>
        <p:spPr bwMode="auto">
          <a:xfrm>
            <a:off x="4189911" y="1655817"/>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err="1">
                <a:solidFill>
                  <a:srgbClr val="F08A00"/>
                </a:solidFill>
                <a:latin typeface="+mn-lt"/>
              </a:rPr>
              <a:t>Nudr</a:t>
            </a:r>
            <a:endParaRPr lang="en-US" altLang="en-US" sz="1800">
              <a:solidFill>
                <a:srgbClr val="F08A00"/>
              </a:solidFill>
              <a:latin typeface="+mn-lt"/>
            </a:endParaRPr>
          </a:p>
        </p:txBody>
      </p:sp>
      <p:cxnSp>
        <p:nvCxnSpPr>
          <p:cNvPr id="90" name="Elbow Connector 95"/>
          <p:cNvCxnSpPr>
            <a:cxnSpLocks/>
            <a:endCxn id="48" idx="0"/>
          </p:cNvCxnSpPr>
          <p:nvPr/>
        </p:nvCxnSpPr>
        <p:spPr bwMode="auto">
          <a:xfrm>
            <a:off x="4795081" y="2612471"/>
            <a:ext cx="2039728" cy="710491"/>
          </a:xfrm>
          <a:prstGeom prst="bentConnector2">
            <a:avLst/>
          </a:prstGeom>
          <a:noFill/>
          <a:ln w="6350">
            <a:solidFill>
              <a:schemeClr val="accent4">
                <a:lumMod val="50000"/>
              </a:schemeClr>
            </a:solidFill>
            <a:prstDash val="dash"/>
            <a:round/>
            <a:headEnd/>
            <a:tailEnd/>
          </a:ln>
        </p:spPr>
      </p:cxnSp>
      <p:sp>
        <p:nvSpPr>
          <p:cNvPr id="104" name="Text Box 144"/>
          <p:cNvSpPr txBox="1">
            <a:spLocks noChangeAspect="1" noChangeArrowheads="1"/>
          </p:cNvSpPr>
          <p:nvPr/>
        </p:nvSpPr>
        <p:spPr bwMode="auto">
          <a:xfrm>
            <a:off x="5864547" y="2714083"/>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0</a:t>
            </a:r>
          </a:p>
        </p:txBody>
      </p:sp>
      <p:grpSp>
        <p:nvGrpSpPr>
          <p:cNvPr id="105" name="Group 104"/>
          <p:cNvGrpSpPr/>
          <p:nvPr/>
        </p:nvGrpSpPr>
        <p:grpSpPr>
          <a:xfrm>
            <a:off x="2929245" y="2208925"/>
            <a:ext cx="748623" cy="868660"/>
            <a:chOff x="4338871" y="2725624"/>
            <a:chExt cx="1199053" cy="1626215"/>
          </a:xfrm>
        </p:grpSpPr>
        <p:sp>
          <p:nvSpPr>
            <p:cNvPr id="10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0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0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0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AUSF</a:t>
              </a:r>
            </a:p>
          </p:txBody>
        </p:sp>
        <p:sp>
          <p:nvSpPr>
            <p:cNvPr id="11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1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cxnSp>
        <p:nvCxnSpPr>
          <p:cNvPr id="112" name="Elbow Connector 95"/>
          <p:cNvCxnSpPr>
            <a:cxnSpLocks/>
          </p:cNvCxnSpPr>
          <p:nvPr/>
        </p:nvCxnSpPr>
        <p:spPr bwMode="auto">
          <a:xfrm>
            <a:off x="3399084" y="3074046"/>
            <a:ext cx="2023797" cy="649517"/>
          </a:xfrm>
          <a:prstGeom prst="bentConnector3">
            <a:avLst>
              <a:gd name="adj1" fmla="val 710"/>
            </a:avLst>
          </a:prstGeom>
          <a:noFill/>
          <a:ln w="6350">
            <a:solidFill>
              <a:schemeClr val="accent4">
                <a:lumMod val="50000"/>
              </a:schemeClr>
            </a:solidFill>
            <a:prstDash val="dash"/>
            <a:round/>
            <a:headEnd/>
            <a:tailEnd/>
          </a:ln>
        </p:spPr>
      </p:cxnSp>
      <p:sp>
        <p:nvSpPr>
          <p:cNvPr id="118" name="Text Box 144"/>
          <p:cNvSpPr txBox="1">
            <a:spLocks noChangeAspect="1" noChangeArrowheads="1"/>
          </p:cNvSpPr>
          <p:nvPr/>
        </p:nvSpPr>
        <p:spPr bwMode="auto">
          <a:xfrm>
            <a:off x="3468258" y="3507323"/>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2</a:t>
            </a:r>
          </a:p>
        </p:txBody>
      </p:sp>
      <p:cxnSp>
        <p:nvCxnSpPr>
          <p:cNvPr id="121" name="Elbow Connector 95"/>
          <p:cNvCxnSpPr>
            <a:cxnSpLocks/>
          </p:cNvCxnSpPr>
          <p:nvPr/>
        </p:nvCxnSpPr>
        <p:spPr bwMode="auto">
          <a:xfrm flipV="1">
            <a:off x="3601312" y="2580513"/>
            <a:ext cx="505187" cy="1395"/>
          </a:xfrm>
          <a:prstGeom prst="bentConnector3">
            <a:avLst>
              <a:gd name="adj1" fmla="val 50000"/>
            </a:avLst>
          </a:prstGeom>
          <a:noFill/>
          <a:ln w="6350">
            <a:solidFill>
              <a:schemeClr val="accent4">
                <a:lumMod val="50000"/>
              </a:schemeClr>
            </a:solidFill>
            <a:prstDash val="dash"/>
            <a:round/>
            <a:headEnd/>
            <a:tailEnd/>
          </a:ln>
        </p:spPr>
      </p:cxnSp>
      <p:sp>
        <p:nvSpPr>
          <p:cNvPr id="124" name="Text Box 144"/>
          <p:cNvSpPr txBox="1">
            <a:spLocks noChangeAspect="1" noChangeArrowheads="1"/>
          </p:cNvSpPr>
          <p:nvPr/>
        </p:nvSpPr>
        <p:spPr bwMode="auto">
          <a:xfrm rot="16200000">
            <a:off x="3372074" y="2199735"/>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13</a:t>
            </a:r>
          </a:p>
        </p:txBody>
      </p:sp>
      <p:grpSp>
        <p:nvGrpSpPr>
          <p:cNvPr id="113" name="Group 112"/>
          <p:cNvGrpSpPr/>
          <p:nvPr/>
        </p:nvGrpSpPr>
        <p:grpSpPr>
          <a:xfrm>
            <a:off x="10950575" y="2074173"/>
            <a:ext cx="713123" cy="880369"/>
            <a:chOff x="4338871" y="2725624"/>
            <a:chExt cx="1199053" cy="1626215"/>
          </a:xfrm>
        </p:grpSpPr>
        <p:sp>
          <p:nvSpPr>
            <p:cNvPr id="11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1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1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1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200">
                  <a:solidFill>
                    <a:srgbClr val="58585A"/>
                  </a:solidFill>
                  <a:latin typeface="+mn-lt"/>
                </a:rPr>
                <a:t>NWDAF</a:t>
              </a:r>
            </a:p>
          </p:txBody>
        </p:sp>
        <p:sp>
          <p:nvSpPr>
            <p:cNvPr id="11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2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cxnSp>
        <p:nvCxnSpPr>
          <p:cNvPr id="123" name="Elbow Connector 59"/>
          <p:cNvCxnSpPr>
            <a:cxnSpLocks/>
          </p:cNvCxnSpPr>
          <p:nvPr/>
        </p:nvCxnSpPr>
        <p:spPr bwMode="auto">
          <a:xfrm flipV="1">
            <a:off x="8548907" y="2503792"/>
            <a:ext cx="2385699" cy="19453"/>
          </a:xfrm>
          <a:prstGeom prst="bentConnector3">
            <a:avLst>
              <a:gd name="adj1" fmla="val 50000"/>
            </a:avLst>
          </a:prstGeom>
          <a:noFill/>
          <a:ln w="6350">
            <a:solidFill>
              <a:schemeClr val="accent4">
                <a:lumMod val="50000"/>
              </a:schemeClr>
            </a:solidFill>
            <a:prstDash val="dash"/>
            <a:round/>
            <a:headEnd/>
            <a:tailEnd/>
          </a:ln>
        </p:spPr>
      </p:cxnSp>
      <p:sp>
        <p:nvSpPr>
          <p:cNvPr id="125" name="Text Box 144"/>
          <p:cNvSpPr txBox="1">
            <a:spLocks noChangeAspect="1" noChangeArrowheads="1"/>
          </p:cNvSpPr>
          <p:nvPr/>
        </p:nvSpPr>
        <p:spPr bwMode="auto">
          <a:xfrm>
            <a:off x="9415959" y="2275188"/>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23</a:t>
            </a:r>
          </a:p>
        </p:txBody>
      </p:sp>
      <p:sp>
        <p:nvSpPr>
          <p:cNvPr id="126" name="Rectangular Callout 99"/>
          <p:cNvSpPr/>
          <p:nvPr/>
        </p:nvSpPr>
        <p:spPr bwMode="auto">
          <a:xfrm>
            <a:off x="10547475" y="3778791"/>
            <a:ext cx="1568272" cy="544391"/>
          </a:xfrm>
          <a:prstGeom prst="wedgeRectCallout">
            <a:avLst>
              <a:gd name="adj1" fmla="val 312"/>
              <a:gd name="adj2" fmla="val -206254"/>
            </a:avLst>
          </a:prstGeom>
          <a:solidFill>
            <a:schemeClr val="bg1"/>
          </a:solidFill>
          <a:ln w="1270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4377">
              <a:spcBef>
                <a:spcPts val="0"/>
              </a:spcBef>
              <a:defRPr/>
            </a:pPr>
            <a:r>
              <a:rPr lang="en-GB" sz="1067">
                <a:solidFill>
                  <a:srgbClr val="58585A"/>
                </a:solidFill>
                <a:latin typeface="+mn-lt"/>
              </a:rPr>
              <a:t>network status </a:t>
            </a:r>
          </a:p>
          <a:p>
            <a:pPr defTabSz="914377">
              <a:spcBef>
                <a:spcPts val="0"/>
              </a:spcBef>
              <a:defRPr/>
            </a:pPr>
            <a:r>
              <a:rPr lang="en-GB" sz="1067">
                <a:solidFill>
                  <a:srgbClr val="58585A"/>
                </a:solidFill>
                <a:latin typeface="+mn-lt"/>
              </a:rPr>
              <a:t>analytics (</a:t>
            </a:r>
            <a:r>
              <a:rPr lang="en-US" sz="1067">
                <a:solidFill>
                  <a:srgbClr val="58585A"/>
                </a:solidFill>
                <a:latin typeface="+mn-lt"/>
              </a:rPr>
              <a:t>l</a:t>
            </a:r>
            <a:r>
              <a:rPr lang="en-US" sz="1067">
                <a:latin typeface="+mn-lt"/>
              </a:rPr>
              <a:t>oad level</a:t>
            </a:r>
          </a:p>
          <a:p>
            <a:pPr defTabSz="914377">
              <a:spcBef>
                <a:spcPts val="0"/>
              </a:spcBef>
              <a:defRPr/>
            </a:pPr>
            <a:r>
              <a:rPr lang="en-GB" sz="1067">
                <a:solidFill>
                  <a:srgbClr val="58585A"/>
                </a:solidFill>
                <a:latin typeface="+mn-lt"/>
              </a:rPr>
              <a:t>info for a specific slice)</a:t>
            </a:r>
            <a:endParaRPr lang="en-US" sz="1067">
              <a:solidFill>
                <a:srgbClr val="58585A"/>
              </a:solidFill>
              <a:latin typeface="+mn-lt"/>
            </a:endParaRPr>
          </a:p>
        </p:txBody>
      </p:sp>
      <p:sp>
        <p:nvSpPr>
          <p:cNvPr id="130" name="Rectangular Callout 102"/>
          <p:cNvSpPr/>
          <p:nvPr/>
        </p:nvSpPr>
        <p:spPr bwMode="auto">
          <a:xfrm>
            <a:off x="9992784" y="2952195"/>
            <a:ext cx="1021929" cy="381959"/>
          </a:xfrm>
          <a:prstGeom prst="wedgeRectCallout">
            <a:avLst>
              <a:gd name="adj1" fmla="val -50398"/>
              <a:gd name="adj2" fmla="val -166834"/>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defTabSz="914377">
              <a:spcBef>
                <a:spcPts val="0"/>
              </a:spcBef>
              <a:defRPr/>
            </a:pPr>
            <a:r>
              <a:rPr lang="en-US" sz="1067">
                <a:solidFill>
                  <a:srgbClr val="58585A"/>
                </a:solidFill>
                <a:latin typeface="+mn-lt"/>
              </a:rPr>
              <a:t>New i/f for </a:t>
            </a:r>
          </a:p>
          <a:p>
            <a:pPr defTabSz="914377">
              <a:spcBef>
                <a:spcPts val="0"/>
              </a:spcBef>
              <a:defRPr/>
            </a:pPr>
            <a:r>
              <a:rPr lang="en-US" sz="1067">
                <a:solidFill>
                  <a:srgbClr val="58585A"/>
                </a:solidFill>
                <a:latin typeface="+mn-lt"/>
              </a:rPr>
              <a:t>Analytics input</a:t>
            </a:r>
          </a:p>
        </p:txBody>
      </p:sp>
      <p:cxnSp>
        <p:nvCxnSpPr>
          <p:cNvPr id="122" name="Elbow Connector 55"/>
          <p:cNvCxnSpPr>
            <a:cxnSpLocks/>
          </p:cNvCxnSpPr>
          <p:nvPr/>
        </p:nvCxnSpPr>
        <p:spPr bwMode="auto">
          <a:xfrm rot="16200000" flipV="1">
            <a:off x="7828247" y="3478132"/>
            <a:ext cx="2421495" cy="1337769"/>
          </a:xfrm>
          <a:prstGeom prst="bentConnector3">
            <a:avLst>
              <a:gd name="adj1" fmla="val 82809"/>
            </a:avLst>
          </a:prstGeom>
          <a:noFill/>
          <a:ln w="6350">
            <a:solidFill>
              <a:schemeClr val="accent4">
                <a:lumMod val="50000"/>
              </a:schemeClr>
            </a:solidFill>
            <a:prstDash val="dash"/>
            <a:round/>
            <a:headEnd/>
            <a:tailEnd/>
          </a:ln>
        </p:spPr>
      </p:cxnSp>
      <p:sp>
        <p:nvSpPr>
          <p:cNvPr id="127" name="Text Box 144"/>
          <p:cNvSpPr txBox="1">
            <a:spLocks noChangeAspect="1" noChangeArrowheads="1"/>
          </p:cNvSpPr>
          <p:nvPr/>
        </p:nvSpPr>
        <p:spPr bwMode="auto">
          <a:xfrm>
            <a:off x="8542818" y="3432619"/>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Rx</a:t>
            </a:r>
          </a:p>
        </p:txBody>
      </p:sp>
      <p:cxnSp>
        <p:nvCxnSpPr>
          <p:cNvPr id="128" name="Elbow Connector 142">
            <a:extLst>
              <a:ext uri="{FF2B5EF4-FFF2-40B4-BE49-F238E27FC236}">
                <a16:creationId xmlns:a16="http://schemas.microsoft.com/office/drawing/2014/main" id="{F67873C2-392A-4EC2-A0BD-A5186088CF57}"/>
              </a:ext>
            </a:extLst>
          </p:cNvPr>
          <p:cNvCxnSpPr>
            <a:cxnSpLocks/>
          </p:cNvCxnSpPr>
          <p:nvPr/>
        </p:nvCxnSpPr>
        <p:spPr bwMode="auto">
          <a:xfrm rot="10800000">
            <a:off x="4414397" y="1560029"/>
            <a:ext cx="3533172" cy="449091"/>
          </a:xfrm>
          <a:prstGeom prst="bentConnector2">
            <a:avLst/>
          </a:prstGeom>
          <a:noFill/>
          <a:ln w="6350">
            <a:solidFill>
              <a:schemeClr val="accent2"/>
            </a:solidFill>
            <a:prstDash val="dash"/>
            <a:round/>
            <a:headEnd/>
            <a:tailEnd/>
          </a:ln>
        </p:spPr>
      </p:cxnSp>
      <p:grpSp>
        <p:nvGrpSpPr>
          <p:cNvPr id="131" name="Group 115">
            <a:extLst>
              <a:ext uri="{FF2B5EF4-FFF2-40B4-BE49-F238E27FC236}">
                <a16:creationId xmlns:a16="http://schemas.microsoft.com/office/drawing/2014/main" id="{3FD4800E-6020-4E86-B874-784DBEAA3B7E}"/>
              </a:ext>
            </a:extLst>
          </p:cNvPr>
          <p:cNvGrpSpPr>
            <a:grpSpLocks/>
          </p:cNvGrpSpPr>
          <p:nvPr/>
        </p:nvGrpSpPr>
        <p:grpSpPr bwMode="auto">
          <a:xfrm>
            <a:off x="11011798" y="1016797"/>
            <a:ext cx="688793" cy="971883"/>
            <a:chOff x="2530204" y="1718022"/>
            <a:chExt cx="1186277" cy="1647323"/>
          </a:xfrm>
        </p:grpSpPr>
        <p:sp>
          <p:nvSpPr>
            <p:cNvPr id="132" name="AutoShape 238">
              <a:extLst>
                <a:ext uri="{FF2B5EF4-FFF2-40B4-BE49-F238E27FC236}">
                  <a16:creationId xmlns:a16="http://schemas.microsoft.com/office/drawing/2014/main" id="{7BB02D41-B5E4-4694-90E6-E259E1D53878}"/>
                </a:ext>
              </a:extLst>
            </p:cNvPr>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defTabSz="914377">
                <a:spcBef>
                  <a:spcPct val="0"/>
                </a:spcBef>
                <a:buClrTx/>
                <a:buNone/>
              </a:pPr>
              <a:endParaRPr lang="sv-SE" altLang="en-US" sz="1400">
                <a:solidFill>
                  <a:srgbClr val="58585A"/>
                </a:solidFill>
                <a:latin typeface="+mn-lt"/>
              </a:endParaRPr>
            </a:p>
          </p:txBody>
        </p:sp>
        <p:sp>
          <p:nvSpPr>
            <p:cNvPr id="133" name="Rectangle 241">
              <a:extLst>
                <a:ext uri="{FF2B5EF4-FFF2-40B4-BE49-F238E27FC236}">
                  <a16:creationId xmlns:a16="http://schemas.microsoft.com/office/drawing/2014/main" id="{97754200-B665-4B2A-ADA6-F331F4E1744F}"/>
                </a:ext>
              </a:extLst>
            </p:cNvPr>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defTabSz="914377">
                <a:spcBef>
                  <a:spcPct val="0"/>
                </a:spcBef>
                <a:buClrTx/>
                <a:buNone/>
              </a:pPr>
              <a:endParaRPr lang="sv-SE" altLang="en-US" sz="1400">
                <a:solidFill>
                  <a:srgbClr val="58585A"/>
                </a:solidFill>
                <a:latin typeface="+mn-lt"/>
              </a:endParaRPr>
            </a:p>
          </p:txBody>
        </p:sp>
        <p:grpSp>
          <p:nvGrpSpPr>
            <p:cNvPr id="134" name="Group 274">
              <a:extLst>
                <a:ext uri="{FF2B5EF4-FFF2-40B4-BE49-F238E27FC236}">
                  <a16:creationId xmlns:a16="http://schemas.microsoft.com/office/drawing/2014/main" id="{08B8CF38-CA15-4A0A-87D5-F396F34F42A3}"/>
                </a:ext>
              </a:extLst>
            </p:cNvPr>
            <p:cNvGrpSpPr>
              <a:grpSpLocks noChangeAspect="1"/>
            </p:cNvGrpSpPr>
            <p:nvPr/>
          </p:nvGrpSpPr>
          <p:grpSpPr bwMode="auto">
            <a:xfrm>
              <a:off x="2590950" y="1853233"/>
              <a:ext cx="1125531" cy="1512112"/>
              <a:chOff x="3147" y="3024"/>
              <a:chExt cx="257" cy="366"/>
            </a:xfrm>
          </p:grpSpPr>
          <p:grpSp>
            <p:nvGrpSpPr>
              <p:cNvPr id="135" name="Group 7">
                <a:extLst>
                  <a:ext uri="{FF2B5EF4-FFF2-40B4-BE49-F238E27FC236}">
                    <a16:creationId xmlns:a16="http://schemas.microsoft.com/office/drawing/2014/main" id="{04816773-0626-47E2-8701-2E7358717D1E}"/>
                  </a:ext>
                </a:extLst>
              </p:cNvPr>
              <p:cNvGrpSpPr>
                <a:grpSpLocks noChangeAspect="1"/>
              </p:cNvGrpSpPr>
              <p:nvPr/>
            </p:nvGrpSpPr>
            <p:grpSpPr bwMode="auto">
              <a:xfrm>
                <a:off x="3147" y="3024"/>
                <a:ext cx="257" cy="366"/>
                <a:chOff x="2283" y="1698"/>
                <a:chExt cx="983" cy="1402"/>
              </a:xfrm>
            </p:grpSpPr>
            <p:pic>
              <p:nvPicPr>
                <p:cNvPr id="145" name="Bildobjekt 6">
                  <a:extLst>
                    <a:ext uri="{FF2B5EF4-FFF2-40B4-BE49-F238E27FC236}">
                      <a16:creationId xmlns:a16="http://schemas.microsoft.com/office/drawing/2014/main" id="{801FB30F-9951-40AB-89AE-1C682D55019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Freeform 11">
                  <a:extLst>
                    <a:ext uri="{FF2B5EF4-FFF2-40B4-BE49-F238E27FC236}">
                      <a16:creationId xmlns:a16="http://schemas.microsoft.com/office/drawing/2014/main" id="{25B28A93-312F-4838-8F9B-F5A3FE88431B}"/>
                    </a:ext>
                  </a:extLst>
                </p:cNvPr>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defTabSz="914377"/>
                  <a:endParaRPr lang="en-US">
                    <a:solidFill>
                      <a:srgbClr val="58585A"/>
                    </a:solidFill>
                    <a:latin typeface="+mn-lt"/>
                  </a:endParaRPr>
                </a:p>
              </p:txBody>
            </p:sp>
          </p:grpSp>
          <p:sp>
            <p:nvSpPr>
              <p:cNvPr id="144" name="Text Box 278">
                <a:extLst>
                  <a:ext uri="{FF2B5EF4-FFF2-40B4-BE49-F238E27FC236}">
                    <a16:creationId xmlns:a16="http://schemas.microsoft.com/office/drawing/2014/main" id="{1F6B5EA8-1051-407E-92C9-3CB25FCBB53D}"/>
                  </a:ext>
                </a:extLst>
              </p:cNvPr>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7">
                  <a:spcBef>
                    <a:spcPts val="600"/>
                  </a:spcBef>
                  <a:buClrTx/>
                  <a:buNone/>
                </a:pPr>
                <a:r>
                  <a:rPr lang="en-US" altLang="en-US" sz="1400">
                    <a:solidFill>
                      <a:srgbClr val="58585A"/>
                    </a:solidFill>
                    <a:latin typeface="+mn-lt"/>
                  </a:rPr>
                  <a:t>CHF</a:t>
                </a:r>
              </a:p>
            </p:txBody>
          </p:sp>
        </p:grpSp>
      </p:grpSp>
      <p:cxnSp>
        <p:nvCxnSpPr>
          <p:cNvPr id="147" name="Elbow Connector 59">
            <a:extLst>
              <a:ext uri="{FF2B5EF4-FFF2-40B4-BE49-F238E27FC236}">
                <a16:creationId xmlns:a16="http://schemas.microsoft.com/office/drawing/2014/main" id="{6BD2DA56-C4F0-4BF0-AAFE-D1B947D4489C}"/>
              </a:ext>
            </a:extLst>
          </p:cNvPr>
          <p:cNvCxnSpPr>
            <a:cxnSpLocks/>
            <a:stCxn id="142" idx="3"/>
            <a:endCxn id="145" idx="1"/>
          </p:cNvCxnSpPr>
          <p:nvPr/>
        </p:nvCxnSpPr>
        <p:spPr bwMode="auto">
          <a:xfrm flipV="1">
            <a:off x="8547252" y="1542624"/>
            <a:ext cx="2499816" cy="889213"/>
          </a:xfrm>
          <a:prstGeom prst="bentConnector3">
            <a:avLst>
              <a:gd name="adj1" fmla="val 17243"/>
            </a:avLst>
          </a:prstGeom>
          <a:noFill/>
          <a:ln w="6350">
            <a:solidFill>
              <a:schemeClr val="accent4">
                <a:lumMod val="50000"/>
              </a:schemeClr>
            </a:solidFill>
            <a:prstDash val="dash"/>
            <a:round/>
            <a:headEnd/>
            <a:tailEnd/>
          </a:ln>
        </p:spPr>
      </p:cxnSp>
      <p:sp>
        <p:nvSpPr>
          <p:cNvPr id="148" name="Text Box 144">
            <a:extLst>
              <a:ext uri="{FF2B5EF4-FFF2-40B4-BE49-F238E27FC236}">
                <a16:creationId xmlns:a16="http://schemas.microsoft.com/office/drawing/2014/main" id="{308760C9-C100-4812-B25A-7668B718D86E}"/>
              </a:ext>
            </a:extLst>
          </p:cNvPr>
          <p:cNvSpPr txBox="1">
            <a:spLocks noChangeAspect="1" noChangeArrowheads="1"/>
          </p:cNvSpPr>
          <p:nvPr/>
        </p:nvSpPr>
        <p:spPr bwMode="auto">
          <a:xfrm>
            <a:off x="8736963" y="1611257"/>
            <a:ext cx="992351"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400">
                <a:solidFill>
                  <a:srgbClr val="58585A"/>
                </a:solidFill>
                <a:latin typeface="+mn-lt"/>
              </a:rPr>
              <a:t>N28</a:t>
            </a:r>
          </a:p>
        </p:txBody>
      </p:sp>
      <p:sp>
        <p:nvSpPr>
          <p:cNvPr id="149" name="Rectangular Callout 102">
            <a:extLst>
              <a:ext uri="{FF2B5EF4-FFF2-40B4-BE49-F238E27FC236}">
                <a16:creationId xmlns:a16="http://schemas.microsoft.com/office/drawing/2014/main" id="{13BBF890-BB30-4076-9EE3-911AFA1A9D41}"/>
              </a:ext>
            </a:extLst>
          </p:cNvPr>
          <p:cNvSpPr/>
          <p:nvPr/>
        </p:nvSpPr>
        <p:spPr bwMode="auto">
          <a:xfrm>
            <a:off x="9481553" y="1756599"/>
            <a:ext cx="1114113" cy="286255"/>
          </a:xfrm>
          <a:prstGeom prst="wedgeRectCallout">
            <a:avLst>
              <a:gd name="adj1" fmla="val -63847"/>
              <a:gd name="adj2" fmla="val -46502"/>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defTabSz="914377">
              <a:spcBef>
                <a:spcPts val="0"/>
              </a:spcBef>
              <a:defRPr/>
            </a:pPr>
            <a:r>
              <a:rPr lang="en-US" sz="1067">
                <a:solidFill>
                  <a:srgbClr val="58585A"/>
                </a:solidFill>
                <a:latin typeface="+mn-lt"/>
                <a:cs typeface="Arial" panose="020B0604020202020204" pitchFamily="34" charset="0"/>
              </a:rPr>
              <a:t>Spending limits</a:t>
            </a:r>
            <a:endParaRPr lang="en-US" sz="1067">
              <a:solidFill>
                <a:srgbClr val="58585A"/>
              </a:solidFill>
              <a:latin typeface="+mn-lt"/>
            </a:endParaRPr>
          </a:p>
        </p:txBody>
      </p:sp>
      <p:grpSp>
        <p:nvGrpSpPr>
          <p:cNvPr id="156" name="Group 155">
            <a:extLst>
              <a:ext uri="{FF2B5EF4-FFF2-40B4-BE49-F238E27FC236}">
                <a16:creationId xmlns:a16="http://schemas.microsoft.com/office/drawing/2014/main" id="{75E9B902-779A-4162-8721-D6A65DEFBACE}"/>
              </a:ext>
            </a:extLst>
          </p:cNvPr>
          <p:cNvGrpSpPr/>
          <p:nvPr/>
        </p:nvGrpSpPr>
        <p:grpSpPr>
          <a:xfrm>
            <a:off x="7797435" y="1984515"/>
            <a:ext cx="817579" cy="910733"/>
            <a:chOff x="4338871" y="2725624"/>
            <a:chExt cx="1199053" cy="1626215"/>
          </a:xfrm>
        </p:grpSpPr>
        <p:sp>
          <p:nvSpPr>
            <p:cNvPr id="157" name="Rectangle 241">
              <a:extLst>
                <a:ext uri="{FF2B5EF4-FFF2-40B4-BE49-F238E27FC236}">
                  <a16:creationId xmlns:a16="http://schemas.microsoft.com/office/drawing/2014/main" id="{776DCC35-F09C-437D-A886-C19F13283C1B}"/>
                </a:ext>
              </a:extLst>
            </p:cNvPr>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58" name="AutoShape 238">
              <a:extLst>
                <a:ext uri="{FF2B5EF4-FFF2-40B4-BE49-F238E27FC236}">
                  <a16:creationId xmlns:a16="http://schemas.microsoft.com/office/drawing/2014/main" id="{04C1B569-1C00-49C2-9390-CEFAC6D4C65A}"/>
                </a:ext>
              </a:extLst>
            </p:cNvPr>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59" name="Oval 239">
              <a:extLst>
                <a:ext uri="{FF2B5EF4-FFF2-40B4-BE49-F238E27FC236}">
                  <a16:creationId xmlns:a16="http://schemas.microsoft.com/office/drawing/2014/main" id="{60A703D4-E544-4F20-AF0A-A01E00E5F32E}"/>
                </a:ext>
              </a:extLst>
            </p:cNvPr>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60" name="Text Box 240">
              <a:extLst>
                <a:ext uri="{FF2B5EF4-FFF2-40B4-BE49-F238E27FC236}">
                  <a16:creationId xmlns:a16="http://schemas.microsoft.com/office/drawing/2014/main" id="{FD0C8EDC-FB31-4CC6-BF4D-970E25E50B97}"/>
                </a:ext>
              </a:extLst>
            </p:cNvPr>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defTabSz="914377" eaLnBrk="1" hangingPunct="1">
                <a:lnSpc>
                  <a:spcPct val="80000"/>
                </a:lnSpc>
                <a:defRPr/>
              </a:pPr>
              <a:r>
                <a:rPr lang="en-US" altLang="en-US" sz="1600">
                  <a:solidFill>
                    <a:srgbClr val="58585A"/>
                  </a:solidFill>
                  <a:latin typeface="+mn-lt"/>
                </a:rPr>
                <a:t>PCF</a:t>
              </a:r>
              <a:endParaRPr lang="en-US" altLang="en-US" sz="1200">
                <a:solidFill>
                  <a:srgbClr val="58585A"/>
                </a:solidFill>
                <a:latin typeface="+mn-lt"/>
              </a:endParaRPr>
            </a:p>
          </p:txBody>
        </p:sp>
        <p:sp>
          <p:nvSpPr>
            <p:cNvPr id="161" name="Rectangle 241">
              <a:extLst>
                <a:ext uri="{FF2B5EF4-FFF2-40B4-BE49-F238E27FC236}">
                  <a16:creationId xmlns:a16="http://schemas.microsoft.com/office/drawing/2014/main" id="{69816806-AC0F-4411-925E-503BA447AF06}"/>
                </a:ext>
              </a:extLst>
            </p:cNvPr>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defTabSz="914377" eaLnBrk="1" hangingPunct="1">
                <a:defRPr/>
              </a:pPr>
              <a:endParaRPr lang="sv-SE" altLang="en-US" sz="900">
                <a:solidFill>
                  <a:srgbClr val="58585A"/>
                </a:solidFill>
                <a:latin typeface="+mn-lt"/>
              </a:endParaRPr>
            </a:p>
          </p:txBody>
        </p:sp>
        <p:sp>
          <p:nvSpPr>
            <p:cNvPr id="162" name="Freeform 11">
              <a:extLst>
                <a:ext uri="{FF2B5EF4-FFF2-40B4-BE49-F238E27FC236}">
                  <a16:creationId xmlns:a16="http://schemas.microsoft.com/office/drawing/2014/main" id="{07E524F5-FBBD-4E30-879D-DFDEB2D007EB}"/>
                </a:ext>
              </a:extLst>
            </p:cNvPr>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p:spPr>
          <p:txBody>
            <a:bodyPr tIns="1080000" anchor="ctr"/>
            <a:lstStyle/>
            <a:p>
              <a:pPr defTabSz="914377">
                <a:defRPr/>
              </a:pPr>
              <a:endParaRPr lang="en-US">
                <a:solidFill>
                  <a:srgbClr val="58585A"/>
                </a:solidFill>
                <a:latin typeface="+mn-lt"/>
              </a:endParaRPr>
            </a:p>
          </p:txBody>
        </p:sp>
      </p:grpSp>
    </p:spTree>
    <p:extLst>
      <p:ext uri="{BB962C8B-B14F-4D97-AF65-F5344CB8AC3E}">
        <p14:creationId xmlns:p14="http://schemas.microsoft.com/office/powerpoint/2010/main" val="9802733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Rounded Corners 102"/>
          <p:cNvSpPr/>
          <p:nvPr/>
        </p:nvSpPr>
        <p:spPr bwMode="auto">
          <a:xfrm>
            <a:off x="4859476" y="1507870"/>
            <a:ext cx="1985038" cy="1319219"/>
          </a:xfrm>
          <a:prstGeom prst="roundRect">
            <a:avLst/>
          </a:prstGeom>
          <a:pattFill prst="pct50">
            <a:fgClr>
              <a:srgbClr val="F3DCA9"/>
            </a:fgClr>
            <a:bgClr>
              <a:schemeClr val="bg1"/>
            </a:bgClr>
          </a:patt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sp>
        <p:nvSpPr>
          <p:cNvPr id="5" name="Title 4"/>
          <p:cNvSpPr>
            <a:spLocks noGrp="1"/>
          </p:cNvSpPr>
          <p:nvPr>
            <p:ph type="title"/>
          </p:nvPr>
        </p:nvSpPr>
        <p:spPr/>
        <p:txBody>
          <a:bodyPr>
            <a:normAutofit/>
          </a:bodyPr>
          <a:lstStyle/>
          <a:p>
            <a:r>
              <a:rPr lang="en-US"/>
              <a:t>5GC Charging related highlights </a:t>
            </a:r>
            <a:br>
              <a:rPr lang="en-US"/>
            </a:br>
            <a:r>
              <a:rPr lang="en-US" sz="3600"/>
              <a:t>Supporting new business </a:t>
            </a:r>
            <a:endParaRPr lang="en-US"/>
          </a:p>
        </p:txBody>
      </p:sp>
      <p:sp>
        <p:nvSpPr>
          <p:cNvPr id="9" name="Text Box 144"/>
          <p:cNvSpPr txBox="1">
            <a:spLocks noChangeAspect="1" noChangeArrowheads="1"/>
          </p:cNvSpPr>
          <p:nvPr/>
        </p:nvSpPr>
        <p:spPr bwMode="auto">
          <a:xfrm>
            <a:off x="7191793" y="3755072"/>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latin typeface="+mn-lt"/>
              </a:rPr>
              <a:t>Npcf</a:t>
            </a:r>
            <a:endParaRPr lang="en-US" altLang="en-US" sz="1400">
              <a:latin typeface="+mn-lt"/>
            </a:endParaRPr>
          </a:p>
        </p:txBody>
      </p:sp>
      <p:sp>
        <p:nvSpPr>
          <p:cNvPr id="21" name="Text Box 144"/>
          <p:cNvSpPr txBox="1">
            <a:spLocks noChangeAspect="1" noChangeArrowheads="1"/>
          </p:cNvSpPr>
          <p:nvPr/>
        </p:nvSpPr>
        <p:spPr bwMode="auto">
          <a:xfrm>
            <a:off x="5111952" y="3984345"/>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latin typeface="+mn-lt"/>
              </a:rPr>
              <a:t>Nsmf</a:t>
            </a:r>
            <a:endParaRPr lang="en-US" altLang="en-US" sz="1400">
              <a:latin typeface="+mn-lt"/>
            </a:endParaRPr>
          </a:p>
        </p:txBody>
      </p:sp>
      <p:cxnSp>
        <p:nvCxnSpPr>
          <p:cNvPr id="23" name="Straight Connector 22"/>
          <p:cNvCxnSpPr>
            <a:cxnSpLocks/>
          </p:cNvCxnSpPr>
          <p:nvPr/>
        </p:nvCxnSpPr>
        <p:spPr bwMode="auto">
          <a:xfrm flipH="1">
            <a:off x="7125652" y="3738633"/>
            <a:ext cx="4229" cy="18000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04" name="Straight Connector 103"/>
          <p:cNvCxnSpPr>
            <a:cxnSpLocks/>
          </p:cNvCxnSpPr>
          <p:nvPr/>
        </p:nvCxnSpPr>
        <p:spPr bwMode="auto">
          <a:xfrm flipV="1">
            <a:off x="6055025" y="2648789"/>
            <a:ext cx="5158" cy="129600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07" name="Text Box 144"/>
          <p:cNvSpPr txBox="1">
            <a:spLocks noChangeAspect="1" noChangeArrowheads="1"/>
          </p:cNvSpPr>
          <p:nvPr/>
        </p:nvSpPr>
        <p:spPr bwMode="auto">
          <a:xfrm>
            <a:off x="5912804" y="3325540"/>
            <a:ext cx="803185" cy="147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200" err="1">
                <a:latin typeface="+mn-lt"/>
              </a:rPr>
              <a:t>Nchf</a:t>
            </a:r>
            <a:endParaRPr lang="en-US" altLang="en-US" sz="1200">
              <a:latin typeface="+mn-lt"/>
            </a:endParaRPr>
          </a:p>
        </p:txBody>
      </p:sp>
      <p:cxnSp>
        <p:nvCxnSpPr>
          <p:cNvPr id="123" name="Straight Connector 122"/>
          <p:cNvCxnSpPr>
            <a:cxnSpLocks/>
          </p:cNvCxnSpPr>
          <p:nvPr/>
        </p:nvCxnSpPr>
        <p:spPr bwMode="auto">
          <a:xfrm flipV="1">
            <a:off x="5200608" y="4904955"/>
            <a:ext cx="798842" cy="277077"/>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6" name="Straight Connector 125"/>
          <p:cNvCxnSpPr>
            <a:cxnSpLocks/>
          </p:cNvCxnSpPr>
          <p:nvPr/>
        </p:nvCxnSpPr>
        <p:spPr bwMode="auto">
          <a:xfrm flipH="1" flipV="1">
            <a:off x="5978934" y="4897018"/>
            <a:ext cx="803186" cy="287843"/>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29" name="Text Box 144"/>
          <p:cNvSpPr txBox="1">
            <a:spLocks noChangeAspect="1" noChangeArrowheads="1"/>
          </p:cNvSpPr>
          <p:nvPr/>
        </p:nvSpPr>
        <p:spPr bwMode="auto">
          <a:xfrm>
            <a:off x="5862501" y="5105268"/>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4</a:t>
            </a:r>
          </a:p>
        </p:txBody>
      </p:sp>
      <p:sp>
        <p:nvSpPr>
          <p:cNvPr id="130" name="Text Box 144"/>
          <p:cNvSpPr txBox="1">
            <a:spLocks noChangeAspect="1" noChangeArrowheads="1"/>
          </p:cNvSpPr>
          <p:nvPr/>
        </p:nvSpPr>
        <p:spPr bwMode="auto">
          <a:xfrm>
            <a:off x="5251864" y="5125905"/>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4</a:t>
            </a:r>
          </a:p>
        </p:txBody>
      </p:sp>
      <p:grpSp>
        <p:nvGrpSpPr>
          <p:cNvPr id="152" name="Group 151"/>
          <p:cNvGrpSpPr>
            <a:grpSpLocks noChangeAspect="1"/>
          </p:cNvGrpSpPr>
          <p:nvPr/>
        </p:nvGrpSpPr>
        <p:grpSpPr bwMode="auto">
          <a:xfrm>
            <a:off x="5773638" y="1898093"/>
            <a:ext cx="576263" cy="825502"/>
            <a:chOff x="1057" y="1587"/>
            <a:chExt cx="363" cy="520"/>
          </a:xfrm>
        </p:grpSpPr>
        <p:sp>
          <p:nvSpPr>
            <p:cNvPr id="153"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latin typeface="+mn-lt"/>
              </a:endParaRPr>
            </a:p>
          </p:txBody>
        </p:sp>
        <p:sp>
          <p:nvSpPr>
            <p:cNvPr id="154" name="Oval 153"/>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latin typeface="+mn-lt"/>
              </a:endParaRPr>
            </a:p>
          </p:txBody>
        </p:sp>
        <p:sp>
          <p:nvSpPr>
            <p:cNvPr id="155"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rgbClr val="F08A00"/>
                  </a:solidFill>
                  <a:latin typeface="+mn-lt"/>
                  <a:ea typeface="MS PGothic" panose="020B0600070205080204" pitchFamily="34" charset="-128"/>
                </a:rPr>
                <a:t>CHF </a:t>
              </a:r>
            </a:p>
          </p:txBody>
        </p:sp>
        <p:sp>
          <p:nvSpPr>
            <p:cNvPr id="156" name="Rectangle 155"/>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latin typeface="+mn-lt"/>
              </a:endParaRPr>
            </a:p>
          </p:txBody>
        </p:sp>
        <p:sp>
          <p:nvSpPr>
            <p:cNvPr id="157" name="Freeform 11"/>
            <p:cNvSpPr>
              <a:spLocks noChangeAspect="1" noEditPoints="1"/>
            </p:cNvSpPr>
            <p:nvPr/>
          </p:nvSpPr>
          <p:spPr bwMode="auto">
            <a:xfrm>
              <a:off x="1057" y="1587"/>
              <a:ext cx="363" cy="520"/>
            </a:xfrm>
            <a:custGeom>
              <a:avLst/>
              <a:gdLst>
                <a:gd name="T0" fmla="*/ 345639 w 410"/>
                <a:gd name="T1" fmla="*/ 196962 h 589"/>
                <a:gd name="T2" fmla="*/ 324585 w 410"/>
                <a:gd name="T3" fmla="*/ 476199 h 589"/>
                <a:gd name="T4" fmla="*/ 14036 w 410"/>
                <a:gd name="T5" fmla="*/ 456254 h 589"/>
                <a:gd name="T6" fmla="*/ 179837 w 410"/>
                <a:gd name="T7" fmla="*/ 13297 h 589"/>
                <a:gd name="T8" fmla="*/ 352657 w 410"/>
                <a:gd name="T9" fmla="*/ 177016 h 589"/>
                <a:gd name="T10" fmla="*/ 359675 w 410"/>
                <a:gd name="T11" fmla="*/ 170368 h 589"/>
                <a:gd name="T12" fmla="*/ 0 w 410"/>
                <a:gd name="T13" fmla="*/ 170368 h 589"/>
                <a:gd name="T14" fmla="*/ 877 w 410"/>
                <a:gd name="T15" fmla="*/ 456254 h 589"/>
                <a:gd name="T16" fmla="*/ 324585 w 410"/>
                <a:gd name="T17" fmla="*/ 489497 h 589"/>
                <a:gd name="T18" fmla="*/ 359675 w 410"/>
                <a:gd name="T19" fmla="*/ 196962 h 589"/>
                <a:gd name="T20" fmla="*/ 129834 w 410"/>
                <a:gd name="T21" fmla="*/ 143774 h 589"/>
                <a:gd name="T22" fmla="*/ 235982 w 410"/>
                <a:gd name="T23" fmla="*/ 140449 h 589"/>
                <a:gd name="T24" fmla="*/ 185977 w 410"/>
                <a:gd name="T25" fmla="*/ 39892 h 589"/>
                <a:gd name="T26" fmla="*/ 173696 w 410"/>
                <a:gd name="T27" fmla="*/ 39892 h 589"/>
                <a:gd name="T28" fmla="*/ 123694 w 410"/>
                <a:gd name="T29" fmla="*/ 140449 h 589"/>
                <a:gd name="T30" fmla="*/ 179837 w 410"/>
                <a:gd name="T31" fmla="*/ 57343 h 589"/>
                <a:gd name="T32" fmla="*/ 141238 w 410"/>
                <a:gd name="T33" fmla="*/ 130477 h 589"/>
                <a:gd name="T34" fmla="*/ 78953 w 410"/>
                <a:gd name="T35" fmla="*/ 174523 h 589"/>
                <a:gd name="T36" fmla="*/ 66672 w 410"/>
                <a:gd name="T37" fmla="*/ 187822 h 589"/>
                <a:gd name="T38" fmla="*/ 71058 w 410"/>
                <a:gd name="T39" fmla="*/ 236023 h 589"/>
                <a:gd name="T40" fmla="*/ 179837 w 410"/>
                <a:gd name="T41" fmla="*/ 251813 h 589"/>
                <a:gd name="T42" fmla="*/ 280721 w 410"/>
                <a:gd name="T43" fmla="*/ 241009 h 589"/>
                <a:gd name="T44" fmla="*/ 293004 w 410"/>
                <a:gd name="T45" fmla="*/ 227711 h 589"/>
                <a:gd name="T46" fmla="*/ 288617 w 410"/>
                <a:gd name="T47" fmla="*/ 179510 h 589"/>
                <a:gd name="T48" fmla="*/ 179837 w 410"/>
                <a:gd name="T49" fmla="*/ 163720 h 589"/>
                <a:gd name="T50" fmla="*/ 78953 w 410"/>
                <a:gd name="T51" fmla="*/ 174523 h 589"/>
                <a:gd name="T52" fmla="*/ 269317 w 410"/>
                <a:gd name="T53" fmla="*/ 230205 h 589"/>
                <a:gd name="T54" fmla="*/ 106148 w 410"/>
                <a:gd name="T55" fmla="*/ 233529 h 589"/>
                <a:gd name="T56" fmla="*/ 80707 w 410"/>
                <a:gd name="T57" fmla="*/ 226051 h 589"/>
                <a:gd name="T58" fmla="*/ 86848 w 410"/>
                <a:gd name="T59" fmla="*/ 202780 h 589"/>
                <a:gd name="T60" fmla="*/ 256159 w 410"/>
                <a:gd name="T61" fmla="*/ 206103 h 589"/>
                <a:gd name="T62" fmla="*/ 278967 w 410"/>
                <a:gd name="T63" fmla="*/ 226051 h 589"/>
                <a:gd name="T64" fmla="*/ 275459 w 410"/>
                <a:gd name="T65" fmla="*/ 186990 h 589"/>
                <a:gd name="T66" fmla="*/ 269317 w 410"/>
                <a:gd name="T67" fmla="*/ 190313 h 589"/>
                <a:gd name="T68" fmla="*/ 106148 w 410"/>
                <a:gd name="T69" fmla="*/ 193638 h 589"/>
                <a:gd name="T70" fmla="*/ 83339 w 410"/>
                <a:gd name="T71" fmla="*/ 187822 h 589"/>
                <a:gd name="T72" fmla="*/ 179837 w 410"/>
                <a:gd name="T73" fmla="*/ 17701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latin typeface="+mn-lt"/>
              </a:endParaRPr>
            </a:p>
          </p:txBody>
        </p:sp>
      </p:grpSp>
      <p:sp>
        <p:nvSpPr>
          <p:cNvPr id="178" name="AutoShape 4"/>
          <p:cNvSpPr>
            <a:spLocks noChangeAspect="1" noChangeArrowheads="1"/>
          </p:cNvSpPr>
          <p:nvPr/>
        </p:nvSpPr>
        <p:spPr bwMode="auto">
          <a:xfrm>
            <a:off x="6886769" y="2922783"/>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79" name="Oval 178"/>
          <p:cNvSpPr>
            <a:spLocks noChangeAspect="1" noChangeArrowheads="1"/>
          </p:cNvSpPr>
          <p:nvPr/>
        </p:nvSpPr>
        <p:spPr bwMode="auto">
          <a:xfrm>
            <a:off x="6883594" y="2940245"/>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80" name="Text Box 6"/>
          <p:cNvSpPr txBox="1">
            <a:spLocks noChangeAspect="1" noChangeArrowheads="1"/>
          </p:cNvSpPr>
          <p:nvPr/>
        </p:nvSpPr>
        <p:spPr bwMode="auto">
          <a:xfrm>
            <a:off x="6902644" y="3377977"/>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rgbClr val="5B6592"/>
                </a:solidFill>
                <a:latin typeface="+mn-lt"/>
                <a:ea typeface="MS PGothic" panose="020B0600070205080204" pitchFamily="34" charset="-128"/>
              </a:rPr>
              <a:t>PCF </a:t>
            </a:r>
          </a:p>
        </p:txBody>
      </p:sp>
      <p:sp>
        <p:nvSpPr>
          <p:cNvPr id="181" name="Rectangle 180"/>
          <p:cNvSpPr>
            <a:spLocks noChangeAspect="1" noChangeArrowheads="1"/>
          </p:cNvSpPr>
          <p:nvPr/>
        </p:nvSpPr>
        <p:spPr bwMode="auto">
          <a:xfrm>
            <a:off x="6875656" y="2600251"/>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82" name="Freeform 11"/>
          <p:cNvSpPr>
            <a:spLocks noChangeAspect="1" noEditPoints="1"/>
          </p:cNvSpPr>
          <p:nvPr/>
        </p:nvSpPr>
        <p:spPr bwMode="auto">
          <a:xfrm>
            <a:off x="6875656" y="2931699"/>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latin typeface="+mn-lt"/>
            </a:endParaRPr>
          </a:p>
        </p:txBody>
      </p:sp>
      <p:sp>
        <p:nvSpPr>
          <p:cNvPr id="184" name="AutoShape 4"/>
          <p:cNvSpPr>
            <a:spLocks noChangeAspect="1" noChangeArrowheads="1"/>
          </p:cNvSpPr>
          <p:nvPr/>
        </p:nvSpPr>
        <p:spPr bwMode="auto">
          <a:xfrm>
            <a:off x="5666061" y="4307537"/>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85" name="Oval 184"/>
          <p:cNvSpPr>
            <a:spLocks noChangeAspect="1" noChangeArrowheads="1"/>
          </p:cNvSpPr>
          <p:nvPr/>
        </p:nvSpPr>
        <p:spPr bwMode="auto">
          <a:xfrm>
            <a:off x="5662886" y="4083699"/>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86" name="Text Box 6"/>
          <p:cNvSpPr txBox="1">
            <a:spLocks noChangeAspect="1" noChangeArrowheads="1"/>
          </p:cNvSpPr>
          <p:nvPr/>
        </p:nvSpPr>
        <p:spPr bwMode="auto">
          <a:xfrm>
            <a:off x="5681936" y="4521849"/>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rgbClr val="5B6592"/>
                </a:solidFill>
                <a:latin typeface="+mn-lt"/>
                <a:ea typeface="MS PGothic" panose="020B0600070205080204" pitchFamily="34" charset="-128"/>
              </a:rPr>
              <a:t>SMF</a:t>
            </a:r>
            <a:br>
              <a:rPr lang="en-US" altLang="en-US" sz="1400">
                <a:solidFill>
                  <a:srgbClr val="5B6592"/>
                </a:solidFill>
                <a:latin typeface="+mn-lt"/>
                <a:ea typeface="MS PGothic" panose="020B0600070205080204" pitchFamily="34" charset="-128"/>
              </a:rPr>
            </a:br>
            <a:r>
              <a:rPr lang="en-US" altLang="en-US" sz="1400">
                <a:solidFill>
                  <a:srgbClr val="5B6592"/>
                </a:solidFill>
                <a:latin typeface="+mn-lt"/>
                <a:ea typeface="MS PGothic" panose="020B0600070205080204" pitchFamily="34" charset="-128"/>
              </a:rPr>
              <a:t>(CTF) </a:t>
            </a:r>
          </a:p>
        </p:txBody>
      </p:sp>
      <p:sp>
        <p:nvSpPr>
          <p:cNvPr id="187" name="Rectangle 186"/>
          <p:cNvSpPr>
            <a:spLocks noChangeAspect="1" noChangeArrowheads="1"/>
          </p:cNvSpPr>
          <p:nvPr/>
        </p:nvSpPr>
        <p:spPr bwMode="auto">
          <a:xfrm>
            <a:off x="5654948" y="4072587"/>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88" name="Freeform 11"/>
          <p:cNvSpPr>
            <a:spLocks noChangeAspect="1" noEditPoints="1"/>
          </p:cNvSpPr>
          <p:nvPr/>
        </p:nvSpPr>
        <p:spPr bwMode="auto">
          <a:xfrm>
            <a:off x="5654948" y="4074174"/>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latin typeface="+mn-lt"/>
            </a:endParaRPr>
          </a:p>
        </p:txBody>
      </p:sp>
      <p:sp>
        <p:nvSpPr>
          <p:cNvPr id="189" name="AutoShape 4"/>
          <p:cNvSpPr>
            <a:spLocks noChangeAspect="1" noChangeArrowheads="1"/>
          </p:cNvSpPr>
          <p:nvPr/>
        </p:nvSpPr>
        <p:spPr bwMode="auto">
          <a:xfrm>
            <a:off x="4340364" y="3190713"/>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90" name="Oval 189"/>
          <p:cNvSpPr>
            <a:spLocks noChangeAspect="1" noChangeArrowheads="1"/>
          </p:cNvSpPr>
          <p:nvPr/>
        </p:nvSpPr>
        <p:spPr bwMode="auto">
          <a:xfrm>
            <a:off x="4340364" y="3208175"/>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91" name="Text Box 6"/>
          <p:cNvSpPr txBox="1">
            <a:spLocks noChangeAspect="1" noChangeArrowheads="1"/>
          </p:cNvSpPr>
          <p:nvPr/>
        </p:nvSpPr>
        <p:spPr bwMode="auto">
          <a:xfrm>
            <a:off x="4340364" y="3414550"/>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rgbClr val="5B6592"/>
                </a:solidFill>
                <a:latin typeface="+mn-lt"/>
                <a:ea typeface="MS PGothic" panose="020B0600070205080204" pitchFamily="34" charset="-128"/>
              </a:rPr>
              <a:t>UDM </a:t>
            </a:r>
          </a:p>
        </p:txBody>
      </p:sp>
      <p:sp>
        <p:nvSpPr>
          <p:cNvPr id="192" name="Rectangle 191"/>
          <p:cNvSpPr>
            <a:spLocks noChangeAspect="1" noChangeArrowheads="1"/>
          </p:cNvSpPr>
          <p:nvPr/>
        </p:nvSpPr>
        <p:spPr bwMode="auto">
          <a:xfrm>
            <a:off x="4340364" y="2946238"/>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solidFill>
                <a:srgbClr val="5B6592"/>
              </a:solidFill>
              <a:latin typeface="+mn-lt"/>
            </a:endParaRPr>
          </a:p>
        </p:txBody>
      </p:sp>
      <p:sp>
        <p:nvSpPr>
          <p:cNvPr id="193" name="Freeform 11"/>
          <p:cNvSpPr>
            <a:spLocks noChangeAspect="1" noEditPoints="1"/>
          </p:cNvSpPr>
          <p:nvPr/>
        </p:nvSpPr>
        <p:spPr bwMode="auto">
          <a:xfrm>
            <a:off x="4340364" y="2946238"/>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latin typeface="+mn-lt"/>
            </a:endParaRPr>
          </a:p>
        </p:txBody>
      </p:sp>
      <p:grpSp>
        <p:nvGrpSpPr>
          <p:cNvPr id="206" name="Group 205"/>
          <p:cNvGrpSpPr/>
          <p:nvPr/>
        </p:nvGrpSpPr>
        <p:grpSpPr>
          <a:xfrm>
            <a:off x="6494781" y="5173748"/>
            <a:ext cx="576263" cy="825500"/>
            <a:chOff x="4387997" y="4462418"/>
            <a:chExt cx="576263" cy="825500"/>
          </a:xfrm>
        </p:grpSpPr>
        <p:sp>
          <p:nvSpPr>
            <p:cNvPr id="195" name="AutoShape 10"/>
            <p:cNvSpPr>
              <a:spLocks noChangeAspect="1" noChangeArrowheads="1"/>
            </p:cNvSpPr>
            <p:nvPr/>
          </p:nvSpPr>
          <p:spPr bwMode="auto">
            <a:xfrm>
              <a:off x="4399110" y="4697368"/>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196" name="Oval 11"/>
            <p:cNvSpPr>
              <a:spLocks noChangeAspect="1" noChangeArrowheads="1"/>
            </p:cNvSpPr>
            <p:nvPr/>
          </p:nvSpPr>
          <p:spPr bwMode="auto">
            <a:xfrm>
              <a:off x="4395935" y="4473530"/>
              <a:ext cx="558800" cy="563563"/>
            </a:xfrm>
            <a:prstGeom prst="ellipse">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197" name="Text Box 12"/>
            <p:cNvSpPr txBox="1">
              <a:spLocks noChangeAspect="1" noChangeArrowheads="1"/>
            </p:cNvSpPr>
            <p:nvPr/>
          </p:nvSpPr>
          <p:spPr bwMode="auto">
            <a:xfrm>
              <a:off x="4414985" y="4911680"/>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0"/>
                </a:spcBef>
                <a:buClrTx/>
                <a:buFontTx/>
                <a:buNone/>
              </a:pPr>
              <a:r>
                <a:rPr lang="en-US" altLang="en-US" sz="1400">
                  <a:solidFill>
                    <a:srgbClr val="5B6592"/>
                  </a:solidFill>
                  <a:latin typeface="+mn-lt"/>
                  <a:ea typeface="MS PGothic" panose="020B0600070205080204" pitchFamily="34" charset="-128"/>
                  <a:cs typeface="MS PGothic" panose="020B0600070205080204" pitchFamily="34" charset="-128"/>
                </a:rPr>
                <a:t>UPF </a:t>
              </a:r>
            </a:p>
          </p:txBody>
        </p:sp>
        <p:sp>
          <p:nvSpPr>
            <p:cNvPr id="198" name="Rectangle 13"/>
            <p:cNvSpPr>
              <a:spLocks noChangeAspect="1" noChangeArrowheads="1"/>
            </p:cNvSpPr>
            <p:nvPr/>
          </p:nvSpPr>
          <p:spPr bwMode="auto">
            <a:xfrm>
              <a:off x="4387997" y="4462418"/>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199" name="Freeform 11"/>
            <p:cNvSpPr>
              <a:spLocks noChangeAspect="1" noEditPoints="1"/>
            </p:cNvSpPr>
            <p:nvPr/>
          </p:nvSpPr>
          <p:spPr bwMode="auto">
            <a:xfrm>
              <a:off x="4387997" y="4462418"/>
              <a:ext cx="576263" cy="82391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latin typeface="+mn-lt"/>
              </a:endParaRPr>
            </a:p>
          </p:txBody>
        </p:sp>
      </p:grpSp>
      <p:grpSp>
        <p:nvGrpSpPr>
          <p:cNvPr id="205" name="Group 204"/>
          <p:cNvGrpSpPr/>
          <p:nvPr/>
        </p:nvGrpSpPr>
        <p:grpSpPr>
          <a:xfrm>
            <a:off x="4881175" y="5173748"/>
            <a:ext cx="576263" cy="825500"/>
            <a:chOff x="4540397" y="4614818"/>
            <a:chExt cx="576263" cy="825500"/>
          </a:xfrm>
        </p:grpSpPr>
        <p:sp>
          <p:nvSpPr>
            <p:cNvPr id="200" name="AutoShape 10"/>
            <p:cNvSpPr>
              <a:spLocks noChangeAspect="1" noChangeArrowheads="1"/>
            </p:cNvSpPr>
            <p:nvPr/>
          </p:nvSpPr>
          <p:spPr bwMode="auto">
            <a:xfrm>
              <a:off x="4551510" y="4849768"/>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201" name="Oval 11"/>
            <p:cNvSpPr>
              <a:spLocks noChangeAspect="1" noChangeArrowheads="1"/>
            </p:cNvSpPr>
            <p:nvPr/>
          </p:nvSpPr>
          <p:spPr bwMode="auto">
            <a:xfrm>
              <a:off x="4548335" y="4625930"/>
              <a:ext cx="558800" cy="563563"/>
            </a:xfrm>
            <a:prstGeom prst="ellipse">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202" name="Text Box 12"/>
            <p:cNvSpPr txBox="1">
              <a:spLocks noChangeAspect="1" noChangeArrowheads="1"/>
            </p:cNvSpPr>
            <p:nvPr/>
          </p:nvSpPr>
          <p:spPr bwMode="auto">
            <a:xfrm>
              <a:off x="4567385" y="5064080"/>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0"/>
                </a:spcBef>
                <a:buClrTx/>
                <a:buFontTx/>
                <a:buNone/>
              </a:pPr>
              <a:r>
                <a:rPr lang="en-US" altLang="en-US" sz="1400">
                  <a:solidFill>
                    <a:srgbClr val="5B6592"/>
                  </a:solidFill>
                  <a:latin typeface="+mn-lt"/>
                  <a:ea typeface="MS PGothic" panose="020B0600070205080204" pitchFamily="34" charset="-128"/>
                  <a:cs typeface="MS PGothic" panose="020B0600070205080204" pitchFamily="34" charset="-128"/>
                </a:rPr>
                <a:t>UPF </a:t>
              </a:r>
            </a:p>
          </p:txBody>
        </p:sp>
        <p:sp>
          <p:nvSpPr>
            <p:cNvPr id="203" name="Rectangle 13"/>
            <p:cNvSpPr>
              <a:spLocks noChangeAspect="1" noChangeArrowheads="1"/>
            </p:cNvSpPr>
            <p:nvPr/>
          </p:nvSpPr>
          <p:spPr bwMode="auto">
            <a:xfrm>
              <a:off x="4540397" y="4614818"/>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endParaRPr lang="sv-SE" altLang="en-US" sz="2000">
                <a:solidFill>
                  <a:srgbClr val="5B6592"/>
                </a:solidFill>
                <a:latin typeface="+mn-lt"/>
              </a:endParaRPr>
            </a:p>
          </p:txBody>
        </p:sp>
        <p:sp>
          <p:nvSpPr>
            <p:cNvPr id="204" name="Freeform 11"/>
            <p:cNvSpPr>
              <a:spLocks noChangeAspect="1" noEditPoints="1"/>
            </p:cNvSpPr>
            <p:nvPr/>
          </p:nvSpPr>
          <p:spPr bwMode="auto">
            <a:xfrm>
              <a:off x="4540397" y="4614818"/>
              <a:ext cx="576263" cy="82391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latin typeface="+mn-lt"/>
              </a:endParaRPr>
            </a:p>
          </p:txBody>
        </p:sp>
      </p:grpSp>
      <p:sp>
        <p:nvSpPr>
          <p:cNvPr id="242" name="TextBox 241"/>
          <p:cNvSpPr txBox="1"/>
          <p:nvPr/>
        </p:nvSpPr>
        <p:spPr>
          <a:xfrm>
            <a:off x="627889" y="2152992"/>
            <a:ext cx="3699125" cy="1323439"/>
          </a:xfrm>
          <a:prstGeom prst="rect">
            <a:avLst/>
          </a:prstGeom>
          <a:noFill/>
        </p:spPr>
        <p:txBody>
          <a:bodyPr wrap="square" rtlCol="0">
            <a:spAutoFit/>
          </a:bodyPr>
          <a:lstStyle/>
          <a:p>
            <a:pPr>
              <a:spcBef>
                <a:spcPts val="0"/>
              </a:spcBef>
            </a:pPr>
            <a:r>
              <a:rPr lang="en-US" sz="1600" kern="0">
                <a:latin typeface="+mn-lt"/>
              </a:rPr>
              <a:t>Simplified interface</a:t>
            </a:r>
            <a:r>
              <a:rPr lang="en-GB" sz="1600">
                <a:latin typeface="+mn-lt"/>
              </a:rPr>
              <a:t>:</a:t>
            </a:r>
            <a:r>
              <a:rPr lang="en-US" sz="1600" kern="0">
                <a:latin typeface="+mn-lt"/>
              </a:rPr>
              <a:t> </a:t>
            </a:r>
            <a:br>
              <a:rPr lang="en-US" sz="1600" kern="0">
                <a:latin typeface="+mn-lt"/>
              </a:rPr>
            </a:br>
            <a:r>
              <a:rPr lang="en-US" sz="1600" kern="0">
                <a:latin typeface="+mn-lt"/>
              </a:rPr>
              <a:t>        </a:t>
            </a:r>
            <a:r>
              <a:rPr lang="en-GB" sz="1600">
                <a:latin typeface="+mn-lt"/>
              </a:rPr>
              <a:t>-</a:t>
            </a:r>
            <a:r>
              <a:rPr lang="en-US" sz="1600" kern="0">
                <a:latin typeface="+mn-lt"/>
              </a:rPr>
              <a:t> Charging event based </a:t>
            </a:r>
            <a:br>
              <a:rPr lang="en-US" sz="1600" kern="0">
                <a:latin typeface="+mn-lt"/>
              </a:rPr>
            </a:br>
            <a:r>
              <a:rPr lang="en-US" sz="1600" kern="0">
                <a:latin typeface="+mn-lt"/>
              </a:rPr>
              <a:t>           service interface (3GPP Rel-15)</a:t>
            </a:r>
          </a:p>
          <a:p>
            <a:pPr>
              <a:spcBef>
                <a:spcPts val="0"/>
              </a:spcBef>
            </a:pPr>
            <a:r>
              <a:rPr lang="en-US" sz="1600">
                <a:latin typeface="+mn-lt"/>
              </a:rPr>
              <a:t>            -Convergent Charging</a:t>
            </a:r>
          </a:p>
          <a:p>
            <a:pPr>
              <a:spcBef>
                <a:spcPts val="0"/>
              </a:spcBef>
            </a:pPr>
            <a:r>
              <a:rPr lang="en-US" sz="1600">
                <a:latin typeface="+mn-lt"/>
              </a:rPr>
              <a:t>            -Spending limits</a:t>
            </a:r>
          </a:p>
        </p:txBody>
      </p:sp>
      <p:cxnSp>
        <p:nvCxnSpPr>
          <p:cNvPr id="243" name="Straight Connector 242"/>
          <p:cNvCxnSpPr>
            <a:cxnSpLocks/>
          </p:cNvCxnSpPr>
          <p:nvPr/>
        </p:nvCxnSpPr>
        <p:spPr bwMode="auto">
          <a:xfrm flipH="1" flipV="1">
            <a:off x="2590800" y="2347357"/>
            <a:ext cx="3477322" cy="815568"/>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1" name="TextBox 250"/>
          <p:cNvSpPr txBox="1"/>
          <p:nvPr/>
        </p:nvSpPr>
        <p:spPr>
          <a:xfrm>
            <a:off x="5915137" y="2981865"/>
            <a:ext cx="274434" cy="400110"/>
          </a:xfrm>
          <a:prstGeom prst="rect">
            <a:avLst/>
          </a:prstGeom>
          <a:noFill/>
        </p:spPr>
        <p:txBody>
          <a:bodyPr wrap="square" rtlCol="0">
            <a:spAutoFit/>
          </a:bodyPr>
          <a:lstStyle/>
          <a:p>
            <a:r>
              <a:rPr lang="en-US" kern="0">
                <a:latin typeface="+mn-lt"/>
              </a:rPr>
              <a:t>•</a:t>
            </a:r>
            <a:endParaRPr lang="en-US">
              <a:latin typeface="+mn-lt"/>
            </a:endParaRPr>
          </a:p>
        </p:txBody>
      </p:sp>
      <p:sp>
        <p:nvSpPr>
          <p:cNvPr id="272" name="TextBox 271"/>
          <p:cNvSpPr txBox="1"/>
          <p:nvPr/>
        </p:nvSpPr>
        <p:spPr>
          <a:xfrm>
            <a:off x="7421756" y="1757287"/>
            <a:ext cx="4221284" cy="830997"/>
          </a:xfrm>
          <a:prstGeom prst="rect">
            <a:avLst/>
          </a:prstGeom>
          <a:noFill/>
        </p:spPr>
        <p:txBody>
          <a:bodyPr wrap="none" rtlCol="0">
            <a:spAutoFit/>
          </a:bodyPr>
          <a:lstStyle/>
          <a:p>
            <a:pPr>
              <a:spcBef>
                <a:spcPts val="0"/>
              </a:spcBef>
            </a:pPr>
            <a:r>
              <a:rPr lang="en-GB" sz="1600">
                <a:latin typeface="+mn-lt"/>
              </a:rPr>
              <a:t>Aligned business support:</a:t>
            </a:r>
          </a:p>
          <a:p>
            <a:pPr marL="700087" lvl="1" indent="-342900">
              <a:spcBef>
                <a:spcPts val="0"/>
              </a:spcBef>
            </a:pPr>
            <a:r>
              <a:rPr lang="en-US" sz="1600">
                <a:latin typeface="+mn-lt"/>
              </a:rPr>
              <a:t>- Ease of service/offering deployment</a:t>
            </a:r>
          </a:p>
          <a:p>
            <a:pPr marL="700087" lvl="1" indent="-342900">
              <a:spcBef>
                <a:spcPts val="0"/>
              </a:spcBef>
            </a:pPr>
            <a:r>
              <a:rPr lang="en-US" sz="1600">
                <a:latin typeface="+mn-lt"/>
              </a:rPr>
              <a:t>- Efficient business handling of offerings </a:t>
            </a:r>
          </a:p>
        </p:txBody>
      </p:sp>
      <p:sp>
        <p:nvSpPr>
          <p:cNvPr id="283" name="TextBox 282"/>
          <p:cNvSpPr txBox="1"/>
          <p:nvPr/>
        </p:nvSpPr>
        <p:spPr>
          <a:xfrm>
            <a:off x="122323" y="3669085"/>
            <a:ext cx="3608039" cy="830997"/>
          </a:xfrm>
          <a:prstGeom prst="rect">
            <a:avLst/>
          </a:prstGeom>
          <a:noFill/>
        </p:spPr>
        <p:txBody>
          <a:bodyPr wrap="none" rtlCol="0">
            <a:spAutoFit/>
          </a:bodyPr>
          <a:lstStyle/>
          <a:p>
            <a:r>
              <a:rPr lang="en-GB" sz="1600">
                <a:latin typeface="+mn-lt"/>
              </a:rPr>
              <a:t>Chargeable account identification:</a:t>
            </a:r>
            <a:br>
              <a:rPr lang="en-GB" sz="1600">
                <a:latin typeface="+mn-lt"/>
              </a:rPr>
            </a:br>
            <a:r>
              <a:rPr lang="en-GB" sz="1600">
                <a:latin typeface="+mn-lt"/>
              </a:rPr>
              <a:t>     - 5G notion of subscriber identity </a:t>
            </a:r>
            <a:br>
              <a:rPr lang="en-GB" sz="1600">
                <a:latin typeface="+mn-lt"/>
              </a:rPr>
            </a:br>
            <a:r>
              <a:rPr lang="en-GB" sz="1600">
                <a:latin typeface="+mn-lt"/>
              </a:rPr>
              <a:t>       to allow "any" identity </a:t>
            </a:r>
            <a:endParaRPr lang="en-US" sz="1600">
              <a:latin typeface="+mn-lt"/>
            </a:endParaRPr>
          </a:p>
        </p:txBody>
      </p:sp>
      <p:sp>
        <p:nvSpPr>
          <p:cNvPr id="286" name="TextBox 285"/>
          <p:cNvSpPr txBox="1"/>
          <p:nvPr/>
        </p:nvSpPr>
        <p:spPr>
          <a:xfrm flipH="1" flipV="1">
            <a:off x="4373515" y="3018545"/>
            <a:ext cx="211361" cy="400110"/>
          </a:xfrm>
          <a:prstGeom prst="rect">
            <a:avLst/>
          </a:prstGeom>
          <a:noFill/>
        </p:spPr>
        <p:txBody>
          <a:bodyPr wrap="square" rtlCol="0">
            <a:spAutoFit/>
          </a:bodyPr>
          <a:lstStyle/>
          <a:p>
            <a:r>
              <a:rPr lang="en-US" kern="0">
                <a:latin typeface="+mn-lt"/>
              </a:rPr>
              <a:t>•</a:t>
            </a:r>
            <a:endParaRPr lang="en-US">
              <a:latin typeface="+mn-lt"/>
            </a:endParaRPr>
          </a:p>
        </p:txBody>
      </p:sp>
      <p:sp>
        <p:nvSpPr>
          <p:cNvPr id="287" name="TextBox 286"/>
          <p:cNvSpPr txBox="1"/>
          <p:nvPr/>
        </p:nvSpPr>
        <p:spPr>
          <a:xfrm>
            <a:off x="590160" y="5168398"/>
            <a:ext cx="3701440" cy="830997"/>
          </a:xfrm>
          <a:prstGeom prst="rect">
            <a:avLst/>
          </a:prstGeom>
          <a:noFill/>
        </p:spPr>
        <p:txBody>
          <a:bodyPr wrap="square" rtlCol="0">
            <a:spAutoFit/>
          </a:bodyPr>
          <a:lstStyle/>
          <a:p>
            <a:pPr>
              <a:spcBef>
                <a:spcPts val="0"/>
              </a:spcBef>
            </a:pPr>
            <a:r>
              <a:rPr lang="en-GB" sz="1600">
                <a:latin typeface="+mn-lt"/>
              </a:rPr>
              <a:t>Slice-specific charging:</a:t>
            </a:r>
          </a:p>
          <a:p>
            <a:pPr>
              <a:spcBef>
                <a:spcPts val="0"/>
              </a:spcBef>
            </a:pPr>
            <a:r>
              <a:rPr lang="en-GB" sz="1600">
                <a:latin typeface="+mn-lt"/>
              </a:rPr>
              <a:t>     - Differentiated pricing of </a:t>
            </a:r>
            <a:br>
              <a:rPr lang="en-GB" sz="1600">
                <a:latin typeface="+mn-lt"/>
              </a:rPr>
            </a:br>
            <a:r>
              <a:rPr lang="en-GB" sz="1600">
                <a:latin typeface="+mn-lt"/>
              </a:rPr>
              <a:t>       tailored slices</a:t>
            </a:r>
            <a:endParaRPr lang="en-US" sz="1600">
              <a:latin typeface="+mn-lt"/>
            </a:endParaRPr>
          </a:p>
        </p:txBody>
      </p:sp>
      <p:sp>
        <p:nvSpPr>
          <p:cNvPr id="291" name="TextBox 290"/>
          <p:cNvSpPr txBox="1"/>
          <p:nvPr/>
        </p:nvSpPr>
        <p:spPr>
          <a:xfrm>
            <a:off x="5576527" y="4531964"/>
            <a:ext cx="258419" cy="400110"/>
          </a:xfrm>
          <a:prstGeom prst="rect">
            <a:avLst/>
          </a:prstGeom>
          <a:noFill/>
        </p:spPr>
        <p:txBody>
          <a:bodyPr wrap="square" rtlCol="0">
            <a:spAutoFit/>
          </a:bodyPr>
          <a:lstStyle/>
          <a:p>
            <a:r>
              <a:rPr lang="en-US" kern="0">
                <a:latin typeface="+mn-lt"/>
              </a:rPr>
              <a:t>•</a:t>
            </a:r>
            <a:endParaRPr lang="en-US">
              <a:latin typeface="+mn-lt"/>
            </a:endParaRPr>
          </a:p>
        </p:txBody>
      </p:sp>
      <p:cxnSp>
        <p:nvCxnSpPr>
          <p:cNvPr id="292" name="Straight Connector 291"/>
          <p:cNvCxnSpPr>
            <a:cxnSpLocks/>
          </p:cNvCxnSpPr>
          <p:nvPr/>
        </p:nvCxnSpPr>
        <p:spPr bwMode="auto">
          <a:xfrm flipV="1">
            <a:off x="3437660" y="4743606"/>
            <a:ext cx="2273688" cy="638105"/>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13" name="TextBox 312"/>
          <p:cNvSpPr txBox="1"/>
          <p:nvPr/>
        </p:nvSpPr>
        <p:spPr>
          <a:xfrm>
            <a:off x="6025752" y="4352784"/>
            <a:ext cx="274434" cy="400110"/>
          </a:xfrm>
          <a:prstGeom prst="rect">
            <a:avLst/>
          </a:prstGeom>
          <a:noFill/>
        </p:spPr>
        <p:txBody>
          <a:bodyPr wrap="none" rtlCol="0">
            <a:spAutoFit/>
          </a:bodyPr>
          <a:lstStyle/>
          <a:p>
            <a:r>
              <a:rPr lang="en-US" kern="0">
                <a:latin typeface="+mn-lt"/>
              </a:rPr>
              <a:t>•</a:t>
            </a:r>
            <a:endParaRPr lang="en-US">
              <a:latin typeface="+mn-lt"/>
            </a:endParaRPr>
          </a:p>
        </p:txBody>
      </p:sp>
      <p:cxnSp>
        <p:nvCxnSpPr>
          <p:cNvPr id="333" name="Straight Connector 332"/>
          <p:cNvCxnSpPr>
            <a:cxnSpLocks/>
          </p:cNvCxnSpPr>
          <p:nvPr/>
        </p:nvCxnSpPr>
        <p:spPr bwMode="auto">
          <a:xfrm>
            <a:off x="5447913" y="5623010"/>
            <a:ext cx="1057981"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36" name="Text Box 144"/>
          <p:cNvSpPr txBox="1">
            <a:spLocks noChangeAspect="1" noChangeArrowheads="1"/>
          </p:cNvSpPr>
          <p:nvPr/>
        </p:nvSpPr>
        <p:spPr bwMode="auto">
          <a:xfrm>
            <a:off x="5539899" y="5669056"/>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9</a:t>
            </a:r>
          </a:p>
        </p:txBody>
      </p:sp>
      <p:sp>
        <p:nvSpPr>
          <p:cNvPr id="337" name="Cloud 336"/>
          <p:cNvSpPr/>
          <p:nvPr/>
        </p:nvSpPr>
        <p:spPr bwMode="auto">
          <a:xfrm>
            <a:off x="4613684" y="6227841"/>
            <a:ext cx="1078404" cy="376035"/>
          </a:xfrm>
          <a:prstGeom prst="cloud">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sp>
        <p:nvSpPr>
          <p:cNvPr id="338" name="Cloud 337"/>
          <p:cNvSpPr/>
          <p:nvPr/>
        </p:nvSpPr>
        <p:spPr bwMode="auto">
          <a:xfrm>
            <a:off x="6277149" y="6241516"/>
            <a:ext cx="1078404" cy="376035"/>
          </a:xfrm>
          <a:prstGeom prst="cloud">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mn-lt"/>
            </a:endParaRPr>
          </a:p>
        </p:txBody>
      </p:sp>
      <p:cxnSp>
        <p:nvCxnSpPr>
          <p:cNvPr id="339" name="Straight Connector 338"/>
          <p:cNvCxnSpPr>
            <a:cxnSpLocks/>
            <a:endCxn id="337" idx="3"/>
          </p:cNvCxnSpPr>
          <p:nvPr/>
        </p:nvCxnSpPr>
        <p:spPr bwMode="auto">
          <a:xfrm>
            <a:off x="5152886" y="6008772"/>
            <a:ext cx="0" cy="24056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43" name="Straight Connector 342"/>
          <p:cNvCxnSpPr>
            <a:cxnSpLocks/>
          </p:cNvCxnSpPr>
          <p:nvPr/>
        </p:nvCxnSpPr>
        <p:spPr bwMode="auto">
          <a:xfrm>
            <a:off x="6783292" y="6000947"/>
            <a:ext cx="0" cy="24056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44" name="Text Box 144"/>
          <p:cNvSpPr txBox="1">
            <a:spLocks noChangeAspect="1" noChangeArrowheads="1"/>
          </p:cNvSpPr>
          <p:nvPr/>
        </p:nvSpPr>
        <p:spPr bwMode="auto">
          <a:xfrm>
            <a:off x="4908163" y="6064486"/>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6</a:t>
            </a:r>
          </a:p>
        </p:txBody>
      </p:sp>
      <p:sp>
        <p:nvSpPr>
          <p:cNvPr id="345" name="Text Box 144"/>
          <p:cNvSpPr txBox="1">
            <a:spLocks noChangeAspect="1" noChangeArrowheads="1"/>
          </p:cNvSpPr>
          <p:nvPr/>
        </p:nvSpPr>
        <p:spPr bwMode="auto">
          <a:xfrm>
            <a:off x="6534792" y="6062104"/>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latin typeface="+mn-lt"/>
              </a:rPr>
              <a:t>N6</a:t>
            </a:r>
          </a:p>
        </p:txBody>
      </p:sp>
      <p:sp>
        <p:nvSpPr>
          <p:cNvPr id="348" name="TextBox 347"/>
          <p:cNvSpPr txBox="1"/>
          <p:nvPr/>
        </p:nvSpPr>
        <p:spPr>
          <a:xfrm>
            <a:off x="4947657" y="6252396"/>
            <a:ext cx="479618" cy="338554"/>
          </a:xfrm>
          <a:prstGeom prst="rect">
            <a:avLst/>
          </a:prstGeom>
          <a:noFill/>
        </p:spPr>
        <p:txBody>
          <a:bodyPr wrap="none" rtlCol="0">
            <a:spAutoFit/>
          </a:bodyPr>
          <a:lstStyle/>
          <a:p>
            <a:r>
              <a:rPr lang="en-US" sz="1600">
                <a:latin typeface="+mn-lt"/>
              </a:rPr>
              <a:t>DN</a:t>
            </a:r>
          </a:p>
        </p:txBody>
      </p:sp>
      <p:sp>
        <p:nvSpPr>
          <p:cNvPr id="349" name="TextBox 348"/>
          <p:cNvSpPr txBox="1"/>
          <p:nvPr/>
        </p:nvSpPr>
        <p:spPr>
          <a:xfrm>
            <a:off x="6577066" y="6245616"/>
            <a:ext cx="479618" cy="338554"/>
          </a:xfrm>
          <a:prstGeom prst="rect">
            <a:avLst/>
          </a:prstGeom>
          <a:noFill/>
        </p:spPr>
        <p:txBody>
          <a:bodyPr wrap="none" rtlCol="0">
            <a:spAutoFit/>
          </a:bodyPr>
          <a:lstStyle/>
          <a:p>
            <a:r>
              <a:rPr lang="en-US" sz="1600">
                <a:latin typeface="+mn-lt"/>
              </a:rPr>
              <a:t>DN</a:t>
            </a:r>
          </a:p>
        </p:txBody>
      </p:sp>
      <p:sp>
        <p:nvSpPr>
          <p:cNvPr id="350" name="TextBox 349"/>
          <p:cNvSpPr txBox="1"/>
          <p:nvPr/>
        </p:nvSpPr>
        <p:spPr>
          <a:xfrm>
            <a:off x="8544342" y="3673360"/>
            <a:ext cx="3138321" cy="1077218"/>
          </a:xfrm>
          <a:prstGeom prst="rect">
            <a:avLst/>
          </a:prstGeom>
          <a:noFill/>
        </p:spPr>
        <p:txBody>
          <a:bodyPr wrap="square" rtlCol="0">
            <a:spAutoFit/>
          </a:bodyPr>
          <a:lstStyle/>
          <a:p>
            <a:r>
              <a:rPr lang="en-GB" sz="1600">
                <a:latin typeface="+mn-lt"/>
              </a:rPr>
              <a:t>Multi path measurements:</a:t>
            </a:r>
            <a:br>
              <a:rPr lang="en-GB" sz="1600">
                <a:latin typeface="+mn-lt"/>
              </a:rPr>
            </a:br>
            <a:r>
              <a:rPr lang="en-GB" sz="1600">
                <a:latin typeface="+mn-lt"/>
              </a:rPr>
              <a:t>     - Usage measurements over   </a:t>
            </a:r>
            <a:br>
              <a:rPr lang="en-GB" sz="1600">
                <a:latin typeface="+mn-lt"/>
              </a:rPr>
            </a:br>
            <a:r>
              <a:rPr lang="en-GB" sz="1600">
                <a:latin typeface="+mn-lt"/>
              </a:rPr>
              <a:t>        multi UPFs controlled by </a:t>
            </a:r>
            <a:br>
              <a:rPr lang="en-GB" sz="1600">
                <a:latin typeface="+mn-lt"/>
              </a:rPr>
            </a:br>
            <a:r>
              <a:rPr lang="en-GB" sz="1600">
                <a:latin typeface="+mn-lt"/>
              </a:rPr>
              <a:t>        SMF</a:t>
            </a:r>
            <a:endParaRPr lang="en-US" sz="1600">
              <a:latin typeface="+mn-lt"/>
            </a:endParaRPr>
          </a:p>
        </p:txBody>
      </p:sp>
      <p:sp>
        <p:nvSpPr>
          <p:cNvPr id="358" name="TextBox 357"/>
          <p:cNvSpPr txBox="1"/>
          <p:nvPr/>
        </p:nvSpPr>
        <p:spPr>
          <a:xfrm>
            <a:off x="6034185" y="4597292"/>
            <a:ext cx="274434" cy="400110"/>
          </a:xfrm>
          <a:prstGeom prst="rect">
            <a:avLst/>
          </a:prstGeom>
          <a:noFill/>
        </p:spPr>
        <p:txBody>
          <a:bodyPr wrap="none" rtlCol="0">
            <a:spAutoFit/>
          </a:bodyPr>
          <a:lstStyle/>
          <a:p>
            <a:r>
              <a:rPr lang="en-US" kern="0">
                <a:latin typeface="+mn-lt"/>
              </a:rPr>
              <a:t>•</a:t>
            </a:r>
            <a:endParaRPr lang="en-US">
              <a:latin typeface="+mn-lt"/>
            </a:endParaRPr>
          </a:p>
        </p:txBody>
      </p:sp>
      <p:sp>
        <p:nvSpPr>
          <p:cNvPr id="359" name="TextBox 358"/>
          <p:cNvSpPr txBox="1"/>
          <p:nvPr/>
        </p:nvSpPr>
        <p:spPr>
          <a:xfrm>
            <a:off x="8263078" y="5137769"/>
            <a:ext cx="3804247" cy="1323439"/>
          </a:xfrm>
          <a:prstGeom prst="rect">
            <a:avLst/>
          </a:prstGeom>
          <a:noFill/>
        </p:spPr>
        <p:txBody>
          <a:bodyPr wrap="none" rtlCol="0">
            <a:spAutoFit/>
          </a:bodyPr>
          <a:lstStyle/>
          <a:p>
            <a:pPr>
              <a:spcBef>
                <a:spcPts val="0"/>
              </a:spcBef>
            </a:pPr>
            <a:r>
              <a:rPr lang="en-GB" sz="1600">
                <a:latin typeface="+mn-lt"/>
              </a:rPr>
              <a:t>Connection and service centric </a:t>
            </a:r>
            <a:br>
              <a:rPr lang="en-GB" sz="1600">
                <a:latin typeface="+mn-lt"/>
              </a:rPr>
            </a:br>
            <a:r>
              <a:rPr lang="en-GB" sz="1600">
                <a:latin typeface="+mn-lt"/>
              </a:rPr>
              <a:t>charging:</a:t>
            </a:r>
          </a:p>
          <a:p>
            <a:pPr>
              <a:spcBef>
                <a:spcPts val="0"/>
              </a:spcBef>
            </a:pPr>
            <a:r>
              <a:rPr lang="en-US" sz="1600" kern="0">
                <a:latin typeface="+mn-lt"/>
              </a:rPr>
              <a:t>    - </a:t>
            </a:r>
            <a:r>
              <a:rPr lang="en-US" sz="1600">
                <a:latin typeface="+mn-lt"/>
              </a:rPr>
              <a:t>End-user or specific account based </a:t>
            </a:r>
            <a:br>
              <a:rPr lang="en-US" sz="1600">
                <a:latin typeface="+mn-lt"/>
              </a:rPr>
            </a:br>
            <a:r>
              <a:rPr lang="en-US" sz="1600">
                <a:latin typeface="+mn-lt"/>
              </a:rPr>
              <a:t>      charging</a:t>
            </a:r>
            <a:br>
              <a:rPr lang="en-US" sz="1600">
                <a:latin typeface="+mn-lt"/>
              </a:rPr>
            </a:br>
            <a:r>
              <a:rPr lang="en-US" sz="1600">
                <a:latin typeface="+mn-lt"/>
              </a:rPr>
              <a:t>    - Inter-operator settlement</a:t>
            </a:r>
            <a:endParaRPr lang="en-US" sz="1600" kern="0">
              <a:latin typeface="+mn-lt"/>
            </a:endParaRPr>
          </a:p>
        </p:txBody>
      </p:sp>
      <p:cxnSp>
        <p:nvCxnSpPr>
          <p:cNvPr id="284" name="Straight Connector 283"/>
          <p:cNvCxnSpPr>
            <a:cxnSpLocks/>
          </p:cNvCxnSpPr>
          <p:nvPr/>
        </p:nvCxnSpPr>
        <p:spPr bwMode="auto">
          <a:xfrm flipH="1">
            <a:off x="3632477" y="3203106"/>
            <a:ext cx="782136" cy="44057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68" name="Straight Connector 367"/>
          <p:cNvCxnSpPr>
            <a:cxnSpLocks/>
          </p:cNvCxnSpPr>
          <p:nvPr/>
        </p:nvCxnSpPr>
        <p:spPr bwMode="auto">
          <a:xfrm flipH="1" flipV="1">
            <a:off x="6171482" y="4798141"/>
            <a:ext cx="2025099" cy="51213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05" name="TextBox 104"/>
          <p:cNvSpPr txBox="1"/>
          <p:nvPr/>
        </p:nvSpPr>
        <p:spPr>
          <a:xfrm>
            <a:off x="4905759" y="1498684"/>
            <a:ext cx="1778051" cy="338554"/>
          </a:xfrm>
          <a:prstGeom prst="rect">
            <a:avLst/>
          </a:prstGeom>
          <a:noFill/>
        </p:spPr>
        <p:txBody>
          <a:bodyPr wrap="none" rtlCol="0">
            <a:spAutoFit/>
          </a:bodyPr>
          <a:lstStyle/>
          <a:p>
            <a:r>
              <a:rPr lang="sv-SE" sz="1600" err="1">
                <a:latin typeface="+mn-lt"/>
              </a:rPr>
              <a:t>Charging</a:t>
            </a:r>
            <a:r>
              <a:rPr lang="sv-SE" sz="1600">
                <a:latin typeface="+mn-lt"/>
              </a:rPr>
              <a:t> </a:t>
            </a:r>
            <a:r>
              <a:rPr lang="en-US" sz="1600">
                <a:latin typeface="+mn-lt"/>
              </a:rPr>
              <a:t>Domain</a:t>
            </a:r>
          </a:p>
        </p:txBody>
      </p:sp>
      <p:sp>
        <p:nvSpPr>
          <p:cNvPr id="124" name="TextBox 123"/>
          <p:cNvSpPr txBox="1"/>
          <p:nvPr/>
        </p:nvSpPr>
        <p:spPr>
          <a:xfrm>
            <a:off x="5918312" y="4014583"/>
            <a:ext cx="274434" cy="400110"/>
          </a:xfrm>
          <a:prstGeom prst="rect">
            <a:avLst/>
          </a:prstGeom>
          <a:noFill/>
        </p:spPr>
        <p:txBody>
          <a:bodyPr wrap="none" rtlCol="0">
            <a:spAutoFit/>
          </a:bodyPr>
          <a:lstStyle/>
          <a:p>
            <a:r>
              <a:rPr lang="en-US" kern="0">
                <a:latin typeface="+mn-lt"/>
              </a:rPr>
              <a:t>•</a:t>
            </a:r>
            <a:endParaRPr lang="en-US">
              <a:latin typeface="+mn-lt"/>
            </a:endParaRPr>
          </a:p>
        </p:txBody>
      </p:sp>
      <p:sp>
        <p:nvSpPr>
          <p:cNvPr id="125" name="TextBox 124"/>
          <p:cNvSpPr txBox="1"/>
          <p:nvPr/>
        </p:nvSpPr>
        <p:spPr>
          <a:xfrm>
            <a:off x="6832828" y="2964549"/>
            <a:ext cx="274434" cy="400110"/>
          </a:xfrm>
          <a:prstGeom prst="rect">
            <a:avLst/>
          </a:prstGeom>
          <a:noFill/>
        </p:spPr>
        <p:txBody>
          <a:bodyPr wrap="none" rtlCol="0">
            <a:spAutoFit/>
          </a:bodyPr>
          <a:lstStyle/>
          <a:p>
            <a:r>
              <a:rPr lang="en-US" kern="0">
                <a:latin typeface="+mn-lt"/>
              </a:rPr>
              <a:t>•</a:t>
            </a:r>
            <a:endParaRPr lang="en-US">
              <a:latin typeface="+mn-lt"/>
            </a:endParaRPr>
          </a:p>
        </p:txBody>
      </p:sp>
      <p:cxnSp>
        <p:nvCxnSpPr>
          <p:cNvPr id="131" name="Straight Connector 130"/>
          <p:cNvCxnSpPr>
            <a:cxnSpLocks/>
            <a:endCxn id="272" idx="1"/>
          </p:cNvCxnSpPr>
          <p:nvPr/>
        </p:nvCxnSpPr>
        <p:spPr bwMode="auto">
          <a:xfrm flipV="1">
            <a:off x="6965898" y="2172786"/>
            <a:ext cx="455858" cy="97175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3" name="Straight Connector 132"/>
          <p:cNvCxnSpPr>
            <a:cxnSpLocks/>
            <a:stCxn id="272" idx="1"/>
          </p:cNvCxnSpPr>
          <p:nvPr/>
        </p:nvCxnSpPr>
        <p:spPr bwMode="auto">
          <a:xfrm flipH="1">
            <a:off x="6042833" y="2172786"/>
            <a:ext cx="1378923" cy="2038407"/>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 name="TextBox 1"/>
          <p:cNvSpPr txBox="1"/>
          <p:nvPr/>
        </p:nvSpPr>
        <p:spPr>
          <a:xfrm>
            <a:off x="10165201" y="6611779"/>
            <a:ext cx="2063385" cy="246221"/>
          </a:xfrm>
          <a:prstGeom prst="rect">
            <a:avLst/>
          </a:prstGeom>
          <a:noFill/>
        </p:spPr>
        <p:txBody>
          <a:bodyPr wrap="none" rtlCol="0">
            <a:spAutoFit/>
          </a:bodyPr>
          <a:lstStyle/>
          <a:p>
            <a:r>
              <a:rPr lang="en-US" sz="1000">
                <a:latin typeface="+mn-lt"/>
              </a:rPr>
              <a:t>CTF = Charging Trigger Function</a:t>
            </a:r>
          </a:p>
        </p:txBody>
      </p:sp>
      <p:cxnSp>
        <p:nvCxnSpPr>
          <p:cNvPr id="315" name="Straight Connector 314"/>
          <p:cNvCxnSpPr>
            <a:cxnSpLocks/>
          </p:cNvCxnSpPr>
          <p:nvPr/>
        </p:nvCxnSpPr>
        <p:spPr bwMode="auto">
          <a:xfrm flipH="1">
            <a:off x="6139781" y="4006773"/>
            <a:ext cx="2374399" cy="54447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0F6B1E6B-7810-4A0D-A9A9-DA0387CEB6B6}"/>
              </a:ext>
            </a:extLst>
          </p:cNvPr>
          <p:cNvCxnSpPr>
            <a:cxnSpLocks/>
          </p:cNvCxnSpPr>
          <p:nvPr/>
        </p:nvCxnSpPr>
        <p:spPr bwMode="auto">
          <a:xfrm>
            <a:off x="4311506" y="3931980"/>
            <a:ext cx="3132000" cy="636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98" name="Straight Connector 97">
            <a:extLst>
              <a:ext uri="{FF2B5EF4-FFF2-40B4-BE49-F238E27FC236}">
                <a16:creationId xmlns:a16="http://schemas.microsoft.com/office/drawing/2014/main" id="{37899A99-5E99-4E11-B216-8D0A68616E9F}"/>
              </a:ext>
            </a:extLst>
          </p:cNvPr>
          <p:cNvCxnSpPr>
            <a:cxnSpLocks/>
          </p:cNvCxnSpPr>
          <p:nvPr/>
        </p:nvCxnSpPr>
        <p:spPr bwMode="auto">
          <a:xfrm flipH="1">
            <a:off x="4601760" y="3734919"/>
            <a:ext cx="4229" cy="18000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02" name="Text Box 144">
            <a:extLst>
              <a:ext uri="{FF2B5EF4-FFF2-40B4-BE49-F238E27FC236}">
                <a16:creationId xmlns:a16="http://schemas.microsoft.com/office/drawing/2014/main" id="{9B7F05E6-8356-48BF-8C15-912F1A0AF767}"/>
              </a:ext>
            </a:extLst>
          </p:cNvPr>
          <p:cNvSpPr txBox="1">
            <a:spLocks noChangeAspect="1" noChangeArrowheads="1"/>
          </p:cNvSpPr>
          <p:nvPr/>
        </p:nvSpPr>
        <p:spPr bwMode="auto">
          <a:xfrm>
            <a:off x="3776825" y="3773060"/>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err="1">
                <a:latin typeface="+mn-lt"/>
              </a:rPr>
              <a:t>Nudm</a:t>
            </a:r>
            <a:endParaRPr lang="en-US" altLang="en-US" sz="1400">
              <a:latin typeface="+mn-lt"/>
            </a:endParaRPr>
          </a:p>
        </p:txBody>
      </p:sp>
      <p:cxnSp>
        <p:nvCxnSpPr>
          <p:cNvPr id="106" name="Straight Connector 105">
            <a:extLst>
              <a:ext uri="{FF2B5EF4-FFF2-40B4-BE49-F238E27FC236}">
                <a16:creationId xmlns:a16="http://schemas.microsoft.com/office/drawing/2014/main" id="{A876F47C-6944-41DB-BE92-F04F837F3F5F}"/>
              </a:ext>
            </a:extLst>
          </p:cNvPr>
          <p:cNvCxnSpPr>
            <a:cxnSpLocks/>
          </p:cNvCxnSpPr>
          <p:nvPr/>
        </p:nvCxnSpPr>
        <p:spPr bwMode="auto">
          <a:xfrm flipH="1">
            <a:off x="5896164" y="3924215"/>
            <a:ext cx="4229" cy="180000"/>
          </a:xfrm>
          <a:prstGeom prst="line">
            <a:avLst/>
          </a:prstGeom>
          <a:solidFill>
            <a:schemeClr val="accent1"/>
          </a:solidFill>
          <a:ln w="19050"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1737216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a:t>5GC Network Architecture</a:t>
            </a:r>
            <a:br>
              <a:rPr lang="en-US" altLang="en-US" sz="2800"/>
            </a:br>
            <a:r>
              <a:rPr lang="en-US" altLang="en-US" sz="2800"/>
              <a:t>Key Principles</a:t>
            </a:r>
            <a:endParaRPr lang="en-US" sz="2800"/>
          </a:p>
        </p:txBody>
      </p:sp>
      <p:sp>
        <p:nvSpPr>
          <p:cNvPr id="4" name="Content Placeholder 3">
            <a:extLst>
              <a:ext uri="{FF2B5EF4-FFF2-40B4-BE49-F238E27FC236}">
                <a16:creationId xmlns:a16="http://schemas.microsoft.com/office/drawing/2014/main" id="{D3DD1919-8D80-4B74-9F4A-E09919B957C7}"/>
              </a:ext>
            </a:extLst>
          </p:cNvPr>
          <p:cNvSpPr>
            <a:spLocks noGrp="1"/>
          </p:cNvSpPr>
          <p:nvPr>
            <p:ph sz="quarter" idx="10"/>
          </p:nvPr>
        </p:nvSpPr>
        <p:spPr>
          <a:xfrm>
            <a:off x="479425" y="1844675"/>
            <a:ext cx="11233150" cy="4537075"/>
          </a:xfrm>
        </p:spPr>
        <p:txBody>
          <a:bodyPr/>
          <a:lstStyle/>
          <a:p>
            <a:pPr hangingPunct="0"/>
            <a:r>
              <a:rPr lang="en-US" sz="2400"/>
              <a:t>The 5G core functional architecture supports that implementation technologies can be evolved and replaced over time</a:t>
            </a:r>
          </a:p>
          <a:p>
            <a:pPr lvl="1" hangingPunct="0"/>
            <a:endParaRPr lang="en-US"/>
          </a:p>
          <a:p>
            <a:pPr hangingPunct="0"/>
            <a:r>
              <a:rPr lang="en-US" sz="2400"/>
              <a:t>Key principles:</a:t>
            </a:r>
          </a:p>
          <a:p>
            <a:pPr lvl="2" hangingPunct="0"/>
            <a:r>
              <a:rPr lang="en-US"/>
              <a:t>5GC is </a:t>
            </a:r>
            <a:r>
              <a:rPr lang="en-US" b="1"/>
              <a:t>based on SBA (Service Based Architecture)</a:t>
            </a:r>
          </a:p>
          <a:p>
            <a:pPr lvl="2" hangingPunct="0"/>
            <a:r>
              <a:rPr lang="en-US" kern="1200"/>
              <a:t>Allows for </a:t>
            </a:r>
            <a:r>
              <a:rPr lang="en-US" b="1" kern="1200"/>
              <a:t>different network configurations </a:t>
            </a:r>
            <a:r>
              <a:rPr lang="en-US" kern="1200"/>
              <a:t>in different network slices</a:t>
            </a:r>
          </a:p>
          <a:p>
            <a:pPr lvl="2" hangingPunct="0"/>
            <a:r>
              <a:rPr lang="en-US"/>
              <a:t>Prioritize </a:t>
            </a:r>
            <a:r>
              <a:rPr lang="en-US" b="1"/>
              <a:t>interfaces to support Multi-vendor </a:t>
            </a:r>
            <a:r>
              <a:rPr lang="en-US"/>
              <a:t>integration</a:t>
            </a:r>
          </a:p>
          <a:p>
            <a:pPr lvl="2" hangingPunct="0"/>
            <a:r>
              <a:rPr lang="en-US" b="1"/>
              <a:t>Scale UP and CP </a:t>
            </a:r>
            <a:r>
              <a:rPr lang="en-US"/>
              <a:t>functionality </a:t>
            </a:r>
            <a:r>
              <a:rPr lang="en-US" b="1"/>
              <a:t>independently</a:t>
            </a:r>
          </a:p>
          <a:p>
            <a:pPr lvl="2" hangingPunct="0"/>
            <a:r>
              <a:rPr lang="en-US"/>
              <a:t>Allow for a </a:t>
            </a:r>
            <a:r>
              <a:rPr lang="en-US" b="1"/>
              <a:t>flexible deployment of UP </a:t>
            </a:r>
            <a:r>
              <a:rPr lang="en-US"/>
              <a:t>separate from the CP</a:t>
            </a:r>
          </a:p>
          <a:p>
            <a:pPr lvl="2"/>
            <a:r>
              <a:rPr lang="en-US" kern="1200"/>
              <a:t>Supporting authentication for </a:t>
            </a:r>
            <a:r>
              <a:rPr lang="en-US" b="1" kern="1200"/>
              <a:t>both IMSI-based and non IMSI-based </a:t>
            </a:r>
            <a:r>
              <a:rPr lang="en-US" kern="1200"/>
              <a:t>identities</a:t>
            </a:r>
          </a:p>
          <a:p>
            <a:pPr lvl="2"/>
            <a:r>
              <a:rPr lang="en-US" b="1"/>
              <a:t>Abstract transport layer </a:t>
            </a:r>
            <a:r>
              <a:rPr lang="en-US"/>
              <a:t>from 3GPP NFs</a:t>
            </a:r>
          </a:p>
        </p:txBody>
      </p:sp>
    </p:spTree>
    <p:extLst>
      <p:ext uri="{BB962C8B-B14F-4D97-AF65-F5344CB8AC3E}">
        <p14:creationId xmlns:p14="http://schemas.microsoft.com/office/powerpoint/2010/main" val="19526120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02EC74-F66E-4AB8-853E-E812433B52EC}"/>
              </a:ext>
            </a:extLst>
          </p:cNvPr>
          <p:cNvSpPr>
            <a:spLocks noGrp="1"/>
          </p:cNvSpPr>
          <p:nvPr>
            <p:ph sz="quarter" idx="10"/>
          </p:nvPr>
        </p:nvSpPr>
        <p:spPr>
          <a:xfrm>
            <a:off x="479425" y="1844675"/>
            <a:ext cx="5667113" cy="4715613"/>
          </a:xfrm>
        </p:spPr>
        <p:txBody>
          <a:bodyPr>
            <a:normAutofit/>
          </a:bodyPr>
          <a:lstStyle/>
          <a:p>
            <a:pPr>
              <a:lnSpc>
                <a:spcPct val="110000"/>
              </a:lnSpc>
              <a:spcAft>
                <a:spcPts val="600"/>
              </a:spcAft>
            </a:pPr>
            <a:r>
              <a:rPr lang="en-US" sz="1600"/>
              <a:t>The 3GPP 5G architecture includes 5 options for radio network and packet core</a:t>
            </a:r>
          </a:p>
          <a:p>
            <a:pPr lvl="1">
              <a:lnSpc>
                <a:spcPct val="110000"/>
              </a:lnSpc>
              <a:spcAft>
                <a:spcPts val="600"/>
              </a:spcAft>
            </a:pPr>
            <a:r>
              <a:rPr lang="en-US" sz="1600"/>
              <a:t>First </a:t>
            </a:r>
            <a:r>
              <a:rPr lang="en-US" sz="1600">
                <a:solidFill>
                  <a:schemeClr val="accent5"/>
                </a:solidFill>
              </a:rPr>
              <a:t>NR</a:t>
            </a:r>
            <a:r>
              <a:rPr lang="en-US" sz="1600"/>
              <a:t> adopters have selected Opt. 3</a:t>
            </a:r>
          </a:p>
          <a:p>
            <a:pPr lvl="1">
              <a:lnSpc>
                <a:spcPct val="110000"/>
              </a:lnSpc>
              <a:spcAft>
                <a:spcPts val="1200"/>
              </a:spcAft>
            </a:pPr>
            <a:r>
              <a:rPr lang="en-US" sz="1600"/>
              <a:t>First </a:t>
            </a:r>
            <a:r>
              <a:rPr lang="en-US" sz="1600">
                <a:solidFill>
                  <a:schemeClr val="accent1"/>
                </a:solidFill>
              </a:rPr>
              <a:t>5GC</a:t>
            </a:r>
            <a:r>
              <a:rPr lang="en-US" sz="1600"/>
              <a:t> adopters have selected Opt. 2</a:t>
            </a:r>
          </a:p>
          <a:p>
            <a:pPr>
              <a:lnSpc>
                <a:spcPct val="110000"/>
              </a:lnSpc>
              <a:spcBef>
                <a:spcPts val="0"/>
              </a:spcBef>
              <a:spcAft>
                <a:spcPts val="600"/>
              </a:spcAft>
            </a:pPr>
            <a:r>
              <a:rPr lang="en-US" sz="1600"/>
              <a:t>Voice does not drive the 5G evolution, but must be supported in all deployed 5G architectures and evolution steps</a:t>
            </a:r>
          </a:p>
          <a:p>
            <a:pPr lvl="1">
              <a:lnSpc>
                <a:spcPct val="110000"/>
              </a:lnSpc>
              <a:spcAft>
                <a:spcPts val="1200"/>
              </a:spcAft>
            </a:pPr>
            <a:r>
              <a:rPr lang="en-US" sz="1600"/>
              <a:t>All phones – the majority of MBB devices – require</a:t>
            </a:r>
            <a:r>
              <a:rPr lang="en-150" sz="1600"/>
              <a:t> </a:t>
            </a:r>
            <a:r>
              <a:rPr lang="en-US" sz="1600"/>
              <a:t>a voice service also in 5G</a:t>
            </a:r>
          </a:p>
          <a:p>
            <a:pPr>
              <a:lnSpc>
                <a:spcPct val="110000"/>
              </a:lnSpc>
              <a:spcBef>
                <a:spcPts val="0"/>
              </a:spcBef>
              <a:spcAft>
                <a:spcPts val="600"/>
              </a:spcAft>
            </a:pPr>
            <a:r>
              <a:rPr lang="en-US" sz="1600">
                <a:solidFill>
                  <a:schemeClr val="accent2">
                    <a:lumMod val="75000"/>
                  </a:schemeClr>
                </a:solidFill>
              </a:rPr>
              <a:t>IMS telephony</a:t>
            </a:r>
            <a:r>
              <a:rPr lang="en-US" sz="1600"/>
              <a:t>, called </a:t>
            </a:r>
            <a:r>
              <a:rPr lang="en-US" sz="1600" err="1"/>
              <a:t>VoLTE</a:t>
            </a:r>
            <a:r>
              <a:rPr lang="en-US" sz="1600"/>
              <a:t> in 4G,  is used in also in 5G</a:t>
            </a:r>
            <a:br>
              <a:rPr lang="LID4096" sz="1600"/>
            </a:br>
            <a:endParaRPr lang="en-US" sz="1600"/>
          </a:p>
          <a:p>
            <a:r>
              <a:rPr lang="en-US" sz="1600"/>
              <a:t>In Option 3,  both  VoLTE and CS Fallback are supported</a:t>
            </a:r>
            <a:br>
              <a:rPr lang="en-US" sz="1600"/>
            </a:br>
            <a:endParaRPr lang="en-US" sz="1600"/>
          </a:p>
          <a:p>
            <a:pPr>
              <a:lnSpc>
                <a:spcPct val="110000"/>
              </a:lnSpc>
              <a:spcBef>
                <a:spcPts val="0"/>
              </a:spcBef>
              <a:spcAft>
                <a:spcPts val="600"/>
              </a:spcAft>
            </a:pPr>
            <a:r>
              <a:rPr lang="en-US" sz="1600"/>
              <a:t>The </a:t>
            </a:r>
            <a:r>
              <a:rPr lang="en-US" sz="1600">
                <a:solidFill>
                  <a:schemeClr val="accent1"/>
                </a:solidFill>
              </a:rPr>
              <a:t>voice solution for 5GS </a:t>
            </a:r>
            <a:r>
              <a:rPr lang="en-US" sz="1600"/>
              <a:t>must initially be tightly coupled to an existing 4G </a:t>
            </a:r>
            <a:r>
              <a:rPr lang="en-US" sz="1600" err="1"/>
              <a:t>VoLTE</a:t>
            </a:r>
            <a:r>
              <a:rPr lang="en-US" sz="1600"/>
              <a:t> deployment</a:t>
            </a:r>
          </a:p>
        </p:txBody>
      </p:sp>
      <p:sp>
        <p:nvSpPr>
          <p:cNvPr id="3" name="Title 2">
            <a:extLst>
              <a:ext uri="{FF2B5EF4-FFF2-40B4-BE49-F238E27FC236}">
                <a16:creationId xmlns:a16="http://schemas.microsoft.com/office/drawing/2014/main" id="{B20ED65C-C483-4C11-8902-B0A6902E8DEA}"/>
              </a:ext>
            </a:extLst>
          </p:cNvPr>
          <p:cNvSpPr>
            <a:spLocks noGrp="1"/>
          </p:cNvSpPr>
          <p:nvPr>
            <p:ph type="title"/>
          </p:nvPr>
        </p:nvSpPr>
        <p:spPr/>
        <p:txBody>
          <a:bodyPr/>
          <a:lstStyle/>
          <a:p>
            <a:r>
              <a:rPr lang="en-US" altLang="en-US"/>
              <a:t>Voice migration to 5GS</a:t>
            </a:r>
            <a:br>
              <a:rPr lang="en-US" altLang="en-US" sz="2800"/>
            </a:br>
            <a:r>
              <a:rPr lang="en-US" sz="2800"/>
              <a:t>Introduction</a:t>
            </a:r>
            <a:endParaRPr lang="en-US"/>
          </a:p>
        </p:txBody>
      </p:sp>
      <p:sp>
        <p:nvSpPr>
          <p:cNvPr id="53" name="AutoShape 15" descr="bpct-blend1">
            <a:extLst>
              <a:ext uri="{FF2B5EF4-FFF2-40B4-BE49-F238E27FC236}">
                <a16:creationId xmlns:a16="http://schemas.microsoft.com/office/drawing/2014/main" id="{433BF71A-331E-428D-8962-F9D25FDB1EC4}"/>
              </a:ext>
            </a:extLst>
          </p:cNvPr>
          <p:cNvSpPr>
            <a:spLocks noChangeArrowheads="1"/>
          </p:cNvSpPr>
          <p:nvPr/>
        </p:nvSpPr>
        <p:spPr bwMode="auto">
          <a:xfrm>
            <a:off x="7120053" y="4612645"/>
            <a:ext cx="1178286" cy="259200"/>
          </a:xfrm>
          <a:prstGeom prst="rect">
            <a:avLst/>
          </a:prstGeom>
          <a:solidFill>
            <a:schemeClr val="bg1"/>
          </a:solidFill>
          <a:ln w="25400" algn="ctr">
            <a:solidFill>
              <a:schemeClr val="accent2">
                <a:lumMod val="75000"/>
              </a:schemeClr>
            </a:solidFill>
            <a:prstDash val="sysDash"/>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endParaRPr>
          </a:p>
        </p:txBody>
      </p:sp>
      <p:grpSp>
        <p:nvGrpSpPr>
          <p:cNvPr id="54" name="Group 53">
            <a:extLst>
              <a:ext uri="{FF2B5EF4-FFF2-40B4-BE49-F238E27FC236}">
                <a16:creationId xmlns:a16="http://schemas.microsoft.com/office/drawing/2014/main" id="{5A89CE5B-4D02-436B-996A-BB526221B4D1}"/>
              </a:ext>
            </a:extLst>
          </p:cNvPr>
          <p:cNvGrpSpPr/>
          <p:nvPr/>
        </p:nvGrpSpPr>
        <p:grpSpPr>
          <a:xfrm>
            <a:off x="6266754" y="1912145"/>
            <a:ext cx="5600700" cy="1781176"/>
            <a:chOff x="6524625" y="2038350"/>
            <a:chExt cx="5600700" cy="1781176"/>
          </a:xfrm>
        </p:grpSpPr>
        <p:sp>
          <p:nvSpPr>
            <p:cNvPr id="55" name="Rectangle 54">
              <a:extLst>
                <a:ext uri="{FF2B5EF4-FFF2-40B4-BE49-F238E27FC236}">
                  <a16:creationId xmlns:a16="http://schemas.microsoft.com/office/drawing/2014/main" id="{AFF01E09-1739-4624-A3AD-CA9FDDFBC944}"/>
                </a:ext>
              </a:extLst>
            </p:cNvPr>
            <p:cNvSpPr/>
            <p:nvPr/>
          </p:nvSpPr>
          <p:spPr>
            <a:xfrm>
              <a:off x="6619660" y="2139052"/>
              <a:ext cx="3813865" cy="369332"/>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a:ln>
                    <a:noFill/>
                  </a:ln>
                  <a:solidFill>
                    <a:srgbClr val="58585A"/>
                  </a:solidFill>
                  <a:effectLst/>
                  <a:uLnTx/>
                  <a:uFillTx/>
                  <a:latin typeface="Ericsson Hilda Light"/>
                  <a:ea typeface="+mn-ea"/>
                  <a:cs typeface="+mn-cs"/>
                </a:rPr>
                <a:t>Options covered in this presentation</a:t>
              </a:r>
            </a:p>
          </p:txBody>
        </p:sp>
        <p:sp>
          <p:nvSpPr>
            <p:cNvPr id="56" name="TextBox 55">
              <a:extLst>
                <a:ext uri="{FF2B5EF4-FFF2-40B4-BE49-F238E27FC236}">
                  <a16:creationId xmlns:a16="http://schemas.microsoft.com/office/drawing/2014/main" id="{E700CC64-E9F5-412B-8E0A-FC39EF4434D5}"/>
                </a:ext>
              </a:extLst>
            </p:cNvPr>
            <p:cNvSpPr txBox="1"/>
            <p:nvPr/>
          </p:nvSpPr>
          <p:spPr>
            <a:xfrm>
              <a:off x="6974966" y="3480080"/>
              <a:ext cx="41998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181818"/>
                  </a:solidFill>
                  <a:effectLst/>
                  <a:uLnTx/>
                  <a:uFillTx/>
                  <a:latin typeface="Arial" charset="0"/>
                  <a:ea typeface="+mn-ea"/>
                  <a:cs typeface="+mn-cs"/>
                </a:rPr>
                <a:t>Opt. 3</a:t>
              </a:r>
            </a:p>
          </p:txBody>
        </p:sp>
        <p:grpSp>
          <p:nvGrpSpPr>
            <p:cNvPr id="59" name="Group 58">
              <a:extLst>
                <a:ext uri="{FF2B5EF4-FFF2-40B4-BE49-F238E27FC236}">
                  <a16:creationId xmlns:a16="http://schemas.microsoft.com/office/drawing/2014/main" id="{3B92FE4A-4F76-4ABC-AA5E-5F5B2A79AEC7}"/>
                </a:ext>
              </a:extLst>
            </p:cNvPr>
            <p:cNvGrpSpPr/>
            <p:nvPr/>
          </p:nvGrpSpPr>
          <p:grpSpPr>
            <a:xfrm>
              <a:off x="6776743" y="2771777"/>
              <a:ext cx="716296" cy="592210"/>
              <a:chOff x="6803198" y="4954437"/>
              <a:chExt cx="1606249" cy="754355"/>
            </a:xfrm>
          </p:grpSpPr>
          <p:sp>
            <p:nvSpPr>
              <p:cNvPr id="99" name="AutoShape 15" descr="bpct-blend1">
                <a:extLst>
                  <a:ext uri="{FF2B5EF4-FFF2-40B4-BE49-F238E27FC236}">
                    <a16:creationId xmlns:a16="http://schemas.microsoft.com/office/drawing/2014/main" id="{3451E4CE-5EB5-4351-B3D3-4A0A7CBCEC57}"/>
                  </a:ext>
                </a:extLst>
              </p:cNvPr>
              <p:cNvSpPr>
                <a:spLocks noChangeArrowheads="1"/>
              </p:cNvSpPr>
              <p:nvPr/>
            </p:nvSpPr>
            <p:spPr bwMode="auto">
              <a:xfrm>
                <a:off x="6803198" y="4954437"/>
                <a:ext cx="1606247" cy="360391"/>
              </a:xfrm>
              <a:prstGeom prst="rect">
                <a:avLst/>
              </a:prstGeom>
              <a:solidFill>
                <a:schemeClr val="accent2"/>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EPC</a:t>
                </a:r>
              </a:p>
            </p:txBody>
          </p:sp>
          <p:sp>
            <p:nvSpPr>
              <p:cNvPr id="100" name="AutoShape 15" descr="bpct-blend1">
                <a:extLst>
                  <a:ext uri="{FF2B5EF4-FFF2-40B4-BE49-F238E27FC236}">
                    <a16:creationId xmlns:a16="http://schemas.microsoft.com/office/drawing/2014/main" id="{0CEA8311-C0DA-4426-B336-76524980C4AE}"/>
                  </a:ext>
                </a:extLst>
              </p:cNvPr>
              <p:cNvSpPr>
                <a:spLocks noChangeArrowheads="1"/>
              </p:cNvSpPr>
              <p:nvPr/>
            </p:nvSpPr>
            <p:spPr bwMode="auto">
              <a:xfrm>
                <a:off x="6803198" y="5380956"/>
                <a:ext cx="795689" cy="327836"/>
              </a:xfrm>
              <a:prstGeom prst="rect">
                <a:avLst/>
              </a:prstGeom>
              <a:solidFill>
                <a:schemeClr val="accent2"/>
              </a:solidFill>
              <a:ln w="25400" algn="ctr">
                <a:solidFill>
                  <a:schemeClr val="accent2">
                    <a:lumMod val="75000"/>
                  </a:schemeClr>
                </a:solid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LTE</a:t>
                </a:r>
              </a:p>
            </p:txBody>
          </p:sp>
          <p:sp>
            <p:nvSpPr>
              <p:cNvPr id="101" name="AutoShape 15" descr="bpct-blend1">
                <a:extLst>
                  <a:ext uri="{FF2B5EF4-FFF2-40B4-BE49-F238E27FC236}">
                    <a16:creationId xmlns:a16="http://schemas.microsoft.com/office/drawing/2014/main" id="{892DC22F-5E7A-4785-B534-2F448A69CBC5}"/>
                  </a:ext>
                </a:extLst>
              </p:cNvPr>
              <p:cNvSpPr>
                <a:spLocks noChangeArrowheads="1"/>
              </p:cNvSpPr>
              <p:nvPr/>
            </p:nvSpPr>
            <p:spPr bwMode="auto">
              <a:xfrm>
                <a:off x="7750354" y="5378733"/>
                <a:ext cx="659093" cy="327836"/>
              </a:xfrm>
              <a:prstGeom prst="rect">
                <a:avLst/>
              </a:prstGeom>
              <a:solidFill>
                <a:schemeClr val="accent5"/>
              </a:solidFill>
              <a:ln w="25400" algn="ctr">
                <a:no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sp>
          <p:nvSpPr>
            <p:cNvPr id="70" name="TextBox 69">
              <a:extLst>
                <a:ext uri="{FF2B5EF4-FFF2-40B4-BE49-F238E27FC236}">
                  <a16:creationId xmlns:a16="http://schemas.microsoft.com/office/drawing/2014/main" id="{26A4B83F-AB57-4102-A233-499BEB00969C}"/>
                </a:ext>
              </a:extLst>
            </p:cNvPr>
            <p:cNvSpPr txBox="1"/>
            <p:nvPr/>
          </p:nvSpPr>
          <p:spPr>
            <a:xfrm>
              <a:off x="7991189" y="3480080"/>
              <a:ext cx="41998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181818"/>
                  </a:solidFill>
                  <a:effectLst/>
                  <a:uLnTx/>
                  <a:uFillTx/>
                  <a:latin typeface="Arial" charset="0"/>
                  <a:ea typeface="+mn-ea"/>
                  <a:cs typeface="+mn-cs"/>
                </a:rPr>
                <a:t>Opt. 2</a:t>
              </a:r>
            </a:p>
          </p:txBody>
        </p:sp>
        <p:grpSp>
          <p:nvGrpSpPr>
            <p:cNvPr id="71" name="Group 70">
              <a:extLst>
                <a:ext uri="{FF2B5EF4-FFF2-40B4-BE49-F238E27FC236}">
                  <a16:creationId xmlns:a16="http://schemas.microsoft.com/office/drawing/2014/main" id="{85810626-CD25-4DD3-8574-FD29F3CC213F}"/>
                </a:ext>
              </a:extLst>
            </p:cNvPr>
            <p:cNvGrpSpPr/>
            <p:nvPr/>
          </p:nvGrpSpPr>
          <p:grpSpPr>
            <a:xfrm>
              <a:off x="7839915" y="2771777"/>
              <a:ext cx="716296" cy="590465"/>
              <a:chOff x="6803198" y="4954437"/>
              <a:chExt cx="1606249" cy="752132"/>
            </a:xfrm>
          </p:grpSpPr>
          <p:sp>
            <p:nvSpPr>
              <p:cNvPr id="97" name="AutoShape 15" descr="bpct-blend1">
                <a:extLst>
                  <a:ext uri="{FF2B5EF4-FFF2-40B4-BE49-F238E27FC236}">
                    <a16:creationId xmlns:a16="http://schemas.microsoft.com/office/drawing/2014/main" id="{6346BA13-AD4B-493B-9724-49596C5E7D93}"/>
                  </a:ext>
                </a:extLst>
              </p:cNvPr>
              <p:cNvSpPr>
                <a:spLocks noChangeArrowheads="1"/>
              </p:cNvSpPr>
              <p:nvPr/>
            </p:nvSpPr>
            <p:spPr bwMode="auto">
              <a:xfrm>
                <a:off x="6803198" y="4954437"/>
                <a:ext cx="1606247" cy="360391"/>
              </a:xfrm>
              <a:prstGeom prst="rect">
                <a:avLst/>
              </a:prstGeom>
              <a:solidFill>
                <a:schemeClr val="accent1"/>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C</a:t>
                </a:r>
              </a:p>
            </p:txBody>
          </p:sp>
          <p:sp>
            <p:nvSpPr>
              <p:cNvPr id="98" name="AutoShape 15" descr="bpct-blend1">
                <a:extLst>
                  <a:ext uri="{FF2B5EF4-FFF2-40B4-BE49-F238E27FC236}">
                    <a16:creationId xmlns:a16="http://schemas.microsoft.com/office/drawing/2014/main" id="{835B0966-304E-44BB-8CD9-095B35805803}"/>
                  </a:ext>
                </a:extLst>
              </p:cNvPr>
              <p:cNvSpPr>
                <a:spLocks noChangeArrowheads="1"/>
              </p:cNvSpPr>
              <p:nvPr/>
            </p:nvSpPr>
            <p:spPr bwMode="auto">
              <a:xfrm>
                <a:off x="6803198" y="5378733"/>
                <a:ext cx="1606249" cy="327836"/>
              </a:xfrm>
              <a:prstGeom prst="rect">
                <a:avLst/>
              </a:prstGeom>
              <a:solidFill>
                <a:schemeClr val="accent5"/>
              </a:solidFill>
              <a:ln w="25400" algn="ctr">
                <a:solidFill>
                  <a:schemeClr val="accent5">
                    <a:lumMod val="75000"/>
                  </a:schemeClr>
                </a:solidFill>
                <a:round/>
                <a:headEnd/>
                <a:tailEnd/>
              </a:ln>
            </p:spPr>
            <p:txBody>
              <a:bodyPr wrap="squar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sp>
          <p:nvSpPr>
            <p:cNvPr id="72" name="TextBox 71">
              <a:extLst>
                <a:ext uri="{FF2B5EF4-FFF2-40B4-BE49-F238E27FC236}">
                  <a16:creationId xmlns:a16="http://schemas.microsoft.com/office/drawing/2014/main" id="{51A779BB-7518-4456-B33F-AF86DE767FD1}"/>
                </a:ext>
              </a:extLst>
            </p:cNvPr>
            <p:cNvSpPr txBox="1"/>
            <p:nvPr/>
          </p:nvSpPr>
          <p:spPr>
            <a:xfrm>
              <a:off x="10226970" y="3480080"/>
              <a:ext cx="41998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181818"/>
                  </a:solidFill>
                  <a:effectLst/>
                  <a:uLnTx/>
                  <a:uFillTx/>
                  <a:latin typeface="Arial" charset="0"/>
                  <a:ea typeface="+mn-ea"/>
                  <a:cs typeface="+mn-cs"/>
                </a:rPr>
                <a:t>Opt. 5</a:t>
              </a:r>
            </a:p>
          </p:txBody>
        </p:sp>
        <p:grpSp>
          <p:nvGrpSpPr>
            <p:cNvPr id="73" name="Group 72">
              <a:extLst>
                <a:ext uri="{FF2B5EF4-FFF2-40B4-BE49-F238E27FC236}">
                  <a16:creationId xmlns:a16="http://schemas.microsoft.com/office/drawing/2014/main" id="{BA7CE4EA-2505-4E0D-9B6C-6350D710A5CE}"/>
                </a:ext>
              </a:extLst>
            </p:cNvPr>
            <p:cNvGrpSpPr/>
            <p:nvPr/>
          </p:nvGrpSpPr>
          <p:grpSpPr>
            <a:xfrm>
              <a:off x="11126889" y="2771777"/>
              <a:ext cx="758775" cy="592210"/>
              <a:chOff x="6707941" y="4954437"/>
              <a:chExt cx="1701506" cy="754355"/>
            </a:xfrm>
          </p:grpSpPr>
          <p:sp>
            <p:nvSpPr>
              <p:cNvPr id="93" name="AutoShape 15" descr="bpct-blend1">
                <a:extLst>
                  <a:ext uri="{FF2B5EF4-FFF2-40B4-BE49-F238E27FC236}">
                    <a16:creationId xmlns:a16="http://schemas.microsoft.com/office/drawing/2014/main" id="{2666E38C-B175-4904-90F2-B93E76B607E5}"/>
                  </a:ext>
                </a:extLst>
              </p:cNvPr>
              <p:cNvSpPr>
                <a:spLocks noChangeArrowheads="1"/>
              </p:cNvSpPr>
              <p:nvPr/>
            </p:nvSpPr>
            <p:spPr bwMode="auto">
              <a:xfrm>
                <a:off x="6707943" y="4954437"/>
                <a:ext cx="1701504" cy="360391"/>
              </a:xfrm>
              <a:prstGeom prst="rect">
                <a:avLst/>
              </a:prstGeom>
              <a:solidFill>
                <a:schemeClr val="accent1"/>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C</a:t>
                </a:r>
              </a:p>
            </p:txBody>
          </p:sp>
          <p:sp>
            <p:nvSpPr>
              <p:cNvPr id="94" name="AutoShape 15" descr="bpct-blend1">
                <a:extLst>
                  <a:ext uri="{FF2B5EF4-FFF2-40B4-BE49-F238E27FC236}">
                    <a16:creationId xmlns:a16="http://schemas.microsoft.com/office/drawing/2014/main" id="{808083EB-F521-4561-8C54-0486A1487E86}"/>
                  </a:ext>
                </a:extLst>
              </p:cNvPr>
              <p:cNvSpPr>
                <a:spLocks noChangeArrowheads="1"/>
              </p:cNvSpPr>
              <p:nvPr/>
            </p:nvSpPr>
            <p:spPr bwMode="auto">
              <a:xfrm>
                <a:off x="6707941" y="5380956"/>
                <a:ext cx="986204" cy="327836"/>
              </a:xfrm>
              <a:prstGeom prst="rect">
                <a:avLst/>
              </a:prstGeom>
              <a:solidFill>
                <a:schemeClr val="accent2"/>
              </a:solidFill>
              <a:ln w="25400" algn="ctr">
                <a:solidFill>
                  <a:schemeClr val="accent2">
                    <a:lumMod val="75000"/>
                  </a:schemeClr>
                </a:solid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fontAlgn="auto" hangingPunct="1">
                  <a:spcBef>
                    <a:spcPct val="0"/>
                  </a:spcBef>
                  <a:spcAft>
                    <a:spcPts val="0"/>
                  </a:spcAft>
                  <a:buClrTx/>
                  <a:buNone/>
                </a:pPr>
                <a:r>
                  <a:rPr lang="en-US" altLang="en-US" sz="1200" kern="0">
                    <a:solidFill>
                      <a:schemeClr val="bg1"/>
                    </a:solidFill>
                  </a:rPr>
                  <a:t>eLTE</a:t>
                </a:r>
              </a:p>
            </p:txBody>
          </p:sp>
          <p:sp>
            <p:nvSpPr>
              <p:cNvPr id="96" name="AutoShape 15" descr="bpct-blend1">
                <a:extLst>
                  <a:ext uri="{FF2B5EF4-FFF2-40B4-BE49-F238E27FC236}">
                    <a16:creationId xmlns:a16="http://schemas.microsoft.com/office/drawing/2014/main" id="{737CDD73-48A7-4834-90B3-67AD7B391575}"/>
                  </a:ext>
                </a:extLst>
              </p:cNvPr>
              <p:cNvSpPr>
                <a:spLocks noChangeArrowheads="1"/>
              </p:cNvSpPr>
              <p:nvPr/>
            </p:nvSpPr>
            <p:spPr bwMode="auto">
              <a:xfrm>
                <a:off x="7750354" y="5378733"/>
                <a:ext cx="659093" cy="327836"/>
              </a:xfrm>
              <a:prstGeom prst="rect">
                <a:avLst/>
              </a:prstGeom>
              <a:solidFill>
                <a:schemeClr val="accent5"/>
              </a:solidFill>
              <a:ln w="25400" algn="ctr">
                <a:no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sp>
          <p:nvSpPr>
            <p:cNvPr id="74" name="TextBox 73">
              <a:extLst>
                <a:ext uri="{FF2B5EF4-FFF2-40B4-BE49-F238E27FC236}">
                  <a16:creationId xmlns:a16="http://schemas.microsoft.com/office/drawing/2014/main" id="{7793ED1E-92AB-4E8D-A137-617E07285BFC}"/>
                </a:ext>
              </a:extLst>
            </p:cNvPr>
            <p:cNvSpPr txBox="1"/>
            <p:nvPr/>
          </p:nvSpPr>
          <p:spPr>
            <a:xfrm>
              <a:off x="11268556" y="3480080"/>
              <a:ext cx="41998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181818"/>
                  </a:solidFill>
                  <a:effectLst/>
                  <a:uLnTx/>
                  <a:uFillTx/>
                  <a:latin typeface="Arial" charset="0"/>
                  <a:ea typeface="+mn-ea"/>
                  <a:cs typeface="+mn-cs"/>
                </a:rPr>
                <a:t>Opt. 7</a:t>
              </a:r>
            </a:p>
          </p:txBody>
        </p:sp>
        <p:grpSp>
          <p:nvGrpSpPr>
            <p:cNvPr id="75" name="Group 74">
              <a:extLst>
                <a:ext uri="{FF2B5EF4-FFF2-40B4-BE49-F238E27FC236}">
                  <a16:creationId xmlns:a16="http://schemas.microsoft.com/office/drawing/2014/main" id="{6B226C93-A001-463C-B01B-C62E283B7462}"/>
                </a:ext>
              </a:extLst>
            </p:cNvPr>
            <p:cNvGrpSpPr/>
            <p:nvPr/>
          </p:nvGrpSpPr>
          <p:grpSpPr>
            <a:xfrm>
              <a:off x="10021238" y="2771775"/>
              <a:ext cx="758774" cy="615930"/>
              <a:chOff x="6707943" y="4954437"/>
              <a:chExt cx="1701504" cy="784570"/>
            </a:xfrm>
          </p:grpSpPr>
          <p:sp>
            <p:nvSpPr>
              <p:cNvPr id="91" name="AutoShape 15" descr="bpct-blend1">
                <a:extLst>
                  <a:ext uri="{FF2B5EF4-FFF2-40B4-BE49-F238E27FC236}">
                    <a16:creationId xmlns:a16="http://schemas.microsoft.com/office/drawing/2014/main" id="{CFD806E4-D681-4F81-9F01-442682176AD5}"/>
                  </a:ext>
                </a:extLst>
              </p:cNvPr>
              <p:cNvSpPr>
                <a:spLocks noChangeArrowheads="1"/>
              </p:cNvSpPr>
              <p:nvPr/>
            </p:nvSpPr>
            <p:spPr bwMode="auto">
              <a:xfrm>
                <a:off x="6707943" y="4954437"/>
                <a:ext cx="1701504" cy="360391"/>
              </a:xfrm>
              <a:prstGeom prst="rect">
                <a:avLst/>
              </a:prstGeom>
              <a:solidFill>
                <a:schemeClr val="accent1"/>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C</a:t>
                </a:r>
              </a:p>
            </p:txBody>
          </p:sp>
          <p:sp>
            <p:nvSpPr>
              <p:cNvPr id="92" name="AutoShape 15" descr="bpct-blend1">
                <a:extLst>
                  <a:ext uri="{FF2B5EF4-FFF2-40B4-BE49-F238E27FC236}">
                    <a16:creationId xmlns:a16="http://schemas.microsoft.com/office/drawing/2014/main" id="{D2AAE103-5B19-4484-A908-2A2FA09054B7}"/>
                  </a:ext>
                </a:extLst>
              </p:cNvPr>
              <p:cNvSpPr>
                <a:spLocks noChangeArrowheads="1"/>
              </p:cNvSpPr>
              <p:nvPr/>
            </p:nvSpPr>
            <p:spPr bwMode="auto">
              <a:xfrm>
                <a:off x="6707943" y="5411171"/>
                <a:ext cx="1701502" cy="327836"/>
              </a:xfrm>
              <a:prstGeom prst="rect">
                <a:avLst/>
              </a:prstGeom>
              <a:solidFill>
                <a:schemeClr val="accent2"/>
              </a:solidFill>
              <a:ln w="25400" algn="ctr">
                <a:solidFill>
                  <a:schemeClr val="accent2">
                    <a:lumMod val="75000"/>
                  </a:schemeClr>
                </a:solidFill>
                <a:round/>
                <a:headEnd/>
                <a:tailEnd/>
              </a:ln>
            </p:spPr>
            <p:txBody>
              <a:bodyPr wrap="squar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fontAlgn="auto" hangingPunct="1">
                  <a:spcBef>
                    <a:spcPct val="0"/>
                  </a:spcBef>
                  <a:spcAft>
                    <a:spcPts val="0"/>
                  </a:spcAft>
                  <a:buClrTx/>
                  <a:buNone/>
                </a:pPr>
                <a:r>
                  <a:rPr lang="en-US" altLang="en-US" sz="1200" kern="0">
                    <a:solidFill>
                      <a:schemeClr val="bg1"/>
                    </a:solidFill>
                  </a:rPr>
                  <a:t>eLTE</a:t>
                </a:r>
              </a:p>
            </p:txBody>
          </p:sp>
        </p:grpSp>
        <p:sp>
          <p:nvSpPr>
            <p:cNvPr id="76" name="TextBox 75">
              <a:extLst>
                <a:ext uri="{FF2B5EF4-FFF2-40B4-BE49-F238E27FC236}">
                  <a16:creationId xmlns:a16="http://schemas.microsoft.com/office/drawing/2014/main" id="{127E6F96-3D44-4150-8EF3-CB833FA46F91}"/>
                </a:ext>
              </a:extLst>
            </p:cNvPr>
            <p:cNvSpPr txBox="1"/>
            <p:nvPr/>
          </p:nvSpPr>
          <p:spPr>
            <a:xfrm>
              <a:off x="9078899" y="3480080"/>
              <a:ext cx="41998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181818"/>
                  </a:solidFill>
                  <a:effectLst/>
                  <a:uLnTx/>
                  <a:uFillTx/>
                  <a:latin typeface="Arial" charset="0"/>
                  <a:ea typeface="+mn-ea"/>
                  <a:cs typeface="+mn-cs"/>
                </a:rPr>
                <a:t>Opt. 4</a:t>
              </a:r>
            </a:p>
          </p:txBody>
        </p:sp>
        <p:grpSp>
          <p:nvGrpSpPr>
            <p:cNvPr id="82" name="Group 81">
              <a:extLst>
                <a:ext uri="{FF2B5EF4-FFF2-40B4-BE49-F238E27FC236}">
                  <a16:creationId xmlns:a16="http://schemas.microsoft.com/office/drawing/2014/main" id="{A420CF4D-C211-46AB-83F6-4B82EDB34411}"/>
                </a:ext>
              </a:extLst>
            </p:cNvPr>
            <p:cNvGrpSpPr/>
            <p:nvPr/>
          </p:nvGrpSpPr>
          <p:grpSpPr>
            <a:xfrm>
              <a:off x="8903087" y="2771777"/>
              <a:ext cx="771275" cy="601285"/>
              <a:chOff x="6707943" y="4954437"/>
              <a:chExt cx="1729536" cy="765915"/>
            </a:xfrm>
          </p:grpSpPr>
          <p:sp>
            <p:nvSpPr>
              <p:cNvPr id="87" name="AutoShape 15" descr="bpct-blend1">
                <a:extLst>
                  <a:ext uri="{FF2B5EF4-FFF2-40B4-BE49-F238E27FC236}">
                    <a16:creationId xmlns:a16="http://schemas.microsoft.com/office/drawing/2014/main" id="{57F7E85B-548C-4BAB-8E0F-698B10B2BE56}"/>
                  </a:ext>
                </a:extLst>
              </p:cNvPr>
              <p:cNvSpPr>
                <a:spLocks noChangeArrowheads="1"/>
              </p:cNvSpPr>
              <p:nvPr/>
            </p:nvSpPr>
            <p:spPr bwMode="auto">
              <a:xfrm>
                <a:off x="6707943" y="4954437"/>
                <a:ext cx="1701504" cy="360391"/>
              </a:xfrm>
              <a:prstGeom prst="rect">
                <a:avLst/>
              </a:prstGeom>
              <a:solidFill>
                <a:schemeClr val="accent1"/>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C</a:t>
                </a:r>
              </a:p>
            </p:txBody>
          </p:sp>
          <p:sp>
            <p:nvSpPr>
              <p:cNvPr id="89" name="AutoShape 15" descr="bpct-blend1">
                <a:extLst>
                  <a:ext uri="{FF2B5EF4-FFF2-40B4-BE49-F238E27FC236}">
                    <a16:creationId xmlns:a16="http://schemas.microsoft.com/office/drawing/2014/main" id="{E332D26F-4942-44BA-8E30-92441A0A82B7}"/>
                  </a:ext>
                </a:extLst>
              </p:cNvPr>
              <p:cNvSpPr>
                <a:spLocks noChangeArrowheads="1"/>
              </p:cNvSpPr>
              <p:nvPr/>
            </p:nvSpPr>
            <p:spPr bwMode="auto">
              <a:xfrm>
                <a:off x="7451275" y="5380957"/>
                <a:ext cx="986204" cy="327836"/>
              </a:xfrm>
              <a:prstGeom prst="rect">
                <a:avLst/>
              </a:prstGeom>
              <a:solidFill>
                <a:schemeClr val="accent2"/>
              </a:solidFill>
              <a:ln w="25400" algn="ctr">
                <a:solidFill>
                  <a:schemeClr val="accent2">
                    <a:lumMod val="75000"/>
                  </a:schemeClr>
                </a:solid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fontAlgn="auto" hangingPunct="1">
                  <a:spcBef>
                    <a:spcPct val="0"/>
                  </a:spcBef>
                  <a:spcAft>
                    <a:spcPts val="0"/>
                  </a:spcAft>
                  <a:buClrTx/>
                  <a:buNone/>
                </a:pPr>
                <a:r>
                  <a:rPr lang="en-US" altLang="en-US" sz="1200" kern="0">
                    <a:solidFill>
                      <a:schemeClr val="bg1"/>
                    </a:solidFill>
                  </a:rPr>
                  <a:t>eLTE</a:t>
                </a:r>
              </a:p>
            </p:txBody>
          </p:sp>
          <p:sp>
            <p:nvSpPr>
              <p:cNvPr id="90" name="AutoShape 15" descr="bpct-blend1">
                <a:extLst>
                  <a:ext uri="{FF2B5EF4-FFF2-40B4-BE49-F238E27FC236}">
                    <a16:creationId xmlns:a16="http://schemas.microsoft.com/office/drawing/2014/main" id="{B78C842D-5F29-49B8-9E81-5567BC6EED81}"/>
                  </a:ext>
                </a:extLst>
              </p:cNvPr>
              <p:cNvSpPr>
                <a:spLocks noChangeArrowheads="1"/>
              </p:cNvSpPr>
              <p:nvPr/>
            </p:nvSpPr>
            <p:spPr bwMode="auto">
              <a:xfrm>
                <a:off x="6711244" y="5392516"/>
                <a:ext cx="659093" cy="327836"/>
              </a:xfrm>
              <a:prstGeom prst="rect">
                <a:avLst/>
              </a:prstGeom>
              <a:solidFill>
                <a:schemeClr val="accent5"/>
              </a:solidFill>
              <a:ln w="25400" algn="ctr">
                <a:solidFill>
                  <a:schemeClr val="accent5">
                    <a:lumMod val="75000"/>
                  </a:schemeClr>
                </a:solid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sp>
          <p:nvSpPr>
            <p:cNvPr id="85" name="Rectangle 84">
              <a:extLst>
                <a:ext uri="{FF2B5EF4-FFF2-40B4-BE49-F238E27FC236}">
                  <a16:creationId xmlns:a16="http://schemas.microsoft.com/office/drawing/2014/main" id="{BE8BE5E4-FF52-45ED-8470-6C921FA7D175}"/>
                </a:ext>
              </a:extLst>
            </p:cNvPr>
            <p:cNvSpPr/>
            <p:nvPr/>
          </p:nvSpPr>
          <p:spPr bwMode="auto">
            <a:xfrm>
              <a:off x="6524625" y="2038350"/>
              <a:ext cx="5600700" cy="1781176"/>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sp>
        <p:nvSpPr>
          <p:cNvPr id="102" name="Rectangle 101">
            <a:extLst>
              <a:ext uri="{FF2B5EF4-FFF2-40B4-BE49-F238E27FC236}">
                <a16:creationId xmlns:a16="http://schemas.microsoft.com/office/drawing/2014/main" id="{FF50A6D2-13B4-4A6D-B5D6-853D9A7C6D0A}"/>
              </a:ext>
            </a:extLst>
          </p:cNvPr>
          <p:cNvSpPr/>
          <p:nvPr/>
        </p:nvSpPr>
        <p:spPr bwMode="auto">
          <a:xfrm>
            <a:off x="8493234" y="2474463"/>
            <a:ext cx="3207161" cy="1123950"/>
          </a:xfrm>
          <a:prstGeom prst="rect">
            <a:avLst/>
          </a:prstGeom>
          <a:solidFill>
            <a:srgbClr val="FFFFFF">
              <a:alpha val="76000"/>
            </a:srgbClr>
          </a:solidFill>
          <a:ln w="12700" cap="flat" cmpd="sng" algn="ctr">
            <a:noFill/>
            <a:prstDash val="dash"/>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03" name="Rectangle 102">
            <a:extLst>
              <a:ext uri="{FF2B5EF4-FFF2-40B4-BE49-F238E27FC236}">
                <a16:creationId xmlns:a16="http://schemas.microsoft.com/office/drawing/2014/main" id="{CE298C26-1C1B-4A96-83B5-A5038F194CDD}"/>
              </a:ext>
            </a:extLst>
          </p:cNvPr>
          <p:cNvSpPr/>
          <p:nvPr/>
        </p:nvSpPr>
        <p:spPr>
          <a:xfrm>
            <a:off x="6361789" y="4132008"/>
            <a:ext cx="2052165" cy="369332"/>
          </a:xfrm>
          <a:prstGeom prst="rect">
            <a:avLst/>
          </a:prstGeom>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a:ln>
                  <a:noFill/>
                </a:ln>
                <a:solidFill>
                  <a:srgbClr val="58585A"/>
                </a:solidFill>
                <a:effectLst/>
                <a:uLnTx/>
                <a:uFillTx/>
                <a:latin typeface="Ericsson Hilda Light"/>
                <a:ea typeface="+mn-ea"/>
                <a:cs typeface="+mn-cs"/>
              </a:rPr>
              <a:t>Voice and mobility</a:t>
            </a:r>
          </a:p>
        </p:txBody>
      </p:sp>
      <p:grpSp>
        <p:nvGrpSpPr>
          <p:cNvPr id="106" name="Group 105">
            <a:extLst>
              <a:ext uri="{FF2B5EF4-FFF2-40B4-BE49-F238E27FC236}">
                <a16:creationId xmlns:a16="http://schemas.microsoft.com/office/drawing/2014/main" id="{CA8BA931-BB6B-4548-A5FE-8C3CBB884CFB}"/>
              </a:ext>
            </a:extLst>
          </p:cNvPr>
          <p:cNvGrpSpPr/>
          <p:nvPr/>
        </p:nvGrpSpPr>
        <p:grpSpPr>
          <a:xfrm>
            <a:off x="9236244" y="5309457"/>
            <a:ext cx="716296" cy="259114"/>
            <a:chOff x="6803198" y="5378733"/>
            <a:chExt cx="1606249" cy="330059"/>
          </a:xfrm>
        </p:grpSpPr>
        <p:sp>
          <p:nvSpPr>
            <p:cNvPr id="113" name="AutoShape 15" descr="bpct-blend1">
              <a:extLst>
                <a:ext uri="{FF2B5EF4-FFF2-40B4-BE49-F238E27FC236}">
                  <a16:creationId xmlns:a16="http://schemas.microsoft.com/office/drawing/2014/main" id="{BC4A9347-4020-492B-B3EF-C44F9839D0B3}"/>
                </a:ext>
              </a:extLst>
            </p:cNvPr>
            <p:cNvSpPr>
              <a:spLocks noChangeArrowheads="1"/>
            </p:cNvSpPr>
            <p:nvPr/>
          </p:nvSpPr>
          <p:spPr bwMode="auto">
            <a:xfrm>
              <a:off x="6803198" y="5380956"/>
              <a:ext cx="795689" cy="327836"/>
            </a:xfrm>
            <a:prstGeom prst="rect">
              <a:avLst/>
            </a:prstGeom>
            <a:solidFill>
              <a:schemeClr val="accent2"/>
            </a:solidFill>
            <a:ln w="25400" algn="ctr">
              <a:solidFill>
                <a:schemeClr val="accent2">
                  <a:lumMod val="75000"/>
                </a:schemeClr>
              </a:solid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LTE</a:t>
              </a:r>
            </a:p>
          </p:txBody>
        </p:sp>
        <p:sp>
          <p:nvSpPr>
            <p:cNvPr id="118" name="AutoShape 15" descr="bpct-blend1">
              <a:extLst>
                <a:ext uri="{FF2B5EF4-FFF2-40B4-BE49-F238E27FC236}">
                  <a16:creationId xmlns:a16="http://schemas.microsoft.com/office/drawing/2014/main" id="{598ECE9D-41F5-408F-B345-24FF12F948AC}"/>
                </a:ext>
              </a:extLst>
            </p:cNvPr>
            <p:cNvSpPr>
              <a:spLocks noChangeArrowheads="1"/>
            </p:cNvSpPr>
            <p:nvPr/>
          </p:nvSpPr>
          <p:spPr bwMode="auto">
            <a:xfrm>
              <a:off x="7750354" y="5378733"/>
              <a:ext cx="659093" cy="327836"/>
            </a:xfrm>
            <a:prstGeom prst="rect">
              <a:avLst/>
            </a:prstGeom>
            <a:solidFill>
              <a:schemeClr val="accent5"/>
            </a:solidFill>
            <a:ln w="25400" algn="ctr">
              <a:noFill/>
              <a:round/>
              <a:headEnd/>
              <a:tailEnd/>
            </a:ln>
          </p:spPr>
          <p:txBody>
            <a:bodyPr wrap="non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grpSp>
        <p:nvGrpSpPr>
          <p:cNvPr id="120" name="Group 119">
            <a:extLst>
              <a:ext uri="{FF2B5EF4-FFF2-40B4-BE49-F238E27FC236}">
                <a16:creationId xmlns:a16="http://schemas.microsoft.com/office/drawing/2014/main" id="{C225BCA5-4782-470F-A388-B8804F0FA062}"/>
              </a:ext>
            </a:extLst>
          </p:cNvPr>
          <p:cNvGrpSpPr/>
          <p:nvPr/>
        </p:nvGrpSpPr>
        <p:grpSpPr>
          <a:xfrm>
            <a:off x="10299416" y="4945889"/>
            <a:ext cx="716296" cy="590466"/>
            <a:chOff x="6803198" y="4954436"/>
            <a:chExt cx="1606249" cy="752133"/>
          </a:xfrm>
        </p:grpSpPr>
        <p:sp>
          <p:nvSpPr>
            <p:cNvPr id="121" name="AutoShape 15" descr="bpct-blend1">
              <a:extLst>
                <a:ext uri="{FF2B5EF4-FFF2-40B4-BE49-F238E27FC236}">
                  <a16:creationId xmlns:a16="http://schemas.microsoft.com/office/drawing/2014/main" id="{3507D086-22F3-4B20-B6FE-167CA60F0B58}"/>
                </a:ext>
              </a:extLst>
            </p:cNvPr>
            <p:cNvSpPr>
              <a:spLocks noChangeArrowheads="1"/>
            </p:cNvSpPr>
            <p:nvPr/>
          </p:nvSpPr>
          <p:spPr bwMode="auto">
            <a:xfrm>
              <a:off x="6803198" y="4954436"/>
              <a:ext cx="1606247" cy="360391"/>
            </a:xfrm>
            <a:prstGeom prst="rect">
              <a:avLst/>
            </a:prstGeom>
            <a:solidFill>
              <a:schemeClr val="accent1"/>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5GC</a:t>
              </a:r>
            </a:p>
          </p:txBody>
        </p:sp>
        <p:sp>
          <p:nvSpPr>
            <p:cNvPr id="126" name="AutoShape 15" descr="bpct-blend1">
              <a:extLst>
                <a:ext uri="{FF2B5EF4-FFF2-40B4-BE49-F238E27FC236}">
                  <a16:creationId xmlns:a16="http://schemas.microsoft.com/office/drawing/2014/main" id="{62644E96-C88B-42A9-8BD7-BFA36A773F82}"/>
                </a:ext>
              </a:extLst>
            </p:cNvPr>
            <p:cNvSpPr>
              <a:spLocks noChangeArrowheads="1"/>
            </p:cNvSpPr>
            <p:nvPr/>
          </p:nvSpPr>
          <p:spPr bwMode="auto">
            <a:xfrm>
              <a:off x="6803198" y="5378733"/>
              <a:ext cx="1606249" cy="327836"/>
            </a:xfrm>
            <a:prstGeom prst="rect">
              <a:avLst/>
            </a:prstGeom>
            <a:solidFill>
              <a:schemeClr val="accent5"/>
            </a:solidFill>
            <a:ln w="25400" algn="ctr">
              <a:noFill/>
              <a:round/>
              <a:headEnd/>
              <a:tailEnd/>
            </a:ln>
          </p:spPr>
          <p:txBody>
            <a:bodyPr wrap="squar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 typeface="Arial" pitchFamily="34" charset="0"/>
                <a:buNone/>
                <a:tabLst/>
                <a:defRPr/>
              </a:pPr>
              <a:r>
                <a:rPr kumimoji="0" lang="en-US" altLang="en-US" sz="1200" b="0" i="0" u="none" strike="noStrike" kern="0" cap="none" spc="0" normalizeH="0" baseline="0" noProof="0">
                  <a:ln>
                    <a:noFill/>
                  </a:ln>
                  <a:solidFill>
                    <a:schemeClr val="bg1"/>
                  </a:solidFill>
                  <a:effectLst/>
                  <a:uLnTx/>
                  <a:uFillTx/>
                  <a:latin typeface="Arial" pitchFamily="34" charset="0"/>
                  <a:ea typeface="+mn-ea"/>
                  <a:cs typeface="+mn-cs"/>
                </a:rPr>
                <a:t>NR</a:t>
              </a:r>
              <a:endParaRPr kumimoji="0" lang="sv-SE" altLang="en-US" sz="1200" b="0" i="0" u="none" strike="noStrike" kern="0" cap="none" spc="0" normalizeH="0" baseline="0" noProof="0">
                <a:ln>
                  <a:noFill/>
                </a:ln>
                <a:solidFill>
                  <a:schemeClr val="bg1"/>
                </a:solidFill>
                <a:effectLst/>
                <a:uLnTx/>
                <a:uFillTx/>
                <a:latin typeface="Arial" pitchFamily="34" charset="0"/>
                <a:ea typeface="+mn-ea"/>
                <a:cs typeface="+mn-cs"/>
              </a:endParaRPr>
            </a:p>
          </p:txBody>
        </p:sp>
      </p:grpSp>
      <p:sp>
        <p:nvSpPr>
          <p:cNvPr id="127" name="Rectangle 126">
            <a:extLst>
              <a:ext uri="{FF2B5EF4-FFF2-40B4-BE49-F238E27FC236}">
                <a16:creationId xmlns:a16="http://schemas.microsoft.com/office/drawing/2014/main" id="{7F24785F-AA69-4A2A-A58D-53179FE0864A}"/>
              </a:ext>
            </a:extLst>
          </p:cNvPr>
          <p:cNvSpPr/>
          <p:nvPr/>
        </p:nvSpPr>
        <p:spPr bwMode="auto">
          <a:xfrm>
            <a:off x="6266754" y="4037266"/>
            <a:ext cx="5600700" cy="2263781"/>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28" name="AutoShape 15" descr="bpct-blend1">
            <a:extLst>
              <a:ext uri="{FF2B5EF4-FFF2-40B4-BE49-F238E27FC236}">
                <a16:creationId xmlns:a16="http://schemas.microsoft.com/office/drawing/2014/main" id="{662CB256-F139-4129-8543-92EA119AFE4D}"/>
              </a:ext>
            </a:extLst>
          </p:cNvPr>
          <p:cNvSpPr>
            <a:spLocks noChangeArrowheads="1"/>
          </p:cNvSpPr>
          <p:nvPr/>
        </p:nvSpPr>
        <p:spPr bwMode="auto">
          <a:xfrm>
            <a:off x="8183226" y="4602290"/>
            <a:ext cx="2832486" cy="282927"/>
          </a:xfrm>
          <a:prstGeom prst="rect">
            <a:avLst/>
          </a:prstGeom>
          <a:solidFill>
            <a:schemeClr val="accent2"/>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IMS Telephony</a:t>
            </a:r>
          </a:p>
        </p:txBody>
      </p:sp>
      <p:grpSp>
        <p:nvGrpSpPr>
          <p:cNvPr id="129" name="Group 128">
            <a:extLst>
              <a:ext uri="{FF2B5EF4-FFF2-40B4-BE49-F238E27FC236}">
                <a16:creationId xmlns:a16="http://schemas.microsoft.com/office/drawing/2014/main" id="{530AB226-543D-4FC4-81E2-7E07BA3E1AAD}"/>
              </a:ext>
            </a:extLst>
          </p:cNvPr>
          <p:cNvGrpSpPr/>
          <p:nvPr/>
        </p:nvGrpSpPr>
        <p:grpSpPr>
          <a:xfrm>
            <a:off x="8183226" y="4972191"/>
            <a:ext cx="1761595" cy="592210"/>
            <a:chOff x="6803198" y="4954437"/>
            <a:chExt cx="3950267" cy="754355"/>
          </a:xfrm>
        </p:grpSpPr>
        <p:sp>
          <p:nvSpPr>
            <p:cNvPr id="130" name="AutoShape 15" descr="bpct-blend1">
              <a:extLst>
                <a:ext uri="{FF2B5EF4-FFF2-40B4-BE49-F238E27FC236}">
                  <a16:creationId xmlns:a16="http://schemas.microsoft.com/office/drawing/2014/main" id="{86CD2969-9620-4239-AFA6-4180B8B72D5E}"/>
                </a:ext>
              </a:extLst>
            </p:cNvPr>
            <p:cNvSpPr>
              <a:spLocks noChangeArrowheads="1"/>
            </p:cNvSpPr>
            <p:nvPr/>
          </p:nvSpPr>
          <p:spPr bwMode="auto">
            <a:xfrm>
              <a:off x="6803198" y="4954437"/>
              <a:ext cx="3950267" cy="360391"/>
            </a:xfrm>
            <a:prstGeom prst="rect">
              <a:avLst/>
            </a:prstGeom>
            <a:solidFill>
              <a:schemeClr val="accent2"/>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EPC</a:t>
              </a:r>
            </a:p>
          </p:txBody>
        </p:sp>
        <p:sp>
          <p:nvSpPr>
            <p:cNvPr id="131" name="AutoShape 15" descr="bpct-blend1">
              <a:extLst>
                <a:ext uri="{FF2B5EF4-FFF2-40B4-BE49-F238E27FC236}">
                  <a16:creationId xmlns:a16="http://schemas.microsoft.com/office/drawing/2014/main" id="{105B0B83-07C0-49A1-8E66-E5C90666CBA1}"/>
                </a:ext>
              </a:extLst>
            </p:cNvPr>
            <p:cNvSpPr>
              <a:spLocks noChangeArrowheads="1"/>
            </p:cNvSpPr>
            <p:nvPr/>
          </p:nvSpPr>
          <p:spPr bwMode="auto">
            <a:xfrm>
              <a:off x="6803198" y="5380956"/>
              <a:ext cx="1583480" cy="327836"/>
            </a:xfrm>
            <a:prstGeom prst="rect">
              <a:avLst/>
            </a:prstGeom>
            <a:solidFill>
              <a:schemeClr val="accent2"/>
            </a:solidFill>
            <a:ln w="25400" algn="ctr">
              <a:solidFill>
                <a:schemeClr val="accent2">
                  <a:lumMod val="75000"/>
                </a:schemeClr>
              </a:solidFill>
              <a:round/>
              <a:headEnd/>
              <a:tailEnd/>
            </a:ln>
          </p:spPr>
          <p:txBody>
            <a:bodyPr wrap="squar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FFFFFF"/>
                  </a:solidFill>
                  <a:effectLst/>
                  <a:uLnTx/>
                  <a:uFillTx/>
                  <a:latin typeface="Arial" pitchFamily="34" charset="0"/>
                  <a:ea typeface="+mn-ea"/>
                  <a:cs typeface="+mn-cs"/>
                </a:rPr>
                <a:t>LTE</a:t>
              </a:r>
            </a:p>
          </p:txBody>
        </p:sp>
      </p:grpSp>
      <p:grpSp>
        <p:nvGrpSpPr>
          <p:cNvPr id="132" name="Group 131">
            <a:extLst>
              <a:ext uri="{FF2B5EF4-FFF2-40B4-BE49-F238E27FC236}">
                <a16:creationId xmlns:a16="http://schemas.microsoft.com/office/drawing/2014/main" id="{059BC548-6E35-4D0B-BF58-3099498BE473}"/>
              </a:ext>
            </a:extLst>
          </p:cNvPr>
          <p:cNvGrpSpPr/>
          <p:nvPr/>
        </p:nvGrpSpPr>
        <p:grpSpPr>
          <a:xfrm>
            <a:off x="7116738" y="4972186"/>
            <a:ext cx="716295" cy="592210"/>
            <a:chOff x="6803198" y="4954437"/>
            <a:chExt cx="1606247" cy="754356"/>
          </a:xfrm>
        </p:grpSpPr>
        <p:sp>
          <p:nvSpPr>
            <p:cNvPr id="133" name="AutoShape 15" descr="bpct-blend1">
              <a:extLst>
                <a:ext uri="{FF2B5EF4-FFF2-40B4-BE49-F238E27FC236}">
                  <a16:creationId xmlns:a16="http://schemas.microsoft.com/office/drawing/2014/main" id="{73E98845-9B31-40B7-AF4C-10AA51441444}"/>
                </a:ext>
              </a:extLst>
            </p:cNvPr>
            <p:cNvSpPr>
              <a:spLocks noChangeArrowheads="1"/>
            </p:cNvSpPr>
            <p:nvPr/>
          </p:nvSpPr>
          <p:spPr bwMode="auto">
            <a:xfrm>
              <a:off x="6803198" y="4954437"/>
              <a:ext cx="1606247" cy="360391"/>
            </a:xfrm>
            <a:prstGeom prst="rect">
              <a:avLst/>
            </a:prstGeom>
            <a:solidFill>
              <a:schemeClr val="bg2"/>
            </a:solidFill>
            <a:ln w="25400" algn="ctr">
              <a:noFill/>
              <a:round/>
              <a:headEnd/>
              <a:tailEnd/>
            </a:ln>
          </p:spPr>
          <p:txBody>
            <a:bodyPr lIns="36000" tIns="36000" rIns="36000" bIns="36000"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181818"/>
                  </a:solidFill>
                  <a:effectLst/>
                  <a:uLnTx/>
                  <a:uFillTx/>
                  <a:latin typeface="Arial" pitchFamily="34" charset="0"/>
                  <a:ea typeface="+mn-ea"/>
                  <a:cs typeface="+mn-cs"/>
                </a:rPr>
                <a:t>CS core</a:t>
              </a:r>
            </a:p>
          </p:txBody>
        </p:sp>
        <p:sp>
          <p:nvSpPr>
            <p:cNvPr id="134" name="AutoShape 15" descr="bpct-blend1">
              <a:extLst>
                <a:ext uri="{FF2B5EF4-FFF2-40B4-BE49-F238E27FC236}">
                  <a16:creationId xmlns:a16="http://schemas.microsoft.com/office/drawing/2014/main" id="{9C243419-458C-4269-8A32-E51793B6A426}"/>
                </a:ext>
              </a:extLst>
            </p:cNvPr>
            <p:cNvSpPr>
              <a:spLocks noChangeArrowheads="1"/>
            </p:cNvSpPr>
            <p:nvPr/>
          </p:nvSpPr>
          <p:spPr bwMode="auto">
            <a:xfrm>
              <a:off x="6803198" y="5380957"/>
              <a:ext cx="1583480" cy="327836"/>
            </a:xfrm>
            <a:prstGeom prst="rect">
              <a:avLst/>
            </a:prstGeom>
            <a:solidFill>
              <a:schemeClr val="bg2"/>
            </a:solidFill>
            <a:ln w="25400" algn="ctr">
              <a:noFill/>
              <a:round/>
              <a:headEnd/>
              <a:tailEnd/>
            </a:ln>
          </p:spPr>
          <p:txBody>
            <a:bodyPr wrap="square" lIns="36000" tIns="36000" rIns="36000" bIns="36000" anchor="ctr">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0" cap="none" spc="0" normalizeH="0" baseline="0" noProof="0">
                  <a:ln>
                    <a:noFill/>
                  </a:ln>
                  <a:solidFill>
                    <a:srgbClr val="181818"/>
                  </a:solidFill>
                  <a:effectLst/>
                  <a:uLnTx/>
                  <a:uFillTx/>
                  <a:latin typeface="Arial" pitchFamily="34" charset="0"/>
                  <a:ea typeface="+mn-ea"/>
                  <a:cs typeface="+mn-cs"/>
                </a:rPr>
                <a:t>2G/3G </a:t>
              </a:r>
            </a:p>
          </p:txBody>
        </p:sp>
      </p:grpSp>
      <p:cxnSp>
        <p:nvCxnSpPr>
          <p:cNvPr id="135" name="Straight Arrow Connector 134">
            <a:extLst>
              <a:ext uri="{FF2B5EF4-FFF2-40B4-BE49-F238E27FC236}">
                <a16:creationId xmlns:a16="http://schemas.microsoft.com/office/drawing/2014/main" id="{862DBA65-C650-4A82-94D0-582C857D90AF}"/>
              </a:ext>
            </a:extLst>
          </p:cNvPr>
          <p:cNvCxnSpPr/>
          <p:nvPr/>
        </p:nvCxnSpPr>
        <p:spPr bwMode="auto">
          <a:xfrm flipH="1">
            <a:off x="7466120" y="6027748"/>
            <a:ext cx="1615736" cy="0"/>
          </a:xfrm>
          <a:prstGeom prst="straightConnector1">
            <a:avLst/>
          </a:prstGeom>
          <a:solidFill>
            <a:schemeClr val="accent1"/>
          </a:solidFill>
          <a:ln w="3175" cap="flat" cmpd="sng" algn="ctr">
            <a:solidFill>
              <a:schemeClr val="bg1">
                <a:lumMod val="65000"/>
              </a:schemeClr>
            </a:solidFill>
            <a:prstDash val="solid"/>
            <a:round/>
            <a:headEnd type="none" w="med" len="med"/>
            <a:tailEnd type="triangle"/>
          </a:ln>
          <a:effectLst/>
        </p:spPr>
      </p:cxnSp>
      <p:sp>
        <p:nvSpPr>
          <p:cNvPr id="136" name="TextBox 135">
            <a:extLst>
              <a:ext uri="{FF2B5EF4-FFF2-40B4-BE49-F238E27FC236}">
                <a16:creationId xmlns:a16="http://schemas.microsoft.com/office/drawing/2014/main" id="{16C36CFB-B849-4A7B-9CCD-2E23376CB262}"/>
              </a:ext>
            </a:extLst>
          </p:cNvPr>
          <p:cNvSpPr txBox="1"/>
          <p:nvPr/>
        </p:nvSpPr>
        <p:spPr>
          <a:xfrm>
            <a:off x="7730075" y="5851555"/>
            <a:ext cx="1136530"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FFFFFF">
                    <a:lumMod val="65000"/>
                  </a:srgbClr>
                </a:solidFill>
                <a:effectLst/>
                <a:uLnTx/>
                <a:uFillTx/>
                <a:latin typeface="Arial" charset="0"/>
                <a:ea typeface="+mn-ea"/>
                <a:cs typeface="+mn-cs"/>
              </a:rPr>
              <a:t>CSFB &amp; SRVCC</a:t>
            </a:r>
          </a:p>
        </p:txBody>
      </p:sp>
      <p:cxnSp>
        <p:nvCxnSpPr>
          <p:cNvPr id="137" name="Straight Arrow Connector 136">
            <a:extLst>
              <a:ext uri="{FF2B5EF4-FFF2-40B4-BE49-F238E27FC236}">
                <a16:creationId xmlns:a16="http://schemas.microsoft.com/office/drawing/2014/main" id="{2C6D97B9-6041-4198-8011-B94DD5753108}"/>
              </a:ext>
            </a:extLst>
          </p:cNvPr>
          <p:cNvCxnSpPr>
            <a:cxnSpLocks/>
          </p:cNvCxnSpPr>
          <p:nvPr/>
        </p:nvCxnSpPr>
        <p:spPr bwMode="auto">
          <a:xfrm flipH="1">
            <a:off x="9345811" y="5915691"/>
            <a:ext cx="1421938" cy="0"/>
          </a:xfrm>
          <a:prstGeom prst="straightConnector1">
            <a:avLst/>
          </a:prstGeom>
          <a:solidFill>
            <a:schemeClr val="accent1"/>
          </a:solidFill>
          <a:ln w="3175" cap="flat" cmpd="sng" algn="ctr">
            <a:solidFill>
              <a:schemeClr val="bg1">
                <a:lumMod val="65000"/>
              </a:schemeClr>
            </a:solidFill>
            <a:prstDash val="solid"/>
            <a:round/>
            <a:headEnd type="none" w="med" len="med"/>
            <a:tailEnd type="triangle" w="med" len="med"/>
          </a:ln>
          <a:effectLst/>
        </p:spPr>
      </p:cxnSp>
      <p:sp>
        <p:nvSpPr>
          <p:cNvPr id="138" name="TextBox 137">
            <a:extLst>
              <a:ext uri="{FF2B5EF4-FFF2-40B4-BE49-F238E27FC236}">
                <a16:creationId xmlns:a16="http://schemas.microsoft.com/office/drawing/2014/main" id="{5BE709CF-E685-4BC9-9F00-D9D36A38A386}"/>
              </a:ext>
            </a:extLst>
          </p:cNvPr>
          <p:cNvSpPr txBox="1"/>
          <p:nvPr/>
        </p:nvSpPr>
        <p:spPr>
          <a:xfrm>
            <a:off x="9563780" y="5730620"/>
            <a:ext cx="921727"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FFFFFF">
                    <a:lumMod val="65000"/>
                  </a:srgbClr>
                </a:solidFill>
                <a:effectLst/>
                <a:uLnTx/>
                <a:uFillTx/>
                <a:latin typeface="Arial" charset="0"/>
                <a:ea typeface="+mn-ea"/>
                <a:cs typeface="+mn-cs"/>
              </a:rPr>
              <a:t>EPS Fallback</a:t>
            </a:r>
          </a:p>
        </p:txBody>
      </p:sp>
      <p:cxnSp>
        <p:nvCxnSpPr>
          <p:cNvPr id="139" name="Straight Arrow Connector 138">
            <a:extLst>
              <a:ext uri="{FF2B5EF4-FFF2-40B4-BE49-F238E27FC236}">
                <a16:creationId xmlns:a16="http://schemas.microsoft.com/office/drawing/2014/main" id="{34F3C4E9-81B1-4FE6-96C2-FCD17132F40B}"/>
              </a:ext>
            </a:extLst>
          </p:cNvPr>
          <p:cNvCxnSpPr>
            <a:cxnSpLocks/>
          </p:cNvCxnSpPr>
          <p:nvPr/>
        </p:nvCxnSpPr>
        <p:spPr bwMode="auto">
          <a:xfrm flipH="1">
            <a:off x="9345811" y="6160839"/>
            <a:ext cx="1421938" cy="0"/>
          </a:xfrm>
          <a:prstGeom prst="straightConnector1">
            <a:avLst/>
          </a:prstGeom>
          <a:solidFill>
            <a:schemeClr val="accent1"/>
          </a:solidFill>
          <a:ln w="3175" cap="flat" cmpd="sng" algn="ctr">
            <a:solidFill>
              <a:schemeClr val="bg1">
                <a:lumMod val="65000"/>
              </a:schemeClr>
            </a:solidFill>
            <a:prstDash val="solid"/>
            <a:round/>
            <a:headEnd type="triangle" w="med" len="med"/>
            <a:tailEnd type="triangle" w="med" len="med"/>
          </a:ln>
          <a:effectLst/>
        </p:spPr>
      </p:cxnSp>
      <p:sp>
        <p:nvSpPr>
          <p:cNvPr id="140" name="TextBox 139">
            <a:extLst>
              <a:ext uri="{FF2B5EF4-FFF2-40B4-BE49-F238E27FC236}">
                <a16:creationId xmlns:a16="http://schemas.microsoft.com/office/drawing/2014/main" id="{796A98D1-7EEE-4280-A920-C4028028D98A}"/>
              </a:ext>
            </a:extLst>
          </p:cNvPr>
          <p:cNvSpPr txBox="1"/>
          <p:nvPr/>
        </p:nvSpPr>
        <p:spPr>
          <a:xfrm>
            <a:off x="9563780" y="5975768"/>
            <a:ext cx="1069203" cy="184666"/>
          </a:xfrm>
          <a:prstGeom prst="rect">
            <a:avLst/>
          </a:prstGeom>
          <a:noFill/>
        </p:spPr>
        <p:txBody>
          <a:bodyPr wrap="none" lIns="0" tIns="0" rIns="0" bIns="0" rtlCol="0" anchor="ctr">
            <a:spAutoFit/>
          </a:bodyPr>
          <a:lstStyle>
            <a:defPPr>
              <a:defRPr lang="en-GB"/>
            </a:defPPr>
            <a:lvl1pPr marL="0" marR="0" lvl="0" indent="0"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a:ln>
                  <a:noFill/>
                </a:ln>
                <a:solidFill>
                  <a:srgbClr val="FFFFFF">
                    <a:lumMod val="65000"/>
                  </a:srgbClr>
                </a:solidFill>
                <a:effectLst/>
                <a:uLnTx/>
                <a:uFillTx/>
                <a:latin typeface="Arial" charset="0"/>
                <a:ea typeface="+mn-ea"/>
                <a:cs typeface="+mn-cs"/>
              </a:rPr>
              <a:t>Intersystem HO</a:t>
            </a:r>
          </a:p>
        </p:txBody>
      </p:sp>
    </p:spTree>
    <p:extLst>
      <p:ext uri="{BB962C8B-B14F-4D97-AF65-F5344CB8AC3E}">
        <p14:creationId xmlns:p14="http://schemas.microsoft.com/office/powerpoint/2010/main" val="42217438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3966A13-A4AE-43C6-93F7-BAE1DE4716A4}"/>
              </a:ext>
            </a:extLst>
          </p:cNvPr>
          <p:cNvSpPr>
            <a:spLocks noGrp="1"/>
          </p:cNvSpPr>
          <p:nvPr>
            <p:ph type="title"/>
          </p:nvPr>
        </p:nvSpPr>
        <p:spPr>
          <a:xfrm>
            <a:off x="332677" y="429747"/>
            <a:ext cx="8983339" cy="1081088"/>
          </a:xfrm>
        </p:spPr>
        <p:txBody>
          <a:bodyPr/>
          <a:lstStyle/>
          <a:p>
            <a:r>
              <a:rPr lang="en-US">
                <a:solidFill>
                  <a:schemeClr val="accent1"/>
                </a:solidFill>
              </a:rPr>
              <a:t>5G voice </a:t>
            </a:r>
            <a:r>
              <a:rPr lang="en-US"/>
              <a:t>architectures in the 5G evolution</a:t>
            </a:r>
            <a:endParaRPr lang="en-US">
              <a:highlight>
                <a:srgbClr val="FFFF00"/>
              </a:highlight>
            </a:endParaRPr>
          </a:p>
        </p:txBody>
      </p:sp>
      <p:sp>
        <p:nvSpPr>
          <p:cNvPr id="34" name="TextBox 33">
            <a:extLst>
              <a:ext uri="{FF2B5EF4-FFF2-40B4-BE49-F238E27FC236}">
                <a16:creationId xmlns:a16="http://schemas.microsoft.com/office/drawing/2014/main" id="{6E5CB332-3C7A-454C-AF72-A698351FA76B}"/>
              </a:ext>
            </a:extLst>
          </p:cNvPr>
          <p:cNvSpPr txBox="1"/>
          <p:nvPr/>
        </p:nvSpPr>
        <p:spPr bwMode="auto">
          <a:xfrm>
            <a:off x="352988" y="3907670"/>
            <a:ext cx="3270713" cy="1221291"/>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181818"/>
              </a:buClr>
              <a:buSzTx/>
              <a:buFontTx/>
              <a:buNone/>
              <a:tabLst/>
              <a:defRPr/>
            </a:pPr>
            <a:r>
              <a:rPr kumimoji="0" lang="en-US" sz="1600" b="1" i="0" u="none" strike="noStrike" kern="1200" cap="none" spc="0" normalizeH="0" baseline="0" noProof="0">
                <a:ln>
                  <a:noFill/>
                </a:ln>
                <a:solidFill>
                  <a:srgbClr val="181818"/>
                </a:solidFill>
                <a:effectLst/>
                <a:uLnTx/>
                <a:uFillTx/>
                <a:latin typeface="Ericsson Hilda"/>
                <a:ea typeface="+mn-ea"/>
                <a:cs typeface="+mn-cs"/>
              </a:rPr>
              <a:t>Voice in EN-DC </a:t>
            </a:r>
          </a:p>
          <a:p>
            <a:pPr marL="285750" marR="0" lvl="0" indent="-285750" algn="l" defTabSz="914400" rtl="0" eaLnBrk="1" fontAlgn="auto" latinLnBrk="0" hangingPunct="1">
              <a:lnSpc>
                <a:spcPct val="100000"/>
              </a:lnSpc>
              <a:spcBef>
                <a:spcPts val="0"/>
              </a:spcBef>
              <a:spcAft>
                <a:spcPts val="0"/>
              </a:spcAft>
              <a:buClr>
                <a:srgbClr val="181818"/>
              </a:buClr>
              <a:buSzTx/>
              <a:buFont typeface="Ericsson Hilda Light" panose="00000600000000000000" pitchFamily="2" charset="0"/>
              <a:buChar char="—"/>
              <a:tabLst/>
              <a:defRPr/>
            </a:pPr>
            <a:r>
              <a:rPr kumimoji="0" lang="en-US" sz="1400" b="1" i="0" u="none" strike="noStrike" kern="1200" cap="none" spc="0" normalizeH="0" baseline="0" noProof="0">
                <a:ln>
                  <a:noFill/>
                </a:ln>
                <a:solidFill>
                  <a:srgbClr val="0082F0"/>
                </a:solidFill>
                <a:effectLst/>
                <a:uLnTx/>
                <a:uFillTx/>
                <a:latin typeface="Ericsson Hilda"/>
                <a:ea typeface="+mn-ea"/>
                <a:cs typeface="+mn-cs"/>
              </a:rPr>
              <a:t>Voice over LTE </a:t>
            </a:r>
            <a:r>
              <a:rPr kumimoji="0" lang="en-US" sz="1400" b="0" i="0" u="none" strike="noStrike" kern="1200" cap="none" spc="0" normalizeH="0" baseline="0" noProof="0">
                <a:ln>
                  <a:noFill/>
                </a:ln>
                <a:solidFill>
                  <a:srgbClr val="181818"/>
                </a:solidFill>
                <a:effectLst/>
                <a:uLnTx/>
                <a:uFillTx/>
                <a:latin typeface="Ericsson Hilda"/>
                <a:ea typeface="+mn-ea"/>
                <a:cs typeface="+mn-cs"/>
              </a:rPr>
              <a:t>and using </a:t>
            </a:r>
            <a:r>
              <a:rPr kumimoji="0" lang="en-US" sz="1400" b="1" i="0" u="none" strike="noStrike" kern="1200" cap="none" spc="0" normalizeH="0" baseline="0" noProof="0">
                <a:ln>
                  <a:noFill/>
                </a:ln>
                <a:solidFill>
                  <a:srgbClr val="0082F0"/>
                </a:solidFill>
                <a:effectLst/>
                <a:uLnTx/>
                <a:uFillTx/>
                <a:latin typeface="Ericsson Hilda"/>
                <a:ea typeface="+mn-ea"/>
                <a:cs typeface="+mn-cs"/>
              </a:rPr>
              <a:t>NR as a data boost</a:t>
            </a:r>
            <a:br>
              <a:rPr kumimoji="0" lang="en-US" sz="1400" b="1" i="0" u="none" strike="noStrike" kern="1200" cap="none" spc="0" normalizeH="0" baseline="0" noProof="0">
                <a:ln>
                  <a:noFill/>
                </a:ln>
                <a:solidFill>
                  <a:srgbClr val="0082F0"/>
                </a:solidFill>
                <a:effectLst/>
                <a:uLnTx/>
                <a:uFillTx/>
                <a:latin typeface="Ericsson Hilda"/>
                <a:ea typeface="+mn-ea"/>
                <a:cs typeface="+mn-cs"/>
              </a:rPr>
            </a:br>
            <a:br>
              <a:rPr kumimoji="0" lang="en-US" sz="1400" b="0" i="0" u="none" strike="noStrike" kern="1200" cap="none" spc="0" normalizeH="0" baseline="0" noProof="0">
                <a:ln>
                  <a:noFill/>
                </a:ln>
                <a:solidFill>
                  <a:srgbClr val="181818"/>
                </a:solidFill>
                <a:effectLst/>
                <a:uLnTx/>
                <a:uFillTx/>
                <a:latin typeface="Ericsson Hilda"/>
                <a:ea typeface="+mn-ea"/>
                <a:cs typeface="+mn-cs"/>
              </a:rPr>
            </a:br>
            <a:endParaRPr kumimoji="0" lang="en-US" sz="1400" b="1" i="0" u="none" strike="noStrike" kern="1200" cap="none" spc="0" normalizeH="0" baseline="0" noProof="0">
              <a:ln>
                <a:noFill/>
              </a:ln>
              <a:solidFill>
                <a:srgbClr val="181818"/>
              </a:solidFill>
              <a:effectLst/>
              <a:uLnTx/>
              <a:uFillTx/>
              <a:latin typeface="Ericsson Hilda"/>
              <a:ea typeface="+mn-ea"/>
              <a:cs typeface="+mn-cs"/>
            </a:endParaRPr>
          </a:p>
        </p:txBody>
      </p:sp>
      <p:sp>
        <p:nvSpPr>
          <p:cNvPr id="303" name="TextBox 302">
            <a:extLst>
              <a:ext uri="{FF2B5EF4-FFF2-40B4-BE49-F238E27FC236}">
                <a16:creationId xmlns:a16="http://schemas.microsoft.com/office/drawing/2014/main" id="{09B0D1B2-323C-48A0-848D-0B679D4DB6D8}"/>
              </a:ext>
            </a:extLst>
          </p:cNvPr>
          <p:cNvSpPr txBox="1"/>
          <p:nvPr/>
        </p:nvSpPr>
        <p:spPr bwMode="auto">
          <a:xfrm>
            <a:off x="8013178" y="3907670"/>
            <a:ext cx="3926776" cy="2301587"/>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90000"/>
              </a:lnSpc>
              <a:spcBef>
                <a:spcPts val="0"/>
              </a:spcBef>
              <a:spcAft>
                <a:spcPts val="600"/>
              </a:spcAft>
              <a:buClr>
                <a:srgbClr val="181818"/>
              </a:buClr>
              <a:buSzTx/>
              <a:buFontTx/>
              <a:buNone/>
              <a:tabLst/>
              <a:defRPr/>
            </a:pPr>
            <a:r>
              <a:rPr kumimoji="0" lang="en-US" sz="1600" b="1" i="0" u="none" strike="noStrike" kern="1200" cap="none" spc="0" normalizeH="0" baseline="0" noProof="0">
                <a:ln>
                  <a:noFill/>
                </a:ln>
                <a:solidFill>
                  <a:srgbClr val="181818"/>
                </a:solidFill>
                <a:effectLst/>
                <a:uLnTx/>
                <a:uFillTx/>
                <a:latin typeface="Ericsson Hilda"/>
                <a:ea typeface="+mn-ea"/>
                <a:cs typeface="+mn-cs"/>
              </a:rPr>
              <a:t>EPS Fallback</a:t>
            </a:r>
          </a:p>
          <a:p>
            <a:pPr marL="285750" marR="0" lvl="0" indent="-285750" algn="l" defTabSz="914400" rtl="0" eaLnBrk="1" fontAlgn="auto" latinLnBrk="0" hangingPunct="1">
              <a:lnSpc>
                <a:spcPct val="90000"/>
              </a:lnSpc>
              <a:spcBef>
                <a:spcPts val="0"/>
              </a:spcBef>
              <a:spcAft>
                <a:spcPts val="600"/>
              </a:spcAft>
              <a:buClr>
                <a:srgbClr val="181818"/>
              </a:buClr>
              <a:buSzTx/>
              <a:buFont typeface="Ericsson Hilda Light" panose="00000600000000000000" pitchFamily="2" charset="0"/>
              <a:buChar char="—"/>
              <a:tabLst/>
              <a:defRPr/>
            </a:pPr>
            <a:r>
              <a:rPr kumimoji="0" lang="en-US" sz="1400" i="0" u="none" strike="noStrike" kern="1200" cap="none" spc="0" normalizeH="0" baseline="0" noProof="0">
                <a:ln>
                  <a:noFill/>
                </a:ln>
                <a:effectLst/>
                <a:uLnTx/>
                <a:uFillTx/>
                <a:latin typeface="Ericsson Hilda"/>
                <a:ea typeface="+mn-ea"/>
                <a:cs typeface="+mn-cs"/>
              </a:rPr>
              <a:t>Using</a:t>
            </a:r>
            <a:r>
              <a:rPr lang="en-US" sz="1400">
                <a:latin typeface="Ericsson Hilda"/>
              </a:rPr>
              <a:t> </a:t>
            </a:r>
            <a:r>
              <a:rPr kumimoji="0" lang="en-US" sz="1400" b="1" i="0" u="none" strike="noStrike" kern="1200" cap="none" spc="0" normalizeH="0" baseline="0" noProof="0">
                <a:ln>
                  <a:noFill/>
                </a:ln>
                <a:solidFill>
                  <a:srgbClr val="0082F0"/>
                </a:solidFill>
                <a:effectLst/>
                <a:uLnTx/>
                <a:uFillTx/>
                <a:latin typeface="Ericsson Hilda"/>
                <a:ea typeface="+mn-ea"/>
                <a:cs typeface="+mn-cs"/>
              </a:rPr>
              <a:t>NR </a:t>
            </a:r>
            <a:r>
              <a:rPr kumimoji="0" lang="en-US" sz="1400" b="0" i="0" u="none" strike="noStrike" kern="1200" cap="none" spc="0" normalizeH="0" baseline="0" noProof="0">
                <a:ln>
                  <a:noFill/>
                </a:ln>
                <a:solidFill>
                  <a:srgbClr val="181818"/>
                </a:solidFill>
                <a:effectLst/>
                <a:uLnTx/>
                <a:uFillTx/>
                <a:latin typeface="Ericsson Hilda"/>
                <a:ea typeface="+mn-ea"/>
                <a:cs typeface="+mn-cs"/>
              </a:rPr>
              <a:t>but </a:t>
            </a:r>
            <a:r>
              <a:rPr kumimoji="0" lang="en-US" sz="1400" b="1" i="0" u="none" strike="noStrike" kern="1200" cap="none" spc="0" normalizeH="0" baseline="0" noProof="0">
                <a:ln>
                  <a:noFill/>
                </a:ln>
                <a:solidFill>
                  <a:srgbClr val="0082F0"/>
                </a:solidFill>
                <a:effectLst/>
                <a:uLnTx/>
                <a:uFillTx/>
                <a:latin typeface="Ericsson Hilda"/>
                <a:ea typeface="+mn-ea"/>
                <a:cs typeface="+mn-cs"/>
              </a:rPr>
              <a:t>falling back to LTE </a:t>
            </a:r>
            <a:r>
              <a:rPr kumimoji="0" lang="en-US" sz="1400" i="0" u="none" strike="noStrike" kern="1200" cap="none" spc="0" normalizeH="0" baseline="0" noProof="0">
                <a:ln>
                  <a:noFill/>
                </a:ln>
                <a:effectLst/>
                <a:uLnTx/>
                <a:uFillTx/>
                <a:latin typeface="Ericsson Hilda"/>
                <a:ea typeface="+mn-ea"/>
                <a:cs typeface="+mn-cs"/>
              </a:rPr>
              <a:t>or EN-DC </a:t>
            </a:r>
            <a:r>
              <a:rPr kumimoji="0" lang="en-US" sz="1400" b="1" i="0" u="none" strike="noStrike" kern="1200" cap="none" spc="0" normalizeH="0" baseline="0" noProof="0">
                <a:ln>
                  <a:noFill/>
                </a:ln>
                <a:solidFill>
                  <a:srgbClr val="0082F0"/>
                </a:solidFill>
                <a:effectLst/>
                <a:uLnTx/>
                <a:uFillTx/>
                <a:latin typeface="Ericsson Hilda"/>
                <a:ea typeface="+mn-ea"/>
                <a:cs typeface="+mn-cs"/>
              </a:rPr>
              <a:t>during voice call</a:t>
            </a:r>
          </a:p>
          <a:p>
            <a:pPr marL="285750" indent="-285750">
              <a:lnSpc>
                <a:spcPct val="90000"/>
              </a:lnSpc>
              <a:spcAft>
                <a:spcPts val="600"/>
              </a:spcAft>
              <a:buClr>
                <a:srgbClr val="181818"/>
              </a:buClr>
              <a:buFont typeface="Ericsson Hilda Light" panose="00000600000000000000" pitchFamily="2" charset="0"/>
              <a:buChar char="—"/>
              <a:defRPr/>
            </a:pPr>
            <a:r>
              <a:rPr lang="en-US" sz="1400" b="1">
                <a:solidFill>
                  <a:srgbClr val="0082F0"/>
                </a:solidFill>
                <a:latin typeface="Ericsson Hilda"/>
              </a:rPr>
              <a:t>Additional mobility trigger </a:t>
            </a:r>
            <a:r>
              <a:rPr lang="en-US" sz="1400">
                <a:solidFill>
                  <a:srgbClr val="181818"/>
                </a:solidFill>
                <a:latin typeface="Ericsson Hilda"/>
              </a:rPr>
              <a:t>initiated by RAN,</a:t>
            </a:r>
          </a:p>
          <a:p>
            <a:pPr marL="742950" lvl="1" indent="-285750">
              <a:lnSpc>
                <a:spcPct val="90000"/>
              </a:lnSpc>
              <a:spcBef>
                <a:spcPts val="0"/>
              </a:spcBef>
              <a:spcAft>
                <a:spcPts val="600"/>
              </a:spcAft>
              <a:buClr>
                <a:srgbClr val="181818"/>
              </a:buClr>
              <a:buFont typeface="Ericsson Hilda Light" panose="00000600000000000000" pitchFamily="2" charset="0"/>
              <a:buChar char="—"/>
              <a:defRPr/>
            </a:pPr>
            <a:r>
              <a:rPr lang="en-US" sz="1400">
                <a:solidFill>
                  <a:srgbClr val="181818"/>
                </a:solidFill>
                <a:latin typeface="Ericsson Hilda"/>
              </a:rPr>
              <a:t>Used </a:t>
            </a:r>
            <a:r>
              <a:rPr lang="en-US" sz="1400"/>
              <a:t>in case of temporary lack of radio resources in NR for voice or </a:t>
            </a:r>
          </a:p>
          <a:p>
            <a:pPr marL="742950" lvl="1" indent="-285750">
              <a:lnSpc>
                <a:spcPct val="90000"/>
              </a:lnSpc>
              <a:spcBef>
                <a:spcPts val="0"/>
              </a:spcBef>
              <a:spcAft>
                <a:spcPts val="600"/>
              </a:spcAft>
              <a:buClr>
                <a:srgbClr val="181818"/>
              </a:buClr>
              <a:buFont typeface="Ericsson Hilda Light" panose="00000600000000000000" pitchFamily="2" charset="0"/>
              <a:buChar char="—"/>
              <a:defRPr/>
            </a:pPr>
            <a:r>
              <a:rPr lang="en-US" sz="1400">
                <a:solidFill>
                  <a:srgbClr val="181818"/>
                </a:solidFill>
              </a:rPr>
              <a:t>Used before NR </a:t>
            </a:r>
            <a:r>
              <a:rPr kumimoji="0" lang="en-US" sz="1400" b="0" i="0" u="none" strike="noStrike" kern="1200" cap="none" spc="0" normalizeH="0" baseline="0" noProof="0">
                <a:ln>
                  <a:noFill/>
                </a:ln>
                <a:solidFill>
                  <a:srgbClr val="181818"/>
                </a:solidFill>
                <a:effectLst/>
                <a:uLnTx/>
                <a:uFillTx/>
                <a:latin typeface="Ericsson Hilda"/>
                <a:ea typeface="+mn-ea"/>
                <a:cs typeface="+mn-cs"/>
              </a:rPr>
              <a:t>supports and is dimensioned for voice</a:t>
            </a:r>
          </a:p>
          <a:p>
            <a:pPr marL="285750" marR="0" lvl="0" indent="-285750" algn="l" defTabSz="914400" rtl="0" eaLnBrk="1" fontAlgn="auto" latinLnBrk="0" hangingPunct="1">
              <a:lnSpc>
                <a:spcPct val="90000"/>
              </a:lnSpc>
              <a:spcBef>
                <a:spcPts val="0"/>
              </a:spcBef>
              <a:spcAft>
                <a:spcPts val="600"/>
              </a:spcAft>
              <a:buClr>
                <a:srgbClr val="181818"/>
              </a:buClr>
              <a:buSzTx/>
              <a:buFont typeface="Ericsson Hilda Light" panose="00000600000000000000" pitchFamily="2" charset="0"/>
              <a:buChar char="—"/>
              <a:tabLst/>
              <a:defRPr/>
            </a:pPr>
            <a:endParaRPr kumimoji="0" lang="en-US" sz="1400" b="1" i="0" u="none" strike="noStrike" kern="1200" cap="none" spc="0" normalizeH="0" baseline="0" noProof="0">
              <a:ln>
                <a:noFill/>
              </a:ln>
              <a:solidFill>
                <a:srgbClr val="0082F0"/>
              </a:solidFill>
              <a:effectLst/>
              <a:uLnTx/>
              <a:uFillTx/>
              <a:latin typeface="Ericsson Hilda"/>
              <a:ea typeface="+mn-ea"/>
              <a:cs typeface="+mn-cs"/>
            </a:endParaRPr>
          </a:p>
        </p:txBody>
      </p:sp>
      <p:sp>
        <p:nvSpPr>
          <p:cNvPr id="334" name="Rectangle 333">
            <a:extLst>
              <a:ext uri="{FF2B5EF4-FFF2-40B4-BE49-F238E27FC236}">
                <a16:creationId xmlns:a16="http://schemas.microsoft.com/office/drawing/2014/main" id="{77F0DDE9-DE0E-46E0-ADD3-1DB1F243E853}"/>
              </a:ext>
            </a:extLst>
          </p:cNvPr>
          <p:cNvSpPr/>
          <p:nvPr/>
        </p:nvSpPr>
        <p:spPr bwMode="auto">
          <a:xfrm>
            <a:off x="9642682" y="14020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405" name="TextBox 404">
            <a:extLst>
              <a:ext uri="{FF2B5EF4-FFF2-40B4-BE49-F238E27FC236}">
                <a16:creationId xmlns:a16="http://schemas.microsoft.com/office/drawing/2014/main" id="{6D6BF483-9C94-4564-8AD3-1B82B8987327}"/>
              </a:ext>
            </a:extLst>
          </p:cNvPr>
          <p:cNvSpPr txBox="1"/>
          <p:nvPr/>
        </p:nvSpPr>
        <p:spPr bwMode="auto">
          <a:xfrm>
            <a:off x="4534491" y="3907670"/>
            <a:ext cx="3419748" cy="1482901"/>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181818"/>
              </a:buClr>
              <a:buSzTx/>
              <a:buFontTx/>
              <a:buNone/>
              <a:tabLst/>
              <a:defRPr/>
            </a:pPr>
            <a:r>
              <a:rPr kumimoji="0" lang="en-US" sz="1600" b="1" i="0" u="none" strike="noStrike" kern="1200" cap="none" spc="0" normalizeH="0" baseline="0" noProof="0">
                <a:ln>
                  <a:noFill/>
                </a:ln>
                <a:solidFill>
                  <a:srgbClr val="181818"/>
                </a:solidFill>
                <a:effectLst/>
                <a:uLnTx/>
                <a:uFillTx/>
                <a:latin typeface="Ericsson Hilda"/>
                <a:ea typeface="+mn-ea"/>
                <a:cs typeface="+mn-cs"/>
              </a:rPr>
              <a:t>Voice over NR </a:t>
            </a:r>
            <a:endParaRPr kumimoji="0" lang="en-US" sz="1400" b="1" i="0" u="none" strike="noStrike" kern="1200" cap="none" spc="0" normalizeH="0" baseline="0" noProof="0">
              <a:ln>
                <a:noFill/>
              </a:ln>
              <a:solidFill>
                <a:srgbClr val="181818"/>
              </a:solidFill>
              <a:effectLst/>
              <a:uLnTx/>
              <a:uFillTx/>
              <a:latin typeface="Ericsson Hilda"/>
              <a:ea typeface="+mn-ea"/>
              <a:cs typeface="+mn-cs"/>
            </a:endParaRPr>
          </a:p>
          <a:p>
            <a:pPr marL="285750" marR="0" lvl="0" indent="-285750" algn="l" defTabSz="914400" rtl="0" eaLnBrk="1" fontAlgn="auto" latinLnBrk="0" hangingPunct="1">
              <a:lnSpc>
                <a:spcPct val="90000"/>
              </a:lnSpc>
              <a:spcBef>
                <a:spcPts val="0"/>
              </a:spcBef>
              <a:spcAft>
                <a:spcPts val="600"/>
              </a:spcAft>
              <a:buClr>
                <a:srgbClr val="181818"/>
              </a:buClr>
              <a:buSzTx/>
              <a:buFont typeface="Ericsson Hilda Light" panose="00000600000000000000" pitchFamily="2" charset="0"/>
              <a:buChar char="—"/>
              <a:tabLst/>
              <a:defRPr/>
            </a:pPr>
            <a:r>
              <a:rPr kumimoji="0" lang="en-US" sz="1400" b="0" i="0" u="none" strike="noStrike" kern="1200" cap="none" spc="0" normalizeH="0" baseline="0" noProof="0">
                <a:ln>
                  <a:noFill/>
                </a:ln>
                <a:solidFill>
                  <a:srgbClr val="181818"/>
                </a:solidFill>
                <a:effectLst/>
                <a:uLnTx/>
                <a:uFillTx/>
                <a:latin typeface="Ericsson Hilda"/>
                <a:ea typeface="+mn-ea"/>
                <a:cs typeface="+mn-cs"/>
              </a:rPr>
              <a:t>Using </a:t>
            </a:r>
            <a:r>
              <a:rPr kumimoji="0" lang="en-US" sz="1400" b="1" i="0" u="none" strike="noStrike" kern="1200" cap="none" spc="0" normalizeH="0" baseline="0" noProof="0">
                <a:ln>
                  <a:noFill/>
                </a:ln>
                <a:solidFill>
                  <a:srgbClr val="0082F0"/>
                </a:solidFill>
                <a:effectLst/>
                <a:uLnTx/>
                <a:uFillTx/>
                <a:latin typeface="Ericsson Hilda"/>
                <a:ea typeface="+mn-ea"/>
                <a:cs typeface="+mn-cs"/>
              </a:rPr>
              <a:t>NR for voice and data</a:t>
            </a:r>
            <a:endParaRPr kumimoji="0" lang="en-US" sz="1400" b="1" i="0" u="none" strike="noStrike" kern="1200" cap="none" spc="0" normalizeH="0" baseline="0" noProof="0">
              <a:ln>
                <a:noFill/>
              </a:ln>
              <a:solidFill>
                <a:srgbClr val="181818"/>
              </a:solidFill>
              <a:effectLst/>
              <a:uLnTx/>
              <a:uFillTx/>
              <a:latin typeface="Ericsson Hilda"/>
              <a:ea typeface="+mn-ea"/>
              <a:cs typeface="+mn-cs"/>
            </a:endParaRPr>
          </a:p>
          <a:p>
            <a:pPr marL="285750" marR="0" lvl="0" indent="-285750" algn="l" defTabSz="914400" rtl="0" eaLnBrk="1" fontAlgn="auto" latinLnBrk="0" hangingPunct="1">
              <a:lnSpc>
                <a:spcPct val="90000"/>
              </a:lnSpc>
              <a:spcBef>
                <a:spcPts val="0"/>
              </a:spcBef>
              <a:spcAft>
                <a:spcPts val="600"/>
              </a:spcAft>
              <a:buClr>
                <a:srgbClr val="181818"/>
              </a:buClr>
              <a:buSzTx/>
              <a:buFont typeface="Ericsson Hilda Light" panose="00000600000000000000" pitchFamily="2" charset="0"/>
              <a:buChar char="—"/>
              <a:tabLst/>
              <a:defRPr/>
            </a:pPr>
            <a:r>
              <a:rPr kumimoji="0" lang="en-US" sz="1400" b="1" i="0" u="none" strike="noStrike" kern="1200" cap="none" spc="0" normalizeH="0" baseline="0" noProof="0">
                <a:ln>
                  <a:noFill/>
                </a:ln>
                <a:solidFill>
                  <a:srgbClr val="0082F0"/>
                </a:solidFill>
                <a:effectLst/>
                <a:uLnTx/>
                <a:uFillTx/>
                <a:latin typeface="Ericsson Hilda"/>
                <a:ea typeface="+mn-ea"/>
                <a:cs typeface="+mn-cs"/>
              </a:rPr>
              <a:t>Seamless</a:t>
            </a:r>
            <a:r>
              <a:rPr kumimoji="0" lang="en-US" sz="1400" b="0" i="0" u="none" strike="noStrike" kern="1200" cap="none" spc="0" normalizeH="0" baseline="0" noProof="0">
                <a:ln>
                  <a:noFill/>
                </a:ln>
                <a:solidFill>
                  <a:srgbClr val="181818"/>
                </a:solidFill>
                <a:effectLst/>
                <a:uLnTx/>
                <a:uFillTx/>
                <a:latin typeface="Ericsson Hilda"/>
                <a:ea typeface="+mn-ea"/>
                <a:cs typeface="+mn-cs"/>
              </a:rPr>
              <a:t> </a:t>
            </a:r>
            <a:r>
              <a:rPr kumimoji="0" lang="en-US" sz="1400" b="1" i="0" u="none" strike="noStrike" kern="1200" cap="none" spc="0" normalizeH="0" baseline="0" noProof="0">
                <a:ln>
                  <a:noFill/>
                </a:ln>
                <a:solidFill>
                  <a:srgbClr val="0082F0"/>
                </a:solidFill>
                <a:effectLst/>
                <a:uLnTx/>
                <a:uFillTx/>
                <a:latin typeface="Ericsson Hilda"/>
                <a:ea typeface="+mn-ea"/>
                <a:cs typeface="+mn-cs"/>
              </a:rPr>
              <a:t>mobility</a:t>
            </a:r>
            <a:r>
              <a:rPr kumimoji="0" lang="en-US" sz="1400" b="0" i="0" u="none" strike="noStrike" kern="1200" cap="none" spc="0" normalizeH="0" baseline="0" noProof="0">
                <a:ln>
                  <a:noFill/>
                </a:ln>
                <a:solidFill>
                  <a:srgbClr val="181818"/>
                </a:solidFill>
                <a:effectLst/>
                <a:uLnTx/>
                <a:uFillTx/>
                <a:latin typeface="Ericsson Hilda"/>
                <a:ea typeface="+mn-ea"/>
                <a:cs typeface="+mn-cs"/>
              </a:rPr>
              <a:t> between 5GS and EPS using IRAT handover</a:t>
            </a:r>
          </a:p>
          <a:p>
            <a:pPr marL="285750" marR="0" lvl="0" indent="-285750" algn="l" defTabSz="914400" rtl="0" eaLnBrk="1" fontAlgn="auto" latinLnBrk="0" hangingPunct="1">
              <a:lnSpc>
                <a:spcPct val="90000"/>
              </a:lnSpc>
              <a:spcBef>
                <a:spcPts val="0"/>
              </a:spcBef>
              <a:spcAft>
                <a:spcPts val="600"/>
              </a:spcAft>
              <a:buClr>
                <a:srgbClr val="181818"/>
              </a:buClr>
              <a:buSzTx/>
              <a:buFont typeface="Ericsson Hilda Light" panose="00000600000000000000" pitchFamily="2" charset="0"/>
              <a:buChar char="—"/>
              <a:tabLst/>
              <a:defRPr/>
            </a:pPr>
            <a:r>
              <a:rPr kumimoji="0" lang="en-US" sz="1400" b="1" i="0" u="none" strike="noStrike" kern="1200" cap="none" spc="0" normalizeH="0" baseline="0" noProof="0">
                <a:ln>
                  <a:noFill/>
                </a:ln>
                <a:solidFill>
                  <a:srgbClr val="0082F0"/>
                </a:solidFill>
                <a:effectLst/>
                <a:uLnTx/>
                <a:uFillTx/>
                <a:latin typeface="Ericsson Hilda"/>
                <a:ea typeface="+mn-ea"/>
                <a:cs typeface="+mn-cs"/>
              </a:rPr>
              <a:t>NR supporting </a:t>
            </a:r>
            <a:r>
              <a:rPr kumimoji="0" lang="en-US" sz="1400" b="0" i="0" u="none" strike="noStrike" kern="1200" cap="none" spc="0" normalizeH="0" baseline="0" noProof="0">
                <a:ln>
                  <a:noFill/>
                </a:ln>
                <a:solidFill>
                  <a:srgbClr val="181818"/>
                </a:solidFill>
                <a:effectLst/>
                <a:uLnTx/>
                <a:uFillTx/>
                <a:latin typeface="Ericsson Hilda"/>
                <a:ea typeface="+mn-ea"/>
                <a:cs typeface="+mn-cs"/>
              </a:rPr>
              <a:t>voice features </a:t>
            </a:r>
            <a:r>
              <a:rPr kumimoji="0" lang="en-US" sz="1400" b="1" i="0" u="none" strike="noStrike" kern="1200" cap="none" spc="0" normalizeH="0" baseline="0" noProof="0">
                <a:ln>
                  <a:noFill/>
                </a:ln>
                <a:solidFill>
                  <a:srgbClr val="0082F0"/>
                </a:solidFill>
                <a:effectLst/>
                <a:uLnTx/>
                <a:uFillTx/>
                <a:latin typeface="Ericsson Hilda"/>
                <a:ea typeface="+mn-ea"/>
                <a:cs typeface="+mn-cs"/>
              </a:rPr>
              <a:t>and dimensioned for voice</a:t>
            </a:r>
            <a:r>
              <a:rPr kumimoji="0" lang="en-US" sz="1400" b="0" i="0" u="none" strike="noStrike" kern="1200" cap="none" spc="0" normalizeH="0" baseline="0" noProof="0">
                <a:ln>
                  <a:noFill/>
                </a:ln>
                <a:solidFill>
                  <a:srgbClr val="181818"/>
                </a:solidFill>
                <a:effectLst/>
                <a:uLnTx/>
                <a:uFillTx/>
                <a:latin typeface="Ericsson Hilda"/>
                <a:ea typeface="+mn-ea"/>
                <a:cs typeface="+mn-cs"/>
              </a:rPr>
              <a:t> coverage</a:t>
            </a:r>
          </a:p>
        </p:txBody>
      </p:sp>
      <p:grpSp>
        <p:nvGrpSpPr>
          <p:cNvPr id="158" name="Group 157">
            <a:extLst>
              <a:ext uri="{FF2B5EF4-FFF2-40B4-BE49-F238E27FC236}">
                <a16:creationId xmlns:a16="http://schemas.microsoft.com/office/drawing/2014/main" id="{37F07490-488F-45D6-AA53-3CEC557698BA}"/>
              </a:ext>
            </a:extLst>
          </p:cNvPr>
          <p:cNvGrpSpPr/>
          <p:nvPr/>
        </p:nvGrpSpPr>
        <p:grpSpPr>
          <a:xfrm>
            <a:off x="2762002" y="2720561"/>
            <a:ext cx="797085" cy="593907"/>
            <a:chOff x="6850907" y="2233016"/>
            <a:chExt cx="797085" cy="593907"/>
          </a:xfrm>
        </p:grpSpPr>
        <p:pic>
          <p:nvPicPr>
            <p:cNvPr id="160" name="Graphic 159">
              <a:extLst>
                <a:ext uri="{FF2B5EF4-FFF2-40B4-BE49-F238E27FC236}">
                  <a16:creationId xmlns:a16="http://schemas.microsoft.com/office/drawing/2014/main" id="{D7FBEC9F-0BF7-4CA6-8692-AD1F876995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50907" y="2233016"/>
              <a:ext cx="797085" cy="593907"/>
            </a:xfrm>
            <a:prstGeom prst="rect">
              <a:avLst/>
            </a:prstGeom>
          </p:spPr>
        </p:pic>
        <p:sp>
          <p:nvSpPr>
            <p:cNvPr id="161" name="Rectangle 160">
              <a:extLst>
                <a:ext uri="{FF2B5EF4-FFF2-40B4-BE49-F238E27FC236}">
                  <a16:creationId xmlns:a16="http://schemas.microsoft.com/office/drawing/2014/main" id="{768FCEE3-2D4C-4F29-BD40-F9202AA71C6F}"/>
                </a:ext>
              </a:extLst>
            </p:cNvPr>
            <p:cNvSpPr/>
            <p:nvPr/>
          </p:nvSpPr>
          <p:spPr>
            <a:xfrm>
              <a:off x="6922870" y="2466783"/>
              <a:ext cx="6588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t>Internet &amp;</a:t>
              </a:r>
              <a:b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br>
              <a: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t>Data services</a:t>
              </a:r>
            </a:p>
          </p:txBody>
        </p:sp>
      </p:grpSp>
      <p:cxnSp>
        <p:nvCxnSpPr>
          <p:cNvPr id="162" name="Straight Connector 161">
            <a:extLst>
              <a:ext uri="{FF2B5EF4-FFF2-40B4-BE49-F238E27FC236}">
                <a16:creationId xmlns:a16="http://schemas.microsoft.com/office/drawing/2014/main" id="{E66BDA1A-E461-4EEB-94FB-1037BBFF8AC5}"/>
              </a:ext>
            </a:extLst>
          </p:cNvPr>
          <p:cNvCxnSpPr>
            <a:cxnSpLocks/>
          </p:cNvCxnSpPr>
          <p:nvPr/>
        </p:nvCxnSpPr>
        <p:spPr bwMode="auto">
          <a:xfrm>
            <a:off x="2669890" y="2626433"/>
            <a:ext cx="276623" cy="312469"/>
          </a:xfrm>
          <a:prstGeom prst="line">
            <a:avLst/>
          </a:prstGeom>
          <a:noFill/>
          <a:ln w="28575" cap="flat" cmpd="sng" algn="ctr">
            <a:solidFill>
              <a:schemeClr val="tx1">
                <a:lumMod val="25000"/>
                <a:lumOff val="7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cxnSp>
        <p:nvCxnSpPr>
          <p:cNvPr id="163" name="Straight Connector 162">
            <a:extLst>
              <a:ext uri="{FF2B5EF4-FFF2-40B4-BE49-F238E27FC236}">
                <a16:creationId xmlns:a16="http://schemas.microsoft.com/office/drawing/2014/main" id="{E72B8EAE-A12D-4C1F-87A0-05AD71AA3C2F}"/>
              </a:ext>
            </a:extLst>
          </p:cNvPr>
          <p:cNvCxnSpPr>
            <a:cxnSpLocks/>
            <a:stCxn id="229" idx="0"/>
            <a:endCxn id="227" idx="2"/>
          </p:cNvCxnSpPr>
          <p:nvPr/>
        </p:nvCxnSpPr>
        <p:spPr bwMode="auto">
          <a:xfrm flipV="1">
            <a:off x="1759826" y="2692302"/>
            <a:ext cx="0" cy="215024"/>
          </a:xfrm>
          <a:prstGeom prst="line">
            <a:avLst/>
          </a:prstGeom>
          <a:noFill/>
          <a:ln w="2857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64" name="TextBox 163">
            <a:extLst>
              <a:ext uri="{FF2B5EF4-FFF2-40B4-BE49-F238E27FC236}">
                <a16:creationId xmlns:a16="http://schemas.microsoft.com/office/drawing/2014/main" id="{93FD7D75-1B9E-41C8-87FA-8027C79937D6}"/>
              </a:ext>
            </a:extLst>
          </p:cNvPr>
          <p:cNvSpPr txBox="1"/>
          <p:nvPr/>
        </p:nvSpPr>
        <p:spPr bwMode="auto">
          <a:xfrm>
            <a:off x="2713869" y="3566323"/>
            <a:ext cx="686085" cy="153888"/>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3GPP Opt.3</a:t>
            </a:r>
          </a:p>
        </p:txBody>
      </p:sp>
      <p:sp>
        <p:nvSpPr>
          <p:cNvPr id="165" name="TextBox 164">
            <a:extLst>
              <a:ext uri="{FF2B5EF4-FFF2-40B4-BE49-F238E27FC236}">
                <a16:creationId xmlns:a16="http://schemas.microsoft.com/office/drawing/2014/main" id="{55F90D37-0307-4AF4-A8BB-982354185547}"/>
              </a:ext>
            </a:extLst>
          </p:cNvPr>
          <p:cNvSpPr txBox="1"/>
          <p:nvPr/>
        </p:nvSpPr>
        <p:spPr bwMode="auto">
          <a:xfrm>
            <a:off x="10854678" y="3636144"/>
            <a:ext cx="791883" cy="153888"/>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3GPP Opt.2 ..</a:t>
            </a:r>
          </a:p>
        </p:txBody>
      </p:sp>
      <p:pic>
        <p:nvPicPr>
          <p:cNvPr id="166" name="Graphic 165">
            <a:extLst>
              <a:ext uri="{FF2B5EF4-FFF2-40B4-BE49-F238E27FC236}">
                <a16:creationId xmlns:a16="http://schemas.microsoft.com/office/drawing/2014/main" id="{CC83C6DA-EF7B-4ECF-95ED-9F4A6BE4028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32747" y="2330649"/>
            <a:ext cx="258323" cy="361653"/>
          </a:xfrm>
          <a:prstGeom prst="rect">
            <a:avLst/>
          </a:prstGeom>
        </p:spPr>
      </p:pic>
      <p:sp>
        <p:nvSpPr>
          <p:cNvPr id="167" name="Rectangle 166">
            <a:extLst>
              <a:ext uri="{FF2B5EF4-FFF2-40B4-BE49-F238E27FC236}">
                <a16:creationId xmlns:a16="http://schemas.microsoft.com/office/drawing/2014/main" id="{062644CF-DE36-42A6-A621-0546EA3D7732}"/>
              </a:ext>
            </a:extLst>
          </p:cNvPr>
          <p:cNvSpPr/>
          <p:nvPr/>
        </p:nvSpPr>
        <p:spPr bwMode="auto">
          <a:xfrm>
            <a:off x="8383242" y="32107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68" name="Straight Connector 167">
            <a:extLst>
              <a:ext uri="{FF2B5EF4-FFF2-40B4-BE49-F238E27FC236}">
                <a16:creationId xmlns:a16="http://schemas.microsoft.com/office/drawing/2014/main" id="{303887F3-6396-4FB7-A86E-F6995A2D4FFB}"/>
              </a:ext>
            </a:extLst>
          </p:cNvPr>
          <p:cNvCxnSpPr>
            <a:cxnSpLocks/>
            <a:stCxn id="181" idx="3"/>
            <a:endCxn id="167" idx="1"/>
          </p:cNvCxnSpPr>
          <p:nvPr/>
        </p:nvCxnSpPr>
        <p:spPr bwMode="auto">
          <a:xfrm>
            <a:off x="8013178" y="3233611"/>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69" name="Rectangle 168">
            <a:extLst>
              <a:ext uri="{FF2B5EF4-FFF2-40B4-BE49-F238E27FC236}">
                <a16:creationId xmlns:a16="http://schemas.microsoft.com/office/drawing/2014/main" id="{5616E17B-1570-4512-9CDB-AEF7FA5256BB}"/>
              </a:ext>
            </a:extLst>
          </p:cNvPr>
          <p:cNvSpPr/>
          <p:nvPr/>
        </p:nvSpPr>
        <p:spPr bwMode="auto">
          <a:xfrm>
            <a:off x="7237395" y="333106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0" name="Rectangle 169">
            <a:extLst>
              <a:ext uri="{FF2B5EF4-FFF2-40B4-BE49-F238E27FC236}">
                <a16:creationId xmlns:a16="http://schemas.microsoft.com/office/drawing/2014/main" id="{CB16D966-BCED-4732-8878-412D542584DF}"/>
              </a:ext>
            </a:extLst>
          </p:cNvPr>
          <p:cNvSpPr/>
          <p:nvPr/>
        </p:nvSpPr>
        <p:spPr bwMode="auto">
          <a:xfrm>
            <a:off x="7653178" y="333106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71" name="Straight Connector 170">
            <a:extLst>
              <a:ext uri="{FF2B5EF4-FFF2-40B4-BE49-F238E27FC236}">
                <a16:creationId xmlns:a16="http://schemas.microsoft.com/office/drawing/2014/main" id="{2B11A89B-67DA-4545-AFD5-F628A182EA8A}"/>
              </a:ext>
            </a:extLst>
          </p:cNvPr>
          <p:cNvCxnSpPr>
            <a:cxnSpLocks/>
            <a:stCxn id="169" idx="3"/>
            <a:endCxn id="170" idx="1"/>
          </p:cNvCxnSpPr>
          <p:nvPr/>
        </p:nvCxnSpPr>
        <p:spPr bwMode="auto">
          <a:xfrm>
            <a:off x="7283114" y="3353927"/>
            <a:ext cx="370064" cy="0"/>
          </a:xfrm>
          <a:prstGeom prst="line">
            <a:avLst/>
          </a:prstGeom>
          <a:noFill/>
          <a:ln w="2857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72" name="Rectangle 171">
            <a:extLst>
              <a:ext uri="{FF2B5EF4-FFF2-40B4-BE49-F238E27FC236}">
                <a16:creationId xmlns:a16="http://schemas.microsoft.com/office/drawing/2014/main" id="{DA80DE4B-C01B-4E5A-9922-841F9EBBDD44}"/>
              </a:ext>
            </a:extLst>
          </p:cNvPr>
          <p:cNvSpPr/>
          <p:nvPr/>
        </p:nvSpPr>
        <p:spPr bwMode="auto">
          <a:xfrm>
            <a:off x="6436587" y="3325145"/>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3" name="Rectangle 172">
            <a:extLst>
              <a:ext uri="{FF2B5EF4-FFF2-40B4-BE49-F238E27FC236}">
                <a16:creationId xmlns:a16="http://schemas.microsoft.com/office/drawing/2014/main" id="{65DB2526-3DD6-43D0-B782-BE39E0343AB4}"/>
              </a:ext>
            </a:extLst>
          </p:cNvPr>
          <p:cNvSpPr/>
          <p:nvPr/>
        </p:nvSpPr>
        <p:spPr bwMode="auto">
          <a:xfrm>
            <a:off x="6825216" y="3325145"/>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74" name="Straight Connector 173">
            <a:extLst>
              <a:ext uri="{FF2B5EF4-FFF2-40B4-BE49-F238E27FC236}">
                <a16:creationId xmlns:a16="http://schemas.microsoft.com/office/drawing/2014/main" id="{3B25A18A-FD61-4084-8F73-0DFC22F27048}"/>
              </a:ext>
            </a:extLst>
          </p:cNvPr>
          <p:cNvCxnSpPr>
            <a:cxnSpLocks/>
            <a:stCxn id="172" idx="3"/>
            <a:endCxn id="173" idx="1"/>
          </p:cNvCxnSpPr>
          <p:nvPr/>
        </p:nvCxnSpPr>
        <p:spPr bwMode="auto">
          <a:xfrm>
            <a:off x="6482306" y="3348005"/>
            <a:ext cx="342910" cy="0"/>
          </a:xfrm>
          <a:prstGeom prst="line">
            <a:avLst/>
          </a:prstGeom>
          <a:noFill/>
          <a:ln w="2857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76" name="Rectangle 175">
            <a:extLst>
              <a:ext uri="{FF2B5EF4-FFF2-40B4-BE49-F238E27FC236}">
                <a16:creationId xmlns:a16="http://schemas.microsoft.com/office/drawing/2014/main" id="{5ED4190C-C04F-49B7-B3BD-26CFBB5DF9C3}"/>
              </a:ext>
            </a:extLst>
          </p:cNvPr>
          <p:cNvSpPr/>
          <p:nvPr/>
        </p:nvSpPr>
        <p:spPr bwMode="auto">
          <a:xfrm>
            <a:off x="7733840" y="264658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0" name="Rectangle 179">
            <a:extLst>
              <a:ext uri="{FF2B5EF4-FFF2-40B4-BE49-F238E27FC236}">
                <a16:creationId xmlns:a16="http://schemas.microsoft.com/office/drawing/2014/main" id="{4334513D-5217-4FF9-A9B8-116C72D77A4D}"/>
              </a:ext>
            </a:extLst>
          </p:cNvPr>
          <p:cNvSpPr/>
          <p:nvPr/>
        </p:nvSpPr>
        <p:spPr bwMode="auto">
          <a:xfrm>
            <a:off x="7896745" y="264658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1" name="Rectangle 180">
            <a:extLst>
              <a:ext uri="{FF2B5EF4-FFF2-40B4-BE49-F238E27FC236}">
                <a16:creationId xmlns:a16="http://schemas.microsoft.com/office/drawing/2014/main" id="{4FF18791-2BD2-4DED-AFAB-763AE5530843}"/>
              </a:ext>
            </a:extLst>
          </p:cNvPr>
          <p:cNvSpPr/>
          <p:nvPr/>
        </p:nvSpPr>
        <p:spPr bwMode="auto">
          <a:xfrm>
            <a:off x="7967459" y="32107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2" name="Rectangle 181">
            <a:extLst>
              <a:ext uri="{FF2B5EF4-FFF2-40B4-BE49-F238E27FC236}">
                <a16:creationId xmlns:a16="http://schemas.microsoft.com/office/drawing/2014/main" id="{D526DB06-EBAE-49BB-8690-473DEB65970E}"/>
              </a:ext>
            </a:extLst>
          </p:cNvPr>
          <p:cNvSpPr/>
          <p:nvPr/>
        </p:nvSpPr>
        <p:spPr bwMode="auto">
          <a:xfrm>
            <a:off x="6003617" y="3219742"/>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3" name="Rectangle 182">
            <a:extLst>
              <a:ext uri="{FF2B5EF4-FFF2-40B4-BE49-F238E27FC236}">
                <a16:creationId xmlns:a16="http://schemas.microsoft.com/office/drawing/2014/main" id="{1DE74207-6F31-4A4E-9C8A-A2B61C902243}"/>
              </a:ext>
            </a:extLst>
          </p:cNvPr>
          <p:cNvSpPr/>
          <p:nvPr/>
        </p:nvSpPr>
        <p:spPr bwMode="auto">
          <a:xfrm>
            <a:off x="6046118" y="2524075"/>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4" name="Rectangle 183">
            <a:extLst>
              <a:ext uri="{FF2B5EF4-FFF2-40B4-BE49-F238E27FC236}">
                <a16:creationId xmlns:a16="http://schemas.microsoft.com/office/drawing/2014/main" id="{A6FCFCF1-078D-4F7B-8459-57DF05AC66A6}"/>
              </a:ext>
            </a:extLst>
          </p:cNvPr>
          <p:cNvSpPr/>
          <p:nvPr/>
        </p:nvSpPr>
        <p:spPr bwMode="auto">
          <a:xfrm>
            <a:off x="6415255"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5" name="Rectangle 184">
            <a:extLst>
              <a:ext uri="{FF2B5EF4-FFF2-40B4-BE49-F238E27FC236}">
                <a16:creationId xmlns:a16="http://schemas.microsoft.com/office/drawing/2014/main" id="{8238468C-1B2E-42EE-BC01-3F211ECABC47}"/>
              </a:ext>
            </a:extLst>
          </p:cNvPr>
          <p:cNvSpPr/>
          <p:nvPr/>
        </p:nvSpPr>
        <p:spPr bwMode="auto">
          <a:xfrm>
            <a:off x="6825216"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86" name="Straight Connector 185">
            <a:extLst>
              <a:ext uri="{FF2B5EF4-FFF2-40B4-BE49-F238E27FC236}">
                <a16:creationId xmlns:a16="http://schemas.microsoft.com/office/drawing/2014/main" id="{403244D6-EA3C-4471-94EC-E647E63E1B68}"/>
              </a:ext>
            </a:extLst>
          </p:cNvPr>
          <p:cNvCxnSpPr>
            <a:cxnSpLocks/>
            <a:stCxn id="184" idx="3"/>
            <a:endCxn id="185" idx="1"/>
          </p:cNvCxnSpPr>
          <p:nvPr/>
        </p:nvCxnSpPr>
        <p:spPr bwMode="auto">
          <a:xfrm>
            <a:off x="6460974" y="2549063"/>
            <a:ext cx="364242"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87" name="Rectangle 186">
            <a:extLst>
              <a:ext uri="{FF2B5EF4-FFF2-40B4-BE49-F238E27FC236}">
                <a16:creationId xmlns:a16="http://schemas.microsoft.com/office/drawing/2014/main" id="{B4FA0831-14B3-4C19-880D-8CBEA383764C}"/>
              </a:ext>
            </a:extLst>
          </p:cNvPr>
          <p:cNvSpPr/>
          <p:nvPr/>
        </p:nvSpPr>
        <p:spPr bwMode="auto">
          <a:xfrm>
            <a:off x="6825216"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88" name="Straight Connector 187">
            <a:extLst>
              <a:ext uri="{FF2B5EF4-FFF2-40B4-BE49-F238E27FC236}">
                <a16:creationId xmlns:a16="http://schemas.microsoft.com/office/drawing/2014/main" id="{6401E530-9F4F-4004-890C-198B0DD067F9}"/>
              </a:ext>
            </a:extLst>
          </p:cNvPr>
          <p:cNvCxnSpPr>
            <a:cxnSpLocks/>
            <a:stCxn id="189" idx="3"/>
            <a:endCxn id="187" idx="1"/>
          </p:cNvCxnSpPr>
          <p:nvPr/>
        </p:nvCxnSpPr>
        <p:spPr bwMode="auto">
          <a:xfrm>
            <a:off x="6460974" y="2433511"/>
            <a:ext cx="364242"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89" name="Rectangle 188">
            <a:extLst>
              <a:ext uri="{FF2B5EF4-FFF2-40B4-BE49-F238E27FC236}">
                <a16:creationId xmlns:a16="http://schemas.microsoft.com/office/drawing/2014/main" id="{A6360C98-791F-40F1-B68A-9BC376611FAC}"/>
              </a:ext>
            </a:extLst>
          </p:cNvPr>
          <p:cNvSpPr/>
          <p:nvPr/>
        </p:nvSpPr>
        <p:spPr bwMode="auto">
          <a:xfrm>
            <a:off x="6415255"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0" name="Rectangle 189">
            <a:extLst>
              <a:ext uri="{FF2B5EF4-FFF2-40B4-BE49-F238E27FC236}">
                <a16:creationId xmlns:a16="http://schemas.microsoft.com/office/drawing/2014/main" id="{68990A1C-5557-4EAB-8ACF-7DC8DCD503AE}"/>
              </a:ext>
            </a:extLst>
          </p:cNvPr>
          <p:cNvSpPr/>
          <p:nvPr/>
        </p:nvSpPr>
        <p:spPr bwMode="auto">
          <a:xfrm>
            <a:off x="7237395"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1" name="Rectangle 190">
            <a:extLst>
              <a:ext uri="{FF2B5EF4-FFF2-40B4-BE49-F238E27FC236}">
                <a16:creationId xmlns:a16="http://schemas.microsoft.com/office/drawing/2014/main" id="{7BAA7FB0-3265-4D32-9157-4C0B46FE3E59}"/>
              </a:ext>
            </a:extLst>
          </p:cNvPr>
          <p:cNvSpPr/>
          <p:nvPr/>
        </p:nvSpPr>
        <p:spPr bwMode="auto">
          <a:xfrm>
            <a:off x="7653178"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92" name="Straight Connector 191">
            <a:extLst>
              <a:ext uri="{FF2B5EF4-FFF2-40B4-BE49-F238E27FC236}">
                <a16:creationId xmlns:a16="http://schemas.microsoft.com/office/drawing/2014/main" id="{F50E132F-A0ED-4844-98DB-DDC8724C7C65}"/>
              </a:ext>
            </a:extLst>
          </p:cNvPr>
          <p:cNvCxnSpPr>
            <a:cxnSpLocks/>
            <a:stCxn id="190" idx="3"/>
            <a:endCxn id="191" idx="1"/>
          </p:cNvCxnSpPr>
          <p:nvPr/>
        </p:nvCxnSpPr>
        <p:spPr bwMode="auto">
          <a:xfrm>
            <a:off x="7283114" y="2549063"/>
            <a:ext cx="370064"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93" name="Rectangle 192">
            <a:extLst>
              <a:ext uri="{FF2B5EF4-FFF2-40B4-BE49-F238E27FC236}">
                <a16:creationId xmlns:a16="http://schemas.microsoft.com/office/drawing/2014/main" id="{6D4B5936-90DD-48E7-8231-6CE0422406CB}"/>
              </a:ext>
            </a:extLst>
          </p:cNvPr>
          <p:cNvSpPr/>
          <p:nvPr/>
        </p:nvSpPr>
        <p:spPr bwMode="auto">
          <a:xfrm>
            <a:off x="7653178"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94" name="Straight Connector 193">
            <a:extLst>
              <a:ext uri="{FF2B5EF4-FFF2-40B4-BE49-F238E27FC236}">
                <a16:creationId xmlns:a16="http://schemas.microsoft.com/office/drawing/2014/main" id="{CBB85A51-D45A-4F9E-80F2-259C418EAA62}"/>
              </a:ext>
            </a:extLst>
          </p:cNvPr>
          <p:cNvCxnSpPr>
            <a:cxnSpLocks/>
            <a:stCxn id="195" idx="3"/>
            <a:endCxn id="193" idx="1"/>
          </p:cNvCxnSpPr>
          <p:nvPr/>
        </p:nvCxnSpPr>
        <p:spPr bwMode="auto">
          <a:xfrm>
            <a:off x="7283114" y="2433511"/>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95" name="Rectangle 194">
            <a:extLst>
              <a:ext uri="{FF2B5EF4-FFF2-40B4-BE49-F238E27FC236}">
                <a16:creationId xmlns:a16="http://schemas.microsoft.com/office/drawing/2014/main" id="{62661E07-EF69-4F86-910A-BDFE2C88C843}"/>
              </a:ext>
            </a:extLst>
          </p:cNvPr>
          <p:cNvSpPr/>
          <p:nvPr/>
        </p:nvSpPr>
        <p:spPr bwMode="auto">
          <a:xfrm>
            <a:off x="7237395"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6" name="TextBox 195">
            <a:extLst>
              <a:ext uri="{FF2B5EF4-FFF2-40B4-BE49-F238E27FC236}">
                <a16:creationId xmlns:a16="http://schemas.microsoft.com/office/drawing/2014/main" id="{FB0F342B-0781-4413-A9BA-20CD97ADB3D1}"/>
              </a:ext>
            </a:extLst>
          </p:cNvPr>
          <p:cNvSpPr txBox="1"/>
          <p:nvPr/>
        </p:nvSpPr>
        <p:spPr bwMode="auto">
          <a:xfrm>
            <a:off x="6547049" y="3400250"/>
            <a:ext cx="218008"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Data</a:t>
            </a:r>
          </a:p>
        </p:txBody>
      </p:sp>
      <p:sp>
        <p:nvSpPr>
          <p:cNvPr id="197" name="TextBox 196">
            <a:extLst>
              <a:ext uri="{FF2B5EF4-FFF2-40B4-BE49-F238E27FC236}">
                <a16:creationId xmlns:a16="http://schemas.microsoft.com/office/drawing/2014/main" id="{75653172-1C43-4F8C-8901-56694E194102}"/>
              </a:ext>
            </a:extLst>
          </p:cNvPr>
          <p:cNvSpPr txBox="1"/>
          <p:nvPr/>
        </p:nvSpPr>
        <p:spPr bwMode="auto">
          <a:xfrm>
            <a:off x="6527011" y="2287090"/>
            <a:ext cx="258084"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Voice</a:t>
            </a:r>
          </a:p>
        </p:txBody>
      </p:sp>
      <p:sp>
        <p:nvSpPr>
          <p:cNvPr id="198" name="TextBox 197">
            <a:extLst>
              <a:ext uri="{FF2B5EF4-FFF2-40B4-BE49-F238E27FC236}">
                <a16:creationId xmlns:a16="http://schemas.microsoft.com/office/drawing/2014/main" id="{2A3A650D-FA29-4CED-8D62-9AA1863DDFA9}"/>
              </a:ext>
            </a:extLst>
          </p:cNvPr>
          <p:cNvSpPr txBox="1"/>
          <p:nvPr/>
        </p:nvSpPr>
        <p:spPr bwMode="auto">
          <a:xfrm>
            <a:off x="6547049" y="2586761"/>
            <a:ext cx="218008"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Data</a:t>
            </a:r>
          </a:p>
        </p:txBody>
      </p:sp>
      <p:pic>
        <p:nvPicPr>
          <p:cNvPr id="199" name="Graphic 198">
            <a:extLst>
              <a:ext uri="{FF2B5EF4-FFF2-40B4-BE49-F238E27FC236}">
                <a16:creationId xmlns:a16="http://schemas.microsoft.com/office/drawing/2014/main" id="{1E20DD0B-90C8-4860-AC4F-774251EFB0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32747" y="3130673"/>
            <a:ext cx="258323" cy="361653"/>
          </a:xfrm>
          <a:prstGeom prst="rect">
            <a:avLst/>
          </a:prstGeom>
        </p:spPr>
      </p:pic>
      <p:sp>
        <p:nvSpPr>
          <p:cNvPr id="200" name="Rectangle 199">
            <a:extLst>
              <a:ext uri="{FF2B5EF4-FFF2-40B4-BE49-F238E27FC236}">
                <a16:creationId xmlns:a16="http://schemas.microsoft.com/office/drawing/2014/main" id="{12835693-6139-454F-B83F-CF75C263C9FD}"/>
              </a:ext>
            </a:extLst>
          </p:cNvPr>
          <p:cNvSpPr/>
          <p:nvPr/>
        </p:nvSpPr>
        <p:spPr bwMode="auto">
          <a:xfrm>
            <a:off x="3039954" y="2411460"/>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01" name="Straight Connector 200">
            <a:extLst>
              <a:ext uri="{FF2B5EF4-FFF2-40B4-BE49-F238E27FC236}">
                <a16:creationId xmlns:a16="http://schemas.microsoft.com/office/drawing/2014/main" id="{2C312FED-2295-4B80-A186-EDE39B1D3841}"/>
              </a:ext>
            </a:extLst>
          </p:cNvPr>
          <p:cNvCxnSpPr>
            <a:cxnSpLocks/>
            <a:stCxn id="206" idx="3"/>
            <a:endCxn id="200" idx="1"/>
          </p:cNvCxnSpPr>
          <p:nvPr/>
        </p:nvCxnSpPr>
        <p:spPr bwMode="auto">
          <a:xfrm>
            <a:off x="2669890" y="2434320"/>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02" name="Rectangle 201">
            <a:extLst>
              <a:ext uri="{FF2B5EF4-FFF2-40B4-BE49-F238E27FC236}">
                <a16:creationId xmlns:a16="http://schemas.microsoft.com/office/drawing/2014/main" id="{C131097B-BE85-4ACE-91DE-171B6CF96A6B}"/>
              </a:ext>
            </a:extLst>
          </p:cNvPr>
          <p:cNvSpPr/>
          <p:nvPr/>
        </p:nvSpPr>
        <p:spPr bwMode="auto">
          <a:xfrm>
            <a:off x="1007197" y="2978435"/>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03" name="Rectangle 202">
            <a:extLst>
              <a:ext uri="{FF2B5EF4-FFF2-40B4-BE49-F238E27FC236}">
                <a16:creationId xmlns:a16="http://schemas.microsoft.com/office/drawing/2014/main" id="{F42BD000-45FB-4D5A-9661-F4FCC3DD0967}"/>
              </a:ext>
            </a:extLst>
          </p:cNvPr>
          <p:cNvSpPr/>
          <p:nvPr/>
        </p:nvSpPr>
        <p:spPr bwMode="auto">
          <a:xfrm>
            <a:off x="1481928" y="3325145"/>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04" name="Straight Connector 203">
            <a:extLst>
              <a:ext uri="{FF2B5EF4-FFF2-40B4-BE49-F238E27FC236}">
                <a16:creationId xmlns:a16="http://schemas.microsoft.com/office/drawing/2014/main" id="{249AE17A-A3EF-41AB-99AD-72E8E0CF1B6C}"/>
              </a:ext>
            </a:extLst>
          </p:cNvPr>
          <p:cNvCxnSpPr>
            <a:cxnSpLocks/>
            <a:stCxn id="202" idx="3"/>
            <a:endCxn id="203" idx="1"/>
          </p:cNvCxnSpPr>
          <p:nvPr/>
        </p:nvCxnSpPr>
        <p:spPr bwMode="auto">
          <a:xfrm>
            <a:off x="1052916" y="3001295"/>
            <a:ext cx="429012" cy="346710"/>
          </a:xfrm>
          <a:prstGeom prst="line">
            <a:avLst/>
          </a:prstGeom>
          <a:noFill/>
          <a:ln w="28575" cap="flat" cmpd="sng" algn="ctr">
            <a:solidFill>
              <a:schemeClr val="accent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06" name="Rectangle 205">
            <a:extLst>
              <a:ext uri="{FF2B5EF4-FFF2-40B4-BE49-F238E27FC236}">
                <a16:creationId xmlns:a16="http://schemas.microsoft.com/office/drawing/2014/main" id="{3B50608E-CAB1-4CA5-9FED-16A2FED76C39}"/>
              </a:ext>
            </a:extLst>
          </p:cNvPr>
          <p:cNvSpPr/>
          <p:nvPr/>
        </p:nvSpPr>
        <p:spPr bwMode="auto">
          <a:xfrm>
            <a:off x="2624171" y="2411460"/>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07" name="Rectangle 206">
            <a:extLst>
              <a:ext uri="{FF2B5EF4-FFF2-40B4-BE49-F238E27FC236}">
                <a16:creationId xmlns:a16="http://schemas.microsoft.com/office/drawing/2014/main" id="{D99841A2-7410-4995-8E25-7AA00D8A6F31}"/>
              </a:ext>
            </a:extLst>
          </p:cNvPr>
          <p:cNvSpPr/>
          <p:nvPr/>
        </p:nvSpPr>
        <p:spPr bwMode="auto">
          <a:xfrm>
            <a:off x="1007197" y="280052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08" name="Rectangle 207">
            <a:extLst>
              <a:ext uri="{FF2B5EF4-FFF2-40B4-BE49-F238E27FC236}">
                <a16:creationId xmlns:a16="http://schemas.microsoft.com/office/drawing/2014/main" id="{54F9DCC0-E625-456F-AECC-0C49C9D8A97A}"/>
              </a:ext>
            </a:extLst>
          </p:cNvPr>
          <p:cNvSpPr/>
          <p:nvPr/>
        </p:nvSpPr>
        <p:spPr bwMode="auto">
          <a:xfrm>
            <a:off x="1481928"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09" name="Straight Connector 208">
            <a:extLst>
              <a:ext uri="{FF2B5EF4-FFF2-40B4-BE49-F238E27FC236}">
                <a16:creationId xmlns:a16="http://schemas.microsoft.com/office/drawing/2014/main" id="{D124D282-0E14-4700-8FFF-4143FAA7DB02}"/>
              </a:ext>
            </a:extLst>
          </p:cNvPr>
          <p:cNvCxnSpPr>
            <a:cxnSpLocks/>
            <a:stCxn id="207" idx="3"/>
            <a:endCxn id="208" idx="1"/>
          </p:cNvCxnSpPr>
          <p:nvPr/>
        </p:nvCxnSpPr>
        <p:spPr bwMode="auto">
          <a:xfrm flipV="1">
            <a:off x="1052916" y="2549063"/>
            <a:ext cx="429012" cy="27432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10" name="Rectangle 209">
            <a:extLst>
              <a:ext uri="{FF2B5EF4-FFF2-40B4-BE49-F238E27FC236}">
                <a16:creationId xmlns:a16="http://schemas.microsoft.com/office/drawing/2014/main" id="{4549B037-2337-4954-AAD2-8849FCF33EB1}"/>
              </a:ext>
            </a:extLst>
          </p:cNvPr>
          <p:cNvSpPr/>
          <p:nvPr/>
        </p:nvSpPr>
        <p:spPr bwMode="auto">
          <a:xfrm>
            <a:off x="1481928"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11" name="Straight Connector 210">
            <a:extLst>
              <a:ext uri="{FF2B5EF4-FFF2-40B4-BE49-F238E27FC236}">
                <a16:creationId xmlns:a16="http://schemas.microsoft.com/office/drawing/2014/main" id="{53FECC69-77EE-4FF9-A9DD-90B9043F81B2}"/>
              </a:ext>
            </a:extLst>
          </p:cNvPr>
          <p:cNvCxnSpPr>
            <a:cxnSpLocks/>
            <a:stCxn id="213" idx="3"/>
            <a:endCxn id="210" idx="1"/>
          </p:cNvCxnSpPr>
          <p:nvPr/>
        </p:nvCxnSpPr>
        <p:spPr bwMode="auto">
          <a:xfrm flipV="1">
            <a:off x="1052916" y="2433511"/>
            <a:ext cx="429012" cy="27432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13" name="Rectangle 212">
            <a:extLst>
              <a:ext uri="{FF2B5EF4-FFF2-40B4-BE49-F238E27FC236}">
                <a16:creationId xmlns:a16="http://schemas.microsoft.com/office/drawing/2014/main" id="{323C7F6A-062E-403E-8C6F-06D39D31EF99}"/>
              </a:ext>
            </a:extLst>
          </p:cNvPr>
          <p:cNvSpPr/>
          <p:nvPr/>
        </p:nvSpPr>
        <p:spPr bwMode="auto">
          <a:xfrm>
            <a:off x="1007197" y="268497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14" name="Rectangle 213">
            <a:extLst>
              <a:ext uri="{FF2B5EF4-FFF2-40B4-BE49-F238E27FC236}">
                <a16:creationId xmlns:a16="http://schemas.microsoft.com/office/drawing/2014/main" id="{80436AFF-EEEF-42A5-8557-7B504101BA16}"/>
              </a:ext>
            </a:extLst>
          </p:cNvPr>
          <p:cNvSpPr/>
          <p:nvPr/>
        </p:nvSpPr>
        <p:spPr bwMode="auto">
          <a:xfrm>
            <a:off x="1894107" y="2526203"/>
            <a:ext cx="45719" cy="45719"/>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15" name="Rectangle 214">
            <a:extLst>
              <a:ext uri="{FF2B5EF4-FFF2-40B4-BE49-F238E27FC236}">
                <a16:creationId xmlns:a16="http://schemas.microsoft.com/office/drawing/2014/main" id="{B9310CF1-7783-4EE9-98CC-DDCBF4DCB6CB}"/>
              </a:ext>
            </a:extLst>
          </p:cNvPr>
          <p:cNvSpPr/>
          <p:nvPr/>
        </p:nvSpPr>
        <p:spPr bwMode="auto">
          <a:xfrm>
            <a:off x="2309890" y="2410651"/>
            <a:ext cx="45719" cy="45719"/>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16" name="Straight Connector 215">
            <a:extLst>
              <a:ext uri="{FF2B5EF4-FFF2-40B4-BE49-F238E27FC236}">
                <a16:creationId xmlns:a16="http://schemas.microsoft.com/office/drawing/2014/main" id="{D22D5A00-D633-439E-867C-9AEA7367CE78}"/>
              </a:ext>
            </a:extLst>
          </p:cNvPr>
          <p:cNvCxnSpPr>
            <a:cxnSpLocks/>
          </p:cNvCxnSpPr>
          <p:nvPr/>
        </p:nvCxnSpPr>
        <p:spPr bwMode="auto">
          <a:xfrm>
            <a:off x="1939826" y="2352033"/>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17" name="Rectangle 216">
            <a:extLst>
              <a:ext uri="{FF2B5EF4-FFF2-40B4-BE49-F238E27FC236}">
                <a16:creationId xmlns:a16="http://schemas.microsoft.com/office/drawing/2014/main" id="{77CA051F-CAD9-4FCB-A523-93DD9DF987EA}"/>
              </a:ext>
            </a:extLst>
          </p:cNvPr>
          <p:cNvSpPr/>
          <p:nvPr/>
        </p:nvSpPr>
        <p:spPr bwMode="auto">
          <a:xfrm>
            <a:off x="1894107" y="24106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19" name="TextBox 218">
            <a:extLst>
              <a:ext uri="{FF2B5EF4-FFF2-40B4-BE49-F238E27FC236}">
                <a16:creationId xmlns:a16="http://schemas.microsoft.com/office/drawing/2014/main" id="{2175F59A-48BD-407D-B8DA-E38217F5F445}"/>
              </a:ext>
            </a:extLst>
          </p:cNvPr>
          <p:cNvSpPr txBox="1">
            <a:spLocks noChangeAspect="1"/>
          </p:cNvSpPr>
          <p:nvPr/>
        </p:nvSpPr>
        <p:spPr bwMode="auto">
          <a:xfrm>
            <a:off x="3039954" y="2107302"/>
            <a:ext cx="360000" cy="585000"/>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000" b="1" i="0" u="none" strike="noStrike" kern="1200" cap="none" spc="0" normalizeH="0" baseline="0" noProof="0">
                <a:ln>
                  <a:noFill/>
                </a:ln>
                <a:solidFill>
                  <a:srgbClr val="0FC373"/>
                </a:solidFill>
                <a:effectLst/>
                <a:uLnTx/>
                <a:uFillTx/>
                <a:latin typeface="Ericsson Hilda"/>
                <a:ea typeface="+mn-ea"/>
                <a:cs typeface="+mn-cs"/>
              </a:rPr>
              <a:t>IMS</a:t>
            </a:r>
          </a:p>
        </p:txBody>
      </p:sp>
      <p:sp>
        <p:nvSpPr>
          <p:cNvPr id="220" name="TextBox 219">
            <a:extLst>
              <a:ext uri="{FF2B5EF4-FFF2-40B4-BE49-F238E27FC236}">
                <a16:creationId xmlns:a16="http://schemas.microsoft.com/office/drawing/2014/main" id="{079F4BFB-7428-4AB9-9E3A-9D70EE59A6C9}"/>
              </a:ext>
            </a:extLst>
          </p:cNvPr>
          <p:cNvSpPr txBox="1"/>
          <p:nvPr/>
        </p:nvSpPr>
        <p:spPr bwMode="auto">
          <a:xfrm rot="2320486">
            <a:off x="1116039" y="3190645"/>
            <a:ext cx="218008"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Data</a:t>
            </a:r>
          </a:p>
        </p:txBody>
      </p:sp>
      <p:sp>
        <p:nvSpPr>
          <p:cNvPr id="221" name="TextBox 220">
            <a:extLst>
              <a:ext uri="{FF2B5EF4-FFF2-40B4-BE49-F238E27FC236}">
                <a16:creationId xmlns:a16="http://schemas.microsoft.com/office/drawing/2014/main" id="{2B2A7F5A-AB0E-44DB-A998-EDB4607A00C4}"/>
              </a:ext>
            </a:extLst>
          </p:cNvPr>
          <p:cNvSpPr txBox="1"/>
          <p:nvPr/>
        </p:nvSpPr>
        <p:spPr bwMode="auto">
          <a:xfrm rot="19633447">
            <a:off x="1069671" y="2450900"/>
            <a:ext cx="258084"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Voice</a:t>
            </a:r>
          </a:p>
        </p:txBody>
      </p:sp>
      <p:sp>
        <p:nvSpPr>
          <p:cNvPr id="222" name="TextBox 221">
            <a:extLst>
              <a:ext uri="{FF2B5EF4-FFF2-40B4-BE49-F238E27FC236}">
                <a16:creationId xmlns:a16="http://schemas.microsoft.com/office/drawing/2014/main" id="{8F0CE082-DAEB-4B20-98EF-E057929DF002}"/>
              </a:ext>
            </a:extLst>
          </p:cNvPr>
          <p:cNvSpPr txBox="1"/>
          <p:nvPr/>
        </p:nvSpPr>
        <p:spPr bwMode="auto">
          <a:xfrm rot="19643653">
            <a:off x="1204648" y="2709203"/>
            <a:ext cx="218008"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Data</a:t>
            </a:r>
          </a:p>
        </p:txBody>
      </p:sp>
      <p:pic>
        <p:nvPicPr>
          <p:cNvPr id="223" name="Graphic 222">
            <a:extLst>
              <a:ext uri="{FF2B5EF4-FFF2-40B4-BE49-F238E27FC236}">
                <a16:creationId xmlns:a16="http://schemas.microsoft.com/office/drawing/2014/main" id="{A5CB3318-C79B-42B5-AFF6-F906159DC2F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4689" y="2681093"/>
            <a:ext cx="258323" cy="361653"/>
          </a:xfrm>
          <a:prstGeom prst="rect">
            <a:avLst/>
          </a:prstGeom>
        </p:spPr>
      </p:pic>
      <p:sp>
        <p:nvSpPr>
          <p:cNvPr id="224" name="Rectangle 223">
            <a:extLst>
              <a:ext uri="{FF2B5EF4-FFF2-40B4-BE49-F238E27FC236}">
                <a16:creationId xmlns:a16="http://schemas.microsoft.com/office/drawing/2014/main" id="{DBAD6AD5-3CFD-4B77-AE1B-59AC7BE35BF1}"/>
              </a:ext>
            </a:extLst>
          </p:cNvPr>
          <p:cNvSpPr/>
          <p:nvPr/>
        </p:nvSpPr>
        <p:spPr bwMode="auto">
          <a:xfrm>
            <a:off x="1894107" y="333106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25" name="Connector: Elbow 224">
            <a:extLst>
              <a:ext uri="{FF2B5EF4-FFF2-40B4-BE49-F238E27FC236}">
                <a16:creationId xmlns:a16="http://schemas.microsoft.com/office/drawing/2014/main" id="{2B11F138-9AF1-42BB-A2F5-50DAB6832F1D}"/>
              </a:ext>
            </a:extLst>
          </p:cNvPr>
          <p:cNvCxnSpPr>
            <a:cxnSpLocks/>
            <a:stCxn id="224" idx="3"/>
            <a:endCxn id="226" idx="1"/>
          </p:cNvCxnSpPr>
          <p:nvPr/>
        </p:nvCxnSpPr>
        <p:spPr bwMode="auto">
          <a:xfrm flipV="1">
            <a:off x="1939826" y="2549063"/>
            <a:ext cx="370064" cy="804864"/>
          </a:xfrm>
          <a:prstGeom prst="bentConnector3">
            <a:avLst>
              <a:gd name="adj1" fmla="val 50000"/>
            </a:avLst>
          </a:prstGeom>
          <a:solidFill>
            <a:schemeClr val="accent1"/>
          </a:solidFill>
          <a:ln w="28575" cap="flat" cmpd="sng" algn="ctr">
            <a:solidFill>
              <a:schemeClr val="accent1"/>
            </a:solidFill>
            <a:prstDash val="solid"/>
            <a:round/>
            <a:headEnd type="none" w="med" len="med"/>
            <a:tailEnd type="none"/>
          </a:ln>
          <a:effectLst/>
        </p:spPr>
      </p:cxnSp>
      <p:sp>
        <p:nvSpPr>
          <p:cNvPr id="226" name="Rectangle 225">
            <a:extLst>
              <a:ext uri="{FF2B5EF4-FFF2-40B4-BE49-F238E27FC236}">
                <a16:creationId xmlns:a16="http://schemas.microsoft.com/office/drawing/2014/main" id="{76E42018-AFB0-4783-B98A-B69684255411}"/>
              </a:ext>
            </a:extLst>
          </p:cNvPr>
          <p:cNvSpPr/>
          <p:nvPr/>
        </p:nvSpPr>
        <p:spPr bwMode="auto">
          <a:xfrm>
            <a:off x="2309890" y="25262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27" name="TextBox 226">
            <a:extLst>
              <a:ext uri="{FF2B5EF4-FFF2-40B4-BE49-F238E27FC236}">
                <a16:creationId xmlns:a16="http://schemas.microsoft.com/office/drawing/2014/main" id="{FF7D27E9-CEB0-460F-89BC-3FF14ACB457A}"/>
              </a:ext>
            </a:extLst>
          </p:cNvPr>
          <p:cNvSpPr txBox="1">
            <a:spLocks noChangeAspect="1"/>
          </p:cNvSpPr>
          <p:nvPr/>
        </p:nvSpPr>
        <p:spPr bwMode="auto">
          <a:xfrm>
            <a:off x="1579826" y="2107302"/>
            <a:ext cx="360000" cy="585000"/>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0FC373"/>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1" i="0" u="none" strike="noStrike" kern="1200" cap="none" spc="0" normalizeH="0" baseline="0" noProof="0">
                <a:ln>
                  <a:noFill/>
                </a:ln>
                <a:solidFill>
                  <a:srgbClr val="0FC373"/>
                </a:solidFill>
                <a:effectLst/>
                <a:uLnTx/>
                <a:uFillTx/>
                <a:latin typeface="Ericsson Hilda"/>
                <a:ea typeface="+mn-ea"/>
                <a:cs typeface="+mn-cs"/>
              </a:rPr>
              <a:t>LTE</a:t>
            </a:r>
          </a:p>
        </p:txBody>
      </p:sp>
      <p:sp>
        <p:nvSpPr>
          <p:cNvPr id="228" name="TextBox 227">
            <a:extLst>
              <a:ext uri="{FF2B5EF4-FFF2-40B4-BE49-F238E27FC236}">
                <a16:creationId xmlns:a16="http://schemas.microsoft.com/office/drawing/2014/main" id="{630EC7B2-DD73-44AF-A4A2-8BA2D2841019}"/>
              </a:ext>
            </a:extLst>
          </p:cNvPr>
          <p:cNvSpPr txBox="1">
            <a:spLocks noChangeAspect="1"/>
          </p:cNvSpPr>
          <p:nvPr/>
        </p:nvSpPr>
        <p:spPr bwMode="auto">
          <a:xfrm>
            <a:off x="2309890" y="2107302"/>
            <a:ext cx="360000" cy="585000"/>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000" b="1" i="0" u="none" strike="noStrike" kern="1200" cap="none" spc="0" normalizeH="0" baseline="0" noProof="0">
                <a:ln>
                  <a:noFill/>
                </a:ln>
                <a:solidFill>
                  <a:srgbClr val="0FC373"/>
                </a:solidFill>
                <a:effectLst/>
                <a:uLnTx/>
                <a:uFillTx/>
                <a:latin typeface="Ericsson Hilda"/>
                <a:ea typeface="+mn-ea"/>
                <a:cs typeface="+mn-cs"/>
              </a:rPr>
              <a:t>EPC</a:t>
            </a:r>
          </a:p>
        </p:txBody>
      </p:sp>
      <p:sp>
        <p:nvSpPr>
          <p:cNvPr id="229" name="TextBox 228">
            <a:extLst>
              <a:ext uri="{FF2B5EF4-FFF2-40B4-BE49-F238E27FC236}">
                <a16:creationId xmlns:a16="http://schemas.microsoft.com/office/drawing/2014/main" id="{0F78118D-0DC7-4936-B5A7-65E5CB7B01AC}"/>
              </a:ext>
            </a:extLst>
          </p:cNvPr>
          <p:cNvSpPr txBox="1">
            <a:spLocks noChangeAspect="1"/>
          </p:cNvSpPr>
          <p:nvPr/>
        </p:nvSpPr>
        <p:spPr bwMode="auto">
          <a:xfrm>
            <a:off x="1579826" y="2907326"/>
            <a:ext cx="360000" cy="585000"/>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1" i="0" u="none" strike="noStrike" kern="1200" cap="none" spc="0" normalizeH="0" baseline="0" noProof="0">
                <a:ln>
                  <a:noFill/>
                </a:ln>
                <a:solidFill>
                  <a:srgbClr val="0082F0"/>
                </a:solidFill>
                <a:effectLst/>
                <a:uLnTx/>
                <a:uFillTx/>
                <a:latin typeface="Ericsson Hilda"/>
                <a:ea typeface="+mn-ea"/>
                <a:cs typeface="+mn-cs"/>
              </a:rPr>
              <a:t>NR</a:t>
            </a:r>
          </a:p>
        </p:txBody>
      </p:sp>
      <p:sp>
        <p:nvSpPr>
          <p:cNvPr id="230" name="TextBox 229">
            <a:extLst>
              <a:ext uri="{FF2B5EF4-FFF2-40B4-BE49-F238E27FC236}">
                <a16:creationId xmlns:a16="http://schemas.microsoft.com/office/drawing/2014/main" id="{A44C9BCE-11AC-44E9-AABE-4D7C6754F5E5}"/>
              </a:ext>
            </a:extLst>
          </p:cNvPr>
          <p:cNvSpPr txBox="1">
            <a:spLocks noChangeAspect="1"/>
          </p:cNvSpPr>
          <p:nvPr/>
        </p:nvSpPr>
        <p:spPr bwMode="auto">
          <a:xfrm>
            <a:off x="6923114" y="2107302"/>
            <a:ext cx="360000" cy="585000"/>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B</a:t>
            </a:r>
            <a:endParaRPr kumimoji="0" lang="en-US" sz="2000" b="0" i="0" u="none" strike="noStrike" kern="1200" cap="none" spc="0" normalizeH="0" baseline="0" noProof="0">
              <a:ln>
                <a:noFill/>
              </a:ln>
              <a:solidFill>
                <a:srgbClr val="0FC373"/>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FC373"/>
                </a:solidFill>
                <a:effectLst/>
                <a:uLnTx/>
                <a:uFillTx/>
                <a:latin typeface="Ericsson Hilda"/>
                <a:ea typeface="+mn-ea"/>
                <a:cs typeface="+mn-cs"/>
              </a:rPr>
              <a:t>LTE or</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FC373"/>
                </a:solidFill>
                <a:effectLst/>
                <a:uLnTx/>
                <a:uFillTx/>
                <a:latin typeface="Ericsson Hilda"/>
                <a:ea typeface="+mn-ea"/>
                <a:cs typeface="+mn-cs"/>
              </a:rPr>
              <a:t>EN-DC</a:t>
            </a:r>
          </a:p>
        </p:txBody>
      </p:sp>
      <p:sp>
        <p:nvSpPr>
          <p:cNvPr id="232" name="TextBox 231">
            <a:extLst>
              <a:ext uri="{FF2B5EF4-FFF2-40B4-BE49-F238E27FC236}">
                <a16:creationId xmlns:a16="http://schemas.microsoft.com/office/drawing/2014/main" id="{F274C52A-6E68-48CB-B5EE-67D9218751CF}"/>
              </a:ext>
            </a:extLst>
          </p:cNvPr>
          <p:cNvSpPr txBox="1">
            <a:spLocks noChangeAspect="1"/>
          </p:cNvSpPr>
          <p:nvPr/>
        </p:nvSpPr>
        <p:spPr bwMode="auto">
          <a:xfrm>
            <a:off x="7653178" y="2107302"/>
            <a:ext cx="360000" cy="585000"/>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10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0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900" b="1" i="0" u="none" strike="noStrike" kern="1200" cap="none" spc="0" normalizeH="0" baseline="0" noProof="0">
                <a:ln>
                  <a:noFill/>
                </a:ln>
                <a:solidFill>
                  <a:srgbClr val="0FC373"/>
                </a:solidFill>
                <a:effectLst/>
                <a:uLnTx/>
                <a:uFillTx/>
                <a:latin typeface="Ericsson Hilda"/>
                <a:ea typeface="+mn-ea"/>
                <a:cs typeface="+mn-cs"/>
              </a:rPr>
              <a:t>MME</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900" b="1" i="0" u="none" strike="noStrike" kern="1200" cap="none" spc="0" normalizeH="0" baseline="0" noProof="0">
                <a:ln>
                  <a:noFill/>
                </a:ln>
                <a:solidFill>
                  <a:srgbClr val="0FC373"/>
                </a:solidFill>
                <a:effectLst/>
                <a:uLnTx/>
                <a:uFillTx/>
                <a:latin typeface="Ericsson Hilda"/>
                <a:ea typeface="+mn-ea"/>
                <a:cs typeface="+mn-cs"/>
              </a:rPr>
              <a:t>SGW</a:t>
            </a:r>
          </a:p>
        </p:txBody>
      </p:sp>
      <p:sp>
        <p:nvSpPr>
          <p:cNvPr id="233" name="TextBox 232">
            <a:extLst>
              <a:ext uri="{FF2B5EF4-FFF2-40B4-BE49-F238E27FC236}">
                <a16:creationId xmlns:a16="http://schemas.microsoft.com/office/drawing/2014/main" id="{02FA892C-2B0D-43D3-A6B8-C44BC8D67DAB}"/>
              </a:ext>
            </a:extLst>
          </p:cNvPr>
          <p:cNvSpPr txBox="1">
            <a:spLocks noChangeAspect="1"/>
          </p:cNvSpPr>
          <p:nvPr/>
        </p:nvSpPr>
        <p:spPr bwMode="auto">
          <a:xfrm>
            <a:off x="8383242" y="2907326"/>
            <a:ext cx="360000" cy="585000"/>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4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000" b="1" i="0" u="none" strike="noStrike" kern="1200" cap="none" spc="0" normalizeH="0" baseline="0" noProof="0">
                <a:ln>
                  <a:noFill/>
                </a:ln>
                <a:solidFill>
                  <a:srgbClr val="0FC373"/>
                </a:solidFill>
                <a:effectLst/>
                <a:uLnTx/>
                <a:uFillTx/>
                <a:latin typeface="Ericsson Hilda"/>
                <a:ea typeface="+mn-ea"/>
                <a:cs typeface="+mn-cs"/>
              </a:rPr>
              <a:t>IMS</a:t>
            </a:r>
          </a:p>
        </p:txBody>
      </p:sp>
      <p:sp>
        <p:nvSpPr>
          <p:cNvPr id="234" name="TextBox 233">
            <a:extLst>
              <a:ext uri="{FF2B5EF4-FFF2-40B4-BE49-F238E27FC236}">
                <a16:creationId xmlns:a16="http://schemas.microsoft.com/office/drawing/2014/main" id="{EE3580F7-028D-4AF3-BA82-06AC6FC08B73}"/>
              </a:ext>
            </a:extLst>
          </p:cNvPr>
          <p:cNvSpPr txBox="1">
            <a:spLocks noChangeAspect="1"/>
          </p:cNvSpPr>
          <p:nvPr/>
        </p:nvSpPr>
        <p:spPr bwMode="auto">
          <a:xfrm>
            <a:off x="7653178" y="2907326"/>
            <a:ext cx="360000" cy="585000"/>
          </a:xfrm>
          <a:prstGeom prst="rect">
            <a:avLst/>
          </a:prstGeom>
          <a:solidFill>
            <a:schemeClr val="bg1"/>
          </a:solidFill>
          <a:ln w="19050">
            <a:solidFill>
              <a:schemeClr val="accent1"/>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4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4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br>
              <a:rPr kumimoji="0" lang="en-US" sz="14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000" b="1" i="0" u="none" strike="noStrike" kern="1200" cap="none" spc="0" normalizeH="0" baseline="0" noProof="0">
                <a:ln>
                  <a:noFill/>
                </a:ln>
                <a:solidFill>
                  <a:srgbClr val="0082F0"/>
                </a:solidFill>
                <a:effectLst/>
                <a:uLnTx/>
                <a:uFillTx/>
                <a:latin typeface="Ericsson Hilda"/>
                <a:ea typeface="+mn-ea"/>
                <a:cs typeface="+mn-cs"/>
              </a:rPr>
              <a:t>5GC</a:t>
            </a:r>
            <a:endParaRPr kumimoji="0" lang="en-US" sz="1000" b="1" i="0" u="none" strike="noStrike" kern="1200" cap="none" spc="0" normalizeH="0" baseline="0" noProof="0">
              <a:ln>
                <a:noFill/>
              </a:ln>
              <a:solidFill>
                <a:srgbClr val="181818"/>
              </a:solidFill>
              <a:effectLst/>
              <a:uLnTx/>
              <a:uFillTx/>
              <a:latin typeface="Ericsson Hilda"/>
              <a:ea typeface="+mn-ea"/>
              <a:cs typeface="+mn-cs"/>
            </a:endParaRPr>
          </a:p>
        </p:txBody>
      </p:sp>
      <p:sp>
        <p:nvSpPr>
          <p:cNvPr id="235" name="TextBox 234">
            <a:extLst>
              <a:ext uri="{FF2B5EF4-FFF2-40B4-BE49-F238E27FC236}">
                <a16:creationId xmlns:a16="http://schemas.microsoft.com/office/drawing/2014/main" id="{9B76CC82-7456-46A1-BA36-6A3CAF16E7F1}"/>
              </a:ext>
            </a:extLst>
          </p:cNvPr>
          <p:cNvSpPr txBox="1">
            <a:spLocks noChangeAspect="1"/>
          </p:cNvSpPr>
          <p:nvPr/>
        </p:nvSpPr>
        <p:spPr bwMode="auto">
          <a:xfrm>
            <a:off x="6923114" y="2907326"/>
            <a:ext cx="360000" cy="585000"/>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000" b="1" i="0" u="none" strike="noStrike" kern="1200" cap="none" spc="0" normalizeH="0" baseline="0" noProof="0">
                <a:ln>
                  <a:noFill/>
                </a:ln>
                <a:solidFill>
                  <a:srgbClr val="0082F0"/>
                </a:solidFill>
                <a:effectLst/>
                <a:uLnTx/>
                <a:uFillTx/>
                <a:latin typeface="Ericsson Hilda"/>
                <a:ea typeface="+mn-ea"/>
                <a:cs typeface="+mn-cs"/>
              </a:rPr>
              <a:t>NR</a:t>
            </a:r>
          </a:p>
        </p:txBody>
      </p:sp>
      <p:sp>
        <p:nvSpPr>
          <p:cNvPr id="237" name="Rectangle 236">
            <a:extLst>
              <a:ext uri="{FF2B5EF4-FFF2-40B4-BE49-F238E27FC236}">
                <a16:creationId xmlns:a16="http://schemas.microsoft.com/office/drawing/2014/main" id="{9F33DA8A-A515-4619-ABCC-19848C379B96}"/>
              </a:ext>
            </a:extLst>
          </p:cNvPr>
          <p:cNvSpPr/>
          <p:nvPr/>
        </p:nvSpPr>
        <p:spPr bwMode="auto">
          <a:xfrm>
            <a:off x="332677" y="1515941"/>
            <a:ext cx="3720272" cy="2310341"/>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Voice in EN-DC</a:t>
            </a:r>
          </a:p>
        </p:txBody>
      </p:sp>
      <p:sp>
        <p:nvSpPr>
          <p:cNvPr id="238" name="Rectangle 237">
            <a:extLst>
              <a:ext uri="{FF2B5EF4-FFF2-40B4-BE49-F238E27FC236}">
                <a16:creationId xmlns:a16="http://schemas.microsoft.com/office/drawing/2014/main" id="{583FEAB9-2667-407A-B963-472E445088D3}"/>
              </a:ext>
            </a:extLst>
          </p:cNvPr>
          <p:cNvSpPr/>
          <p:nvPr/>
        </p:nvSpPr>
        <p:spPr bwMode="auto">
          <a:xfrm>
            <a:off x="4534490" y="1515941"/>
            <a:ext cx="7152371" cy="2310341"/>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Voice over NR incl. EPS Fallback</a:t>
            </a:r>
          </a:p>
        </p:txBody>
      </p:sp>
      <p:cxnSp>
        <p:nvCxnSpPr>
          <p:cNvPr id="242" name="Straight Connector 241">
            <a:extLst>
              <a:ext uri="{FF2B5EF4-FFF2-40B4-BE49-F238E27FC236}">
                <a16:creationId xmlns:a16="http://schemas.microsoft.com/office/drawing/2014/main" id="{9E1E1330-13D1-4C55-A130-440E84AC2292}"/>
              </a:ext>
            </a:extLst>
          </p:cNvPr>
          <p:cNvCxnSpPr>
            <a:cxnSpLocks/>
          </p:cNvCxnSpPr>
          <p:nvPr/>
        </p:nvCxnSpPr>
        <p:spPr bwMode="auto">
          <a:xfrm>
            <a:off x="6473914" y="3243052"/>
            <a:ext cx="364242"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43" name="TextBox 242">
            <a:extLst>
              <a:ext uri="{FF2B5EF4-FFF2-40B4-BE49-F238E27FC236}">
                <a16:creationId xmlns:a16="http://schemas.microsoft.com/office/drawing/2014/main" id="{5BD17413-20EC-42CA-8BE9-F17B7F50DA2E}"/>
              </a:ext>
            </a:extLst>
          </p:cNvPr>
          <p:cNvSpPr txBox="1"/>
          <p:nvPr/>
        </p:nvSpPr>
        <p:spPr bwMode="auto">
          <a:xfrm>
            <a:off x="6539951" y="3096631"/>
            <a:ext cx="258084"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AF78D2">
                    <a:lumMod val="75000"/>
                  </a:srgbClr>
                </a:solidFill>
                <a:effectLst/>
                <a:uLnTx/>
                <a:uFillTx/>
                <a:latin typeface="Arial" panose="020B0604020202020204" pitchFamily="34" charset="0"/>
                <a:ea typeface="+mn-ea"/>
                <a:cs typeface="Arial" panose="020B0604020202020204" pitchFamily="34" charset="0"/>
              </a:rPr>
              <a:t>Voice</a:t>
            </a:r>
          </a:p>
        </p:txBody>
      </p:sp>
      <p:cxnSp>
        <p:nvCxnSpPr>
          <p:cNvPr id="244" name="Straight Connector 243">
            <a:extLst>
              <a:ext uri="{FF2B5EF4-FFF2-40B4-BE49-F238E27FC236}">
                <a16:creationId xmlns:a16="http://schemas.microsoft.com/office/drawing/2014/main" id="{037E3406-631E-42B1-AB80-E4303B9DE6F7}"/>
              </a:ext>
            </a:extLst>
          </p:cNvPr>
          <p:cNvCxnSpPr>
            <a:cxnSpLocks/>
          </p:cNvCxnSpPr>
          <p:nvPr/>
        </p:nvCxnSpPr>
        <p:spPr bwMode="auto">
          <a:xfrm>
            <a:off x="7288936" y="3222682"/>
            <a:ext cx="364242"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46" name="Arc 245">
            <a:extLst>
              <a:ext uri="{FF2B5EF4-FFF2-40B4-BE49-F238E27FC236}">
                <a16:creationId xmlns:a16="http://schemas.microsoft.com/office/drawing/2014/main" id="{2B0AB0EF-4282-4D72-BB7C-C2F1ED5B9C5C}"/>
              </a:ext>
            </a:extLst>
          </p:cNvPr>
          <p:cNvSpPr/>
          <p:nvPr/>
        </p:nvSpPr>
        <p:spPr bwMode="auto">
          <a:xfrm flipH="1">
            <a:off x="5779853" y="2479750"/>
            <a:ext cx="432553" cy="896907"/>
          </a:xfrm>
          <a:prstGeom prst="arc">
            <a:avLst>
              <a:gd name="adj1" fmla="val 16598236"/>
              <a:gd name="adj2" fmla="val 4948829"/>
            </a:avLst>
          </a:prstGeom>
          <a:noFill/>
          <a:ln w="12700" cap="flat" cmpd="sng" algn="ctr">
            <a:solidFill>
              <a:schemeClr val="accent2"/>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8C0A"/>
              </a:solidFill>
              <a:effectLst/>
              <a:uLnTx/>
              <a:uFillTx/>
              <a:latin typeface="Arial" charset="0"/>
              <a:ea typeface="+mn-ea"/>
              <a:cs typeface="+mn-cs"/>
            </a:endParaRPr>
          </a:p>
        </p:txBody>
      </p:sp>
      <p:sp>
        <p:nvSpPr>
          <p:cNvPr id="247" name="Text Box 1179">
            <a:extLst>
              <a:ext uri="{FF2B5EF4-FFF2-40B4-BE49-F238E27FC236}">
                <a16:creationId xmlns:a16="http://schemas.microsoft.com/office/drawing/2014/main" id="{E0AD1E03-2B8E-4818-A007-E2C30EFA8ED6}"/>
              </a:ext>
            </a:extLst>
          </p:cNvPr>
          <p:cNvSpPr txBox="1">
            <a:spLocks noChangeArrowheads="1"/>
          </p:cNvSpPr>
          <p:nvPr/>
        </p:nvSpPr>
        <p:spPr bwMode="auto">
          <a:xfrm>
            <a:off x="5609933" y="2225534"/>
            <a:ext cx="37189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800" b="0" i="0" u="none" strike="noStrike" kern="1200" cap="none" spc="0" normalizeH="0" baseline="0" noProof="0">
                <a:ln>
                  <a:noFill/>
                </a:ln>
                <a:solidFill>
                  <a:srgbClr val="0FC373"/>
                </a:solidFill>
                <a:effectLst/>
                <a:uLnTx/>
                <a:uFillTx/>
                <a:latin typeface="Ericsson Hilda"/>
                <a:ea typeface="+mn-ea"/>
                <a:cs typeface="Arial" charset="0"/>
              </a:rPr>
              <a:t>EPS</a:t>
            </a:r>
            <a:br>
              <a:rPr kumimoji="0" lang="en-US" sz="800" b="0" i="0" u="none" strike="noStrike" kern="1200" cap="none" spc="0" normalizeH="0" baseline="0" noProof="0">
                <a:ln>
                  <a:noFill/>
                </a:ln>
                <a:solidFill>
                  <a:srgbClr val="0FC373"/>
                </a:solidFill>
                <a:effectLst/>
                <a:uLnTx/>
                <a:uFillTx/>
                <a:latin typeface="Ericsson Hilda"/>
                <a:ea typeface="+mn-ea"/>
                <a:cs typeface="Arial" charset="0"/>
              </a:rPr>
            </a:br>
            <a:r>
              <a:rPr kumimoji="0" lang="en-US" sz="800" b="0" i="0" u="none" strike="noStrike" kern="1200" cap="none" spc="0" normalizeH="0" baseline="0" noProof="0">
                <a:ln>
                  <a:noFill/>
                </a:ln>
                <a:solidFill>
                  <a:srgbClr val="0FC373"/>
                </a:solidFill>
                <a:effectLst/>
                <a:uLnTx/>
                <a:uFillTx/>
                <a:latin typeface="Ericsson Hilda"/>
                <a:ea typeface="+mn-ea"/>
                <a:cs typeface="Arial" charset="0"/>
              </a:rPr>
              <a:t>Fallback</a:t>
            </a:r>
          </a:p>
        </p:txBody>
      </p:sp>
      <p:sp>
        <p:nvSpPr>
          <p:cNvPr id="248" name="Text Box 1179">
            <a:extLst>
              <a:ext uri="{FF2B5EF4-FFF2-40B4-BE49-F238E27FC236}">
                <a16:creationId xmlns:a16="http://schemas.microsoft.com/office/drawing/2014/main" id="{F0C574E2-6DC0-4C16-A31C-A301D3FE2207}"/>
              </a:ext>
            </a:extLst>
          </p:cNvPr>
          <p:cNvSpPr txBox="1">
            <a:spLocks noChangeArrowheads="1"/>
          </p:cNvSpPr>
          <p:nvPr/>
        </p:nvSpPr>
        <p:spPr bwMode="auto">
          <a:xfrm>
            <a:off x="6056213" y="2779500"/>
            <a:ext cx="55143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800" b="0" i="0" u="none" strike="noStrike" kern="1200" cap="none" spc="0" normalizeH="0" baseline="0" noProof="0">
                <a:ln>
                  <a:noFill/>
                </a:ln>
                <a:solidFill>
                  <a:srgbClr val="AF78D2">
                    <a:lumMod val="75000"/>
                  </a:srgbClr>
                </a:solidFill>
                <a:effectLst/>
                <a:uLnTx/>
                <a:uFillTx/>
                <a:latin typeface="Ericsson Hilda"/>
                <a:ea typeface="+mn-ea"/>
                <a:cs typeface="Arial" charset="0"/>
              </a:rPr>
              <a:t>Inter system</a:t>
            </a:r>
            <a:br>
              <a:rPr kumimoji="0" lang="en-US" sz="800" b="0" i="0" u="none" strike="noStrike" kern="1200" cap="none" spc="0" normalizeH="0" baseline="0" noProof="0">
                <a:ln>
                  <a:noFill/>
                </a:ln>
                <a:solidFill>
                  <a:srgbClr val="AF78D2">
                    <a:lumMod val="75000"/>
                  </a:srgbClr>
                </a:solidFill>
                <a:effectLst/>
                <a:uLnTx/>
                <a:uFillTx/>
                <a:latin typeface="Ericsson Hilda"/>
                <a:ea typeface="+mn-ea"/>
                <a:cs typeface="Arial" charset="0"/>
              </a:rPr>
            </a:br>
            <a:r>
              <a:rPr kumimoji="0" lang="en-US" sz="800" b="0" i="0" u="none" strike="noStrike" kern="1200" cap="none" spc="0" normalizeH="0" baseline="0" noProof="0">
                <a:ln>
                  <a:noFill/>
                </a:ln>
                <a:solidFill>
                  <a:srgbClr val="AF78D2">
                    <a:lumMod val="75000"/>
                  </a:srgbClr>
                </a:solidFill>
                <a:effectLst/>
                <a:uLnTx/>
                <a:uFillTx/>
                <a:latin typeface="Ericsson Hilda"/>
                <a:ea typeface="+mn-ea"/>
                <a:cs typeface="Arial" charset="0"/>
              </a:rPr>
              <a:t>Handover</a:t>
            </a:r>
          </a:p>
        </p:txBody>
      </p:sp>
      <p:sp>
        <p:nvSpPr>
          <p:cNvPr id="249" name="Arc 248">
            <a:extLst>
              <a:ext uri="{FF2B5EF4-FFF2-40B4-BE49-F238E27FC236}">
                <a16:creationId xmlns:a16="http://schemas.microsoft.com/office/drawing/2014/main" id="{0A2B9189-7D82-465F-A20A-420A5D797088}"/>
              </a:ext>
            </a:extLst>
          </p:cNvPr>
          <p:cNvSpPr/>
          <p:nvPr/>
        </p:nvSpPr>
        <p:spPr bwMode="auto">
          <a:xfrm flipH="1">
            <a:off x="5923429" y="2503344"/>
            <a:ext cx="432553" cy="827723"/>
          </a:xfrm>
          <a:prstGeom prst="arc">
            <a:avLst>
              <a:gd name="adj1" fmla="val 16598236"/>
              <a:gd name="adj2" fmla="val 4948829"/>
            </a:avLst>
          </a:prstGeom>
          <a:noFill/>
          <a:ln w="12700" cap="flat" cmpd="sng" algn="ctr">
            <a:solidFill>
              <a:schemeClr val="accent3"/>
            </a:solidFill>
            <a:prstDash val="solid"/>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grpSp>
        <p:nvGrpSpPr>
          <p:cNvPr id="250" name="Group 249">
            <a:extLst>
              <a:ext uri="{FF2B5EF4-FFF2-40B4-BE49-F238E27FC236}">
                <a16:creationId xmlns:a16="http://schemas.microsoft.com/office/drawing/2014/main" id="{ABD7ACC3-D905-40CF-AF86-E91706F7274F}"/>
              </a:ext>
            </a:extLst>
          </p:cNvPr>
          <p:cNvGrpSpPr/>
          <p:nvPr/>
        </p:nvGrpSpPr>
        <p:grpSpPr>
          <a:xfrm>
            <a:off x="8201263" y="2137366"/>
            <a:ext cx="797085" cy="593907"/>
            <a:chOff x="6850907" y="2233016"/>
            <a:chExt cx="797085" cy="593907"/>
          </a:xfrm>
        </p:grpSpPr>
        <p:pic>
          <p:nvPicPr>
            <p:cNvPr id="251" name="Graphic 250">
              <a:extLst>
                <a:ext uri="{FF2B5EF4-FFF2-40B4-BE49-F238E27FC236}">
                  <a16:creationId xmlns:a16="http://schemas.microsoft.com/office/drawing/2014/main" id="{D8D56F59-4B67-451E-841C-8BC827C3D3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50907" y="2233016"/>
              <a:ext cx="797085" cy="593907"/>
            </a:xfrm>
            <a:prstGeom prst="rect">
              <a:avLst/>
            </a:prstGeom>
          </p:spPr>
        </p:pic>
        <p:sp>
          <p:nvSpPr>
            <p:cNvPr id="253" name="Rectangle 252">
              <a:extLst>
                <a:ext uri="{FF2B5EF4-FFF2-40B4-BE49-F238E27FC236}">
                  <a16:creationId xmlns:a16="http://schemas.microsoft.com/office/drawing/2014/main" id="{B4A82D24-9287-45F2-8EF2-92C99FA40BEB}"/>
                </a:ext>
              </a:extLst>
            </p:cNvPr>
            <p:cNvSpPr/>
            <p:nvPr/>
          </p:nvSpPr>
          <p:spPr>
            <a:xfrm>
              <a:off x="6922870" y="2466783"/>
              <a:ext cx="6588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t>Internet &amp;</a:t>
              </a:r>
              <a:b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br>
              <a:r>
                <a:rPr kumimoji="0" lang="en-US" sz="900" b="0" i="0" u="none" strike="noStrike" kern="1200" cap="none" spc="0" normalizeH="0" baseline="0" noProof="0">
                  <a:ln>
                    <a:noFill/>
                  </a:ln>
                  <a:solidFill>
                    <a:srgbClr val="E0E0E0">
                      <a:lumMod val="75000"/>
                    </a:srgbClr>
                  </a:solidFill>
                  <a:effectLst/>
                  <a:uLnTx/>
                  <a:uFillTx/>
                  <a:latin typeface="Ericsson Hilda"/>
                  <a:ea typeface="+mn-ea"/>
                  <a:cs typeface="+mn-cs"/>
                </a:rPr>
                <a:t>Data services</a:t>
              </a:r>
            </a:p>
          </p:txBody>
        </p:sp>
      </p:grpSp>
      <p:cxnSp>
        <p:nvCxnSpPr>
          <p:cNvPr id="255" name="Straight Connector 254">
            <a:extLst>
              <a:ext uri="{FF2B5EF4-FFF2-40B4-BE49-F238E27FC236}">
                <a16:creationId xmlns:a16="http://schemas.microsoft.com/office/drawing/2014/main" id="{6D222118-2A40-4F06-AE25-563446A51633}"/>
              </a:ext>
            </a:extLst>
          </p:cNvPr>
          <p:cNvCxnSpPr>
            <a:cxnSpLocks/>
            <a:endCxn id="234" idx="3"/>
          </p:cNvCxnSpPr>
          <p:nvPr/>
        </p:nvCxnSpPr>
        <p:spPr bwMode="auto">
          <a:xfrm flipH="1">
            <a:off x="8013178" y="2692302"/>
            <a:ext cx="364242" cy="507524"/>
          </a:xfrm>
          <a:prstGeom prst="line">
            <a:avLst/>
          </a:prstGeom>
          <a:noFill/>
          <a:ln w="28575" cap="flat" cmpd="sng" algn="ctr">
            <a:solidFill>
              <a:schemeClr val="tx1">
                <a:lumMod val="25000"/>
                <a:lumOff val="7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2D845921-86BA-4498-A741-2ECD0F7126DB}"/>
              </a:ext>
            </a:extLst>
          </p:cNvPr>
          <p:cNvCxnSpPr>
            <a:cxnSpLocks/>
          </p:cNvCxnSpPr>
          <p:nvPr/>
        </p:nvCxnSpPr>
        <p:spPr bwMode="auto">
          <a:xfrm flipH="1">
            <a:off x="1916966" y="2442597"/>
            <a:ext cx="392925"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57" name="Rectangle 256">
            <a:extLst>
              <a:ext uri="{FF2B5EF4-FFF2-40B4-BE49-F238E27FC236}">
                <a16:creationId xmlns:a16="http://schemas.microsoft.com/office/drawing/2014/main" id="{96DC810B-43F9-48D5-BA8A-21E3B94B676D}"/>
              </a:ext>
            </a:extLst>
          </p:cNvPr>
          <p:cNvSpPr/>
          <p:nvPr/>
        </p:nvSpPr>
        <p:spPr bwMode="auto">
          <a:xfrm>
            <a:off x="7718603" y="2898446"/>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65" name="Rectangle 264">
            <a:extLst>
              <a:ext uri="{FF2B5EF4-FFF2-40B4-BE49-F238E27FC236}">
                <a16:creationId xmlns:a16="http://schemas.microsoft.com/office/drawing/2014/main" id="{AA0BB1A6-90D9-4B15-9403-7FAFE17E62ED}"/>
              </a:ext>
            </a:extLst>
          </p:cNvPr>
          <p:cNvSpPr/>
          <p:nvPr/>
        </p:nvSpPr>
        <p:spPr bwMode="auto">
          <a:xfrm>
            <a:off x="7718603" y="26377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66" name="Straight Connector 265">
            <a:extLst>
              <a:ext uri="{FF2B5EF4-FFF2-40B4-BE49-F238E27FC236}">
                <a16:creationId xmlns:a16="http://schemas.microsoft.com/office/drawing/2014/main" id="{C7DC08F3-9970-4A57-8774-7B518B18624A}"/>
              </a:ext>
            </a:extLst>
          </p:cNvPr>
          <p:cNvCxnSpPr>
            <a:cxnSpLocks/>
            <a:stCxn id="257" idx="0"/>
            <a:endCxn id="265" idx="2"/>
          </p:cNvCxnSpPr>
          <p:nvPr/>
        </p:nvCxnSpPr>
        <p:spPr bwMode="auto">
          <a:xfrm flipV="1">
            <a:off x="7741463" y="2683422"/>
            <a:ext cx="0" cy="215024"/>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cxnSp>
        <p:nvCxnSpPr>
          <p:cNvPr id="267" name="Straight Connector 266">
            <a:extLst>
              <a:ext uri="{FF2B5EF4-FFF2-40B4-BE49-F238E27FC236}">
                <a16:creationId xmlns:a16="http://schemas.microsoft.com/office/drawing/2014/main" id="{7A4E982C-69EB-48BD-9101-03918D31DCD3}"/>
              </a:ext>
            </a:extLst>
          </p:cNvPr>
          <p:cNvCxnSpPr>
            <a:cxnSpLocks/>
          </p:cNvCxnSpPr>
          <p:nvPr/>
        </p:nvCxnSpPr>
        <p:spPr bwMode="auto">
          <a:xfrm>
            <a:off x="7825432" y="2683422"/>
            <a:ext cx="0" cy="215024"/>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68" name="Rectangle 267">
            <a:extLst>
              <a:ext uri="{FF2B5EF4-FFF2-40B4-BE49-F238E27FC236}">
                <a16:creationId xmlns:a16="http://schemas.microsoft.com/office/drawing/2014/main" id="{8A04642D-4F89-46AC-AB9F-FFE52BEBBDC1}"/>
              </a:ext>
            </a:extLst>
          </p:cNvPr>
          <p:cNvSpPr/>
          <p:nvPr/>
        </p:nvSpPr>
        <p:spPr bwMode="auto">
          <a:xfrm>
            <a:off x="7881508" y="2898446"/>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69" name="Rectangle 268">
            <a:extLst>
              <a:ext uri="{FF2B5EF4-FFF2-40B4-BE49-F238E27FC236}">
                <a16:creationId xmlns:a16="http://schemas.microsoft.com/office/drawing/2014/main" id="{9E2BEDAF-1F59-4CD5-B7E5-EF86676ED9C6}"/>
              </a:ext>
            </a:extLst>
          </p:cNvPr>
          <p:cNvSpPr/>
          <p:nvPr/>
        </p:nvSpPr>
        <p:spPr bwMode="auto">
          <a:xfrm>
            <a:off x="7881508" y="263770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73" name="Straight Connector 272">
            <a:extLst>
              <a:ext uri="{FF2B5EF4-FFF2-40B4-BE49-F238E27FC236}">
                <a16:creationId xmlns:a16="http://schemas.microsoft.com/office/drawing/2014/main" id="{1CA5BF2D-02D5-4F99-8FE5-4711C282270B}"/>
              </a:ext>
            </a:extLst>
          </p:cNvPr>
          <p:cNvCxnSpPr>
            <a:cxnSpLocks/>
          </p:cNvCxnSpPr>
          <p:nvPr/>
        </p:nvCxnSpPr>
        <p:spPr bwMode="auto">
          <a:xfrm>
            <a:off x="7905688" y="2684131"/>
            <a:ext cx="0" cy="215024"/>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274" name="TextBox 273">
            <a:extLst>
              <a:ext uri="{FF2B5EF4-FFF2-40B4-BE49-F238E27FC236}">
                <a16:creationId xmlns:a16="http://schemas.microsoft.com/office/drawing/2014/main" id="{E0F30543-C0CD-4ED8-82FC-BCDDA7A1AB5B}"/>
              </a:ext>
            </a:extLst>
          </p:cNvPr>
          <p:cNvSpPr txBox="1"/>
          <p:nvPr/>
        </p:nvSpPr>
        <p:spPr bwMode="auto">
          <a:xfrm>
            <a:off x="7954239" y="2729378"/>
            <a:ext cx="189154"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N26</a:t>
            </a:r>
          </a:p>
        </p:txBody>
      </p:sp>
      <p:sp>
        <p:nvSpPr>
          <p:cNvPr id="275" name="TextBox 274">
            <a:extLst>
              <a:ext uri="{FF2B5EF4-FFF2-40B4-BE49-F238E27FC236}">
                <a16:creationId xmlns:a16="http://schemas.microsoft.com/office/drawing/2014/main" id="{47FB0D96-0AB5-4595-822A-D562933DFC32}"/>
              </a:ext>
            </a:extLst>
          </p:cNvPr>
          <p:cNvSpPr txBox="1"/>
          <p:nvPr/>
        </p:nvSpPr>
        <p:spPr bwMode="auto">
          <a:xfrm>
            <a:off x="7534716" y="2718429"/>
            <a:ext cx="126638" cy="12311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S5</a:t>
            </a:r>
          </a:p>
        </p:txBody>
      </p:sp>
      <p:sp>
        <p:nvSpPr>
          <p:cNvPr id="99" name="TextBox 98">
            <a:extLst>
              <a:ext uri="{FF2B5EF4-FFF2-40B4-BE49-F238E27FC236}">
                <a16:creationId xmlns:a16="http://schemas.microsoft.com/office/drawing/2014/main" id="{D8B6D289-EF15-4D37-9592-5A8ECCA7DB59}"/>
              </a:ext>
            </a:extLst>
          </p:cNvPr>
          <p:cNvSpPr txBox="1"/>
          <p:nvPr/>
        </p:nvSpPr>
        <p:spPr bwMode="auto">
          <a:xfrm>
            <a:off x="4524498" y="5617481"/>
            <a:ext cx="7493370" cy="1221291"/>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181818"/>
              </a:buClr>
              <a:buSzTx/>
              <a:buFontTx/>
              <a:buNone/>
              <a:tabLst/>
              <a:defRPr/>
            </a:pPr>
            <a:r>
              <a:rPr kumimoji="0" lang="en-US" sz="1600" b="1" i="0" u="none" strike="noStrike" kern="1200" cap="none" spc="0" normalizeH="0" baseline="0" noProof="0">
                <a:ln>
                  <a:noFill/>
                </a:ln>
                <a:solidFill>
                  <a:srgbClr val="181818"/>
                </a:solidFill>
                <a:effectLst/>
                <a:uLnTx/>
                <a:uFillTx/>
                <a:latin typeface="Ericsson Hilda"/>
                <a:ea typeface="+mn-ea"/>
                <a:cs typeface="+mn-cs"/>
              </a:rPr>
              <a:t>Architecture </a:t>
            </a:r>
            <a:endParaRPr kumimoji="0" lang="en-US" sz="1400" b="1" i="0" u="none" strike="noStrike" kern="1200" cap="none" spc="0" normalizeH="0" baseline="0" noProof="0">
              <a:ln>
                <a:noFill/>
              </a:ln>
              <a:solidFill>
                <a:srgbClr val="181818"/>
              </a:solidFill>
              <a:effectLst/>
              <a:uLnTx/>
              <a:uFillTx/>
              <a:latin typeface="Ericsson Hilda"/>
              <a:ea typeface="+mn-ea"/>
              <a:cs typeface="+mn-cs"/>
            </a:endParaRPr>
          </a:p>
          <a:p>
            <a:pPr marL="285750" indent="-285750">
              <a:buClr>
                <a:srgbClr val="181818"/>
              </a:buClr>
              <a:buFont typeface="Ericsson Hilda Light" panose="00000600000000000000" pitchFamily="2" charset="0"/>
              <a:buChar char="—"/>
              <a:defRPr/>
            </a:pPr>
            <a:r>
              <a:rPr lang="en-US" sz="1400">
                <a:solidFill>
                  <a:srgbClr val="181818"/>
                </a:solidFill>
                <a:latin typeface="Ericsson Hilda"/>
              </a:rPr>
              <a:t>EPC and 5GC with </a:t>
            </a:r>
            <a:r>
              <a:rPr lang="en-US" sz="1400" b="1">
                <a:solidFill>
                  <a:srgbClr val="0082F0"/>
                </a:solidFill>
                <a:latin typeface="Ericsson Hilda"/>
              </a:rPr>
              <a:t>N26 interworking and SMF + UPF supporting  S5</a:t>
            </a:r>
          </a:p>
          <a:p>
            <a:pPr lvl="0">
              <a:buClr>
                <a:srgbClr val="181818"/>
              </a:buClr>
              <a:defRPr/>
            </a:pPr>
            <a:br>
              <a:rPr kumimoji="0" lang="en-US" sz="1400" b="0" i="0" u="none" strike="noStrike" kern="1200" cap="none" spc="0" normalizeH="0" baseline="0" noProof="0">
                <a:ln>
                  <a:noFill/>
                </a:ln>
                <a:solidFill>
                  <a:srgbClr val="181818"/>
                </a:solidFill>
                <a:effectLst/>
                <a:uLnTx/>
                <a:uFillTx/>
                <a:latin typeface="Ericsson Hilda"/>
                <a:ea typeface="+mn-ea"/>
                <a:cs typeface="+mn-cs"/>
              </a:rPr>
            </a:b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Tree>
    <p:extLst>
      <p:ext uri="{BB962C8B-B14F-4D97-AF65-F5344CB8AC3E}">
        <p14:creationId xmlns:p14="http://schemas.microsoft.com/office/powerpoint/2010/main" val="3144362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6" name="Straight Connector 145">
            <a:extLst>
              <a:ext uri="{FF2B5EF4-FFF2-40B4-BE49-F238E27FC236}">
                <a16:creationId xmlns:a16="http://schemas.microsoft.com/office/drawing/2014/main" id="{070077FD-3E74-47A8-A1CD-B6BCE7507D69}"/>
              </a:ext>
            </a:extLst>
          </p:cNvPr>
          <p:cNvCxnSpPr>
            <a:cxnSpLocks/>
            <a:stCxn id="245" idx="2"/>
            <a:endCxn id="239" idx="0"/>
          </p:cNvCxnSpPr>
          <p:nvPr/>
        </p:nvCxnSpPr>
        <p:spPr bwMode="auto">
          <a:xfrm>
            <a:off x="6501115" y="3084278"/>
            <a:ext cx="0" cy="215024"/>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63" name="Rectangle 362">
            <a:extLst>
              <a:ext uri="{FF2B5EF4-FFF2-40B4-BE49-F238E27FC236}">
                <a16:creationId xmlns:a16="http://schemas.microsoft.com/office/drawing/2014/main" id="{97313C2E-5687-4B42-A8FA-8A207AB87EDD}"/>
              </a:ext>
            </a:extLst>
          </p:cNvPr>
          <p:cNvSpPr/>
          <p:nvPr/>
        </p:nvSpPr>
        <p:spPr bwMode="auto">
          <a:xfrm>
            <a:off x="10438121" y="3299302"/>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67" name="Rectangle 366">
            <a:extLst>
              <a:ext uri="{FF2B5EF4-FFF2-40B4-BE49-F238E27FC236}">
                <a16:creationId xmlns:a16="http://schemas.microsoft.com/office/drawing/2014/main" id="{2B35E350-7718-4BF9-B21E-945057813B9A}"/>
              </a:ext>
            </a:extLst>
          </p:cNvPr>
          <p:cNvSpPr/>
          <p:nvPr/>
        </p:nvSpPr>
        <p:spPr bwMode="auto">
          <a:xfrm>
            <a:off x="10601026" y="3299302"/>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cxnSp>
        <p:nvCxnSpPr>
          <p:cNvPr id="352" name="Straight Connector 351">
            <a:extLst>
              <a:ext uri="{FF2B5EF4-FFF2-40B4-BE49-F238E27FC236}">
                <a16:creationId xmlns:a16="http://schemas.microsoft.com/office/drawing/2014/main" id="{B6F4C20C-3303-4035-B2ED-631AE75FEB19}"/>
              </a:ext>
            </a:extLst>
          </p:cNvPr>
          <p:cNvCxnSpPr>
            <a:cxnSpLocks/>
            <a:stCxn id="343" idx="0"/>
            <a:endCxn id="340" idx="2"/>
          </p:cNvCxnSpPr>
          <p:nvPr/>
        </p:nvCxnSpPr>
        <p:spPr bwMode="auto">
          <a:xfrm flipV="1">
            <a:off x="1718760" y="3084278"/>
            <a:ext cx="0" cy="215024"/>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1" name="Title 1">
            <a:extLst>
              <a:ext uri="{FF2B5EF4-FFF2-40B4-BE49-F238E27FC236}">
                <a16:creationId xmlns:a16="http://schemas.microsoft.com/office/drawing/2014/main" id="{43966A13-A4AE-43C6-93F7-BAE1DE4716A4}"/>
              </a:ext>
            </a:extLst>
          </p:cNvPr>
          <p:cNvSpPr>
            <a:spLocks noGrp="1"/>
          </p:cNvSpPr>
          <p:nvPr>
            <p:ph type="title"/>
          </p:nvPr>
        </p:nvSpPr>
        <p:spPr>
          <a:xfrm>
            <a:off x="479425" y="476250"/>
            <a:ext cx="5684934" cy="1081088"/>
          </a:xfrm>
        </p:spPr>
        <p:txBody>
          <a:bodyPr/>
          <a:lstStyle/>
          <a:p>
            <a:r>
              <a:rPr lang="en-US" sz="4000"/>
              <a:t>5G voice evolution steps</a:t>
            </a:r>
          </a:p>
        </p:txBody>
      </p:sp>
      <p:sp>
        <p:nvSpPr>
          <p:cNvPr id="15" name="TextBox 14">
            <a:extLst>
              <a:ext uri="{FF2B5EF4-FFF2-40B4-BE49-F238E27FC236}">
                <a16:creationId xmlns:a16="http://schemas.microsoft.com/office/drawing/2014/main" id="{DD84DE0D-5E8C-4C14-A306-A46597ED575D}"/>
              </a:ext>
            </a:extLst>
          </p:cNvPr>
          <p:cNvSpPr txBox="1"/>
          <p:nvPr/>
        </p:nvSpPr>
        <p:spPr bwMode="auto">
          <a:xfrm>
            <a:off x="352988" y="1396564"/>
            <a:ext cx="3555092" cy="344128"/>
          </a:xfrm>
          <a:prstGeom prst="rect">
            <a:avLst/>
          </a:prstGeom>
          <a:solidFill>
            <a:schemeClr val="tx1">
              <a:lumMod val="75000"/>
              <a:lumOff val="25000"/>
            </a:schemeClr>
          </a:solid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2000">
                <a:solidFill>
                  <a:schemeClr val="bg1"/>
                </a:solidFill>
              </a:rPr>
              <a:t>1. Dual Connectivity (EN-DC)</a:t>
            </a:r>
          </a:p>
        </p:txBody>
      </p:sp>
      <p:sp>
        <p:nvSpPr>
          <p:cNvPr id="34" name="TextBox 33">
            <a:extLst>
              <a:ext uri="{FF2B5EF4-FFF2-40B4-BE49-F238E27FC236}">
                <a16:creationId xmlns:a16="http://schemas.microsoft.com/office/drawing/2014/main" id="{6E5CB332-3C7A-454C-AF72-A698351FA76B}"/>
              </a:ext>
            </a:extLst>
          </p:cNvPr>
          <p:cNvSpPr txBox="1"/>
          <p:nvPr/>
        </p:nvSpPr>
        <p:spPr bwMode="auto">
          <a:xfrm>
            <a:off x="444429" y="4550691"/>
            <a:ext cx="3270713" cy="221018"/>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171450" indent="-171450">
              <a:buClr>
                <a:schemeClr val="tx1"/>
              </a:buClr>
              <a:buFont typeface="Arial" panose="020B0604020202020204" pitchFamily="34" charset="0"/>
              <a:buChar char="•"/>
            </a:pPr>
            <a:r>
              <a:rPr lang="en-US" sz="1200" b="1">
                <a:solidFill>
                  <a:schemeClr val="accent2"/>
                </a:solidFill>
              </a:rPr>
              <a:t>LTE for voice</a:t>
            </a:r>
            <a:r>
              <a:rPr lang="en-US" sz="1200">
                <a:solidFill>
                  <a:schemeClr val="accent2"/>
                </a:solidFill>
              </a:rPr>
              <a:t> </a:t>
            </a:r>
            <a:r>
              <a:rPr lang="en-US" sz="1200"/>
              <a:t>and NR as data booster</a:t>
            </a:r>
          </a:p>
        </p:txBody>
      </p:sp>
      <p:sp>
        <p:nvSpPr>
          <p:cNvPr id="205" name="TextBox 204">
            <a:extLst>
              <a:ext uri="{FF2B5EF4-FFF2-40B4-BE49-F238E27FC236}">
                <a16:creationId xmlns:a16="http://schemas.microsoft.com/office/drawing/2014/main" id="{A2FD2D27-7BA3-45A1-A840-5238120B3770}"/>
              </a:ext>
            </a:extLst>
          </p:cNvPr>
          <p:cNvSpPr txBox="1"/>
          <p:nvPr/>
        </p:nvSpPr>
        <p:spPr bwMode="auto">
          <a:xfrm>
            <a:off x="1677585" y="2037313"/>
            <a:ext cx="981038"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1200">
                <a:cs typeface="Arial" panose="020B0604020202020204" pitchFamily="34" charset="0"/>
              </a:rPr>
              <a:t>3GPP Option 3</a:t>
            </a:r>
          </a:p>
        </p:txBody>
      </p:sp>
      <p:sp>
        <p:nvSpPr>
          <p:cNvPr id="303" name="TextBox 302">
            <a:extLst>
              <a:ext uri="{FF2B5EF4-FFF2-40B4-BE49-F238E27FC236}">
                <a16:creationId xmlns:a16="http://schemas.microsoft.com/office/drawing/2014/main" id="{09B0D1B2-323C-48A0-848D-0B679D4DB6D8}"/>
              </a:ext>
            </a:extLst>
          </p:cNvPr>
          <p:cNvSpPr txBox="1"/>
          <p:nvPr/>
        </p:nvSpPr>
        <p:spPr bwMode="auto">
          <a:xfrm>
            <a:off x="4357298" y="4550691"/>
            <a:ext cx="3270713" cy="1513679"/>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171450" indent="-171450">
              <a:buClr>
                <a:schemeClr val="tx1"/>
              </a:buClr>
              <a:buFont typeface="Arial" panose="020B0604020202020204" pitchFamily="34" charset="0"/>
              <a:buChar char="•"/>
            </a:pPr>
            <a:r>
              <a:rPr lang="en-US" sz="1200"/>
              <a:t>NR for data, but </a:t>
            </a:r>
            <a:br>
              <a:rPr lang="en-US" sz="1200"/>
            </a:br>
            <a:r>
              <a:rPr lang="en-US" sz="1200" b="1">
                <a:solidFill>
                  <a:schemeClr val="accent2"/>
                </a:solidFill>
              </a:rPr>
              <a:t>falling back to LTE (for voice and data) when making or receiving calls </a:t>
            </a:r>
            <a:br>
              <a:rPr lang="en-US" sz="1200" b="1"/>
            </a:br>
            <a:endParaRPr lang="en-US" sz="1200" b="1"/>
          </a:p>
          <a:p>
            <a:pPr marL="171450" indent="-171450">
              <a:buClr>
                <a:schemeClr val="tx1"/>
              </a:buClr>
              <a:buFont typeface="Arial" panose="020B0604020202020204" pitchFamily="34" charset="0"/>
              <a:buChar char="•"/>
            </a:pPr>
            <a:r>
              <a:rPr lang="en-US" sz="1200"/>
              <a:t>2 variants: Release with Redirect, Handover</a:t>
            </a:r>
          </a:p>
          <a:p>
            <a:pPr marL="171450" indent="-171450">
              <a:buClr>
                <a:schemeClr val="tx1"/>
              </a:buClr>
              <a:buFont typeface="Arial" panose="020B0604020202020204" pitchFamily="34" charset="0"/>
              <a:buChar char="•"/>
            </a:pPr>
            <a:endParaRPr lang="en-US" sz="1200"/>
          </a:p>
          <a:p>
            <a:pPr marL="171450" indent="-171450">
              <a:buClr>
                <a:schemeClr val="tx1"/>
              </a:buClr>
              <a:buFont typeface="Arial" panose="020B0604020202020204" pitchFamily="34" charset="0"/>
              <a:buChar char="•"/>
            </a:pPr>
            <a:r>
              <a:rPr lang="en-US" sz="1200"/>
              <a:t>EPC and 5GC with N26 interworking and IP address preservation in 5GC</a:t>
            </a:r>
          </a:p>
        </p:txBody>
      </p:sp>
      <p:pic>
        <p:nvPicPr>
          <p:cNvPr id="305" name="Graphic 304">
            <a:extLst>
              <a:ext uri="{FF2B5EF4-FFF2-40B4-BE49-F238E27FC236}">
                <a16:creationId xmlns:a16="http://schemas.microsoft.com/office/drawing/2014/main" id="{90D4CCA2-03E4-4300-A474-09E0FAF5FE2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00684" y="2722625"/>
            <a:ext cx="258323" cy="361653"/>
          </a:xfrm>
          <a:prstGeom prst="rect">
            <a:avLst/>
          </a:prstGeom>
        </p:spPr>
      </p:pic>
      <p:sp>
        <p:nvSpPr>
          <p:cNvPr id="4" name="Rectangle 3">
            <a:extLst>
              <a:ext uri="{FF2B5EF4-FFF2-40B4-BE49-F238E27FC236}">
                <a16:creationId xmlns:a16="http://schemas.microsoft.com/office/drawing/2014/main" id="{8EF20604-3164-4E0A-BD3D-E97754C905F9}"/>
              </a:ext>
            </a:extLst>
          </p:cNvPr>
          <p:cNvSpPr/>
          <p:nvPr/>
        </p:nvSpPr>
        <p:spPr bwMode="auto">
          <a:xfrm>
            <a:off x="7051179"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58" name="Straight Connector 257">
            <a:extLst>
              <a:ext uri="{FF2B5EF4-FFF2-40B4-BE49-F238E27FC236}">
                <a16:creationId xmlns:a16="http://schemas.microsoft.com/office/drawing/2014/main" id="{8F628DDF-98CE-4963-8DD9-03DAD8C3675B}"/>
              </a:ext>
            </a:extLst>
          </p:cNvPr>
          <p:cNvCxnSpPr>
            <a:cxnSpLocks/>
            <a:stCxn id="252" idx="3"/>
            <a:endCxn id="4" idx="1"/>
          </p:cNvCxnSpPr>
          <p:nvPr/>
        </p:nvCxnSpPr>
        <p:spPr bwMode="auto">
          <a:xfrm>
            <a:off x="6681115" y="3625587"/>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59" name="Rectangle 258">
            <a:extLst>
              <a:ext uri="{FF2B5EF4-FFF2-40B4-BE49-F238E27FC236}">
                <a16:creationId xmlns:a16="http://schemas.microsoft.com/office/drawing/2014/main" id="{F8B71F48-3EC2-465D-AB69-5FF05C1DC71C}"/>
              </a:ext>
            </a:extLst>
          </p:cNvPr>
          <p:cNvSpPr/>
          <p:nvPr/>
        </p:nvSpPr>
        <p:spPr bwMode="auto">
          <a:xfrm>
            <a:off x="5905332" y="372304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260" name="Rectangle 259">
            <a:extLst>
              <a:ext uri="{FF2B5EF4-FFF2-40B4-BE49-F238E27FC236}">
                <a16:creationId xmlns:a16="http://schemas.microsoft.com/office/drawing/2014/main" id="{0A55FF7A-6AF6-4746-A7A3-F686C1ABBFF3}"/>
              </a:ext>
            </a:extLst>
          </p:cNvPr>
          <p:cNvSpPr/>
          <p:nvPr/>
        </p:nvSpPr>
        <p:spPr bwMode="auto">
          <a:xfrm>
            <a:off x="6321115" y="372304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61" name="Straight Connector 260">
            <a:extLst>
              <a:ext uri="{FF2B5EF4-FFF2-40B4-BE49-F238E27FC236}">
                <a16:creationId xmlns:a16="http://schemas.microsoft.com/office/drawing/2014/main" id="{31123AC2-FEB2-47E6-AC77-74EED018EFB9}"/>
              </a:ext>
            </a:extLst>
          </p:cNvPr>
          <p:cNvCxnSpPr>
            <a:cxnSpLocks/>
            <a:stCxn id="259" idx="3"/>
            <a:endCxn id="260" idx="1"/>
          </p:cNvCxnSpPr>
          <p:nvPr/>
        </p:nvCxnSpPr>
        <p:spPr bwMode="auto">
          <a:xfrm>
            <a:off x="5951051" y="3745903"/>
            <a:ext cx="370064" cy="0"/>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62" name="Rectangle 261">
            <a:extLst>
              <a:ext uri="{FF2B5EF4-FFF2-40B4-BE49-F238E27FC236}">
                <a16:creationId xmlns:a16="http://schemas.microsoft.com/office/drawing/2014/main" id="{153ECC01-7151-47F6-972F-C4B6E98A9024}"/>
              </a:ext>
            </a:extLst>
          </p:cNvPr>
          <p:cNvSpPr/>
          <p:nvPr/>
        </p:nvSpPr>
        <p:spPr bwMode="auto">
          <a:xfrm>
            <a:off x="5104524" y="371712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263" name="Rectangle 262">
            <a:extLst>
              <a:ext uri="{FF2B5EF4-FFF2-40B4-BE49-F238E27FC236}">
                <a16:creationId xmlns:a16="http://schemas.microsoft.com/office/drawing/2014/main" id="{E91E812E-702D-4CCB-90F2-A61A177F3C69}"/>
              </a:ext>
            </a:extLst>
          </p:cNvPr>
          <p:cNvSpPr/>
          <p:nvPr/>
        </p:nvSpPr>
        <p:spPr bwMode="auto">
          <a:xfrm>
            <a:off x="5493153" y="371712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264" name="Straight Connector 263">
            <a:extLst>
              <a:ext uri="{FF2B5EF4-FFF2-40B4-BE49-F238E27FC236}">
                <a16:creationId xmlns:a16="http://schemas.microsoft.com/office/drawing/2014/main" id="{C18B2C8E-1F8E-4799-ABA9-80FA9B471EF4}"/>
              </a:ext>
            </a:extLst>
          </p:cNvPr>
          <p:cNvCxnSpPr>
            <a:cxnSpLocks/>
            <a:stCxn id="262" idx="3"/>
            <a:endCxn id="263" idx="1"/>
          </p:cNvCxnSpPr>
          <p:nvPr/>
        </p:nvCxnSpPr>
        <p:spPr bwMode="auto">
          <a:xfrm>
            <a:off x="5150243" y="3739981"/>
            <a:ext cx="342910" cy="0"/>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70" name="Rectangle 269">
            <a:extLst>
              <a:ext uri="{FF2B5EF4-FFF2-40B4-BE49-F238E27FC236}">
                <a16:creationId xmlns:a16="http://schemas.microsoft.com/office/drawing/2014/main" id="{A0E0600D-E800-4D52-81C0-BA213BDFDC53}"/>
              </a:ext>
            </a:extLst>
          </p:cNvPr>
          <p:cNvSpPr/>
          <p:nvPr/>
        </p:nvSpPr>
        <p:spPr bwMode="auto">
          <a:xfrm>
            <a:off x="6401777" y="3299302"/>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271" name="Rectangle 270">
            <a:extLst>
              <a:ext uri="{FF2B5EF4-FFF2-40B4-BE49-F238E27FC236}">
                <a16:creationId xmlns:a16="http://schemas.microsoft.com/office/drawing/2014/main" id="{5DC81DAC-1BF1-4A62-B4F6-6D45CED4A7EF}"/>
              </a:ext>
            </a:extLst>
          </p:cNvPr>
          <p:cNvSpPr/>
          <p:nvPr/>
        </p:nvSpPr>
        <p:spPr bwMode="auto">
          <a:xfrm>
            <a:off x="6401777" y="303855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72" name="Straight Connector 271">
            <a:extLst>
              <a:ext uri="{FF2B5EF4-FFF2-40B4-BE49-F238E27FC236}">
                <a16:creationId xmlns:a16="http://schemas.microsoft.com/office/drawing/2014/main" id="{1B216F53-4F2C-49EE-A8B9-6EBE14B3DFF6}"/>
              </a:ext>
            </a:extLst>
          </p:cNvPr>
          <p:cNvCxnSpPr>
            <a:cxnSpLocks/>
            <a:stCxn id="270" idx="0"/>
            <a:endCxn id="271" idx="2"/>
          </p:cNvCxnSpPr>
          <p:nvPr/>
        </p:nvCxnSpPr>
        <p:spPr bwMode="auto">
          <a:xfrm flipV="1">
            <a:off x="6424637" y="3084278"/>
            <a:ext cx="0" cy="215024"/>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cxnSp>
        <p:nvCxnSpPr>
          <p:cNvPr id="129" name="Straight Connector 128">
            <a:extLst>
              <a:ext uri="{FF2B5EF4-FFF2-40B4-BE49-F238E27FC236}">
                <a16:creationId xmlns:a16="http://schemas.microsoft.com/office/drawing/2014/main" id="{13919769-43DA-49FB-ACAB-74900A01D4D5}"/>
              </a:ext>
            </a:extLst>
          </p:cNvPr>
          <p:cNvCxnSpPr>
            <a:cxnSpLocks/>
            <a:stCxn id="131" idx="2"/>
            <a:endCxn id="130" idx="0"/>
          </p:cNvCxnSpPr>
          <p:nvPr/>
        </p:nvCxnSpPr>
        <p:spPr bwMode="auto">
          <a:xfrm>
            <a:off x="6587542" y="3084278"/>
            <a:ext cx="0" cy="215024"/>
          </a:xfrm>
          <a:prstGeom prst="line">
            <a:avLst/>
          </a:prstGeom>
          <a:solidFill>
            <a:schemeClr val="accent1"/>
          </a:solidFill>
          <a:ln w="12700" cap="flat" cmpd="sng" algn="ctr">
            <a:solidFill>
              <a:schemeClr val="accent5"/>
            </a:solidFill>
            <a:prstDash val="sysDot"/>
            <a:round/>
            <a:headEnd type="none" w="med" len="med"/>
            <a:tailEnd type="none" w="med" len="med"/>
          </a:ln>
          <a:effectLst/>
        </p:spPr>
      </p:cxnSp>
      <p:sp>
        <p:nvSpPr>
          <p:cNvPr id="130" name="Rectangle 129">
            <a:extLst>
              <a:ext uri="{FF2B5EF4-FFF2-40B4-BE49-F238E27FC236}">
                <a16:creationId xmlns:a16="http://schemas.microsoft.com/office/drawing/2014/main" id="{C342D8C2-B76C-41DA-B9C8-D2AE728445F1}"/>
              </a:ext>
            </a:extLst>
          </p:cNvPr>
          <p:cNvSpPr/>
          <p:nvPr/>
        </p:nvSpPr>
        <p:spPr bwMode="auto">
          <a:xfrm>
            <a:off x="6564682" y="3299302"/>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131" name="Rectangle 130">
            <a:extLst>
              <a:ext uri="{FF2B5EF4-FFF2-40B4-BE49-F238E27FC236}">
                <a16:creationId xmlns:a16="http://schemas.microsoft.com/office/drawing/2014/main" id="{0C8FA90E-1B57-4BC9-AE2C-81908B81E055}"/>
              </a:ext>
            </a:extLst>
          </p:cNvPr>
          <p:cNvSpPr/>
          <p:nvPr/>
        </p:nvSpPr>
        <p:spPr bwMode="auto">
          <a:xfrm>
            <a:off x="6564682" y="303855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252" name="Rectangle 251">
            <a:extLst>
              <a:ext uri="{FF2B5EF4-FFF2-40B4-BE49-F238E27FC236}">
                <a16:creationId xmlns:a16="http://schemas.microsoft.com/office/drawing/2014/main" id="{303C57A5-2E64-47CB-A171-719B62D1D836}"/>
              </a:ext>
            </a:extLst>
          </p:cNvPr>
          <p:cNvSpPr/>
          <p:nvPr/>
        </p:nvSpPr>
        <p:spPr bwMode="auto">
          <a:xfrm>
            <a:off x="6635396"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76" name="Connector: Curved 275">
            <a:extLst>
              <a:ext uri="{FF2B5EF4-FFF2-40B4-BE49-F238E27FC236}">
                <a16:creationId xmlns:a16="http://schemas.microsoft.com/office/drawing/2014/main" id="{A4594C85-8157-4FE5-AE6D-57FFF3B285B3}"/>
              </a:ext>
            </a:extLst>
          </p:cNvPr>
          <p:cNvCxnSpPr>
            <a:cxnSpLocks/>
            <a:stCxn id="277" idx="1"/>
            <a:endCxn id="278" idx="1"/>
          </p:cNvCxnSpPr>
          <p:nvPr/>
        </p:nvCxnSpPr>
        <p:spPr bwMode="auto">
          <a:xfrm rot="10800000" flipH="1">
            <a:off x="4671553" y="2938912"/>
            <a:ext cx="42501" cy="695667"/>
          </a:xfrm>
          <a:prstGeom prst="curvedConnector3">
            <a:avLst>
              <a:gd name="adj1" fmla="val -309275"/>
            </a:avLst>
          </a:prstGeom>
          <a:solidFill>
            <a:schemeClr val="accent1"/>
          </a:solidFill>
          <a:ln w="19050" cap="flat" cmpd="sng" algn="ctr">
            <a:solidFill>
              <a:schemeClr val="accent5"/>
            </a:solidFill>
            <a:prstDash val="solid"/>
            <a:round/>
            <a:headEnd type="none" w="med" len="med"/>
            <a:tailEnd type="triangle" w="med" len="med"/>
          </a:ln>
          <a:effectLst/>
        </p:spPr>
      </p:cxnSp>
      <p:sp>
        <p:nvSpPr>
          <p:cNvPr id="277" name="Rectangle 276">
            <a:extLst>
              <a:ext uri="{FF2B5EF4-FFF2-40B4-BE49-F238E27FC236}">
                <a16:creationId xmlns:a16="http://schemas.microsoft.com/office/drawing/2014/main" id="{B3A06C68-0DB6-4B6D-B1CE-81ADED6D52B0}"/>
              </a:ext>
            </a:extLst>
          </p:cNvPr>
          <p:cNvSpPr/>
          <p:nvPr/>
        </p:nvSpPr>
        <p:spPr bwMode="auto">
          <a:xfrm>
            <a:off x="4671554" y="3611718"/>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278" name="Rectangle 277">
            <a:extLst>
              <a:ext uri="{FF2B5EF4-FFF2-40B4-BE49-F238E27FC236}">
                <a16:creationId xmlns:a16="http://schemas.microsoft.com/office/drawing/2014/main" id="{BC12EA9C-181B-4658-9528-AAE1AB34ACEB}"/>
              </a:ext>
            </a:extLst>
          </p:cNvPr>
          <p:cNvSpPr/>
          <p:nvPr/>
        </p:nvSpPr>
        <p:spPr bwMode="auto">
          <a:xfrm>
            <a:off x="4714055" y="29160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279" name="TextBox 278">
            <a:extLst>
              <a:ext uri="{FF2B5EF4-FFF2-40B4-BE49-F238E27FC236}">
                <a16:creationId xmlns:a16="http://schemas.microsoft.com/office/drawing/2014/main" id="{8BBCF578-EBDF-459F-BE26-3E9E0FBF7FD5}"/>
              </a:ext>
            </a:extLst>
          </p:cNvPr>
          <p:cNvSpPr txBox="1"/>
          <p:nvPr/>
        </p:nvSpPr>
        <p:spPr bwMode="auto">
          <a:xfrm>
            <a:off x="4644785" y="3241708"/>
            <a:ext cx="666849"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900" b="1">
                <a:solidFill>
                  <a:schemeClr val="accent5"/>
                </a:solidFill>
                <a:cs typeface="Arial" panose="020B0604020202020204" pitchFamily="34" charset="0"/>
              </a:rPr>
              <a:t>EPS Fallback</a:t>
            </a:r>
          </a:p>
        </p:txBody>
      </p:sp>
      <p:sp>
        <p:nvSpPr>
          <p:cNvPr id="280" name="Rectangle 279">
            <a:extLst>
              <a:ext uri="{FF2B5EF4-FFF2-40B4-BE49-F238E27FC236}">
                <a16:creationId xmlns:a16="http://schemas.microsoft.com/office/drawing/2014/main" id="{05FF797E-015C-4E3E-9741-88A918440A7E}"/>
              </a:ext>
            </a:extLst>
          </p:cNvPr>
          <p:cNvSpPr/>
          <p:nvPr/>
        </p:nvSpPr>
        <p:spPr bwMode="auto">
          <a:xfrm>
            <a:off x="5083192"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281" name="Rectangle 280">
            <a:extLst>
              <a:ext uri="{FF2B5EF4-FFF2-40B4-BE49-F238E27FC236}">
                <a16:creationId xmlns:a16="http://schemas.microsoft.com/office/drawing/2014/main" id="{378A23D2-6329-4C1E-9CAD-46E293296AE0}"/>
              </a:ext>
            </a:extLst>
          </p:cNvPr>
          <p:cNvSpPr/>
          <p:nvPr/>
        </p:nvSpPr>
        <p:spPr bwMode="auto">
          <a:xfrm>
            <a:off x="5493153"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282" name="Straight Connector 281">
            <a:extLst>
              <a:ext uri="{FF2B5EF4-FFF2-40B4-BE49-F238E27FC236}">
                <a16:creationId xmlns:a16="http://schemas.microsoft.com/office/drawing/2014/main" id="{50D02582-6D40-49BC-B7B8-883C017CF9EF}"/>
              </a:ext>
            </a:extLst>
          </p:cNvPr>
          <p:cNvCxnSpPr>
            <a:cxnSpLocks/>
            <a:stCxn id="280" idx="3"/>
            <a:endCxn id="281" idx="1"/>
          </p:cNvCxnSpPr>
          <p:nvPr/>
        </p:nvCxnSpPr>
        <p:spPr bwMode="auto">
          <a:xfrm>
            <a:off x="5128911" y="2941039"/>
            <a:ext cx="364242"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83" name="Rectangle 282">
            <a:extLst>
              <a:ext uri="{FF2B5EF4-FFF2-40B4-BE49-F238E27FC236}">
                <a16:creationId xmlns:a16="http://schemas.microsoft.com/office/drawing/2014/main" id="{F3114621-7837-43C1-BD7A-3E8E6E5C518C}"/>
              </a:ext>
            </a:extLst>
          </p:cNvPr>
          <p:cNvSpPr/>
          <p:nvPr/>
        </p:nvSpPr>
        <p:spPr bwMode="auto">
          <a:xfrm>
            <a:off x="5493153"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284" name="Straight Connector 283">
            <a:extLst>
              <a:ext uri="{FF2B5EF4-FFF2-40B4-BE49-F238E27FC236}">
                <a16:creationId xmlns:a16="http://schemas.microsoft.com/office/drawing/2014/main" id="{8442A71C-29E9-401B-A3BC-0F9B6659BE7F}"/>
              </a:ext>
            </a:extLst>
          </p:cNvPr>
          <p:cNvCxnSpPr>
            <a:cxnSpLocks/>
            <a:stCxn id="285" idx="3"/>
            <a:endCxn id="283" idx="1"/>
          </p:cNvCxnSpPr>
          <p:nvPr/>
        </p:nvCxnSpPr>
        <p:spPr bwMode="auto">
          <a:xfrm>
            <a:off x="5128911" y="2825487"/>
            <a:ext cx="364242"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85" name="Rectangle 284">
            <a:extLst>
              <a:ext uri="{FF2B5EF4-FFF2-40B4-BE49-F238E27FC236}">
                <a16:creationId xmlns:a16="http://schemas.microsoft.com/office/drawing/2014/main" id="{FDB6D638-52BC-491E-B577-33250FDDAB45}"/>
              </a:ext>
            </a:extLst>
          </p:cNvPr>
          <p:cNvSpPr/>
          <p:nvPr/>
        </p:nvSpPr>
        <p:spPr bwMode="auto">
          <a:xfrm>
            <a:off x="5083192"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286" name="Rectangle 285">
            <a:extLst>
              <a:ext uri="{FF2B5EF4-FFF2-40B4-BE49-F238E27FC236}">
                <a16:creationId xmlns:a16="http://schemas.microsoft.com/office/drawing/2014/main" id="{38472FE9-256E-4D16-9808-E41BD50626AA}"/>
              </a:ext>
            </a:extLst>
          </p:cNvPr>
          <p:cNvSpPr/>
          <p:nvPr/>
        </p:nvSpPr>
        <p:spPr bwMode="auto">
          <a:xfrm>
            <a:off x="5905332"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287" name="Rectangle 286">
            <a:extLst>
              <a:ext uri="{FF2B5EF4-FFF2-40B4-BE49-F238E27FC236}">
                <a16:creationId xmlns:a16="http://schemas.microsoft.com/office/drawing/2014/main" id="{3CD90601-6A53-44AA-82B6-B5F52F637E7B}"/>
              </a:ext>
            </a:extLst>
          </p:cNvPr>
          <p:cNvSpPr/>
          <p:nvPr/>
        </p:nvSpPr>
        <p:spPr bwMode="auto">
          <a:xfrm>
            <a:off x="6321115"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88" name="Straight Connector 287">
            <a:extLst>
              <a:ext uri="{FF2B5EF4-FFF2-40B4-BE49-F238E27FC236}">
                <a16:creationId xmlns:a16="http://schemas.microsoft.com/office/drawing/2014/main" id="{893CA480-CA25-4B14-BBDC-C441652235DE}"/>
              </a:ext>
            </a:extLst>
          </p:cNvPr>
          <p:cNvCxnSpPr>
            <a:cxnSpLocks/>
            <a:stCxn id="286" idx="3"/>
            <a:endCxn id="287" idx="1"/>
          </p:cNvCxnSpPr>
          <p:nvPr/>
        </p:nvCxnSpPr>
        <p:spPr bwMode="auto">
          <a:xfrm>
            <a:off x="5951051" y="2941039"/>
            <a:ext cx="370064"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89" name="Rectangle 288">
            <a:extLst>
              <a:ext uri="{FF2B5EF4-FFF2-40B4-BE49-F238E27FC236}">
                <a16:creationId xmlns:a16="http://schemas.microsoft.com/office/drawing/2014/main" id="{A4CE00CE-E630-4515-A8D3-FF96AEFEDB52}"/>
              </a:ext>
            </a:extLst>
          </p:cNvPr>
          <p:cNvSpPr/>
          <p:nvPr/>
        </p:nvSpPr>
        <p:spPr bwMode="auto">
          <a:xfrm>
            <a:off x="6321115"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290" name="Straight Connector 289">
            <a:extLst>
              <a:ext uri="{FF2B5EF4-FFF2-40B4-BE49-F238E27FC236}">
                <a16:creationId xmlns:a16="http://schemas.microsoft.com/office/drawing/2014/main" id="{31907ACC-8195-496E-899E-81C6455CF364}"/>
              </a:ext>
            </a:extLst>
          </p:cNvPr>
          <p:cNvCxnSpPr>
            <a:cxnSpLocks/>
            <a:stCxn id="291" idx="3"/>
            <a:endCxn id="289" idx="1"/>
          </p:cNvCxnSpPr>
          <p:nvPr/>
        </p:nvCxnSpPr>
        <p:spPr bwMode="auto">
          <a:xfrm>
            <a:off x="5951051" y="2825487"/>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91" name="Rectangle 290">
            <a:extLst>
              <a:ext uri="{FF2B5EF4-FFF2-40B4-BE49-F238E27FC236}">
                <a16:creationId xmlns:a16="http://schemas.microsoft.com/office/drawing/2014/main" id="{D12FD63F-233C-4FD6-A482-E83A394F8BA1}"/>
              </a:ext>
            </a:extLst>
          </p:cNvPr>
          <p:cNvSpPr/>
          <p:nvPr/>
        </p:nvSpPr>
        <p:spPr bwMode="auto">
          <a:xfrm>
            <a:off x="5905332"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00" name="TextBox 299">
            <a:extLst>
              <a:ext uri="{FF2B5EF4-FFF2-40B4-BE49-F238E27FC236}">
                <a16:creationId xmlns:a16="http://schemas.microsoft.com/office/drawing/2014/main" id="{E6EDCFF0-E3A0-40E6-B1D1-05805A4A3849}"/>
              </a:ext>
            </a:extLst>
          </p:cNvPr>
          <p:cNvSpPr txBox="1"/>
          <p:nvPr/>
        </p:nvSpPr>
        <p:spPr bwMode="auto">
          <a:xfrm>
            <a:off x="5202162" y="3792226"/>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5"/>
                </a:solidFill>
                <a:cs typeface="Arial" panose="020B0604020202020204" pitchFamily="34" charset="0"/>
              </a:rPr>
              <a:t>Data</a:t>
            </a:r>
          </a:p>
        </p:txBody>
      </p:sp>
      <p:sp>
        <p:nvSpPr>
          <p:cNvPr id="301" name="TextBox 300">
            <a:extLst>
              <a:ext uri="{FF2B5EF4-FFF2-40B4-BE49-F238E27FC236}">
                <a16:creationId xmlns:a16="http://schemas.microsoft.com/office/drawing/2014/main" id="{1425587E-4832-4C0F-9257-2D1F2EDD56DD}"/>
              </a:ext>
            </a:extLst>
          </p:cNvPr>
          <p:cNvSpPr txBox="1"/>
          <p:nvPr/>
        </p:nvSpPr>
        <p:spPr bwMode="auto">
          <a:xfrm>
            <a:off x="5187735" y="2679066"/>
            <a:ext cx="272510"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Voice</a:t>
            </a:r>
          </a:p>
        </p:txBody>
      </p:sp>
      <p:sp>
        <p:nvSpPr>
          <p:cNvPr id="302" name="TextBox 301">
            <a:extLst>
              <a:ext uri="{FF2B5EF4-FFF2-40B4-BE49-F238E27FC236}">
                <a16:creationId xmlns:a16="http://schemas.microsoft.com/office/drawing/2014/main" id="{FF787F26-641C-4634-BA1A-74C058611E01}"/>
              </a:ext>
            </a:extLst>
          </p:cNvPr>
          <p:cNvSpPr txBox="1"/>
          <p:nvPr/>
        </p:nvSpPr>
        <p:spPr bwMode="auto">
          <a:xfrm>
            <a:off x="5202162" y="2978737"/>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Data</a:t>
            </a:r>
          </a:p>
        </p:txBody>
      </p:sp>
      <p:pic>
        <p:nvPicPr>
          <p:cNvPr id="304" name="Graphic 303">
            <a:extLst>
              <a:ext uri="{FF2B5EF4-FFF2-40B4-BE49-F238E27FC236}">
                <a16:creationId xmlns:a16="http://schemas.microsoft.com/office/drawing/2014/main" id="{382936C3-B23E-42DF-AF29-B698E1ED981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00684" y="3522649"/>
            <a:ext cx="258323" cy="361653"/>
          </a:xfrm>
          <a:prstGeom prst="rect">
            <a:avLst/>
          </a:prstGeom>
        </p:spPr>
      </p:pic>
      <p:sp>
        <p:nvSpPr>
          <p:cNvPr id="308" name="Rectangle 307">
            <a:extLst>
              <a:ext uri="{FF2B5EF4-FFF2-40B4-BE49-F238E27FC236}">
                <a16:creationId xmlns:a16="http://schemas.microsoft.com/office/drawing/2014/main" id="{49F9DF0C-B8E4-4D63-A2BE-4803CCF1E776}"/>
              </a:ext>
            </a:extLst>
          </p:cNvPr>
          <p:cNvSpPr/>
          <p:nvPr/>
        </p:nvSpPr>
        <p:spPr bwMode="auto">
          <a:xfrm>
            <a:off x="2998888" y="2803436"/>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09" name="Straight Connector 308">
            <a:extLst>
              <a:ext uri="{FF2B5EF4-FFF2-40B4-BE49-F238E27FC236}">
                <a16:creationId xmlns:a16="http://schemas.microsoft.com/office/drawing/2014/main" id="{E936A05E-7F1A-4C19-B491-DFEEF38E3F0C}"/>
              </a:ext>
            </a:extLst>
          </p:cNvPr>
          <p:cNvCxnSpPr>
            <a:cxnSpLocks/>
            <a:stCxn id="322" idx="3"/>
            <a:endCxn id="308" idx="1"/>
          </p:cNvCxnSpPr>
          <p:nvPr/>
        </p:nvCxnSpPr>
        <p:spPr bwMode="auto">
          <a:xfrm>
            <a:off x="2628824" y="2826296"/>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13" name="Rectangle 312">
            <a:extLst>
              <a:ext uri="{FF2B5EF4-FFF2-40B4-BE49-F238E27FC236}">
                <a16:creationId xmlns:a16="http://schemas.microsoft.com/office/drawing/2014/main" id="{1F759860-C3EB-4CDD-A55A-54B1D4283A23}"/>
              </a:ext>
            </a:extLst>
          </p:cNvPr>
          <p:cNvSpPr/>
          <p:nvPr/>
        </p:nvSpPr>
        <p:spPr bwMode="auto">
          <a:xfrm>
            <a:off x="966131" y="337041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314" name="Rectangle 313">
            <a:extLst>
              <a:ext uri="{FF2B5EF4-FFF2-40B4-BE49-F238E27FC236}">
                <a16:creationId xmlns:a16="http://schemas.microsoft.com/office/drawing/2014/main" id="{192C3629-744D-4024-8360-01DC475A90E1}"/>
              </a:ext>
            </a:extLst>
          </p:cNvPr>
          <p:cNvSpPr/>
          <p:nvPr/>
        </p:nvSpPr>
        <p:spPr bwMode="auto">
          <a:xfrm>
            <a:off x="1440862" y="371712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315" name="Straight Connector 314">
            <a:extLst>
              <a:ext uri="{FF2B5EF4-FFF2-40B4-BE49-F238E27FC236}">
                <a16:creationId xmlns:a16="http://schemas.microsoft.com/office/drawing/2014/main" id="{1C053479-6A31-491E-ACD1-35B0D9BEA2CF}"/>
              </a:ext>
            </a:extLst>
          </p:cNvPr>
          <p:cNvCxnSpPr>
            <a:cxnSpLocks/>
            <a:stCxn id="313" idx="3"/>
            <a:endCxn id="314" idx="1"/>
          </p:cNvCxnSpPr>
          <p:nvPr/>
        </p:nvCxnSpPr>
        <p:spPr bwMode="auto">
          <a:xfrm>
            <a:off x="1011850" y="3393271"/>
            <a:ext cx="429012" cy="346710"/>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22" name="Rectangle 321">
            <a:extLst>
              <a:ext uri="{FF2B5EF4-FFF2-40B4-BE49-F238E27FC236}">
                <a16:creationId xmlns:a16="http://schemas.microsoft.com/office/drawing/2014/main" id="{92A653FE-4DBD-4846-B3FC-575C7B0C0B6F}"/>
              </a:ext>
            </a:extLst>
          </p:cNvPr>
          <p:cNvSpPr/>
          <p:nvPr/>
        </p:nvSpPr>
        <p:spPr bwMode="auto">
          <a:xfrm>
            <a:off x="2583105" y="2803436"/>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27" name="Rectangle 326">
            <a:extLst>
              <a:ext uri="{FF2B5EF4-FFF2-40B4-BE49-F238E27FC236}">
                <a16:creationId xmlns:a16="http://schemas.microsoft.com/office/drawing/2014/main" id="{5BC30657-AE7D-4D1F-B008-E14F01DBD727}"/>
              </a:ext>
            </a:extLst>
          </p:cNvPr>
          <p:cNvSpPr/>
          <p:nvPr/>
        </p:nvSpPr>
        <p:spPr bwMode="auto">
          <a:xfrm>
            <a:off x="966131" y="319249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328" name="Rectangle 327">
            <a:extLst>
              <a:ext uri="{FF2B5EF4-FFF2-40B4-BE49-F238E27FC236}">
                <a16:creationId xmlns:a16="http://schemas.microsoft.com/office/drawing/2014/main" id="{CE3B38C6-21FB-4EC4-8A64-CAB74A2C430E}"/>
              </a:ext>
            </a:extLst>
          </p:cNvPr>
          <p:cNvSpPr/>
          <p:nvPr/>
        </p:nvSpPr>
        <p:spPr bwMode="auto">
          <a:xfrm>
            <a:off x="1440862"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329" name="Straight Connector 328">
            <a:extLst>
              <a:ext uri="{FF2B5EF4-FFF2-40B4-BE49-F238E27FC236}">
                <a16:creationId xmlns:a16="http://schemas.microsoft.com/office/drawing/2014/main" id="{FF79493C-64CD-4C0A-852C-2020AF35C798}"/>
              </a:ext>
            </a:extLst>
          </p:cNvPr>
          <p:cNvCxnSpPr>
            <a:cxnSpLocks/>
            <a:stCxn id="327" idx="3"/>
            <a:endCxn id="328" idx="1"/>
          </p:cNvCxnSpPr>
          <p:nvPr/>
        </p:nvCxnSpPr>
        <p:spPr bwMode="auto">
          <a:xfrm flipV="1">
            <a:off x="1011850" y="2941039"/>
            <a:ext cx="429012" cy="27432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30" name="Rectangle 329">
            <a:extLst>
              <a:ext uri="{FF2B5EF4-FFF2-40B4-BE49-F238E27FC236}">
                <a16:creationId xmlns:a16="http://schemas.microsoft.com/office/drawing/2014/main" id="{0C2EA5A3-950D-4880-BF70-6B1F28AEC114}"/>
              </a:ext>
            </a:extLst>
          </p:cNvPr>
          <p:cNvSpPr/>
          <p:nvPr/>
        </p:nvSpPr>
        <p:spPr bwMode="auto">
          <a:xfrm>
            <a:off x="1440862"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cxnSp>
        <p:nvCxnSpPr>
          <p:cNvPr id="331" name="Straight Connector 330">
            <a:extLst>
              <a:ext uri="{FF2B5EF4-FFF2-40B4-BE49-F238E27FC236}">
                <a16:creationId xmlns:a16="http://schemas.microsoft.com/office/drawing/2014/main" id="{EBDB276C-F2DE-43D6-B20A-FBA9497E90B4}"/>
              </a:ext>
            </a:extLst>
          </p:cNvPr>
          <p:cNvCxnSpPr>
            <a:cxnSpLocks/>
            <a:stCxn id="332" idx="3"/>
            <a:endCxn id="330" idx="1"/>
          </p:cNvCxnSpPr>
          <p:nvPr/>
        </p:nvCxnSpPr>
        <p:spPr bwMode="auto">
          <a:xfrm flipV="1">
            <a:off x="1011850" y="2825487"/>
            <a:ext cx="429012" cy="27432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32" name="Rectangle 331">
            <a:extLst>
              <a:ext uri="{FF2B5EF4-FFF2-40B4-BE49-F238E27FC236}">
                <a16:creationId xmlns:a16="http://schemas.microsoft.com/office/drawing/2014/main" id="{BB4E36B1-AAB8-4B98-B96E-4A7E2D0F9762}"/>
              </a:ext>
            </a:extLst>
          </p:cNvPr>
          <p:cNvSpPr/>
          <p:nvPr/>
        </p:nvSpPr>
        <p:spPr bwMode="auto">
          <a:xfrm>
            <a:off x="966131" y="307694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bg1"/>
              </a:solidFill>
              <a:effectLst/>
            </a:endParaRPr>
          </a:p>
        </p:txBody>
      </p:sp>
      <p:sp>
        <p:nvSpPr>
          <p:cNvPr id="333" name="Rectangle 332">
            <a:extLst>
              <a:ext uri="{FF2B5EF4-FFF2-40B4-BE49-F238E27FC236}">
                <a16:creationId xmlns:a16="http://schemas.microsoft.com/office/drawing/2014/main" id="{B72FAB8A-2BE5-4291-A5CA-382AE3B8C4AF}"/>
              </a:ext>
            </a:extLst>
          </p:cNvPr>
          <p:cNvSpPr/>
          <p:nvPr/>
        </p:nvSpPr>
        <p:spPr bwMode="auto">
          <a:xfrm>
            <a:off x="1853041" y="2918179"/>
            <a:ext cx="45719" cy="45719"/>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36" name="Rectangle 335">
            <a:extLst>
              <a:ext uri="{FF2B5EF4-FFF2-40B4-BE49-F238E27FC236}">
                <a16:creationId xmlns:a16="http://schemas.microsoft.com/office/drawing/2014/main" id="{D5115F1C-5D08-40D1-880E-BA2D58FD33A0}"/>
              </a:ext>
            </a:extLst>
          </p:cNvPr>
          <p:cNvSpPr/>
          <p:nvPr/>
        </p:nvSpPr>
        <p:spPr bwMode="auto">
          <a:xfrm>
            <a:off x="2268824" y="2802627"/>
            <a:ext cx="45719" cy="45719"/>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37" name="Straight Connector 336">
            <a:extLst>
              <a:ext uri="{FF2B5EF4-FFF2-40B4-BE49-F238E27FC236}">
                <a16:creationId xmlns:a16="http://schemas.microsoft.com/office/drawing/2014/main" id="{68047C27-E657-4357-BF0A-C8EEAB1C72AD}"/>
              </a:ext>
            </a:extLst>
          </p:cNvPr>
          <p:cNvCxnSpPr>
            <a:cxnSpLocks/>
            <a:stCxn id="338" idx="3"/>
            <a:endCxn id="336" idx="1"/>
          </p:cNvCxnSpPr>
          <p:nvPr/>
        </p:nvCxnSpPr>
        <p:spPr bwMode="auto">
          <a:xfrm>
            <a:off x="1898760" y="2825487"/>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38" name="Rectangle 337">
            <a:extLst>
              <a:ext uri="{FF2B5EF4-FFF2-40B4-BE49-F238E27FC236}">
                <a16:creationId xmlns:a16="http://schemas.microsoft.com/office/drawing/2014/main" id="{7CC7546B-B24F-4FBD-8009-87DB5D3DB523}"/>
              </a:ext>
            </a:extLst>
          </p:cNvPr>
          <p:cNvSpPr/>
          <p:nvPr/>
        </p:nvSpPr>
        <p:spPr bwMode="auto">
          <a:xfrm>
            <a:off x="1853041"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39" name="TextBox 338">
            <a:extLst>
              <a:ext uri="{FF2B5EF4-FFF2-40B4-BE49-F238E27FC236}">
                <a16:creationId xmlns:a16="http://schemas.microsoft.com/office/drawing/2014/main" id="{8A6E3532-7A55-42BB-8F0E-6E8BCD6B14BD}"/>
              </a:ext>
            </a:extLst>
          </p:cNvPr>
          <p:cNvSpPr txBox="1">
            <a:spLocks noChangeAspect="1"/>
          </p:cNvSpPr>
          <p:nvPr/>
        </p:nvSpPr>
        <p:spPr bwMode="auto">
          <a:xfrm>
            <a:off x="2998888"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2"/>
                </a:solidFill>
                <a:latin typeface="Ericsson Technical Icons" panose="00000500000000000000" pitchFamily="2" charset="0"/>
              </a:rPr>
              <a:t>S</a:t>
            </a:r>
            <a:br>
              <a:rPr lang="en-US" sz="1400" b="1">
                <a:solidFill>
                  <a:schemeClr val="accent2"/>
                </a:solidFill>
                <a:latin typeface="Ericsson Technical Icons" panose="00000500000000000000" pitchFamily="2" charset="0"/>
              </a:rPr>
            </a:br>
            <a:r>
              <a:rPr lang="en-US" sz="1400" b="1">
                <a:solidFill>
                  <a:schemeClr val="accent2"/>
                </a:solidFill>
                <a:latin typeface="Ericsson Technical Icons" panose="00000500000000000000" pitchFamily="2" charset="0"/>
              </a:rPr>
              <a:t>G</a:t>
            </a:r>
            <a:br>
              <a:rPr lang="en-US" sz="1400" b="1">
                <a:solidFill>
                  <a:schemeClr val="accent2"/>
                </a:solidFill>
                <a:latin typeface="Ericsson Technical Icons" panose="00000500000000000000" pitchFamily="2" charset="0"/>
              </a:rPr>
            </a:br>
            <a:r>
              <a:rPr lang="en-US" sz="1000" b="1">
                <a:solidFill>
                  <a:schemeClr val="accent2"/>
                </a:solidFill>
              </a:rPr>
              <a:t>IMS</a:t>
            </a:r>
          </a:p>
        </p:txBody>
      </p:sp>
      <p:sp>
        <p:nvSpPr>
          <p:cNvPr id="347" name="TextBox 346">
            <a:extLst>
              <a:ext uri="{FF2B5EF4-FFF2-40B4-BE49-F238E27FC236}">
                <a16:creationId xmlns:a16="http://schemas.microsoft.com/office/drawing/2014/main" id="{359CC855-5BDF-42F9-BFEF-15A937ABE63D}"/>
              </a:ext>
            </a:extLst>
          </p:cNvPr>
          <p:cNvSpPr txBox="1"/>
          <p:nvPr/>
        </p:nvSpPr>
        <p:spPr bwMode="auto">
          <a:xfrm rot="2320486">
            <a:off x="1062149" y="3574927"/>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5"/>
                </a:solidFill>
                <a:cs typeface="Arial" panose="020B0604020202020204" pitchFamily="34" charset="0"/>
              </a:rPr>
              <a:t>Data</a:t>
            </a:r>
          </a:p>
        </p:txBody>
      </p:sp>
      <p:sp>
        <p:nvSpPr>
          <p:cNvPr id="348" name="TextBox 347">
            <a:extLst>
              <a:ext uri="{FF2B5EF4-FFF2-40B4-BE49-F238E27FC236}">
                <a16:creationId xmlns:a16="http://schemas.microsoft.com/office/drawing/2014/main" id="{70B4F8AC-4F93-4ED8-AE8E-56E37BFA99B1}"/>
              </a:ext>
            </a:extLst>
          </p:cNvPr>
          <p:cNvSpPr txBox="1"/>
          <p:nvPr/>
        </p:nvSpPr>
        <p:spPr bwMode="auto">
          <a:xfrm rot="19633447">
            <a:off x="1021392" y="2835182"/>
            <a:ext cx="272510"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Voice</a:t>
            </a:r>
          </a:p>
        </p:txBody>
      </p:sp>
      <p:sp>
        <p:nvSpPr>
          <p:cNvPr id="349" name="TextBox 348">
            <a:extLst>
              <a:ext uri="{FF2B5EF4-FFF2-40B4-BE49-F238E27FC236}">
                <a16:creationId xmlns:a16="http://schemas.microsoft.com/office/drawing/2014/main" id="{426E20EC-B8F0-40FA-B0EF-75A150A20359}"/>
              </a:ext>
            </a:extLst>
          </p:cNvPr>
          <p:cNvSpPr txBox="1"/>
          <p:nvPr/>
        </p:nvSpPr>
        <p:spPr bwMode="auto">
          <a:xfrm rot="19643653">
            <a:off x="1150758" y="3093485"/>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Data</a:t>
            </a:r>
          </a:p>
        </p:txBody>
      </p:sp>
      <p:pic>
        <p:nvPicPr>
          <p:cNvPr id="350" name="Graphic 349">
            <a:extLst>
              <a:ext uri="{FF2B5EF4-FFF2-40B4-BE49-F238E27FC236}">
                <a16:creationId xmlns:a16="http://schemas.microsoft.com/office/drawing/2014/main" id="{00983A26-A636-436D-BEB0-F24EBB8B3B8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3623" y="3073069"/>
            <a:ext cx="258323" cy="361653"/>
          </a:xfrm>
          <a:prstGeom prst="rect">
            <a:avLst/>
          </a:prstGeom>
        </p:spPr>
      </p:pic>
      <p:sp>
        <p:nvSpPr>
          <p:cNvPr id="310" name="Rectangle 309">
            <a:extLst>
              <a:ext uri="{FF2B5EF4-FFF2-40B4-BE49-F238E27FC236}">
                <a16:creationId xmlns:a16="http://schemas.microsoft.com/office/drawing/2014/main" id="{49714689-5617-4A2E-991B-B88103EAADF8}"/>
              </a:ext>
            </a:extLst>
          </p:cNvPr>
          <p:cNvSpPr/>
          <p:nvPr/>
        </p:nvSpPr>
        <p:spPr bwMode="auto">
          <a:xfrm>
            <a:off x="1853041" y="372304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51" name="Connector: Elbow 350">
            <a:extLst>
              <a:ext uri="{FF2B5EF4-FFF2-40B4-BE49-F238E27FC236}">
                <a16:creationId xmlns:a16="http://schemas.microsoft.com/office/drawing/2014/main" id="{C50B2D88-156A-4E38-A236-1527B82B483B}"/>
              </a:ext>
            </a:extLst>
          </p:cNvPr>
          <p:cNvCxnSpPr>
            <a:cxnSpLocks/>
          </p:cNvCxnSpPr>
          <p:nvPr/>
        </p:nvCxnSpPr>
        <p:spPr bwMode="auto">
          <a:xfrm flipV="1">
            <a:off x="1898760" y="3063657"/>
            <a:ext cx="370064" cy="650763"/>
          </a:xfrm>
          <a:prstGeom prst="bentConnector3">
            <a:avLst>
              <a:gd name="adj1" fmla="val 50000"/>
            </a:avLst>
          </a:prstGeom>
          <a:solidFill>
            <a:schemeClr val="accent1"/>
          </a:solidFill>
          <a:ln w="28575" cap="flat" cmpd="sng" algn="ctr">
            <a:solidFill>
              <a:schemeClr val="accent5"/>
            </a:solidFill>
            <a:prstDash val="solid"/>
            <a:round/>
            <a:headEnd type="none" w="med" len="med"/>
            <a:tailEnd type="none"/>
          </a:ln>
          <a:effectLst/>
        </p:spPr>
      </p:cxnSp>
      <p:sp>
        <p:nvSpPr>
          <p:cNvPr id="334" name="Rectangle 333">
            <a:extLst>
              <a:ext uri="{FF2B5EF4-FFF2-40B4-BE49-F238E27FC236}">
                <a16:creationId xmlns:a16="http://schemas.microsoft.com/office/drawing/2014/main" id="{77F0DDE9-DE0E-46E0-ADD3-1DB1F243E853}"/>
              </a:ext>
            </a:extLst>
          </p:cNvPr>
          <p:cNvSpPr/>
          <p:nvPr/>
        </p:nvSpPr>
        <p:spPr bwMode="auto">
          <a:xfrm>
            <a:off x="2268824"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40" name="TextBox 339">
            <a:extLst>
              <a:ext uri="{FF2B5EF4-FFF2-40B4-BE49-F238E27FC236}">
                <a16:creationId xmlns:a16="http://schemas.microsoft.com/office/drawing/2014/main" id="{ADB60539-CDDE-45FD-89FC-3D5A15C46FE2}"/>
              </a:ext>
            </a:extLst>
          </p:cNvPr>
          <p:cNvSpPr txBox="1">
            <a:spLocks noChangeAspect="1"/>
          </p:cNvSpPr>
          <p:nvPr/>
        </p:nvSpPr>
        <p:spPr bwMode="auto">
          <a:xfrm>
            <a:off x="1538760"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2"/>
                </a:solidFill>
                <a:latin typeface="Ericsson Technical Icons" panose="00000500000000000000" pitchFamily="2" charset="0"/>
              </a:rPr>
              <a:t>B</a:t>
            </a:r>
            <a:endParaRPr lang="en-US" sz="2400">
              <a:solidFill>
                <a:schemeClr val="accent2"/>
              </a:solidFill>
            </a:endParaRPr>
          </a:p>
          <a:p>
            <a:pPr algn="ctr">
              <a:buClr>
                <a:schemeClr val="tx1"/>
              </a:buClr>
            </a:pPr>
            <a:r>
              <a:rPr lang="en-US" sz="1000" b="1">
                <a:solidFill>
                  <a:schemeClr val="accent2"/>
                </a:solidFill>
              </a:rPr>
              <a:t>LTE</a:t>
            </a:r>
          </a:p>
        </p:txBody>
      </p:sp>
      <p:sp>
        <p:nvSpPr>
          <p:cNvPr id="341" name="TextBox 340">
            <a:extLst>
              <a:ext uri="{FF2B5EF4-FFF2-40B4-BE49-F238E27FC236}">
                <a16:creationId xmlns:a16="http://schemas.microsoft.com/office/drawing/2014/main" id="{1D0B459C-5D9B-4806-A0DC-3DC9B4BB4E19}"/>
              </a:ext>
            </a:extLst>
          </p:cNvPr>
          <p:cNvSpPr txBox="1">
            <a:spLocks noChangeAspect="1"/>
          </p:cNvSpPr>
          <p:nvPr/>
        </p:nvSpPr>
        <p:spPr bwMode="auto">
          <a:xfrm>
            <a:off x="2268824"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2"/>
                </a:solidFill>
                <a:latin typeface="Ericsson Technical Icons" panose="00000500000000000000" pitchFamily="2" charset="0"/>
              </a:rPr>
              <a:t>S</a:t>
            </a:r>
            <a:br>
              <a:rPr lang="en-US" sz="1400" b="1">
                <a:solidFill>
                  <a:schemeClr val="accent2"/>
                </a:solidFill>
                <a:latin typeface="Ericsson Technical Icons" panose="00000500000000000000" pitchFamily="2" charset="0"/>
              </a:rPr>
            </a:br>
            <a:r>
              <a:rPr lang="en-US" sz="1400" b="1">
                <a:solidFill>
                  <a:schemeClr val="accent2"/>
                </a:solidFill>
                <a:latin typeface="Ericsson Technical Icons" panose="00000500000000000000" pitchFamily="2" charset="0"/>
              </a:rPr>
              <a:t>G</a:t>
            </a:r>
            <a:br>
              <a:rPr lang="en-US" sz="1400" b="1">
                <a:solidFill>
                  <a:schemeClr val="accent2"/>
                </a:solidFill>
                <a:latin typeface="Ericsson Technical Icons" panose="00000500000000000000" pitchFamily="2" charset="0"/>
              </a:rPr>
            </a:br>
            <a:r>
              <a:rPr lang="en-US" sz="1000" b="1">
                <a:solidFill>
                  <a:schemeClr val="accent2"/>
                </a:solidFill>
              </a:rPr>
              <a:t>EPC</a:t>
            </a:r>
          </a:p>
        </p:txBody>
      </p:sp>
      <p:sp>
        <p:nvSpPr>
          <p:cNvPr id="343" name="TextBox 342">
            <a:extLst>
              <a:ext uri="{FF2B5EF4-FFF2-40B4-BE49-F238E27FC236}">
                <a16:creationId xmlns:a16="http://schemas.microsoft.com/office/drawing/2014/main" id="{5882ED81-88B1-455C-A94D-6B09E9DED2B8}"/>
              </a:ext>
            </a:extLst>
          </p:cNvPr>
          <p:cNvSpPr txBox="1">
            <a:spLocks noChangeAspect="1"/>
          </p:cNvSpPr>
          <p:nvPr/>
        </p:nvSpPr>
        <p:spPr bwMode="auto">
          <a:xfrm>
            <a:off x="1538760" y="3299302"/>
            <a:ext cx="360000" cy="585000"/>
          </a:xfrm>
          <a:prstGeom prst="rect">
            <a:avLst/>
          </a:prstGeom>
          <a:solidFill>
            <a:schemeClr val="bg1"/>
          </a:solidFill>
          <a:ln w="19050">
            <a:solidFill>
              <a:schemeClr val="accent5"/>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5"/>
                </a:solidFill>
                <a:latin typeface="Ericsson Technical Icons" panose="00000500000000000000" pitchFamily="2" charset="0"/>
              </a:rPr>
              <a:t>B</a:t>
            </a:r>
            <a:endParaRPr lang="en-US" sz="2400">
              <a:solidFill>
                <a:schemeClr val="accent5"/>
              </a:solidFill>
            </a:endParaRPr>
          </a:p>
          <a:p>
            <a:pPr algn="ctr">
              <a:buClr>
                <a:schemeClr val="tx1"/>
              </a:buClr>
            </a:pPr>
            <a:r>
              <a:rPr lang="en-US" sz="1000" b="1">
                <a:solidFill>
                  <a:schemeClr val="accent5"/>
                </a:solidFill>
              </a:rPr>
              <a:t>NR</a:t>
            </a:r>
          </a:p>
        </p:txBody>
      </p:sp>
      <p:sp>
        <p:nvSpPr>
          <p:cNvPr id="344" name="Oval 343">
            <a:extLst>
              <a:ext uri="{FF2B5EF4-FFF2-40B4-BE49-F238E27FC236}">
                <a16:creationId xmlns:a16="http://schemas.microsoft.com/office/drawing/2014/main" id="{D0FDFA81-AB65-4726-9C8F-6BA8EA350B1F}"/>
              </a:ext>
            </a:extLst>
          </p:cNvPr>
          <p:cNvSpPr/>
          <p:nvPr/>
        </p:nvSpPr>
        <p:spPr bwMode="auto">
          <a:xfrm>
            <a:off x="1847333"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45" name="Oval 344">
            <a:extLst>
              <a:ext uri="{FF2B5EF4-FFF2-40B4-BE49-F238E27FC236}">
                <a16:creationId xmlns:a16="http://schemas.microsoft.com/office/drawing/2014/main" id="{72DCC353-B6AF-456F-86DA-7016175F8753}"/>
              </a:ext>
            </a:extLst>
          </p:cNvPr>
          <p:cNvSpPr/>
          <p:nvPr/>
        </p:nvSpPr>
        <p:spPr bwMode="auto">
          <a:xfrm>
            <a:off x="2575360"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355" name="Rectangle 354">
            <a:extLst>
              <a:ext uri="{FF2B5EF4-FFF2-40B4-BE49-F238E27FC236}">
                <a16:creationId xmlns:a16="http://schemas.microsoft.com/office/drawing/2014/main" id="{402F9461-E6D6-47B3-A902-87CECA072780}"/>
              </a:ext>
            </a:extLst>
          </p:cNvPr>
          <p:cNvSpPr/>
          <p:nvPr/>
        </p:nvSpPr>
        <p:spPr bwMode="auto">
          <a:xfrm>
            <a:off x="11087523"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56" name="Straight Connector 355">
            <a:extLst>
              <a:ext uri="{FF2B5EF4-FFF2-40B4-BE49-F238E27FC236}">
                <a16:creationId xmlns:a16="http://schemas.microsoft.com/office/drawing/2014/main" id="{BF665BBC-7BC5-4E27-B0C4-922958D121D6}"/>
              </a:ext>
            </a:extLst>
          </p:cNvPr>
          <p:cNvCxnSpPr>
            <a:cxnSpLocks/>
            <a:stCxn id="369" idx="3"/>
            <a:endCxn id="355" idx="1"/>
          </p:cNvCxnSpPr>
          <p:nvPr/>
        </p:nvCxnSpPr>
        <p:spPr bwMode="auto">
          <a:xfrm>
            <a:off x="10717459" y="3625587"/>
            <a:ext cx="370064" cy="0"/>
          </a:xfrm>
          <a:prstGeom prst="line">
            <a:avLst/>
          </a:prstGeom>
          <a:solidFill>
            <a:schemeClr val="accent1"/>
          </a:solidFill>
          <a:ln w="12700" cap="flat" cmpd="sng" algn="ctr">
            <a:solidFill>
              <a:schemeClr val="accent5"/>
            </a:solidFill>
            <a:prstDash val="solid"/>
            <a:round/>
            <a:headEnd type="none" w="med" len="med"/>
            <a:tailEnd type="none" w="med" len="med"/>
          </a:ln>
          <a:effectLst/>
        </p:spPr>
      </p:cxnSp>
      <p:sp>
        <p:nvSpPr>
          <p:cNvPr id="357" name="Rectangle 356">
            <a:extLst>
              <a:ext uri="{FF2B5EF4-FFF2-40B4-BE49-F238E27FC236}">
                <a16:creationId xmlns:a16="http://schemas.microsoft.com/office/drawing/2014/main" id="{2532D4B8-472C-405D-BAE5-1A7E79A09713}"/>
              </a:ext>
            </a:extLst>
          </p:cNvPr>
          <p:cNvSpPr/>
          <p:nvPr/>
        </p:nvSpPr>
        <p:spPr bwMode="auto">
          <a:xfrm>
            <a:off x="9941676" y="372304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58" name="Rectangle 357">
            <a:extLst>
              <a:ext uri="{FF2B5EF4-FFF2-40B4-BE49-F238E27FC236}">
                <a16:creationId xmlns:a16="http://schemas.microsoft.com/office/drawing/2014/main" id="{619F6440-1274-424C-B45C-D92EB45D49D4}"/>
              </a:ext>
            </a:extLst>
          </p:cNvPr>
          <p:cNvSpPr/>
          <p:nvPr/>
        </p:nvSpPr>
        <p:spPr bwMode="auto">
          <a:xfrm>
            <a:off x="10357459" y="3723043"/>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59" name="Straight Connector 358">
            <a:extLst>
              <a:ext uri="{FF2B5EF4-FFF2-40B4-BE49-F238E27FC236}">
                <a16:creationId xmlns:a16="http://schemas.microsoft.com/office/drawing/2014/main" id="{264801FE-9807-4E8D-A270-C7967B5C4464}"/>
              </a:ext>
            </a:extLst>
          </p:cNvPr>
          <p:cNvCxnSpPr>
            <a:cxnSpLocks/>
            <a:stCxn id="357" idx="3"/>
            <a:endCxn id="358" idx="1"/>
          </p:cNvCxnSpPr>
          <p:nvPr/>
        </p:nvCxnSpPr>
        <p:spPr bwMode="auto">
          <a:xfrm>
            <a:off x="9987395" y="3745903"/>
            <a:ext cx="370064" cy="0"/>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60" name="Rectangle 359">
            <a:extLst>
              <a:ext uri="{FF2B5EF4-FFF2-40B4-BE49-F238E27FC236}">
                <a16:creationId xmlns:a16="http://schemas.microsoft.com/office/drawing/2014/main" id="{8CCF2E83-7659-41F6-95EC-1EFE41766A4D}"/>
              </a:ext>
            </a:extLst>
          </p:cNvPr>
          <p:cNvSpPr/>
          <p:nvPr/>
        </p:nvSpPr>
        <p:spPr bwMode="auto">
          <a:xfrm>
            <a:off x="9140868" y="371712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61" name="Rectangle 360">
            <a:extLst>
              <a:ext uri="{FF2B5EF4-FFF2-40B4-BE49-F238E27FC236}">
                <a16:creationId xmlns:a16="http://schemas.microsoft.com/office/drawing/2014/main" id="{2736DBBB-9249-49EC-BFBA-C043DE42B8D7}"/>
              </a:ext>
            </a:extLst>
          </p:cNvPr>
          <p:cNvSpPr/>
          <p:nvPr/>
        </p:nvSpPr>
        <p:spPr bwMode="auto">
          <a:xfrm>
            <a:off x="9529497" y="371712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62" name="Straight Connector 361">
            <a:extLst>
              <a:ext uri="{FF2B5EF4-FFF2-40B4-BE49-F238E27FC236}">
                <a16:creationId xmlns:a16="http://schemas.microsoft.com/office/drawing/2014/main" id="{09B9ACA1-A3A6-4811-9960-DDAB07E39493}"/>
              </a:ext>
            </a:extLst>
          </p:cNvPr>
          <p:cNvCxnSpPr>
            <a:cxnSpLocks/>
            <a:stCxn id="360" idx="3"/>
            <a:endCxn id="361" idx="1"/>
          </p:cNvCxnSpPr>
          <p:nvPr/>
        </p:nvCxnSpPr>
        <p:spPr bwMode="auto">
          <a:xfrm>
            <a:off x="9186587" y="3739981"/>
            <a:ext cx="342910" cy="0"/>
          </a:xfrm>
          <a:prstGeom prst="line">
            <a:avLst/>
          </a:prstGeom>
          <a:noFill/>
          <a:ln w="28575"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69" name="Rectangle 368">
            <a:extLst>
              <a:ext uri="{FF2B5EF4-FFF2-40B4-BE49-F238E27FC236}">
                <a16:creationId xmlns:a16="http://schemas.microsoft.com/office/drawing/2014/main" id="{35E108EA-85E8-4042-8502-ABA4A3215C91}"/>
              </a:ext>
            </a:extLst>
          </p:cNvPr>
          <p:cNvSpPr/>
          <p:nvPr/>
        </p:nvSpPr>
        <p:spPr bwMode="auto">
          <a:xfrm>
            <a:off x="10671740"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94" name="TextBox 393">
            <a:extLst>
              <a:ext uri="{FF2B5EF4-FFF2-40B4-BE49-F238E27FC236}">
                <a16:creationId xmlns:a16="http://schemas.microsoft.com/office/drawing/2014/main" id="{0E57892F-C9EB-4680-99F2-8D86BBEB6C95}"/>
              </a:ext>
            </a:extLst>
          </p:cNvPr>
          <p:cNvSpPr txBox="1"/>
          <p:nvPr/>
        </p:nvSpPr>
        <p:spPr bwMode="auto">
          <a:xfrm>
            <a:off x="9238506" y="3792226"/>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5"/>
                </a:solidFill>
                <a:cs typeface="Arial" panose="020B0604020202020204" pitchFamily="34" charset="0"/>
              </a:rPr>
              <a:t>Data</a:t>
            </a:r>
          </a:p>
        </p:txBody>
      </p:sp>
      <p:pic>
        <p:nvPicPr>
          <p:cNvPr id="397" name="Graphic 396">
            <a:extLst>
              <a:ext uri="{FF2B5EF4-FFF2-40B4-BE49-F238E27FC236}">
                <a16:creationId xmlns:a16="http://schemas.microsoft.com/office/drawing/2014/main" id="{B6BC1BB6-2DE4-46F5-8883-85F2007C278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028" y="3522649"/>
            <a:ext cx="258323" cy="361653"/>
          </a:xfrm>
          <a:prstGeom prst="rect">
            <a:avLst/>
          </a:prstGeom>
        </p:spPr>
      </p:pic>
      <p:sp>
        <p:nvSpPr>
          <p:cNvPr id="398" name="Rectangle 397">
            <a:extLst>
              <a:ext uri="{FF2B5EF4-FFF2-40B4-BE49-F238E27FC236}">
                <a16:creationId xmlns:a16="http://schemas.microsoft.com/office/drawing/2014/main" id="{4F1C279E-1018-4E3E-8CDE-F173E016D6BE}"/>
              </a:ext>
            </a:extLst>
          </p:cNvPr>
          <p:cNvSpPr/>
          <p:nvPr/>
        </p:nvSpPr>
        <p:spPr bwMode="auto">
          <a:xfrm>
            <a:off x="9529497"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99" name="Straight Connector 398">
            <a:extLst>
              <a:ext uri="{FF2B5EF4-FFF2-40B4-BE49-F238E27FC236}">
                <a16:creationId xmlns:a16="http://schemas.microsoft.com/office/drawing/2014/main" id="{D7AF9F53-5FD3-4A04-9279-8D15417C9F1F}"/>
              </a:ext>
            </a:extLst>
          </p:cNvPr>
          <p:cNvCxnSpPr>
            <a:cxnSpLocks/>
            <a:stCxn id="400" idx="3"/>
            <a:endCxn id="398" idx="1"/>
          </p:cNvCxnSpPr>
          <p:nvPr/>
        </p:nvCxnSpPr>
        <p:spPr bwMode="auto">
          <a:xfrm>
            <a:off x="9186587" y="3625587"/>
            <a:ext cx="342910" cy="0"/>
          </a:xfrm>
          <a:prstGeom prst="line">
            <a:avLst/>
          </a:prstGeom>
          <a:solidFill>
            <a:schemeClr val="accent1"/>
          </a:solidFill>
          <a:ln w="12700" cap="flat" cmpd="sng" algn="ctr">
            <a:solidFill>
              <a:schemeClr val="accent5"/>
            </a:solidFill>
            <a:prstDash val="solid"/>
            <a:round/>
            <a:headEnd type="none" w="med" len="med"/>
            <a:tailEnd type="none" w="med" len="med"/>
          </a:ln>
          <a:effectLst/>
        </p:spPr>
      </p:cxnSp>
      <p:sp>
        <p:nvSpPr>
          <p:cNvPr id="400" name="Rectangle 399">
            <a:extLst>
              <a:ext uri="{FF2B5EF4-FFF2-40B4-BE49-F238E27FC236}">
                <a16:creationId xmlns:a16="http://schemas.microsoft.com/office/drawing/2014/main" id="{E53B70FC-C9D6-43EE-9413-CC186E9D16EC}"/>
              </a:ext>
            </a:extLst>
          </p:cNvPr>
          <p:cNvSpPr/>
          <p:nvPr/>
        </p:nvSpPr>
        <p:spPr bwMode="auto">
          <a:xfrm>
            <a:off x="9140868"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401" name="Rectangle 400">
            <a:extLst>
              <a:ext uri="{FF2B5EF4-FFF2-40B4-BE49-F238E27FC236}">
                <a16:creationId xmlns:a16="http://schemas.microsoft.com/office/drawing/2014/main" id="{DED8F67E-2CE7-41BB-91C7-35059196107F}"/>
              </a:ext>
            </a:extLst>
          </p:cNvPr>
          <p:cNvSpPr/>
          <p:nvPr/>
        </p:nvSpPr>
        <p:spPr bwMode="auto">
          <a:xfrm>
            <a:off x="10357459"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402" name="Straight Connector 401">
            <a:extLst>
              <a:ext uri="{FF2B5EF4-FFF2-40B4-BE49-F238E27FC236}">
                <a16:creationId xmlns:a16="http://schemas.microsoft.com/office/drawing/2014/main" id="{512455E9-CC79-4677-A527-0D642969AF10}"/>
              </a:ext>
            </a:extLst>
          </p:cNvPr>
          <p:cNvCxnSpPr>
            <a:cxnSpLocks/>
            <a:stCxn id="403" idx="3"/>
            <a:endCxn id="401" idx="1"/>
          </p:cNvCxnSpPr>
          <p:nvPr/>
        </p:nvCxnSpPr>
        <p:spPr bwMode="auto">
          <a:xfrm>
            <a:off x="9987395" y="3625587"/>
            <a:ext cx="370064" cy="0"/>
          </a:xfrm>
          <a:prstGeom prst="line">
            <a:avLst/>
          </a:prstGeom>
          <a:solidFill>
            <a:schemeClr val="accent1"/>
          </a:solidFill>
          <a:ln w="12700" cap="flat" cmpd="sng" algn="ctr">
            <a:solidFill>
              <a:schemeClr val="accent5"/>
            </a:solidFill>
            <a:prstDash val="solid"/>
            <a:round/>
            <a:headEnd type="none" w="med" len="med"/>
            <a:tailEnd type="none" w="med" len="med"/>
          </a:ln>
          <a:effectLst/>
        </p:spPr>
      </p:cxnSp>
      <p:sp>
        <p:nvSpPr>
          <p:cNvPr id="403" name="Rectangle 402">
            <a:extLst>
              <a:ext uri="{FF2B5EF4-FFF2-40B4-BE49-F238E27FC236}">
                <a16:creationId xmlns:a16="http://schemas.microsoft.com/office/drawing/2014/main" id="{D50D9FC1-6C7D-4E42-A40C-B36A8B5B0A59}"/>
              </a:ext>
            </a:extLst>
          </p:cNvPr>
          <p:cNvSpPr/>
          <p:nvPr/>
        </p:nvSpPr>
        <p:spPr bwMode="auto">
          <a:xfrm>
            <a:off x="9941676" y="36027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90" name="TextBox 389">
            <a:extLst>
              <a:ext uri="{FF2B5EF4-FFF2-40B4-BE49-F238E27FC236}">
                <a16:creationId xmlns:a16="http://schemas.microsoft.com/office/drawing/2014/main" id="{55DCFCF4-4E64-41D8-8616-56FF9835C3D8}"/>
              </a:ext>
            </a:extLst>
          </p:cNvPr>
          <p:cNvSpPr txBox="1">
            <a:spLocks noChangeAspect="1"/>
          </p:cNvSpPr>
          <p:nvPr/>
        </p:nvSpPr>
        <p:spPr bwMode="auto">
          <a:xfrm>
            <a:off x="9627395" y="3299302"/>
            <a:ext cx="360000" cy="585000"/>
          </a:xfrm>
          <a:prstGeom prst="rect">
            <a:avLst/>
          </a:prstGeom>
          <a:solidFill>
            <a:schemeClr val="bg1"/>
          </a:solidFill>
          <a:ln w="19050">
            <a:solidFill>
              <a:schemeClr val="accent5"/>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5"/>
                </a:solidFill>
                <a:latin typeface="Ericsson Technical Icons" panose="00000500000000000000" pitchFamily="2" charset="0"/>
              </a:rPr>
              <a:t>B</a:t>
            </a:r>
            <a:endParaRPr lang="en-US" sz="2400">
              <a:solidFill>
                <a:schemeClr val="accent5"/>
              </a:solidFill>
            </a:endParaRPr>
          </a:p>
          <a:p>
            <a:pPr algn="ctr">
              <a:buClr>
                <a:schemeClr val="tx1"/>
              </a:buClr>
            </a:pPr>
            <a:r>
              <a:rPr lang="en-US" sz="1000" b="1">
                <a:solidFill>
                  <a:schemeClr val="accent5"/>
                </a:solidFill>
              </a:rPr>
              <a:t>NR</a:t>
            </a:r>
          </a:p>
        </p:txBody>
      </p:sp>
      <p:sp>
        <p:nvSpPr>
          <p:cNvPr id="386" name="TextBox 385">
            <a:extLst>
              <a:ext uri="{FF2B5EF4-FFF2-40B4-BE49-F238E27FC236}">
                <a16:creationId xmlns:a16="http://schemas.microsoft.com/office/drawing/2014/main" id="{1A7AFE2E-B47D-4A5B-BEA0-56EC14079568}"/>
              </a:ext>
            </a:extLst>
          </p:cNvPr>
          <p:cNvSpPr txBox="1">
            <a:spLocks noChangeAspect="1"/>
          </p:cNvSpPr>
          <p:nvPr/>
        </p:nvSpPr>
        <p:spPr bwMode="auto">
          <a:xfrm>
            <a:off x="11087523" y="3299302"/>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2"/>
                </a:solidFill>
                <a:latin typeface="Ericsson Technical Icons" panose="00000500000000000000" pitchFamily="2" charset="0"/>
              </a:rPr>
              <a:t>S</a:t>
            </a:r>
            <a:br>
              <a:rPr lang="en-US" sz="1400" b="1">
                <a:solidFill>
                  <a:schemeClr val="accent2"/>
                </a:solidFill>
                <a:latin typeface="Ericsson Technical Icons" panose="00000500000000000000" pitchFamily="2" charset="0"/>
              </a:rPr>
            </a:br>
            <a:r>
              <a:rPr lang="en-US" sz="1400" b="1">
                <a:solidFill>
                  <a:schemeClr val="accent2"/>
                </a:solidFill>
                <a:latin typeface="Ericsson Technical Icons" panose="00000500000000000000" pitchFamily="2" charset="0"/>
              </a:rPr>
              <a:t>G</a:t>
            </a:r>
            <a:br>
              <a:rPr lang="en-US" sz="1400" b="1">
                <a:solidFill>
                  <a:schemeClr val="accent2"/>
                </a:solidFill>
                <a:latin typeface="Ericsson Technical Icons" panose="00000500000000000000" pitchFamily="2" charset="0"/>
              </a:rPr>
            </a:br>
            <a:r>
              <a:rPr lang="en-US" sz="1000" b="1">
                <a:solidFill>
                  <a:schemeClr val="accent2"/>
                </a:solidFill>
              </a:rPr>
              <a:t>IMS</a:t>
            </a:r>
          </a:p>
        </p:txBody>
      </p:sp>
      <p:sp>
        <p:nvSpPr>
          <p:cNvPr id="393" name="Oval 392">
            <a:extLst>
              <a:ext uri="{FF2B5EF4-FFF2-40B4-BE49-F238E27FC236}">
                <a16:creationId xmlns:a16="http://schemas.microsoft.com/office/drawing/2014/main" id="{AFBD141D-B251-446A-863B-384AA7654616}"/>
              </a:ext>
            </a:extLst>
          </p:cNvPr>
          <p:cNvSpPr/>
          <p:nvPr/>
        </p:nvSpPr>
        <p:spPr bwMode="auto">
          <a:xfrm>
            <a:off x="11391388"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404" name="TextBox 403">
            <a:extLst>
              <a:ext uri="{FF2B5EF4-FFF2-40B4-BE49-F238E27FC236}">
                <a16:creationId xmlns:a16="http://schemas.microsoft.com/office/drawing/2014/main" id="{364447CC-2154-4C21-AF5D-DEB4BCEF4C7D}"/>
              </a:ext>
            </a:extLst>
          </p:cNvPr>
          <p:cNvSpPr txBox="1"/>
          <p:nvPr/>
        </p:nvSpPr>
        <p:spPr bwMode="auto">
          <a:xfrm>
            <a:off x="9221396" y="3476103"/>
            <a:ext cx="272510"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5"/>
                </a:solidFill>
                <a:cs typeface="Arial" panose="020B0604020202020204" pitchFamily="34" charset="0"/>
              </a:rPr>
              <a:t>Voice</a:t>
            </a:r>
          </a:p>
        </p:txBody>
      </p:sp>
      <p:sp>
        <p:nvSpPr>
          <p:cNvPr id="405" name="TextBox 404">
            <a:extLst>
              <a:ext uri="{FF2B5EF4-FFF2-40B4-BE49-F238E27FC236}">
                <a16:creationId xmlns:a16="http://schemas.microsoft.com/office/drawing/2014/main" id="{6D6BF483-9C94-4564-8AD3-1B82B8987327}"/>
              </a:ext>
            </a:extLst>
          </p:cNvPr>
          <p:cNvSpPr txBox="1"/>
          <p:nvPr/>
        </p:nvSpPr>
        <p:spPr bwMode="auto">
          <a:xfrm>
            <a:off x="8410400" y="4550691"/>
            <a:ext cx="3191597" cy="1513679"/>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171450" indent="-171450">
              <a:buClr>
                <a:schemeClr val="tx1"/>
              </a:buClr>
              <a:buFont typeface="Arial" panose="020B0604020202020204" pitchFamily="34" charset="0"/>
              <a:buChar char="•"/>
            </a:pPr>
            <a:r>
              <a:rPr lang="en-US" sz="1200" b="1">
                <a:solidFill>
                  <a:schemeClr val="accent5"/>
                </a:solidFill>
              </a:rPr>
              <a:t>NR for both voice and data</a:t>
            </a:r>
            <a:br>
              <a:rPr lang="en-US" sz="1200" b="1"/>
            </a:br>
            <a:endParaRPr lang="en-US" sz="1200" b="1"/>
          </a:p>
          <a:p>
            <a:pPr marL="171450" indent="-171450">
              <a:buClr>
                <a:schemeClr val="tx1"/>
              </a:buClr>
              <a:buFont typeface="Arial" panose="020B0604020202020204" pitchFamily="34" charset="0"/>
              <a:buChar char="•"/>
            </a:pPr>
            <a:r>
              <a:rPr lang="en-US" sz="1200"/>
              <a:t>NR dimensioned for voice coverage</a:t>
            </a:r>
            <a:br>
              <a:rPr lang="en-US" sz="1200"/>
            </a:br>
            <a:endParaRPr lang="en-US" sz="1200"/>
          </a:p>
          <a:p>
            <a:pPr marL="171450" indent="-171450">
              <a:buClr>
                <a:schemeClr val="tx1"/>
              </a:buClr>
              <a:buFont typeface="Arial" panose="020B0604020202020204" pitchFamily="34" charset="0"/>
              <a:buChar char="•"/>
            </a:pPr>
            <a:r>
              <a:rPr lang="en-US" sz="1200"/>
              <a:t>Seamless handover between 5G and 4G (and </a:t>
            </a:r>
            <a:r>
              <a:rPr lang="en-US" sz="1200" err="1"/>
              <a:t>WiFi</a:t>
            </a:r>
            <a:r>
              <a:rPr lang="en-US" sz="1200"/>
              <a:t>)</a:t>
            </a:r>
          </a:p>
          <a:p>
            <a:pPr marL="171450" indent="-171450">
              <a:buClr>
                <a:schemeClr val="tx1"/>
              </a:buClr>
              <a:buFont typeface="Arial" panose="020B0604020202020204" pitchFamily="34" charset="0"/>
              <a:buChar char="•"/>
            </a:pPr>
            <a:endParaRPr lang="en-US" sz="1200"/>
          </a:p>
          <a:p>
            <a:pPr marL="171450" indent="-171450">
              <a:buClr>
                <a:schemeClr val="tx1"/>
              </a:buClr>
              <a:buFont typeface="Arial" panose="020B0604020202020204" pitchFamily="34" charset="0"/>
              <a:buChar char="•"/>
            </a:pPr>
            <a:r>
              <a:rPr lang="en-US" sz="1200"/>
              <a:t>No handover/fallback from 5G to CS</a:t>
            </a:r>
          </a:p>
        </p:txBody>
      </p:sp>
      <p:sp>
        <p:nvSpPr>
          <p:cNvPr id="241" name="TextBox 240">
            <a:extLst>
              <a:ext uri="{FF2B5EF4-FFF2-40B4-BE49-F238E27FC236}">
                <a16:creationId xmlns:a16="http://schemas.microsoft.com/office/drawing/2014/main" id="{595A4630-8656-4C6A-A8CA-3C3ED1B4B131}"/>
              </a:ext>
            </a:extLst>
          </p:cNvPr>
          <p:cNvSpPr txBox="1">
            <a:spLocks noChangeAspect="1"/>
          </p:cNvSpPr>
          <p:nvPr/>
        </p:nvSpPr>
        <p:spPr bwMode="auto">
          <a:xfrm>
            <a:off x="5591051"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2"/>
                </a:solidFill>
                <a:latin typeface="Ericsson Technical Icons" panose="00000500000000000000" pitchFamily="2" charset="0"/>
              </a:rPr>
              <a:t>B</a:t>
            </a:r>
            <a:endParaRPr lang="en-US" sz="2400">
              <a:solidFill>
                <a:schemeClr val="accent2"/>
              </a:solidFill>
            </a:endParaRPr>
          </a:p>
          <a:p>
            <a:pPr algn="ctr">
              <a:buClr>
                <a:schemeClr val="tx1"/>
              </a:buClr>
            </a:pPr>
            <a:r>
              <a:rPr lang="en-US" sz="1000" b="1">
                <a:solidFill>
                  <a:schemeClr val="accent2"/>
                </a:solidFill>
              </a:rPr>
              <a:t>LTE</a:t>
            </a:r>
          </a:p>
        </p:txBody>
      </p:sp>
      <p:sp>
        <p:nvSpPr>
          <p:cNvPr id="245" name="TextBox 244">
            <a:extLst>
              <a:ext uri="{FF2B5EF4-FFF2-40B4-BE49-F238E27FC236}">
                <a16:creationId xmlns:a16="http://schemas.microsoft.com/office/drawing/2014/main" id="{6EB9544E-4E50-4F2D-A6A0-938FE03198B0}"/>
              </a:ext>
            </a:extLst>
          </p:cNvPr>
          <p:cNvSpPr txBox="1">
            <a:spLocks noChangeAspect="1"/>
          </p:cNvSpPr>
          <p:nvPr/>
        </p:nvSpPr>
        <p:spPr bwMode="auto">
          <a:xfrm>
            <a:off x="6321115"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100" b="1">
                <a:solidFill>
                  <a:schemeClr val="accent2"/>
                </a:solidFill>
                <a:latin typeface="Ericsson Technical Icons" panose="00000500000000000000" pitchFamily="2" charset="0"/>
              </a:rPr>
              <a:t>S</a:t>
            </a:r>
            <a:br>
              <a:rPr lang="en-US" sz="1100" b="1">
                <a:solidFill>
                  <a:schemeClr val="accent2"/>
                </a:solidFill>
                <a:latin typeface="Ericsson Technical Icons" panose="00000500000000000000" pitchFamily="2" charset="0"/>
              </a:rPr>
            </a:br>
            <a:r>
              <a:rPr lang="en-US" sz="1100" b="1">
                <a:solidFill>
                  <a:schemeClr val="accent2"/>
                </a:solidFill>
                <a:latin typeface="Ericsson Technical Icons" panose="00000500000000000000" pitchFamily="2" charset="0"/>
              </a:rPr>
              <a:t>G</a:t>
            </a:r>
            <a:br>
              <a:rPr lang="en-US" sz="1100" b="1">
                <a:solidFill>
                  <a:schemeClr val="accent2"/>
                </a:solidFill>
                <a:latin typeface="Ericsson Technical Icons" panose="00000500000000000000" pitchFamily="2" charset="0"/>
              </a:rPr>
            </a:br>
            <a:r>
              <a:rPr lang="en-US" sz="700" b="1">
                <a:solidFill>
                  <a:schemeClr val="accent2"/>
                </a:solidFill>
              </a:rPr>
              <a:t>MME</a:t>
            </a:r>
            <a:br>
              <a:rPr lang="en-US" sz="700" b="1">
                <a:solidFill>
                  <a:schemeClr val="accent2"/>
                </a:solidFill>
              </a:rPr>
            </a:br>
            <a:r>
              <a:rPr lang="en-US" sz="700" b="1">
                <a:solidFill>
                  <a:schemeClr val="accent2"/>
                </a:solidFill>
              </a:rPr>
              <a:t>SGW</a:t>
            </a:r>
          </a:p>
        </p:txBody>
      </p:sp>
      <p:sp>
        <p:nvSpPr>
          <p:cNvPr id="240" name="TextBox 239">
            <a:extLst>
              <a:ext uri="{FF2B5EF4-FFF2-40B4-BE49-F238E27FC236}">
                <a16:creationId xmlns:a16="http://schemas.microsoft.com/office/drawing/2014/main" id="{42EFB2D3-C324-4380-8011-6096F473EDF1}"/>
              </a:ext>
            </a:extLst>
          </p:cNvPr>
          <p:cNvSpPr txBox="1">
            <a:spLocks noChangeAspect="1"/>
          </p:cNvSpPr>
          <p:nvPr/>
        </p:nvSpPr>
        <p:spPr bwMode="auto">
          <a:xfrm>
            <a:off x="7051179" y="3299302"/>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2"/>
                </a:solidFill>
                <a:latin typeface="Ericsson Technical Icons" panose="00000500000000000000" pitchFamily="2" charset="0"/>
              </a:rPr>
              <a:t>S</a:t>
            </a:r>
            <a:br>
              <a:rPr lang="en-US" sz="1400" b="1">
                <a:solidFill>
                  <a:schemeClr val="accent2"/>
                </a:solidFill>
                <a:latin typeface="Ericsson Technical Icons" panose="00000500000000000000" pitchFamily="2" charset="0"/>
              </a:rPr>
            </a:br>
            <a:r>
              <a:rPr lang="en-US" sz="1400" b="1">
                <a:solidFill>
                  <a:schemeClr val="accent2"/>
                </a:solidFill>
                <a:latin typeface="Ericsson Technical Icons" panose="00000500000000000000" pitchFamily="2" charset="0"/>
              </a:rPr>
              <a:t>G</a:t>
            </a:r>
            <a:br>
              <a:rPr lang="en-US" sz="1400" b="1">
                <a:solidFill>
                  <a:schemeClr val="accent2"/>
                </a:solidFill>
                <a:latin typeface="Ericsson Technical Icons" panose="00000500000000000000" pitchFamily="2" charset="0"/>
              </a:rPr>
            </a:br>
            <a:r>
              <a:rPr lang="en-US" sz="1000" b="1">
                <a:solidFill>
                  <a:schemeClr val="accent2"/>
                </a:solidFill>
              </a:rPr>
              <a:t>IMS</a:t>
            </a:r>
          </a:p>
        </p:txBody>
      </p:sp>
      <p:sp>
        <p:nvSpPr>
          <p:cNvPr id="239" name="TextBox 238">
            <a:extLst>
              <a:ext uri="{FF2B5EF4-FFF2-40B4-BE49-F238E27FC236}">
                <a16:creationId xmlns:a16="http://schemas.microsoft.com/office/drawing/2014/main" id="{44C1AA09-A6C6-4832-90D7-B7CA2A64DCBF}"/>
              </a:ext>
            </a:extLst>
          </p:cNvPr>
          <p:cNvSpPr txBox="1">
            <a:spLocks noChangeAspect="1"/>
          </p:cNvSpPr>
          <p:nvPr/>
        </p:nvSpPr>
        <p:spPr bwMode="auto">
          <a:xfrm>
            <a:off x="6321115" y="3299302"/>
            <a:ext cx="360000" cy="585000"/>
          </a:xfrm>
          <a:prstGeom prst="rect">
            <a:avLst/>
          </a:prstGeom>
          <a:solidFill>
            <a:schemeClr val="bg1"/>
          </a:solidFill>
          <a:ln w="19050">
            <a:solidFill>
              <a:schemeClr val="accent5"/>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5"/>
                </a:solidFill>
                <a:latin typeface="Ericsson Technical Icons" panose="00000500000000000000" pitchFamily="2" charset="0"/>
              </a:rPr>
              <a:t>S</a:t>
            </a:r>
            <a:br>
              <a:rPr lang="en-US" sz="1400" b="1">
                <a:solidFill>
                  <a:schemeClr val="accent5"/>
                </a:solidFill>
                <a:latin typeface="Ericsson Technical Icons" panose="00000500000000000000" pitchFamily="2" charset="0"/>
              </a:rPr>
            </a:br>
            <a:r>
              <a:rPr lang="en-US" sz="1400" b="1">
                <a:solidFill>
                  <a:schemeClr val="accent5"/>
                </a:solidFill>
                <a:latin typeface="Ericsson Technical Icons" panose="00000500000000000000" pitchFamily="2" charset="0"/>
              </a:rPr>
              <a:t>G</a:t>
            </a:r>
            <a:br>
              <a:rPr lang="en-US" sz="1400" b="1">
                <a:solidFill>
                  <a:schemeClr val="accent5"/>
                </a:solidFill>
                <a:latin typeface="Ericsson Technical Icons" panose="00000500000000000000" pitchFamily="2" charset="0"/>
              </a:rPr>
            </a:br>
            <a:r>
              <a:rPr lang="en-US" sz="1000" b="1">
                <a:solidFill>
                  <a:schemeClr val="accent5"/>
                </a:solidFill>
              </a:rPr>
              <a:t>5GC</a:t>
            </a:r>
          </a:p>
        </p:txBody>
      </p:sp>
      <p:sp>
        <p:nvSpPr>
          <p:cNvPr id="254" name="TextBox 253">
            <a:extLst>
              <a:ext uri="{FF2B5EF4-FFF2-40B4-BE49-F238E27FC236}">
                <a16:creationId xmlns:a16="http://schemas.microsoft.com/office/drawing/2014/main" id="{5A7B097F-89C1-43DC-B923-F38311567AE5}"/>
              </a:ext>
            </a:extLst>
          </p:cNvPr>
          <p:cNvSpPr txBox="1">
            <a:spLocks noChangeAspect="1"/>
          </p:cNvSpPr>
          <p:nvPr/>
        </p:nvSpPr>
        <p:spPr bwMode="auto">
          <a:xfrm>
            <a:off x="5591051" y="3299302"/>
            <a:ext cx="360000" cy="585000"/>
          </a:xfrm>
          <a:prstGeom prst="rect">
            <a:avLst/>
          </a:prstGeom>
          <a:solidFill>
            <a:schemeClr val="bg1"/>
          </a:solidFill>
          <a:ln w="19050">
            <a:solidFill>
              <a:schemeClr val="accent5"/>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5"/>
                </a:solidFill>
                <a:latin typeface="Ericsson Technical Icons" panose="00000500000000000000" pitchFamily="2" charset="0"/>
              </a:rPr>
              <a:t>B</a:t>
            </a:r>
            <a:endParaRPr lang="en-US" sz="2400">
              <a:solidFill>
                <a:schemeClr val="accent5"/>
              </a:solidFill>
            </a:endParaRPr>
          </a:p>
          <a:p>
            <a:pPr algn="ctr">
              <a:buClr>
                <a:schemeClr val="tx1"/>
              </a:buClr>
            </a:pPr>
            <a:r>
              <a:rPr lang="en-US" sz="1000" b="1">
                <a:solidFill>
                  <a:schemeClr val="accent5"/>
                </a:solidFill>
              </a:rPr>
              <a:t>NR</a:t>
            </a:r>
          </a:p>
        </p:txBody>
      </p:sp>
      <p:sp>
        <p:nvSpPr>
          <p:cNvPr id="297" name="Oval 296">
            <a:extLst>
              <a:ext uri="{FF2B5EF4-FFF2-40B4-BE49-F238E27FC236}">
                <a16:creationId xmlns:a16="http://schemas.microsoft.com/office/drawing/2014/main" id="{C92A2899-11BF-4D04-A47E-08AB027DC73C}"/>
              </a:ext>
            </a:extLst>
          </p:cNvPr>
          <p:cNvSpPr/>
          <p:nvPr/>
        </p:nvSpPr>
        <p:spPr bwMode="auto">
          <a:xfrm>
            <a:off x="5899624"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298" name="Oval 297">
            <a:extLst>
              <a:ext uri="{FF2B5EF4-FFF2-40B4-BE49-F238E27FC236}">
                <a16:creationId xmlns:a16="http://schemas.microsoft.com/office/drawing/2014/main" id="{7EC8243A-D62F-4B7C-9357-85F183C3DFF5}"/>
              </a:ext>
            </a:extLst>
          </p:cNvPr>
          <p:cNvSpPr/>
          <p:nvPr/>
        </p:nvSpPr>
        <p:spPr bwMode="auto">
          <a:xfrm>
            <a:off x="6627651"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299" name="Oval 298">
            <a:extLst>
              <a:ext uri="{FF2B5EF4-FFF2-40B4-BE49-F238E27FC236}">
                <a16:creationId xmlns:a16="http://schemas.microsoft.com/office/drawing/2014/main" id="{AE0CA143-1D52-4FD3-9EDC-ABF1C091F7BD}"/>
              </a:ext>
            </a:extLst>
          </p:cNvPr>
          <p:cNvSpPr/>
          <p:nvPr/>
        </p:nvSpPr>
        <p:spPr bwMode="auto">
          <a:xfrm>
            <a:off x="7355044"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231" name="TextBox 230">
            <a:extLst>
              <a:ext uri="{FF2B5EF4-FFF2-40B4-BE49-F238E27FC236}">
                <a16:creationId xmlns:a16="http://schemas.microsoft.com/office/drawing/2014/main" id="{08D9821F-2564-48CD-8558-14A5C2A50BA3}"/>
              </a:ext>
            </a:extLst>
          </p:cNvPr>
          <p:cNvSpPr txBox="1"/>
          <p:nvPr/>
        </p:nvSpPr>
        <p:spPr bwMode="auto">
          <a:xfrm>
            <a:off x="10482716" y="6474163"/>
            <a:ext cx="1775093" cy="233923"/>
          </a:xfrm>
          <a:prstGeom prst="rect">
            <a:avLst/>
          </a:prstGeom>
          <a:noFill/>
          <a:ln w="9525">
            <a:noFill/>
            <a:miter lim="800000"/>
            <a:headEnd/>
            <a:tailEnd/>
          </a:ln>
        </p:spPr>
        <p:txBody>
          <a:bodyPr vert="horz" wrap="square" lIns="72000" tIns="36000" rIns="0" bIns="0" numCol="1" rtlCol="0" anchor="t" anchorCtr="0" compatLnSpc="1">
            <a:prstTxWarp prst="textNoShape">
              <a:avLst/>
            </a:prstTxWarp>
            <a:noAutofit/>
          </a:bodyPr>
          <a:lstStyle/>
          <a:p>
            <a:pPr>
              <a:buClr>
                <a:schemeClr val="tx1"/>
              </a:buClr>
            </a:pPr>
            <a:r>
              <a:rPr lang="en-US" sz="1000">
                <a:solidFill>
                  <a:schemeClr val="tx2"/>
                </a:solidFill>
              </a:rPr>
              <a:t>Extensions for 5G voice</a:t>
            </a:r>
          </a:p>
        </p:txBody>
      </p:sp>
      <p:sp>
        <p:nvSpPr>
          <p:cNvPr id="407" name="TextBox 406">
            <a:extLst>
              <a:ext uri="{FF2B5EF4-FFF2-40B4-BE49-F238E27FC236}">
                <a16:creationId xmlns:a16="http://schemas.microsoft.com/office/drawing/2014/main" id="{E880332E-77A2-46EA-80A3-B6D47E45C08B}"/>
              </a:ext>
            </a:extLst>
          </p:cNvPr>
          <p:cNvSpPr txBox="1">
            <a:spLocks noChangeAspect="1"/>
          </p:cNvSpPr>
          <p:nvPr/>
        </p:nvSpPr>
        <p:spPr bwMode="auto">
          <a:xfrm>
            <a:off x="10238015" y="6463866"/>
            <a:ext cx="148108" cy="240675"/>
          </a:xfrm>
          <a:prstGeom prst="rect">
            <a:avLst/>
          </a:prstGeom>
          <a:solidFill>
            <a:schemeClr val="bg1"/>
          </a:solidFill>
          <a:ln w="19050">
            <a:solidFill>
              <a:schemeClr val="tx1"/>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endParaRPr lang="en-US" sz="1000" b="1">
              <a:solidFill>
                <a:schemeClr val="accent2"/>
              </a:solidFill>
            </a:endParaRPr>
          </a:p>
        </p:txBody>
      </p:sp>
      <p:sp>
        <p:nvSpPr>
          <p:cNvPr id="236" name="Oval 235">
            <a:extLst>
              <a:ext uri="{FF2B5EF4-FFF2-40B4-BE49-F238E27FC236}">
                <a16:creationId xmlns:a16="http://schemas.microsoft.com/office/drawing/2014/main" id="{FE7E8C4F-D8B9-4B03-B911-52117FDB985D}"/>
              </a:ext>
            </a:extLst>
          </p:cNvPr>
          <p:cNvSpPr>
            <a:spLocks noChangeAspect="1"/>
          </p:cNvSpPr>
          <p:nvPr/>
        </p:nvSpPr>
        <p:spPr bwMode="auto">
          <a:xfrm>
            <a:off x="10323111" y="6503427"/>
            <a:ext cx="115010" cy="123427"/>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149" name="TextBox 148">
            <a:extLst>
              <a:ext uri="{FF2B5EF4-FFF2-40B4-BE49-F238E27FC236}">
                <a16:creationId xmlns:a16="http://schemas.microsoft.com/office/drawing/2014/main" id="{E3B44EBB-06CB-4826-95C5-6F0DD316A166}"/>
              </a:ext>
            </a:extLst>
          </p:cNvPr>
          <p:cNvSpPr txBox="1"/>
          <p:nvPr/>
        </p:nvSpPr>
        <p:spPr bwMode="auto">
          <a:xfrm>
            <a:off x="6641934" y="3129087"/>
            <a:ext cx="506549"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900">
                <a:solidFill>
                  <a:schemeClr val="accent5"/>
                </a:solidFill>
                <a:cs typeface="Arial" panose="020B0604020202020204" pitchFamily="34" charset="0"/>
              </a:rPr>
              <a:t>N26</a:t>
            </a:r>
            <a:r>
              <a:rPr lang="en-US" sz="900">
                <a:solidFill>
                  <a:schemeClr val="accent1"/>
                </a:solidFill>
                <a:cs typeface="Arial" panose="020B0604020202020204" pitchFamily="34" charset="0"/>
              </a:rPr>
              <a:t> </a:t>
            </a:r>
            <a:r>
              <a:rPr lang="en-US" sz="900">
                <a:solidFill>
                  <a:schemeClr val="accent2"/>
                </a:solidFill>
                <a:cs typeface="Arial" panose="020B0604020202020204" pitchFamily="34" charset="0"/>
              </a:rPr>
              <a:t>(S10)</a:t>
            </a:r>
          </a:p>
        </p:txBody>
      </p:sp>
      <p:cxnSp>
        <p:nvCxnSpPr>
          <p:cNvPr id="154" name="Straight Connector 153">
            <a:extLst>
              <a:ext uri="{FF2B5EF4-FFF2-40B4-BE49-F238E27FC236}">
                <a16:creationId xmlns:a16="http://schemas.microsoft.com/office/drawing/2014/main" id="{939562FE-2941-4678-8079-BA80A8723AA5}"/>
              </a:ext>
            </a:extLst>
          </p:cNvPr>
          <p:cNvCxnSpPr>
            <a:cxnSpLocks/>
            <a:stCxn id="388" idx="2"/>
          </p:cNvCxnSpPr>
          <p:nvPr/>
        </p:nvCxnSpPr>
        <p:spPr bwMode="auto">
          <a:xfrm>
            <a:off x="10537459" y="3084278"/>
            <a:ext cx="0" cy="215024"/>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pic>
        <p:nvPicPr>
          <p:cNvPr id="354" name="Graphic 353">
            <a:extLst>
              <a:ext uri="{FF2B5EF4-FFF2-40B4-BE49-F238E27FC236}">
                <a16:creationId xmlns:a16="http://schemas.microsoft.com/office/drawing/2014/main" id="{ACD4A4B6-666D-4D75-9A45-9B0B9CDB4F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028" y="2722625"/>
            <a:ext cx="258323" cy="361653"/>
          </a:xfrm>
          <a:prstGeom prst="rect">
            <a:avLst/>
          </a:prstGeom>
        </p:spPr>
      </p:pic>
      <p:sp>
        <p:nvSpPr>
          <p:cNvPr id="364" name="Rectangle 363">
            <a:extLst>
              <a:ext uri="{FF2B5EF4-FFF2-40B4-BE49-F238E27FC236}">
                <a16:creationId xmlns:a16="http://schemas.microsoft.com/office/drawing/2014/main" id="{9800F543-0333-4996-81EA-9DC33CE68042}"/>
              </a:ext>
            </a:extLst>
          </p:cNvPr>
          <p:cNvSpPr/>
          <p:nvPr/>
        </p:nvSpPr>
        <p:spPr bwMode="auto">
          <a:xfrm>
            <a:off x="10438121" y="303855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65" name="Straight Connector 364">
            <a:extLst>
              <a:ext uri="{FF2B5EF4-FFF2-40B4-BE49-F238E27FC236}">
                <a16:creationId xmlns:a16="http://schemas.microsoft.com/office/drawing/2014/main" id="{479D1085-3D14-4498-BC01-971D26DCDE61}"/>
              </a:ext>
            </a:extLst>
          </p:cNvPr>
          <p:cNvCxnSpPr>
            <a:cxnSpLocks/>
            <a:stCxn id="363" idx="0"/>
            <a:endCxn id="364" idx="2"/>
          </p:cNvCxnSpPr>
          <p:nvPr/>
        </p:nvCxnSpPr>
        <p:spPr bwMode="auto">
          <a:xfrm flipV="1">
            <a:off x="10460981" y="3084278"/>
            <a:ext cx="0" cy="215024"/>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cxnSp>
        <p:nvCxnSpPr>
          <p:cNvPr id="366" name="Straight Connector 365">
            <a:extLst>
              <a:ext uri="{FF2B5EF4-FFF2-40B4-BE49-F238E27FC236}">
                <a16:creationId xmlns:a16="http://schemas.microsoft.com/office/drawing/2014/main" id="{F4BFD65F-C74B-4834-920B-770F4BCE818C}"/>
              </a:ext>
            </a:extLst>
          </p:cNvPr>
          <p:cNvCxnSpPr>
            <a:cxnSpLocks/>
          </p:cNvCxnSpPr>
          <p:nvPr/>
        </p:nvCxnSpPr>
        <p:spPr bwMode="auto">
          <a:xfrm flipH="1">
            <a:off x="10604899" y="3091167"/>
            <a:ext cx="363" cy="195552"/>
          </a:xfrm>
          <a:prstGeom prst="line">
            <a:avLst/>
          </a:prstGeom>
          <a:solidFill>
            <a:schemeClr val="accent1"/>
          </a:solidFill>
          <a:ln w="12700" cap="flat" cmpd="sng" algn="ctr">
            <a:solidFill>
              <a:schemeClr val="accent5"/>
            </a:solidFill>
            <a:prstDash val="sysDot"/>
            <a:round/>
            <a:headEnd type="none" w="med" len="med"/>
            <a:tailEnd type="none" w="med" len="med"/>
          </a:ln>
          <a:effectLst/>
        </p:spPr>
      </p:cxnSp>
      <p:sp>
        <p:nvSpPr>
          <p:cNvPr id="368" name="Rectangle 367">
            <a:extLst>
              <a:ext uri="{FF2B5EF4-FFF2-40B4-BE49-F238E27FC236}">
                <a16:creationId xmlns:a16="http://schemas.microsoft.com/office/drawing/2014/main" id="{5849CB42-1B1A-4FF0-A383-49513B3560A5}"/>
              </a:ext>
            </a:extLst>
          </p:cNvPr>
          <p:cNvSpPr/>
          <p:nvPr/>
        </p:nvSpPr>
        <p:spPr bwMode="auto">
          <a:xfrm>
            <a:off x="10601026" y="303855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cxnSp>
        <p:nvCxnSpPr>
          <p:cNvPr id="370" name="Connector: Curved 369">
            <a:extLst>
              <a:ext uri="{FF2B5EF4-FFF2-40B4-BE49-F238E27FC236}">
                <a16:creationId xmlns:a16="http://schemas.microsoft.com/office/drawing/2014/main" id="{1925DF3D-4D17-4AC0-BCE7-93AFE0BCE146}"/>
              </a:ext>
            </a:extLst>
          </p:cNvPr>
          <p:cNvCxnSpPr>
            <a:cxnSpLocks/>
            <a:stCxn id="371" idx="1"/>
            <a:endCxn id="372" idx="1"/>
          </p:cNvCxnSpPr>
          <p:nvPr/>
        </p:nvCxnSpPr>
        <p:spPr bwMode="auto">
          <a:xfrm rot="10800000" flipH="1">
            <a:off x="8730757" y="2938912"/>
            <a:ext cx="19641" cy="699477"/>
          </a:xfrm>
          <a:prstGeom prst="curvedConnector3">
            <a:avLst>
              <a:gd name="adj1" fmla="val -853521"/>
            </a:avLst>
          </a:prstGeom>
          <a:solidFill>
            <a:schemeClr val="accent1"/>
          </a:solidFill>
          <a:ln w="19050" cap="flat" cmpd="sng" algn="ctr">
            <a:solidFill>
              <a:schemeClr val="accent5"/>
            </a:solidFill>
            <a:prstDash val="solid"/>
            <a:round/>
            <a:headEnd type="triangle" w="med" len="med"/>
            <a:tailEnd type="triangle" w="med" len="med"/>
          </a:ln>
          <a:effectLst/>
        </p:spPr>
      </p:cxnSp>
      <p:sp>
        <p:nvSpPr>
          <p:cNvPr id="371" name="Rectangle 370">
            <a:extLst>
              <a:ext uri="{FF2B5EF4-FFF2-40B4-BE49-F238E27FC236}">
                <a16:creationId xmlns:a16="http://schemas.microsoft.com/office/drawing/2014/main" id="{E624ED47-3872-4D27-9F11-CD39BD73AE2E}"/>
              </a:ext>
            </a:extLst>
          </p:cNvPr>
          <p:cNvSpPr/>
          <p:nvPr/>
        </p:nvSpPr>
        <p:spPr bwMode="auto">
          <a:xfrm>
            <a:off x="8730758" y="3615528"/>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372" name="Rectangle 371">
            <a:extLst>
              <a:ext uri="{FF2B5EF4-FFF2-40B4-BE49-F238E27FC236}">
                <a16:creationId xmlns:a16="http://schemas.microsoft.com/office/drawing/2014/main" id="{71724ABB-941F-42CB-ACA5-E907BE7619B3}"/>
              </a:ext>
            </a:extLst>
          </p:cNvPr>
          <p:cNvSpPr/>
          <p:nvPr/>
        </p:nvSpPr>
        <p:spPr bwMode="auto">
          <a:xfrm>
            <a:off x="8750399" y="2916051"/>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373" name="TextBox 372">
            <a:extLst>
              <a:ext uri="{FF2B5EF4-FFF2-40B4-BE49-F238E27FC236}">
                <a16:creationId xmlns:a16="http://schemas.microsoft.com/office/drawing/2014/main" id="{2988366D-C227-45CD-90C0-22E81E855C7D}"/>
              </a:ext>
            </a:extLst>
          </p:cNvPr>
          <p:cNvSpPr txBox="1"/>
          <p:nvPr/>
        </p:nvSpPr>
        <p:spPr bwMode="auto">
          <a:xfrm>
            <a:off x="8681129" y="3241708"/>
            <a:ext cx="458459"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defPPr>
              <a:defRPr lang="en-US"/>
            </a:defPPr>
            <a:lvl1pPr>
              <a:buClr>
                <a:schemeClr val="tx1"/>
              </a:buClr>
              <a:defRPr sz="900" b="1">
                <a:solidFill>
                  <a:schemeClr val="accent5"/>
                </a:solidFill>
                <a:cs typeface="Arial" panose="020B0604020202020204" pitchFamily="34" charset="0"/>
              </a:defRPr>
            </a:lvl1pPr>
          </a:lstStyle>
          <a:p>
            <a:r>
              <a:rPr lang="en-US"/>
              <a:t>IRAT HO</a:t>
            </a:r>
          </a:p>
        </p:txBody>
      </p:sp>
      <p:sp>
        <p:nvSpPr>
          <p:cNvPr id="374" name="Rectangle 373">
            <a:extLst>
              <a:ext uri="{FF2B5EF4-FFF2-40B4-BE49-F238E27FC236}">
                <a16:creationId xmlns:a16="http://schemas.microsoft.com/office/drawing/2014/main" id="{E7261F97-F181-4446-90D1-81B079001995}"/>
              </a:ext>
            </a:extLst>
          </p:cNvPr>
          <p:cNvSpPr/>
          <p:nvPr/>
        </p:nvSpPr>
        <p:spPr bwMode="auto">
          <a:xfrm>
            <a:off x="9140868"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75" name="Rectangle 374">
            <a:extLst>
              <a:ext uri="{FF2B5EF4-FFF2-40B4-BE49-F238E27FC236}">
                <a16:creationId xmlns:a16="http://schemas.microsoft.com/office/drawing/2014/main" id="{C94E38E3-25F8-4598-92E5-B726FFC10D24}"/>
              </a:ext>
            </a:extLst>
          </p:cNvPr>
          <p:cNvSpPr/>
          <p:nvPr/>
        </p:nvSpPr>
        <p:spPr bwMode="auto">
          <a:xfrm>
            <a:off x="9529497"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76" name="Straight Connector 375">
            <a:extLst>
              <a:ext uri="{FF2B5EF4-FFF2-40B4-BE49-F238E27FC236}">
                <a16:creationId xmlns:a16="http://schemas.microsoft.com/office/drawing/2014/main" id="{EBD5AEF0-FCE7-49E2-817D-657BBBC9834E}"/>
              </a:ext>
            </a:extLst>
          </p:cNvPr>
          <p:cNvCxnSpPr>
            <a:cxnSpLocks/>
            <a:stCxn id="374" idx="3"/>
            <a:endCxn id="375" idx="1"/>
          </p:cNvCxnSpPr>
          <p:nvPr/>
        </p:nvCxnSpPr>
        <p:spPr bwMode="auto">
          <a:xfrm>
            <a:off x="9186587" y="2941039"/>
            <a:ext cx="342910"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77" name="Rectangle 376">
            <a:extLst>
              <a:ext uri="{FF2B5EF4-FFF2-40B4-BE49-F238E27FC236}">
                <a16:creationId xmlns:a16="http://schemas.microsoft.com/office/drawing/2014/main" id="{18D611AC-0ACA-4547-851F-03676579E19E}"/>
              </a:ext>
            </a:extLst>
          </p:cNvPr>
          <p:cNvSpPr/>
          <p:nvPr/>
        </p:nvSpPr>
        <p:spPr bwMode="auto">
          <a:xfrm>
            <a:off x="9529497"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78" name="Straight Connector 377">
            <a:extLst>
              <a:ext uri="{FF2B5EF4-FFF2-40B4-BE49-F238E27FC236}">
                <a16:creationId xmlns:a16="http://schemas.microsoft.com/office/drawing/2014/main" id="{64E38579-E780-4B78-8997-50413769AED6}"/>
              </a:ext>
            </a:extLst>
          </p:cNvPr>
          <p:cNvCxnSpPr>
            <a:cxnSpLocks/>
            <a:stCxn id="379" idx="3"/>
            <a:endCxn id="377" idx="1"/>
          </p:cNvCxnSpPr>
          <p:nvPr/>
        </p:nvCxnSpPr>
        <p:spPr bwMode="auto">
          <a:xfrm>
            <a:off x="9186587" y="2825487"/>
            <a:ext cx="342910"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79" name="Rectangle 378">
            <a:extLst>
              <a:ext uri="{FF2B5EF4-FFF2-40B4-BE49-F238E27FC236}">
                <a16:creationId xmlns:a16="http://schemas.microsoft.com/office/drawing/2014/main" id="{106F0A40-A5FE-4F49-ABB2-B8F44F8D0EC5}"/>
              </a:ext>
            </a:extLst>
          </p:cNvPr>
          <p:cNvSpPr/>
          <p:nvPr/>
        </p:nvSpPr>
        <p:spPr bwMode="auto">
          <a:xfrm>
            <a:off x="9140868"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80" name="Rectangle 379">
            <a:extLst>
              <a:ext uri="{FF2B5EF4-FFF2-40B4-BE49-F238E27FC236}">
                <a16:creationId xmlns:a16="http://schemas.microsoft.com/office/drawing/2014/main" id="{3937C008-AAB3-4976-AE1C-E18020D0FD44}"/>
              </a:ext>
            </a:extLst>
          </p:cNvPr>
          <p:cNvSpPr/>
          <p:nvPr/>
        </p:nvSpPr>
        <p:spPr bwMode="auto">
          <a:xfrm>
            <a:off x="9941676"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81" name="Rectangle 380">
            <a:extLst>
              <a:ext uri="{FF2B5EF4-FFF2-40B4-BE49-F238E27FC236}">
                <a16:creationId xmlns:a16="http://schemas.microsoft.com/office/drawing/2014/main" id="{24265AF6-BC81-46F1-8220-28B27B006118}"/>
              </a:ext>
            </a:extLst>
          </p:cNvPr>
          <p:cNvSpPr/>
          <p:nvPr/>
        </p:nvSpPr>
        <p:spPr bwMode="auto">
          <a:xfrm>
            <a:off x="10357459" y="291817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82" name="Straight Connector 381">
            <a:extLst>
              <a:ext uri="{FF2B5EF4-FFF2-40B4-BE49-F238E27FC236}">
                <a16:creationId xmlns:a16="http://schemas.microsoft.com/office/drawing/2014/main" id="{D6693E0C-3F8C-407E-8892-51C925404F13}"/>
              </a:ext>
            </a:extLst>
          </p:cNvPr>
          <p:cNvCxnSpPr>
            <a:cxnSpLocks/>
            <a:stCxn id="380" idx="3"/>
            <a:endCxn id="381" idx="1"/>
          </p:cNvCxnSpPr>
          <p:nvPr/>
        </p:nvCxnSpPr>
        <p:spPr bwMode="auto">
          <a:xfrm>
            <a:off x="9987395" y="2941039"/>
            <a:ext cx="370064"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383" name="Rectangle 382">
            <a:extLst>
              <a:ext uri="{FF2B5EF4-FFF2-40B4-BE49-F238E27FC236}">
                <a16:creationId xmlns:a16="http://schemas.microsoft.com/office/drawing/2014/main" id="{6ADEC251-B855-4B3B-AD63-913B741059BF}"/>
              </a:ext>
            </a:extLst>
          </p:cNvPr>
          <p:cNvSpPr/>
          <p:nvPr/>
        </p:nvSpPr>
        <p:spPr bwMode="auto">
          <a:xfrm>
            <a:off x="10357459"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cxnSp>
        <p:nvCxnSpPr>
          <p:cNvPr id="384" name="Straight Connector 383">
            <a:extLst>
              <a:ext uri="{FF2B5EF4-FFF2-40B4-BE49-F238E27FC236}">
                <a16:creationId xmlns:a16="http://schemas.microsoft.com/office/drawing/2014/main" id="{562DE12C-CBC8-4160-B95A-07699B037866}"/>
              </a:ext>
            </a:extLst>
          </p:cNvPr>
          <p:cNvCxnSpPr>
            <a:cxnSpLocks/>
            <a:stCxn id="385" idx="3"/>
            <a:endCxn id="383" idx="1"/>
          </p:cNvCxnSpPr>
          <p:nvPr/>
        </p:nvCxnSpPr>
        <p:spPr bwMode="auto">
          <a:xfrm>
            <a:off x="9987395" y="2825487"/>
            <a:ext cx="37006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385" name="Rectangle 384">
            <a:extLst>
              <a:ext uri="{FF2B5EF4-FFF2-40B4-BE49-F238E27FC236}">
                <a16:creationId xmlns:a16="http://schemas.microsoft.com/office/drawing/2014/main" id="{18DFE2D8-83F7-4EC9-B527-549EE2D6331C}"/>
              </a:ext>
            </a:extLst>
          </p:cNvPr>
          <p:cNvSpPr/>
          <p:nvPr/>
        </p:nvSpPr>
        <p:spPr bwMode="auto">
          <a:xfrm>
            <a:off x="9941676" y="2802627"/>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mn-lt"/>
            </a:endParaRPr>
          </a:p>
        </p:txBody>
      </p:sp>
      <p:sp>
        <p:nvSpPr>
          <p:cNvPr id="395" name="TextBox 394">
            <a:extLst>
              <a:ext uri="{FF2B5EF4-FFF2-40B4-BE49-F238E27FC236}">
                <a16:creationId xmlns:a16="http://schemas.microsoft.com/office/drawing/2014/main" id="{2C7D9422-1B05-44CD-9593-54FBC3CD1C6B}"/>
              </a:ext>
            </a:extLst>
          </p:cNvPr>
          <p:cNvSpPr txBox="1"/>
          <p:nvPr/>
        </p:nvSpPr>
        <p:spPr bwMode="auto">
          <a:xfrm>
            <a:off x="9224079" y="2679066"/>
            <a:ext cx="272510"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Voice</a:t>
            </a:r>
          </a:p>
        </p:txBody>
      </p:sp>
      <p:sp>
        <p:nvSpPr>
          <p:cNvPr id="396" name="TextBox 395">
            <a:extLst>
              <a:ext uri="{FF2B5EF4-FFF2-40B4-BE49-F238E27FC236}">
                <a16:creationId xmlns:a16="http://schemas.microsoft.com/office/drawing/2014/main" id="{59758153-26A6-4F3E-9B1D-CCCA172292A1}"/>
              </a:ext>
            </a:extLst>
          </p:cNvPr>
          <p:cNvSpPr txBox="1"/>
          <p:nvPr/>
        </p:nvSpPr>
        <p:spPr bwMode="auto">
          <a:xfrm>
            <a:off x="9238506" y="2978737"/>
            <a:ext cx="243657"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lgn="ctr">
              <a:buClr>
                <a:schemeClr val="tx1"/>
              </a:buClr>
            </a:pPr>
            <a:r>
              <a:rPr lang="en-US" sz="900">
                <a:solidFill>
                  <a:schemeClr val="accent2"/>
                </a:solidFill>
                <a:cs typeface="Arial" panose="020B0604020202020204" pitchFamily="34" charset="0"/>
              </a:rPr>
              <a:t>Data</a:t>
            </a:r>
          </a:p>
        </p:txBody>
      </p:sp>
      <p:sp>
        <p:nvSpPr>
          <p:cNvPr id="387" name="TextBox 386">
            <a:extLst>
              <a:ext uri="{FF2B5EF4-FFF2-40B4-BE49-F238E27FC236}">
                <a16:creationId xmlns:a16="http://schemas.microsoft.com/office/drawing/2014/main" id="{FA5C92CB-30A0-4260-95C9-A351A890EEB3}"/>
              </a:ext>
            </a:extLst>
          </p:cNvPr>
          <p:cNvSpPr txBox="1">
            <a:spLocks noChangeAspect="1"/>
          </p:cNvSpPr>
          <p:nvPr/>
        </p:nvSpPr>
        <p:spPr bwMode="auto">
          <a:xfrm>
            <a:off x="9627395"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2400">
                <a:solidFill>
                  <a:schemeClr val="accent2"/>
                </a:solidFill>
                <a:latin typeface="Ericsson Technical Icons" panose="00000500000000000000" pitchFamily="2" charset="0"/>
              </a:rPr>
              <a:t>B</a:t>
            </a:r>
            <a:endParaRPr lang="en-US" sz="2400">
              <a:solidFill>
                <a:schemeClr val="accent2"/>
              </a:solidFill>
            </a:endParaRPr>
          </a:p>
          <a:p>
            <a:pPr algn="ctr">
              <a:buClr>
                <a:schemeClr val="tx1"/>
              </a:buClr>
            </a:pPr>
            <a:r>
              <a:rPr lang="en-US" sz="1000" b="1">
                <a:solidFill>
                  <a:schemeClr val="accent2"/>
                </a:solidFill>
              </a:rPr>
              <a:t>LTE</a:t>
            </a:r>
          </a:p>
        </p:txBody>
      </p:sp>
      <p:sp>
        <p:nvSpPr>
          <p:cNvPr id="388" name="TextBox 387">
            <a:extLst>
              <a:ext uri="{FF2B5EF4-FFF2-40B4-BE49-F238E27FC236}">
                <a16:creationId xmlns:a16="http://schemas.microsoft.com/office/drawing/2014/main" id="{DD26E02B-6B23-423E-8341-019242B0F27D}"/>
              </a:ext>
            </a:extLst>
          </p:cNvPr>
          <p:cNvSpPr txBox="1">
            <a:spLocks noChangeAspect="1"/>
          </p:cNvSpPr>
          <p:nvPr/>
        </p:nvSpPr>
        <p:spPr bwMode="auto">
          <a:xfrm>
            <a:off x="10357459" y="2499278"/>
            <a:ext cx="360000" cy="585000"/>
          </a:xfrm>
          <a:prstGeom prst="rect">
            <a:avLst/>
          </a:prstGeom>
          <a:solidFill>
            <a:schemeClr val="bg1"/>
          </a:solidFill>
          <a:ln w="19050">
            <a:solidFill>
              <a:schemeClr val="accent2"/>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100" b="1">
                <a:solidFill>
                  <a:schemeClr val="accent2"/>
                </a:solidFill>
                <a:latin typeface="Ericsson Technical Icons" panose="00000500000000000000" pitchFamily="2" charset="0"/>
              </a:rPr>
              <a:t>S</a:t>
            </a:r>
            <a:br>
              <a:rPr lang="en-US" sz="1100" b="1">
                <a:solidFill>
                  <a:schemeClr val="accent2"/>
                </a:solidFill>
                <a:latin typeface="Ericsson Technical Icons" panose="00000500000000000000" pitchFamily="2" charset="0"/>
              </a:rPr>
            </a:br>
            <a:r>
              <a:rPr lang="en-US" sz="1100" b="1">
                <a:solidFill>
                  <a:schemeClr val="accent2"/>
                </a:solidFill>
                <a:latin typeface="Ericsson Technical Icons" panose="00000500000000000000" pitchFamily="2" charset="0"/>
              </a:rPr>
              <a:t>G</a:t>
            </a:r>
            <a:br>
              <a:rPr lang="en-US" sz="1100" b="1">
                <a:solidFill>
                  <a:schemeClr val="accent2"/>
                </a:solidFill>
                <a:latin typeface="Ericsson Technical Icons" panose="00000500000000000000" pitchFamily="2" charset="0"/>
              </a:rPr>
            </a:br>
            <a:r>
              <a:rPr lang="en-US" sz="700" b="1">
                <a:solidFill>
                  <a:schemeClr val="accent2"/>
                </a:solidFill>
              </a:rPr>
              <a:t>MME</a:t>
            </a:r>
            <a:br>
              <a:rPr lang="en-US" sz="700" b="1">
                <a:solidFill>
                  <a:schemeClr val="accent2"/>
                </a:solidFill>
              </a:rPr>
            </a:br>
            <a:r>
              <a:rPr lang="en-US" sz="700" b="1">
                <a:solidFill>
                  <a:schemeClr val="accent2"/>
                </a:solidFill>
              </a:rPr>
              <a:t>SGW</a:t>
            </a:r>
          </a:p>
        </p:txBody>
      </p:sp>
      <p:sp>
        <p:nvSpPr>
          <p:cNvPr id="391" name="Oval 390">
            <a:extLst>
              <a:ext uri="{FF2B5EF4-FFF2-40B4-BE49-F238E27FC236}">
                <a16:creationId xmlns:a16="http://schemas.microsoft.com/office/drawing/2014/main" id="{5DACD64B-AA3F-44E3-BD3F-8943F0785DF7}"/>
              </a:ext>
            </a:extLst>
          </p:cNvPr>
          <p:cNvSpPr/>
          <p:nvPr/>
        </p:nvSpPr>
        <p:spPr bwMode="auto">
          <a:xfrm>
            <a:off x="9935968"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392" name="Oval 391">
            <a:extLst>
              <a:ext uri="{FF2B5EF4-FFF2-40B4-BE49-F238E27FC236}">
                <a16:creationId xmlns:a16="http://schemas.microsoft.com/office/drawing/2014/main" id="{215E5C15-F981-4A38-8D3F-CE31C392EE08}"/>
              </a:ext>
            </a:extLst>
          </p:cNvPr>
          <p:cNvSpPr/>
          <p:nvPr/>
        </p:nvSpPr>
        <p:spPr bwMode="auto">
          <a:xfrm>
            <a:off x="10663995" y="2559245"/>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151" name="Rectangle 150">
            <a:extLst>
              <a:ext uri="{FF2B5EF4-FFF2-40B4-BE49-F238E27FC236}">
                <a16:creationId xmlns:a16="http://schemas.microsoft.com/office/drawing/2014/main" id="{EB734F71-E7A7-4AFD-BB48-8F4209A5D996}"/>
              </a:ext>
            </a:extLst>
          </p:cNvPr>
          <p:cNvSpPr/>
          <p:nvPr/>
        </p:nvSpPr>
        <p:spPr bwMode="auto">
          <a:xfrm>
            <a:off x="10840130" y="309394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152" name="Rectangle 151">
            <a:extLst>
              <a:ext uri="{FF2B5EF4-FFF2-40B4-BE49-F238E27FC236}">
                <a16:creationId xmlns:a16="http://schemas.microsoft.com/office/drawing/2014/main" id="{E069AEA0-2154-45ED-8EF9-1DCB4AC4D557}"/>
              </a:ext>
            </a:extLst>
          </p:cNvPr>
          <p:cNvSpPr/>
          <p:nvPr/>
        </p:nvSpPr>
        <p:spPr bwMode="auto">
          <a:xfrm>
            <a:off x="10840130" y="2833206"/>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mn-lt"/>
            </a:endParaRPr>
          </a:p>
        </p:txBody>
      </p:sp>
      <p:sp>
        <p:nvSpPr>
          <p:cNvPr id="153" name="TextBox 152">
            <a:extLst>
              <a:ext uri="{FF2B5EF4-FFF2-40B4-BE49-F238E27FC236}">
                <a16:creationId xmlns:a16="http://schemas.microsoft.com/office/drawing/2014/main" id="{15AEB4B2-EB10-4607-863B-0B8B1CC57DA2}"/>
              </a:ext>
            </a:extLst>
          </p:cNvPr>
          <p:cNvSpPr txBox="1"/>
          <p:nvPr/>
        </p:nvSpPr>
        <p:spPr bwMode="auto">
          <a:xfrm>
            <a:off x="10682542" y="3122666"/>
            <a:ext cx="506549" cy="13849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900">
                <a:solidFill>
                  <a:schemeClr val="accent5"/>
                </a:solidFill>
                <a:cs typeface="Arial" panose="020B0604020202020204" pitchFamily="34" charset="0"/>
              </a:rPr>
              <a:t>N26</a:t>
            </a:r>
            <a:r>
              <a:rPr lang="en-US" sz="900">
                <a:solidFill>
                  <a:schemeClr val="accent1"/>
                </a:solidFill>
                <a:cs typeface="Arial" panose="020B0604020202020204" pitchFamily="34" charset="0"/>
              </a:rPr>
              <a:t> </a:t>
            </a:r>
            <a:r>
              <a:rPr lang="en-US" sz="900">
                <a:solidFill>
                  <a:schemeClr val="accent2"/>
                </a:solidFill>
                <a:cs typeface="Arial" panose="020B0604020202020204" pitchFamily="34" charset="0"/>
              </a:rPr>
              <a:t>(S10)</a:t>
            </a:r>
          </a:p>
        </p:txBody>
      </p:sp>
      <p:sp>
        <p:nvSpPr>
          <p:cNvPr id="155" name="Oval 154">
            <a:extLst>
              <a:ext uri="{FF2B5EF4-FFF2-40B4-BE49-F238E27FC236}">
                <a16:creationId xmlns:a16="http://schemas.microsoft.com/office/drawing/2014/main" id="{E0AB7445-03F4-4A4A-8D46-3860F6E461D5}"/>
              </a:ext>
            </a:extLst>
          </p:cNvPr>
          <p:cNvSpPr/>
          <p:nvPr/>
        </p:nvSpPr>
        <p:spPr bwMode="auto">
          <a:xfrm>
            <a:off x="5897051"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156" name="Oval 155">
            <a:extLst>
              <a:ext uri="{FF2B5EF4-FFF2-40B4-BE49-F238E27FC236}">
                <a16:creationId xmlns:a16="http://schemas.microsoft.com/office/drawing/2014/main" id="{CF32694D-163D-4F31-ABA3-03B55A3B1B06}"/>
              </a:ext>
            </a:extLst>
          </p:cNvPr>
          <p:cNvSpPr/>
          <p:nvPr/>
        </p:nvSpPr>
        <p:spPr bwMode="auto">
          <a:xfrm>
            <a:off x="6613572"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158" name="Oval 157">
            <a:extLst>
              <a:ext uri="{FF2B5EF4-FFF2-40B4-BE49-F238E27FC236}">
                <a16:creationId xmlns:a16="http://schemas.microsoft.com/office/drawing/2014/main" id="{38AD2C93-B805-40CC-B236-86A23C52F164}"/>
              </a:ext>
            </a:extLst>
          </p:cNvPr>
          <p:cNvSpPr/>
          <p:nvPr/>
        </p:nvSpPr>
        <p:spPr bwMode="auto">
          <a:xfrm>
            <a:off x="9934311"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3" name="Rectangle 2">
            <a:extLst>
              <a:ext uri="{FF2B5EF4-FFF2-40B4-BE49-F238E27FC236}">
                <a16:creationId xmlns:a16="http://schemas.microsoft.com/office/drawing/2014/main" id="{14BB996E-F748-4E18-8450-52974A3B2068}"/>
              </a:ext>
            </a:extLst>
          </p:cNvPr>
          <p:cNvSpPr/>
          <p:nvPr/>
        </p:nvSpPr>
        <p:spPr bwMode="auto">
          <a:xfrm>
            <a:off x="352988" y="1400582"/>
            <a:ext cx="3555093" cy="4981168"/>
          </a:xfrm>
          <a:prstGeom prst="rect">
            <a:avLst/>
          </a:prstGeom>
          <a:no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sp>
        <p:nvSpPr>
          <p:cNvPr id="160" name="Rectangle 159">
            <a:extLst>
              <a:ext uri="{FF2B5EF4-FFF2-40B4-BE49-F238E27FC236}">
                <a16:creationId xmlns:a16="http://schemas.microsoft.com/office/drawing/2014/main" id="{34FB7E33-F7A4-495F-9EA3-2CCF548FFE54}"/>
              </a:ext>
            </a:extLst>
          </p:cNvPr>
          <p:cNvSpPr/>
          <p:nvPr/>
        </p:nvSpPr>
        <p:spPr bwMode="auto">
          <a:xfrm>
            <a:off x="4255761" y="1400581"/>
            <a:ext cx="3555093" cy="4981169"/>
          </a:xfrm>
          <a:prstGeom prst="rect">
            <a:avLst/>
          </a:prstGeom>
          <a:no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sp>
        <p:nvSpPr>
          <p:cNvPr id="161" name="Rectangle 160">
            <a:extLst>
              <a:ext uri="{FF2B5EF4-FFF2-40B4-BE49-F238E27FC236}">
                <a16:creationId xmlns:a16="http://schemas.microsoft.com/office/drawing/2014/main" id="{0C321CC0-D19D-48CC-82C2-95F37F0791FF}"/>
              </a:ext>
            </a:extLst>
          </p:cNvPr>
          <p:cNvSpPr/>
          <p:nvPr/>
        </p:nvSpPr>
        <p:spPr bwMode="auto">
          <a:xfrm>
            <a:off x="8198406" y="1400580"/>
            <a:ext cx="3555093" cy="4985599"/>
          </a:xfrm>
          <a:prstGeom prst="rect">
            <a:avLst/>
          </a:prstGeom>
          <a:no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sp>
        <p:nvSpPr>
          <p:cNvPr id="162" name="TextBox 161">
            <a:extLst>
              <a:ext uri="{FF2B5EF4-FFF2-40B4-BE49-F238E27FC236}">
                <a16:creationId xmlns:a16="http://schemas.microsoft.com/office/drawing/2014/main" id="{22B0EA61-2751-4CF5-8639-7D964BD3B1FC}"/>
              </a:ext>
            </a:extLst>
          </p:cNvPr>
          <p:cNvSpPr txBox="1"/>
          <p:nvPr/>
        </p:nvSpPr>
        <p:spPr bwMode="auto">
          <a:xfrm>
            <a:off x="4254861" y="1396564"/>
            <a:ext cx="3555092" cy="344128"/>
          </a:xfrm>
          <a:prstGeom prst="rect">
            <a:avLst/>
          </a:prstGeom>
          <a:solidFill>
            <a:schemeClr val="tx1">
              <a:lumMod val="75000"/>
              <a:lumOff val="25000"/>
            </a:schemeClr>
          </a:solid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2000">
                <a:solidFill>
                  <a:schemeClr val="bg1"/>
                </a:solidFill>
              </a:rPr>
              <a:t>2. EPS Fallback</a:t>
            </a:r>
          </a:p>
        </p:txBody>
      </p:sp>
      <p:sp>
        <p:nvSpPr>
          <p:cNvPr id="163" name="TextBox 162">
            <a:extLst>
              <a:ext uri="{FF2B5EF4-FFF2-40B4-BE49-F238E27FC236}">
                <a16:creationId xmlns:a16="http://schemas.microsoft.com/office/drawing/2014/main" id="{C2E28F6F-E054-430E-A481-27E9C4C6727A}"/>
              </a:ext>
            </a:extLst>
          </p:cNvPr>
          <p:cNvSpPr txBox="1"/>
          <p:nvPr/>
        </p:nvSpPr>
        <p:spPr bwMode="auto">
          <a:xfrm>
            <a:off x="8217908" y="1396564"/>
            <a:ext cx="3555092" cy="344128"/>
          </a:xfrm>
          <a:prstGeom prst="rect">
            <a:avLst/>
          </a:prstGeom>
          <a:solidFill>
            <a:schemeClr val="tx1">
              <a:lumMod val="75000"/>
              <a:lumOff val="25000"/>
            </a:schemeClr>
          </a:solid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2000">
                <a:solidFill>
                  <a:schemeClr val="bg1"/>
                </a:solidFill>
              </a:rPr>
              <a:t>3. Voice over NR (</a:t>
            </a:r>
            <a:r>
              <a:rPr lang="en-US" sz="2000" err="1">
                <a:solidFill>
                  <a:schemeClr val="bg1"/>
                </a:solidFill>
              </a:rPr>
              <a:t>VoNR</a:t>
            </a:r>
            <a:r>
              <a:rPr lang="en-US" sz="2000">
                <a:solidFill>
                  <a:schemeClr val="bg1"/>
                </a:solidFill>
              </a:rPr>
              <a:t>)</a:t>
            </a:r>
          </a:p>
        </p:txBody>
      </p:sp>
      <p:sp>
        <p:nvSpPr>
          <p:cNvPr id="164" name="TextBox 163">
            <a:extLst>
              <a:ext uri="{FF2B5EF4-FFF2-40B4-BE49-F238E27FC236}">
                <a16:creationId xmlns:a16="http://schemas.microsoft.com/office/drawing/2014/main" id="{7FA28BBB-8D50-44DF-BC55-C9969F5E9CC4}"/>
              </a:ext>
            </a:extLst>
          </p:cNvPr>
          <p:cNvSpPr txBox="1"/>
          <p:nvPr/>
        </p:nvSpPr>
        <p:spPr bwMode="auto">
          <a:xfrm>
            <a:off x="5325609" y="2019740"/>
            <a:ext cx="981038"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1200">
                <a:cs typeface="Arial" panose="020B0604020202020204" pitchFamily="34" charset="0"/>
              </a:rPr>
              <a:t>3GPP Option 2</a:t>
            </a:r>
          </a:p>
        </p:txBody>
      </p:sp>
      <p:sp>
        <p:nvSpPr>
          <p:cNvPr id="165" name="TextBox 164">
            <a:extLst>
              <a:ext uri="{FF2B5EF4-FFF2-40B4-BE49-F238E27FC236}">
                <a16:creationId xmlns:a16="http://schemas.microsoft.com/office/drawing/2014/main" id="{BD6F91BF-1A9A-4568-9F98-4D95B35BA97D}"/>
              </a:ext>
            </a:extLst>
          </p:cNvPr>
          <p:cNvSpPr txBox="1"/>
          <p:nvPr/>
        </p:nvSpPr>
        <p:spPr bwMode="auto">
          <a:xfrm>
            <a:off x="9443792" y="2014715"/>
            <a:ext cx="981038"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a:buClr>
                <a:schemeClr val="tx1"/>
              </a:buClr>
            </a:pPr>
            <a:r>
              <a:rPr lang="en-US" sz="1200">
                <a:cs typeface="Arial" panose="020B0604020202020204" pitchFamily="34" charset="0"/>
              </a:rPr>
              <a:t>3GPP Option 2</a:t>
            </a:r>
          </a:p>
        </p:txBody>
      </p:sp>
      <p:sp>
        <p:nvSpPr>
          <p:cNvPr id="5" name="TextBox 4">
            <a:extLst>
              <a:ext uri="{FF2B5EF4-FFF2-40B4-BE49-F238E27FC236}">
                <a16:creationId xmlns:a16="http://schemas.microsoft.com/office/drawing/2014/main" id="{65F953F1-B1B2-415C-A834-E2B4AC03C581}"/>
              </a:ext>
            </a:extLst>
          </p:cNvPr>
          <p:cNvSpPr txBox="1"/>
          <p:nvPr/>
        </p:nvSpPr>
        <p:spPr bwMode="auto">
          <a:xfrm>
            <a:off x="653296" y="3435223"/>
            <a:ext cx="252239" cy="174851"/>
          </a:xfrm>
          <a:prstGeom prst="rect">
            <a:avLst/>
          </a:prstGeom>
          <a:noFill/>
          <a:ln w="952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900"/>
              <a:t>1, 3</a:t>
            </a:r>
          </a:p>
        </p:txBody>
      </p:sp>
      <p:sp>
        <p:nvSpPr>
          <p:cNvPr id="166" name="TextBox 165">
            <a:extLst>
              <a:ext uri="{FF2B5EF4-FFF2-40B4-BE49-F238E27FC236}">
                <a16:creationId xmlns:a16="http://schemas.microsoft.com/office/drawing/2014/main" id="{F675C682-F226-43E6-85FB-A187B2F5DF70}"/>
              </a:ext>
            </a:extLst>
          </p:cNvPr>
          <p:cNvSpPr txBox="1"/>
          <p:nvPr/>
        </p:nvSpPr>
        <p:spPr bwMode="auto">
          <a:xfrm>
            <a:off x="4712817" y="3901011"/>
            <a:ext cx="367656" cy="174851"/>
          </a:xfrm>
          <a:prstGeom prst="rect">
            <a:avLst/>
          </a:prstGeom>
          <a:noFill/>
          <a:ln w="952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900"/>
              <a:t>1, 3, 2</a:t>
            </a:r>
          </a:p>
        </p:txBody>
      </p:sp>
      <p:cxnSp>
        <p:nvCxnSpPr>
          <p:cNvPr id="172" name="Straight Connector 171">
            <a:extLst>
              <a:ext uri="{FF2B5EF4-FFF2-40B4-BE49-F238E27FC236}">
                <a16:creationId xmlns:a16="http://schemas.microsoft.com/office/drawing/2014/main" id="{ADD2A612-3E2F-4591-9119-7100D7097C1A}"/>
              </a:ext>
            </a:extLst>
          </p:cNvPr>
          <p:cNvCxnSpPr>
            <a:cxnSpLocks/>
          </p:cNvCxnSpPr>
          <p:nvPr/>
        </p:nvCxnSpPr>
        <p:spPr bwMode="auto">
          <a:xfrm>
            <a:off x="1898760" y="2938910"/>
            <a:ext cx="370064" cy="0"/>
          </a:xfrm>
          <a:prstGeom prst="line">
            <a:avLst/>
          </a:prstGeom>
          <a:noFill/>
          <a:ln w="28575"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174" name="TextBox 173">
            <a:extLst>
              <a:ext uri="{FF2B5EF4-FFF2-40B4-BE49-F238E27FC236}">
                <a16:creationId xmlns:a16="http://schemas.microsoft.com/office/drawing/2014/main" id="{9E61FFCF-F097-4096-A334-0E2F5220727A}"/>
              </a:ext>
            </a:extLst>
          </p:cNvPr>
          <p:cNvSpPr txBox="1">
            <a:spLocks noChangeAspect="1"/>
          </p:cNvSpPr>
          <p:nvPr/>
        </p:nvSpPr>
        <p:spPr bwMode="auto">
          <a:xfrm>
            <a:off x="10362491" y="3299302"/>
            <a:ext cx="360000" cy="585000"/>
          </a:xfrm>
          <a:prstGeom prst="rect">
            <a:avLst/>
          </a:prstGeom>
          <a:solidFill>
            <a:schemeClr val="bg1"/>
          </a:solidFill>
          <a:ln w="19050">
            <a:solidFill>
              <a:schemeClr val="accent5"/>
            </a:solidFill>
            <a:prstDash val="solid"/>
            <a:miter lim="800000"/>
            <a:headEnd/>
            <a:tailEnd/>
          </a:ln>
        </p:spPr>
        <p:txBody>
          <a:bodyPr vert="horz" wrap="square" lIns="0" tIns="0" rIns="0" bIns="0" numCol="1" rtlCol="0" anchor="t" anchorCtr="0" compatLnSpc="1">
            <a:prstTxWarp prst="textNoShape">
              <a:avLst/>
            </a:prstTxWarp>
            <a:noAutofit/>
          </a:bodyPr>
          <a:lstStyle/>
          <a:p>
            <a:pPr algn="ctr">
              <a:buClr>
                <a:schemeClr val="tx1"/>
              </a:buClr>
            </a:pPr>
            <a:r>
              <a:rPr lang="en-US" sz="1400" b="1">
                <a:solidFill>
                  <a:schemeClr val="accent5"/>
                </a:solidFill>
                <a:latin typeface="Ericsson Technical Icons" panose="00000500000000000000" pitchFamily="2" charset="0"/>
              </a:rPr>
              <a:t>S</a:t>
            </a:r>
            <a:br>
              <a:rPr lang="en-US" sz="1400" b="1">
                <a:solidFill>
                  <a:schemeClr val="accent5"/>
                </a:solidFill>
                <a:latin typeface="Ericsson Technical Icons" panose="00000500000000000000" pitchFamily="2" charset="0"/>
              </a:rPr>
            </a:br>
            <a:r>
              <a:rPr lang="en-US" sz="1400" b="1">
                <a:solidFill>
                  <a:schemeClr val="accent5"/>
                </a:solidFill>
                <a:latin typeface="Ericsson Technical Icons" panose="00000500000000000000" pitchFamily="2" charset="0"/>
              </a:rPr>
              <a:t>G</a:t>
            </a:r>
            <a:br>
              <a:rPr lang="en-US" sz="1400" b="1">
                <a:solidFill>
                  <a:schemeClr val="accent5"/>
                </a:solidFill>
                <a:latin typeface="Ericsson Technical Icons" panose="00000500000000000000" pitchFamily="2" charset="0"/>
              </a:rPr>
            </a:br>
            <a:r>
              <a:rPr lang="en-US" sz="1000" b="1">
                <a:solidFill>
                  <a:schemeClr val="accent5"/>
                </a:solidFill>
              </a:rPr>
              <a:t>5GC</a:t>
            </a:r>
          </a:p>
        </p:txBody>
      </p:sp>
      <p:sp>
        <p:nvSpPr>
          <p:cNvPr id="157" name="Oval 156">
            <a:extLst>
              <a:ext uri="{FF2B5EF4-FFF2-40B4-BE49-F238E27FC236}">
                <a16:creationId xmlns:a16="http://schemas.microsoft.com/office/drawing/2014/main" id="{26157654-BA75-497F-A652-A91B2C652998}"/>
              </a:ext>
            </a:extLst>
          </p:cNvPr>
          <p:cNvSpPr/>
          <p:nvPr/>
        </p:nvSpPr>
        <p:spPr bwMode="auto">
          <a:xfrm>
            <a:off x="10663459" y="3351232"/>
            <a:ext cx="108000" cy="108000"/>
          </a:xfrm>
          <a:prstGeom prst="ellipse">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lang="en-US" sz="2000">
              <a:solidFill>
                <a:schemeClr val="bg1"/>
              </a:solidFill>
            </a:endParaRPr>
          </a:p>
        </p:txBody>
      </p:sp>
      <p:sp>
        <p:nvSpPr>
          <p:cNvPr id="175" name="TextBox 174">
            <a:extLst>
              <a:ext uri="{FF2B5EF4-FFF2-40B4-BE49-F238E27FC236}">
                <a16:creationId xmlns:a16="http://schemas.microsoft.com/office/drawing/2014/main" id="{A9666F8D-FB1B-4426-B8B8-41CCB406F598}"/>
              </a:ext>
            </a:extLst>
          </p:cNvPr>
          <p:cNvSpPr txBox="1"/>
          <p:nvPr/>
        </p:nvSpPr>
        <p:spPr bwMode="auto">
          <a:xfrm>
            <a:off x="4710559" y="2508043"/>
            <a:ext cx="367656" cy="174851"/>
          </a:xfrm>
          <a:prstGeom prst="rect">
            <a:avLst/>
          </a:prstGeom>
          <a:noFill/>
          <a:ln w="952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900"/>
              <a:t>1, 3, 2</a:t>
            </a:r>
          </a:p>
        </p:txBody>
      </p:sp>
      <p:sp>
        <p:nvSpPr>
          <p:cNvPr id="176" name="TextBox 175">
            <a:extLst>
              <a:ext uri="{FF2B5EF4-FFF2-40B4-BE49-F238E27FC236}">
                <a16:creationId xmlns:a16="http://schemas.microsoft.com/office/drawing/2014/main" id="{327BDCD3-4859-4AD5-93CA-19D96D205E59}"/>
              </a:ext>
            </a:extLst>
          </p:cNvPr>
          <p:cNvSpPr txBox="1"/>
          <p:nvPr/>
        </p:nvSpPr>
        <p:spPr bwMode="auto">
          <a:xfrm>
            <a:off x="8744116" y="3901011"/>
            <a:ext cx="367656" cy="174851"/>
          </a:xfrm>
          <a:prstGeom prst="rect">
            <a:avLst/>
          </a:prstGeom>
          <a:noFill/>
          <a:ln w="952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900"/>
              <a:t>1, 3, 2</a:t>
            </a:r>
          </a:p>
        </p:txBody>
      </p:sp>
      <p:sp>
        <p:nvSpPr>
          <p:cNvPr id="177" name="TextBox 176">
            <a:extLst>
              <a:ext uri="{FF2B5EF4-FFF2-40B4-BE49-F238E27FC236}">
                <a16:creationId xmlns:a16="http://schemas.microsoft.com/office/drawing/2014/main" id="{CEC7FDCA-B210-4A30-898C-AFBF9479943F}"/>
              </a:ext>
            </a:extLst>
          </p:cNvPr>
          <p:cNvSpPr txBox="1"/>
          <p:nvPr/>
        </p:nvSpPr>
        <p:spPr bwMode="auto">
          <a:xfrm>
            <a:off x="8741858" y="2508043"/>
            <a:ext cx="367656" cy="174851"/>
          </a:xfrm>
          <a:prstGeom prst="rect">
            <a:avLst/>
          </a:prstGeom>
          <a:noFill/>
          <a:ln w="952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900"/>
              <a:t>1, 3, 2</a:t>
            </a:r>
          </a:p>
        </p:txBody>
      </p:sp>
    </p:spTree>
    <p:extLst>
      <p:ext uri="{BB962C8B-B14F-4D97-AF65-F5344CB8AC3E}">
        <p14:creationId xmlns:p14="http://schemas.microsoft.com/office/powerpoint/2010/main" val="21260275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D00EE8-DBB3-4B37-911D-6E738C45BA13}"/>
              </a:ext>
            </a:extLst>
          </p:cNvPr>
          <p:cNvSpPr>
            <a:spLocks noGrp="1"/>
          </p:cNvSpPr>
          <p:nvPr>
            <p:ph sz="quarter" idx="10"/>
          </p:nvPr>
        </p:nvSpPr>
        <p:spPr/>
        <p:txBody>
          <a:bodyPr>
            <a:normAutofit fontScale="70000" lnSpcReduction="20000"/>
          </a:bodyPr>
          <a:lstStyle/>
          <a:p>
            <a:pPr>
              <a:lnSpc>
                <a:spcPct val="110000"/>
              </a:lnSpc>
              <a:spcBef>
                <a:spcPts val="0"/>
              </a:spcBef>
              <a:spcAft>
                <a:spcPts val="400"/>
              </a:spcAft>
            </a:pPr>
            <a:r>
              <a:rPr lang="en-US" sz="2100"/>
              <a:t>Typical coverage scenario</a:t>
            </a:r>
            <a:endParaRPr lang="sv-SE" sz="2100"/>
          </a:p>
          <a:p>
            <a:pPr lvl="1">
              <a:lnSpc>
                <a:spcPct val="110000"/>
              </a:lnSpc>
              <a:spcBef>
                <a:spcPts val="0"/>
              </a:spcBef>
              <a:spcAft>
                <a:spcPts val="400"/>
              </a:spcAft>
            </a:pPr>
            <a:r>
              <a:rPr lang="en-US"/>
              <a:t>NR coverage connected to a 5G Core, not supporting voice service</a:t>
            </a:r>
          </a:p>
          <a:p>
            <a:pPr lvl="1">
              <a:lnSpc>
                <a:spcPct val="110000"/>
              </a:lnSpc>
              <a:spcBef>
                <a:spcPts val="0"/>
              </a:spcBef>
              <a:spcAft>
                <a:spcPts val="400"/>
              </a:spcAft>
            </a:pPr>
            <a:r>
              <a:rPr lang="en-US"/>
              <a:t>Wide-area LTE coverage controlled by EPC supporting VoLTE</a:t>
            </a:r>
          </a:p>
          <a:p>
            <a:pPr lvl="1">
              <a:lnSpc>
                <a:spcPct val="110000"/>
              </a:lnSpc>
              <a:spcBef>
                <a:spcPts val="0"/>
              </a:spcBef>
              <a:spcAft>
                <a:spcPts val="400"/>
              </a:spcAft>
            </a:pPr>
            <a:r>
              <a:rPr lang="en-US"/>
              <a:t>VoLTE network may interwork with an underlying 2G/3G network, including support of SRVCC</a:t>
            </a:r>
            <a:br>
              <a:rPr lang="en-US"/>
            </a:br>
            <a:endParaRPr lang="en-US"/>
          </a:p>
          <a:p>
            <a:pPr>
              <a:lnSpc>
                <a:spcPct val="110000"/>
              </a:lnSpc>
              <a:spcBef>
                <a:spcPts val="0"/>
              </a:spcBef>
              <a:spcAft>
                <a:spcPts val="400"/>
              </a:spcAft>
            </a:pPr>
            <a:r>
              <a:rPr lang="en-US" sz="2100"/>
              <a:t>At call setup when the phone is connected to NR, an EPS fallback to E-UTRAN connected to EPC is performed</a:t>
            </a:r>
          </a:p>
          <a:p>
            <a:pPr lvl="1">
              <a:lnSpc>
                <a:spcPct val="110000"/>
              </a:lnSpc>
              <a:spcBef>
                <a:spcPts val="0"/>
              </a:spcBef>
              <a:spcAft>
                <a:spcPts val="400"/>
              </a:spcAft>
            </a:pPr>
            <a:r>
              <a:rPr lang="en-US"/>
              <a:t>At the attempt to establish voice flow bearer with QoS over NR </a:t>
            </a:r>
          </a:p>
          <a:p>
            <a:pPr lvl="1">
              <a:lnSpc>
                <a:spcPct val="110000"/>
              </a:lnSpc>
              <a:spcBef>
                <a:spcPts val="0"/>
              </a:spcBef>
              <a:spcAft>
                <a:spcPts val="400"/>
              </a:spcAft>
            </a:pPr>
            <a:r>
              <a:rPr lang="en-US" sz="2100"/>
              <a:t>The NG-RAN </a:t>
            </a:r>
          </a:p>
          <a:p>
            <a:pPr lvl="2">
              <a:lnSpc>
                <a:spcPct val="110000"/>
              </a:lnSpc>
              <a:spcBef>
                <a:spcPts val="0"/>
              </a:spcBef>
              <a:spcAft>
                <a:spcPts val="400"/>
              </a:spcAft>
            </a:pPr>
            <a:r>
              <a:rPr lang="en-US" sz="2100"/>
              <a:t>Rejects the QoS flow setup towards SMF with indication that EPS fallback is in progress and </a:t>
            </a:r>
          </a:p>
          <a:p>
            <a:pPr lvl="2">
              <a:lnSpc>
                <a:spcPct val="110000"/>
              </a:lnSpc>
              <a:spcBef>
                <a:spcPts val="0"/>
              </a:spcBef>
              <a:spcAft>
                <a:spcPts val="800"/>
              </a:spcAft>
            </a:pPr>
            <a:r>
              <a:rPr lang="en-US" sz="2100"/>
              <a:t>Initiates transfer of all PDU sessions from 5GS to EPS</a:t>
            </a:r>
            <a:br>
              <a:rPr lang="en-US" sz="2100"/>
            </a:br>
            <a:endParaRPr lang="en-US" sz="2100"/>
          </a:p>
          <a:p>
            <a:pPr>
              <a:lnSpc>
                <a:spcPct val="110000"/>
              </a:lnSpc>
              <a:spcBef>
                <a:spcPts val="0"/>
              </a:spcBef>
              <a:spcAft>
                <a:spcPts val="400"/>
              </a:spcAft>
            </a:pPr>
            <a:r>
              <a:rPr lang="en-US"/>
              <a:t>There are two standardized methods to move the UE to EPS</a:t>
            </a:r>
          </a:p>
          <a:p>
            <a:pPr lvl="1">
              <a:lnSpc>
                <a:spcPct val="110000"/>
              </a:lnSpc>
              <a:spcBef>
                <a:spcPts val="0"/>
              </a:spcBef>
              <a:spcAft>
                <a:spcPts val="400"/>
              </a:spcAft>
            </a:pPr>
            <a:r>
              <a:rPr lang="en-US"/>
              <a:t>Release with redirect</a:t>
            </a:r>
          </a:p>
          <a:p>
            <a:pPr lvl="1">
              <a:lnSpc>
                <a:spcPct val="110000"/>
              </a:lnSpc>
              <a:spcBef>
                <a:spcPts val="0"/>
              </a:spcBef>
              <a:spcAft>
                <a:spcPts val="400"/>
              </a:spcAft>
            </a:pPr>
            <a:r>
              <a:rPr lang="en-US"/>
              <a:t>IRAT with inter-system handover - recommended</a:t>
            </a:r>
            <a:endParaRPr lang="sv-SE"/>
          </a:p>
        </p:txBody>
      </p:sp>
      <p:sp>
        <p:nvSpPr>
          <p:cNvPr id="3" name="Title 2">
            <a:extLst>
              <a:ext uri="{FF2B5EF4-FFF2-40B4-BE49-F238E27FC236}">
                <a16:creationId xmlns:a16="http://schemas.microsoft.com/office/drawing/2014/main" id="{6AD5CB92-25F4-44D7-95B7-C21BF80462D3}"/>
              </a:ext>
            </a:extLst>
          </p:cNvPr>
          <p:cNvSpPr>
            <a:spLocks noGrp="1"/>
          </p:cNvSpPr>
          <p:nvPr>
            <p:ph type="title"/>
          </p:nvPr>
        </p:nvSpPr>
        <p:spPr>
          <a:xfrm>
            <a:off x="479424" y="476250"/>
            <a:ext cx="8353425" cy="1081088"/>
          </a:xfrm>
        </p:spPr>
        <p:txBody>
          <a:bodyPr/>
          <a:lstStyle/>
          <a:p>
            <a:r>
              <a:rPr lang="en-US" sz="3200"/>
              <a:t>Voice with EPS Fallback </a:t>
            </a:r>
            <a:br>
              <a:rPr lang="en-US" sz="3200">
                <a:highlight>
                  <a:srgbClr val="FFFF00"/>
                </a:highlight>
              </a:rPr>
            </a:br>
            <a:r>
              <a:rPr lang="en-US" sz="2400"/>
              <a:t>(option 2)</a:t>
            </a:r>
            <a:endParaRPr lang="en-US" sz="3200"/>
          </a:p>
        </p:txBody>
      </p:sp>
      <p:cxnSp>
        <p:nvCxnSpPr>
          <p:cNvPr id="26" name="Straight Connector 25">
            <a:extLst>
              <a:ext uri="{FF2B5EF4-FFF2-40B4-BE49-F238E27FC236}">
                <a16:creationId xmlns:a16="http://schemas.microsoft.com/office/drawing/2014/main" id="{E091F727-940C-4B9E-80F0-19CD1D76B229}"/>
              </a:ext>
            </a:extLst>
          </p:cNvPr>
          <p:cNvCxnSpPr>
            <a:cxnSpLocks/>
          </p:cNvCxnSpPr>
          <p:nvPr/>
        </p:nvCxnSpPr>
        <p:spPr bwMode="auto">
          <a:xfrm>
            <a:off x="6096000" y="3381643"/>
            <a:ext cx="6075942" cy="0"/>
          </a:xfrm>
          <a:prstGeom prst="line">
            <a:avLst/>
          </a:prstGeom>
          <a:solidFill>
            <a:schemeClr val="accent1"/>
          </a:solidFill>
          <a:ln w="57150" cap="flat" cmpd="sng" algn="ctr">
            <a:solidFill>
              <a:schemeClr val="bg1">
                <a:lumMod val="65000"/>
              </a:schemeClr>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D7930655-0FA6-4166-9C7A-269BA04B87DE}"/>
              </a:ext>
            </a:extLst>
          </p:cNvPr>
          <p:cNvCxnSpPr>
            <a:cxnSpLocks/>
            <a:endCxn id="64" idx="1"/>
          </p:cNvCxnSpPr>
          <p:nvPr/>
        </p:nvCxnSpPr>
        <p:spPr bwMode="auto">
          <a:xfrm>
            <a:off x="9485839" y="3886755"/>
            <a:ext cx="250466" cy="0"/>
          </a:xfrm>
          <a:prstGeom prst="line">
            <a:avLst/>
          </a:prstGeom>
          <a:noFill/>
          <a:ln w="28575" cap="flat" cmpd="sng" algn="ctr">
            <a:solidFill>
              <a:schemeClr val="accent1"/>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99BC212A-3BD5-41A1-8EDD-E182FC1CDE07}"/>
              </a:ext>
            </a:extLst>
          </p:cNvPr>
          <p:cNvSpPr txBox="1"/>
          <p:nvPr/>
        </p:nvSpPr>
        <p:spPr>
          <a:xfrm>
            <a:off x="9736305" y="3763644"/>
            <a:ext cx="1938351" cy="246221"/>
          </a:xfrm>
          <a:prstGeom prst="rect">
            <a:avLst/>
          </a:prstGeom>
          <a:noFill/>
        </p:spPr>
        <p:txBody>
          <a:bodyPr wrap="none" rtlCol="0">
            <a:spAutoFit/>
          </a:bodyPr>
          <a:lstStyle/>
          <a:p>
            <a:r>
              <a:rPr lang="en-US" sz="1000"/>
              <a:t>During initial call establishment</a:t>
            </a:r>
          </a:p>
        </p:txBody>
      </p:sp>
      <p:cxnSp>
        <p:nvCxnSpPr>
          <p:cNvPr id="65" name="Straight Connector 64">
            <a:extLst>
              <a:ext uri="{FF2B5EF4-FFF2-40B4-BE49-F238E27FC236}">
                <a16:creationId xmlns:a16="http://schemas.microsoft.com/office/drawing/2014/main" id="{5DB73156-ED48-4EB9-84B7-9AF4FB341533}"/>
              </a:ext>
            </a:extLst>
          </p:cNvPr>
          <p:cNvCxnSpPr>
            <a:cxnSpLocks/>
            <a:endCxn id="66" idx="1"/>
          </p:cNvCxnSpPr>
          <p:nvPr/>
        </p:nvCxnSpPr>
        <p:spPr bwMode="auto">
          <a:xfrm>
            <a:off x="9487293" y="4112677"/>
            <a:ext cx="250466" cy="0"/>
          </a:xfrm>
          <a:prstGeom prst="line">
            <a:avLst/>
          </a:prstGeom>
          <a:noFill/>
          <a:ln w="28575" cap="flat" cmpd="sng" algn="ctr">
            <a:solidFill>
              <a:schemeClr val="accent6"/>
            </a:solidFill>
            <a:prstDash val="solid"/>
            <a:round/>
            <a:headEnd type="none" w="med" len="med"/>
            <a:tailEnd type="none" w="med" len="med"/>
          </a:ln>
          <a:effectLst/>
        </p:spPr>
      </p:cxnSp>
      <p:sp>
        <p:nvSpPr>
          <p:cNvPr id="66" name="TextBox 65">
            <a:extLst>
              <a:ext uri="{FF2B5EF4-FFF2-40B4-BE49-F238E27FC236}">
                <a16:creationId xmlns:a16="http://schemas.microsoft.com/office/drawing/2014/main" id="{2D06041B-0681-43B0-A324-9638EB7067BC}"/>
              </a:ext>
            </a:extLst>
          </p:cNvPr>
          <p:cNvSpPr txBox="1"/>
          <p:nvPr/>
        </p:nvSpPr>
        <p:spPr>
          <a:xfrm>
            <a:off x="9737759" y="3989566"/>
            <a:ext cx="788999" cy="246221"/>
          </a:xfrm>
          <a:prstGeom prst="rect">
            <a:avLst/>
          </a:prstGeom>
          <a:noFill/>
        </p:spPr>
        <p:txBody>
          <a:bodyPr wrap="none" rtlCol="0">
            <a:spAutoFit/>
          </a:bodyPr>
          <a:lstStyle/>
          <a:p>
            <a:r>
              <a:rPr lang="en-US" sz="1000"/>
              <a:t>During call</a:t>
            </a:r>
          </a:p>
        </p:txBody>
      </p:sp>
      <p:sp>
        <p:nvSpPr>
          <p:cNvPr id="68" name="Freeform 6">
            <a:extLst>
              <a:ext uri="{FF2B5EF4-FFF2-40B4-BE49-F238E27FC236}">
                <a16:creationId xmlns:a16="http://schemas.microsoft.com/office/drawing/2014/main" id="{5BEB61C5-3589-4457-BBFE-F2875ABB425C}"/>
              </a:ext>
            </a:extLst>
          </p:cNvPr>
          <p:cNvSpPr>
            <a:spLocks noChangeAspect="1" noEditPoints="1"/>
          </p:cNvSpPr>
          <p:nvPr/>
        </p:nvSpPr>
        <p:spPr bwMode="auto">
          <a:xfrm>
            <a:off x="6973292" y="4961062"/>
            <a:ext cx="183236" cy="328729"/>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noFill/>
          </a:ln>
        </p:spPr>
        <p:txBody>
          <a:bodyPr/>
          <a:lstStyle/>
          <a:p>
            <a:endParaRPr lang="en-US" sz="1600"/>
          </a:p>
        </p:txBody>
      </p:sp>
      <p:cxnSp>
        <p:nvCxnSpPr>
          <p:cNvPr id="69" name="Straight Connector 68">
            <a:extLst>
              <a:ext uri="{FF2B5EF4-FFF2-40B4-BE49-F238E27FC236}">
                <a16:creationId xmlns:a16="http://schemas.microsoft.com/office/drawing/2014/main" id="{E158B839-DD9B-4858-A67E-AF52DF62AB75}"/>
              </a:ext>
            </a:extLst>
          </p:cNvPr>
          <p:cNvCxnSpPr>
            <a:cxnSpLocks/>
            <a:stCxn id="73" idx="2"/>
            <a:endCxn id="76" idx="0"/>
          </p:cNvCxnSpPr>
          <p:nvPr/>
        </p:nvCxnSpPr>
        <p:spPr bwMode="auto">
          <a:xfrm flipH="1">
            <a:off x="8881795" y="4704949"/>
            <a:ext cx="3315" cy="402322"/>
          </a:xfrm>
          <a:prstGeom prst="line">
            <a:avLst/>
          </a:prstGeom>
          <a:noFill/>
          <a:ln w="3175" cap="flat" cmpd="sng" algn="ctr">
            <a:solidFill>
              <a:schemeClr val="tx1"/>
            </a:solidFill>
            <a:prstDash val="dash"/>
            <a:round/>
            <a:headEnd type="none" w="med" len="med"/>
            <a:tailEnd type="none" w="med" len="med"/>
          </a:ln>
          <a:effectLst/>
        </p:spPr>
      </p:cxnSp>
      <p:cxnSp>
        <p:nvCxnSpPr>
          <p:cNvPr id="70" name="Straight Connector 69">
            <a:extLst>
              <a:ext uri="{FF2B5EF4-FFF2-40B4-BE49-F238E27FC236}">
                <a16:creationId xmlns:a16="http://schemas.microsoft.com/office/drawing/2014/main" id="{E0A85F97-FA05-490C-AAC9-48D285D1CFBC}"/>
              </a:ext>
            </a:extLst>
          </p:cNvPr>
          <p:cNvCxnSpPr>
            <a:cxnSpLocks/>
          </p:cNvCxnSpPr>
          <p:nvPr/>
        </p:nvCxnSpPr>
        <p:spPr bwMode="auto">
          <a:xfrm>
            <a:off x="8265340" y="5996966"/>
            <a:ext cx="1335835"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EC4D81E8-D8B0-4483-BE01-DDD55A8F0512}"/>
              </a:ext>
            </a:extLst>
          </p:cNvPr>
          <p:cNvSpPr txBox="1"/>
          <p:nvPr/>
        </p:nvSpPr>
        <p:spPr bwMode="auto">
          <a:xfrm>
            <a:off x="7848757" y="4023585"/>
            <a:ext cx="422248" cy="686153"/>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a:buClr>
                <a:srgbClr val="181818"/>
              </a:buClr>
            </a:pPr>
            <a:r>
              <a:rPr lang="en-US" sz="1800">
                <a:solidFill>
                  <a:srgbClr val="FFFFFF">
                    <a:lumMod val="50000"/>
                  </a:srgbClr>
                </a:solidFill>
                <a:latin typeface="Ericsson Technical Icons" panose="00000500000000000000" pitchFamily="2" charset="0"/>
              </a:rPr>
              <a:t>B</a:t>
            </a:r>
            <a:endParaRPr lang="en-US" sz="1800">
              <a:solidFill>
                <a:srgbClr val="FFFFFF">
                  <a:lumMod val="50000"/>
                </a:srgbClr>
              </a:solidFill>
            </a:endParaRPr>
          </a:p>
          <a:p>
            <a:pPr lvl="0" algn="ctr">
              <a:buClr>
                <a:srgbClr val="181818"/>
              </a:buClr>
            </a:pPr>
            <a:r>
              <a:rPr lang="en-US" sz="800">
                <a:solidFill>
                  <a:srgbClr val="FFFFFF">
                    <a:lumMod val="50000"/>
                  </a:srgbClr>
                </a:solidFill>
              </a:rPr>
              <a:t>E-UTRAN</a:t>
            </a:r>
          </a:p>
        </p:txBody>
      </p:sp>
      <p:sp>
        <p:nvSpPr>
          <p:cNvPr id="72" name="TextBox 71">
            <a:extLst>
              <a:ext uri="{FF2B5EF4-FFF2-40B4-BE49-F238E27FC236}">
                <a16:creationId xmlns:a16="http://schemas.microsoft.com/office/drawing/2014/main" id="{05587481-1C10-4FEA-9B12-56626B0AC61D}"/>
              </a:ext>
            </a:extLst>
          </p:cNvPr>
          <p:cNvSpPr txBox="1"/>
          <p:nvPr/>
        </p:nvSpPr>
        <p:spPr bwMode="auto">
          <a:xfrm>
            <a:off x="10594616" y="5503158"/>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br>
              <a:rPr lang="en-US" sz="1100">
                <a:solidFill>
                  <a:schemeClr val="bg1">
                    <a:lumMod val="50000"/>
                  </a:schemeClr>
                </a:solidFill>
              </a:rPr>
            </a:br>
            <a:r>
              <a:rPr lang="en-US" sz="1100">
                <a:solidFill>
                  <a:schemeClr val="bg1">
                    <a:lumMod val="50000"/>
                  </a:schemeClr>
                </a:solidFill>
              </a:rPr>
              <a:t>IMS</a:t>
            </a:r>
            <a:endParaRPr lang="en-US" sz="1050">
              <a:solidFill>
                <a:schemeClr val="bg1">
                  <a:lumMod val="50000"/>
                </a:schemeClr>
              </a:solidFill>
            </a:endParaRPr>
          </a:p>
        </p:txBody>
      </p:sp>
      <p:sp>
        <p:nvSpPr>
          <p:cNvPr id="73" name="TextBox 72">
            <a:extLst>
              <a:ext uri="{FF2B5EF4-FFF2-40B4-BE49-F238E27FC236}">
                <a16:creationId xmlns:a16="http://schemas.microsoft.com/office/drawing/2014/main" id="{CD6BCE86-20D6-4CBA-9703-B6674FAF6664}"/>
              </a:ext>
            </a:extLst>
          </p:cNvPr>
          <p:cNvSpPr txBox="1"/>
          <p:nvPr/>
        </p:nvSpPr>
        <p:spPr bwMode="auto">
          <a:xfrm>
            <a:off x="8673986" y="4020224"/>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r>
              <a:rPr lang="en-US" sz="1050">
                <a:solidFill>
                  <a:schemeClr val="bg1">
                    <a:lumMod val="50000"/>
                  </a:schemeClr>
                </a:solidFill>
              </a:rPr>
              <a:t>MME+</a:t>
            </a:r>
            <a:br>
              <a:rPr lang="en-US" sz="1050">
                <a:solidFill>
                  <a:schemeClr val="bg1">
                    <a:lumMod val="50000"/>
                  </a:schemeClr>
                </a:solidFill>
              </a:rPr>
            </a:br>
            <a:r>
              <a:rPr lang="en-US" sz="1050">
                <a:solidFill>
                  <a:schemeClr val="bg1">
                    <a:lumMod val="50000"/>
                  </a:schemeClr>
                </a:solidFill>
              </a:rPr>
              <a:t>SGw</a:t>
            </a:r>
            <a:br>
              <a:rPr lang="en-US" sz="1050">
                <a:solidFill>
                  <a:schemeClr val="bg1">
                    <a:lumMod val="50000"/>
                  </a:schemeClr>
                </a:solidFill>
              </a:rPr>
            </a:br>
            <a:endParaRPr lang="en-US" sz="1050">
              <a:solidFill>
                <a:schemeClr val="bg1">
                  <a:lumMod val="50000"/>
                </a:schemeClr>
              </a:solidFill>
            </a:endParaRPr>
          </a:p>
        </p:txBody>
      </p:sp>
      <p:sp>
        <p:nvSpPr>
          <p:cNvPr id="74" name="TextBox 73">
            <a:extLst>
              <a:ext uri="{FF2B5EF4-FFF2-40B4-BE49-F238E27FC236}">
                <a16:creationId xmlns:a16="http://schemas.microsoft.com/office/drawing/2014/main" id="{80BC9804-FBC4-4BC8-9B6D-71B85C6BC4FC}"/>
              </a:ext>
            </a:extLst>
          </p:cNvPr>
          <p:cNvSpPr txBox="1"/>
          <p:nvPr/>
        </p:nvSpPr>
        <p:spPr bwMode="auto">
          <a:xfrm>
            <a:off x="7850516" y="5501730"/>
            <a:ext cx="422248" cy="686153"/>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bg1">
                    <a:lumMod val="50000"/>
                  </a:schemeClr>
                </a:solidFill>
                <a:latin typeface="Ericsson Technical Icons" panose="00000500000000000000" pitchFamily="2" charset="0"/>
              </a:rPr>
              <a:t>B</a:t>
            </a:r>
            <a:endParaRPr lang="en-US" sz="1800">
              <a:solidFill>
                <a:schemeClr val="bg1">
                  <a:lumMod val="50000"/>
                </a:schemeClr>
              </a:solidFill>
            </a:endParaRPr>
          </a:p>
          <a:p>
            <a:pPr algn="ctr">
              <a:buClr>
                <a:schemeClr val="tx1"/>
              </a:buClr>
            </a:pPr>
            <a:r>
              <a:rPr lang="en-US" sz="1050">
                <a:solidFill>
                  <a:schemeClr val="bg1">
                    <a:lumMod val="50000"/>
                  </a:schemeClr>
                </a:solidFill>
              </a:rPr>
              <a:t>NG-</a:t>
            </a:r>
            <a:br>
              <a:rPr lang="en-US" sz="1050">
                <a:solidFill>
                  <a:schemeClr val="bg1">
                    <a:lumMod val="50000"/>
                  </a:schemeClr>
                </a:solidFill>
              </a:rPr>
            </a:br>
            <a:r>
              <a:rPr lang="en-US" sz="1050">
                <a:solidFill>
                  <a:schemeClr val="bg1">
                    <a:lumMod val="50000"/>
                  </a:schemeClr>
                </a:solidFill>
              </a:rPr>
              <a:t>RAN</a:t>
            </a:r>
          </a:p>
        </p:txBody>
      </p:sp>
      <p:sp>
        <p:nvSpPr>
          <p:cNvPr id="75" name="TextBox 74">
            <a:extLst>
              <a:ext uri="{FF2B5EF4-FFF2-40B4-BE49-F238E27FC236}">
                <a16:creationId xmlns:a16="http://schemas.microsoft.com/office/drawing/2014/main" id="{0E305ADF-021C-4142-9AC9-EEEC6DEBB944}"/>
              </a:ext>
            </a:extLst>
          </p:cNvPr>
          <p:cNvSpPr txBox="1"/>
          <p:nvPr/>
        </p:nvSpPr>
        <p:spPr bwMode="auto">
          <a:xfrm>
            <a:off x="7573652" y="5739019"/>
            <a:ext cx="274595" cy="179423"/>
          </a:xfrm>
          <a:prstGeom prst="rect">
            <a:avLst/>
          </a:prstGeom>
          <a:solidFill>
            <a:schemeClr val="accent5"/>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defPPr>
              <a:defRPr lang="en-GB"/>
            </a:defPPr>
            <a:lvl1pPr algn="ctr">
              <a:spcBef>
                <a:spcPts val="0"/>
              </a:spcBef>
              <a:buClr>
                <a:schemeClr val="tx1"/>
              </a:buClr>
              <a:defRPr sz="900"/>
            </a:lvl1pPr>
          </a:lstStyle>
          <a:p>
            <a:r>
              <a:rPr lang="en-US" sz="700">
                <a:solidFill>
                  <a:schemeClr val="bg1"/>
                </a:solidFill>
              </a:rPr>
              <a:t>NR</a:t>
            </a:r>
          </a:p>
        </p:txBody>
      </p:sp>
      <p:sp>
        <p:nvSpPr>
          <p:cNvPr id="76" name="TextBox 75">
            <a:extLst>
              <a:ext uri="{FF2B5EF4-FFF2-40B4-BE49-F238E27FC236}">
                <a16:creationId xmlns:a16="http://schemas.microsoft.com/office/drawing/2014/main" id="{FB635D05-7EEC-46B0-B41E-40607A86F9C6}"/>
              </a:ext>
            </a:extLst>
          </p:cNvPr>
          <p:cNvSpPr txBox="1"/>
          <p:nvPr/>
        </p:nvSpPr>
        <p:spPr bwMode="auto">
          <a:xfrm>
            <a:off x="8670671" y="5107271"/>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bg1">
                    <a:lumMod val="50000"/>
                  </a:schemeClr>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bg1">
                  <a:lumMod val="50000"/>
                </a:schemeClr>
              </a:solidFill>
            </a:endParaRPr>
          </a:p>
          <a:p>
            <a:pPr algn="ctr">
              <a:lnSpc>
                <a:spcPct val="90000"/>
              </a:lnSpc>
              <a:spcBef>
                <a:spcPts val="0"/>
              </a:spcBef>
              <a:buClr>
                <a:schemeClr val="tx1"/>
              </a:buClr>
            </a:pPr>
            <a:r>
              <a:rPr lang="en-US" sz="1100">
                <a:solidFill>
                  <a:schemeClr val="bg1">
                    <a:lumMod val="50000"/>
                  </a:schemeClr>
                </a:solidFill>
              </a:rPr>
              <a:t>AMF</a:t>
            </a:r>
            <a:br>
              <a:rPr lang="en-US" sz="1050">
                <a:solidFill>
                  <a:schemeClr val="bg1">
                    <a:lumMod val="50000"/>
                  </a:schemeClr>
                </a:solidFill>
              </a:rPr>
            </a:br>
            <a:endParaRPr lang="en-US" sz="1050">
              <a:solidFill>
                <a:schemeClr val="bg1">
                  <a:lumMod val="50000"/>
                </a:schemeClr>
              </a:solidFill>
            </a:endParaRPr>
          </a:p>
        </p:txBody>
      </p:sp>
      <p:sp>
        <p:nvSpPr>
          <p:cNvPr id="77" name="Freeform: Shape 76">
            <a:extLst>
              <a:ext uri="{FF2B5EF4-FFF2-40B4-BE49-F238E27FC236}">
                <a16:creationId xmlns:a16="http://schemas.microsoft.com/office/drawing/2014/main" id="{4D7DE2F2-B9EB-43C0-A0C8-7D8247093C19}"/>
              </a:ext>
            </a:extLst>
          </p:cNvPr>
          <p:cNvSpPr/>
          <p:nvPr/>
        </p:nvSpPr>
        <p:spPr bwMode="auto">
          <a:xfrm>
            <a:off x="9216182" y="4634993"/>
            <a:ext cx="257207" cy="221484"/>
          </a:xfrm>
          <a:custGeom>
            <a:avLst/>
            <a:gdLst>
              <a:gd name="connsiteX0" fmla="*/ 0 w 335902"/>
              <a:gd name="connsiteY0" fmla="*/ 0 h 289249"/>
              <a:gd name="connsiteX1" fmla="*/ 102637 w 335902"/>
              <a:gd name="connsiteY1" fmla="*/ 0 h 289249"/>
              <a:gd name="connsiteX2" fmla="*/ 102637 w 335902"/>
              <a:gd name="connsiteY2" fmla="*/ 289249 h 289249"/>
              <a:gd name="connsiteX3" fmla="*/ 186613 w 335902"/>
              <a:gd name="connsiteY3" fmla="*/ 270587 h 289249"/>
              <a:gd name="connsiteX4" fmla="*/ 335902 w 335902"/>
              <a:gd name="connsiteY4" fmla="*/ 261257 h 289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02" h="289249">
                <a:moveTo>
                  <a:pt x="0" y="0"/>
                </a:moveTo>
                <a:lnTo>
                  <a:pt x="102637" y="0"/>
                </a:lnTo>
                <a:lnTo>
                  <a:pt x="102637" y="289249"/>
                </a:lnTo>
                <a:cubicBezTo>
                  <a:pt x="130629" y="283028"/>
                  <a:pt x="158160" y="274144"/>
                  <a:pt x="186613" y="270587"/>
                </a:cubicBezTo>
                <a:cubicBezTo>
                  <a:pt x="262908" y="261050"/>
                  <a:pt x="284256" y="261257"/>
                  <a:pt x="335902" y="261257"/>
                </a:cubicBezTo>
              </a:path>
            </a:pathLst>
          </a:custGeom>
          <a:noFill/>
          <a:ln w="3175" cap="flat" cmpd="sng" algn="ctr">
            <a:noFill/>
            <a:prstDash val="solid"/>
            <a:round/>
            <a:headEnd type="none" w="med" len="med"/>
            <a:tailEnd type="none" w="med" len="med"/>
          </a:ln>
          <a:effectLst/>
        </p:spPr>
        <p:txBody>
          <a:bodyPr rtlCol="0" anchor="ctr"/>
          <a:lstStyle/>
          <a:p>
            <a:pPr algn="ctr"/>
            <a:endParaRPr lang="en-US" sz="1600"/>
          </a:p>
        </p:txBody>
      </p:sp>
      <p:sp>
        <p:nvSpPr>
          <p:cNvPr id="78" name="Freeform: Shape 77">
            <a:extLst>
              <a:ext uri="{FF2B5EF4-FFF2-40B4-BE49-F238E27FC236}">
                <a16:creationId xmlns:a16="http://schemas.microsoft.com/office/drawing/2014/main" id="{42BF11AB-93C6-4524-98D9-85D6423E3217}"/>
              </a:ext>
            </a:extLst>
          </p:cNvPr>
          <p:cNvSpPr/>
          <p:nvPr/>
        </p:nvSpPr>
        <p:spPr bwMode="auto">
          <a:xfrm>
            <a:off x="9101475" y="4366661"/>
            <a:ext cx="511155" cy="1227863"/>
          </a:xfrm>
          <a:custGeom>
            <a:avLst/>
            <a:gdLst>
              <a:gd name="connsiteX0" fmla="*/ 382555 w 382555"/>
              <a:gd name="connsiteY0" fmla="*/ 335902 h 335902"/>
              <a:gd name="connsiteX1" fmla="*/ 177281 w 382555"/>
              <a:gd name="connsiteY1" fmla="*/ 335902 h 335902"/>
              <a:gd name="connsiteX2" fmla="*/ 177281 w 382555"/>
              <a:gd name="connsiteY2" fmla="*/ 0 h 335902"/>
              <a:gd name="connsiteX3" fmla="*/ 0 w 382555"/>
              <a:gd name="connsiteY3" fmla="*/ 0 h 335902"/>
              <a:gd name="connsiteX4" fmla="*/ 65314 w 382555"/>
              <a:gd name="connsiteY4" fmla="*/ 0 h 33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555" h="335902">
                <a:moveTo>
                  <a:pt x="382555" y="335902"/>
                </a:moveTo>
                <a:lnTo>
                  <a:pt x="177281" y="335902"/>
                </a:lnTo>
                <a:lnTo>
                  <a:pt x="177281" y="0"/>
                </a:lnTo>
                <a:lnTo>
                  <a:pt x="0" y="0"/>
                </a:lnTo>
                <a:lnTo>
                  <a:pt x="65314" y="0"/>
                </a:lnTo>
              </a:path>
            </a:pathLst>
          </a:custGeom>
          <a:noFill/>
          <a:ln w="12700" cap="flat" cmpd="sng" algn="ctr">
            <a:solidFill>
              <a:schemeClr val="bg1">
                <a:lumMod val="50000"/>
              </a:schemeClr>
            </a:solidFill>
            <a:prstDash val="solid"/>
            <a:round/>
            <a:headEnd type="none" w="med" len="med"/>
            <a:tailEnd type="none" w="med" len="med"/>
          </a:ln>
          <a:effectLst/>
        </p:spPr>
        <p:txBody>
          <a:bodyPr rtlCol="0" anchor="ctr"/>
          <a:lstStyle/>
          <a:p>
            <a:pPr algn="ctr"/>
            <a:endParaRPr lang="en-US" sz="1600"/>
          </a:p>
        </p:txBody>
      </p:sp>
      <p:sp>
        <p:nvSpPr>
          <p:cNvPr id="79" name="TextBox 78">
            <a:extLst>
              <a:ext uri="{FF2B5EF4-FFF2-40B4-BE49-F238E27FC236}">
                <a16:creationId xmlns:a16="http://schemas.microsoft.com/office/drawing/2014/main" id="{BC98EC7F-9A47-40DB-B61E-E17D56D3B798}"/>
              </a:ext>
            </a:extLst>
          </p:cNvPr>
          <p:cNvSpPr txBox="1"/>
          <p:nvPr/>
        </p:nvSpPr>
        <p:spPr bwMode="auto">
          <a:xfrm>
            <a:off x="9601176" y="5503158"/>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r>
              <a:rPr lang="en-US" sz="1100">
                <a:solidFill>
                  <a:schemeClr val="bg1">
                    <a:lumMod val="50000"/>
                  </a:schemeClr>
                </a:solidFill>
              </a:rPr>
              <a:t>UPF</a:t>
            </a:r>
            <a:endParaRPr lang="en-US" sz="1050">
              <a:solidFill>
                <a:schemeClr val="bg1">
                  <a:lumMod val="50000"/>
                </a:schemeClr>
              </a:solidFill>
            </a:endParaRPr>
          </a:p>
        </p:txBody>
      </p:sp>
      <p:sp>
        <p:nvSpPr>
          <p:cNvPr id="80" name="TextBox 79">
            <a:extLst>
              <a:ext uri="{FF2B5EF4-FFF2-40B4-BE49-F238E27FC236}">
                <a16:creationId xmlns:a16="http://schemas.microsoft.com/office/drawing/2014/main" id="{C7AB51C1-E456-4D6A-B9EF-5A45D8714CF7}"/>
              </a:ext>
            </a:extLst>
          </p:cNvPr>
          <p:cNvSpPr txBox="1"/>
          <p:nvPr/>
        </p:nvSpPr>
        <p:spPr bwMode="auto">
          <a:xfrm>
            <a:off x="7568921" y="4272874"/>
            <a:ext cx="274595" cy="179423"/>
          </a:xfrm>
          <a:prstGeom prst="rect">
            <a:avLst/>
          </a:prstGeom>
          <a:solidFill>
            <a:schemeClr val="accent2"/>
          </a:solidFill>
          <a:ln w="19050">
            <a:solidFill>
              <a:schemeClr val="accent2"/>
            </a:solidFill>
            <a:prstDash val="solid"/>
            <a:miter lim="800000"/>
            <a:headEnd/>
            <a:tailEnd/>
          </a:ln>
        </p:spPr>
        <p:txBody>
          <a:bodyPr vert="horz" wrap="square" lIns="0" tIns="0" rIns="0" bIns="0" numCol="1" rtlCol="0" anchor="ctr" anchorCtr="0" compatLnSpc="1">
            <a:prstTxWarp prst="textNoShape">
              <a:avLst/>
            </a:prstTxWarp>
            <a:noAutofit/>
          </a:bodyPr>
          <a:lstStyle/>
          <a:p>
            <a:pPr algn="ctr">
              <a:spcBef>
                <a:spcPts val="0"/>
              </a:spcBef>
              <a:buClr>
                <a:schemeClr val="tx1"/>
              </a:buClr>
            </a:pPr>
            <a:r>
              <a:rPr lang="en-US" sz="700">
                <a:solidFill>
                  <a:schemeClr val="bg1"/>
                </a:solidFill>
              </a:rPr>
              <a:t>LTE</a:t>
            </a:r>
          </a:p>
        </p:txBody>
      </p:sp>
      <p:cxnSp>
        <p:nvCxnSpPr>
          <p:cNvPr id="84" name="Straight Connector 83">
            <a:extLst>
              <a:ext uri="{FF2B5EF4-FFF2-40B4-BE49-F238E27FC236}">
                <a16:creationId xmlns:a16="http://schemas.microsoft.com/office/drawing/2014/main" id="{2D65DA61-ABF7-485B-BA69-8EA3810ECD33}"/>
              </a:ext>
            </a:extLst>
          </p:cNvPr>
          <p:cNvCxnSpPr>
            <a:cxnSpLocks/>
          </p:cNvCxnSpPr>
          <p:nvPr/>
        </p:nvCxnSpPr>
        <p:spPr bwMode="auto">
          <a:xfrm>
            <a:off x="8285111" y="5671308"/>
            <a:ext cx="388875" cy="0"/>
          </a:xfrm>
          <a:prstGeom prst="line">
            <a:avLst/>
          </a:prstGeom>
          <a:noFill/>
          <a:ln w="3175" cap="flat" cmpd="sng" algn="ctr">
            <a:solidFill>
              <a:schemeClr val="tx1"/>
            </a:solidFill>
            <a:prstDash val="dash"/>
            <a:round/>
            <a:headEnd type="none" w="med" len="med"/>
            <a:tailEnd type="none" w="med" len="med"/>
          </a:ln>
          <a:effectLst/>
        </p:spPr>
      </p:cxnSp>
      <p:cxnSp>
        <p:nvCxnSpPr>
          <p:cNvPr id="86" name="Straight Connector 85">
            <a:extLst>
              <a:ext uri="{FF2B5EF4-FFF2-40B4-BE49-F238E27FC236}">
                <a16:creationId xmlns:a16="http://schemas.microsoft.com/office/drawing/2014/main" id="{81E2C0D8-6B80-4B2A-AE6D-FF802E5C4955}"/>
              </a:ext>
            </a:extLst>
          </p:cNvPr>
          <p:cNvCxnSpPr>
            <a:cxnSpLocks/>
            <a:stCxn id="79" idx="3"/>
            <a:endCxn id="72" idx="1"/>
          </p:cNvCxnSpPr>
          <p:nvPr/>
        </p:nvCxnSpPr>
        <p:spPr bwMode="auto">
          <a:xfrm>
            <a:off x="10023424" y="5845521"/>
            <a:ext cx="571192"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42470552-3D06-41F2-A786-4B268E94D84C}"/>
              </a:ext>
            </a:extLst>
          </p:cNvPr>
          <p:cNvCxnSpPr>
            <a:cxnSpLocks/>
            <a:stCxn id="71" idx="3"/>
            <a:endCxn id="73" idx="1"/>
          </p:cNvCxnSpPr>
          <p:nvPr/>
        </p:nvCxnSpPr>
        <p:spPr bwMode="auto">
          <a:xfrm flipV="1">
            <a:off x="8271005" y="4362587"/>
            <a:ext cx="402981" cy="4074"/>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0C8F0C30-A223-4B72-AACD-D4A3168280F3}"/>
              </a:ext>
            </a:extLst>
          </p:cNvPr>
          <p:cNvCxnSpPr>
            <a:cxnSpLocks/>
          </p:cNvCxnSpPr>
          <p:nvPr/>
        </p:nvCxnSpPr>
        <p:spPr bwMode="auto">
          <a:xfrm>
            <a:off x="11164551" y="5778238"/>
            <a:ext cx="0" cy="11871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90" name="Text Box 1179">
            <a:extLst>
              <a:ext uri="{FF2B5EF4-FFF2-40B4-BE49-F238E27FC236}">
                <a16:creationId xmlns:a16="http://schemas.microsoft.com/office/drawing/2014/main" id="{CC3846F7-AA52-4A35-9894-2AEF86257C5D}"/>
              </a:ext>
            </a:extLst>
          </p:cNvPr>
          <p:cNvSpPr txBox="1">
            <a:spLocks noChangeArrowheads="1"/>
          </p:cNvSpPr>
          <p:nvPr/>
        </p:nvSpPr>
        <p:spPr bwMode="auto">
          <a:xfrm>
            <a:off x="11076376" y="5658050"/>
            <a:ext cx="17953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800">
                <a:latin typeface="+mn-lt"/>
              </a:rPr>
              <a:t>NNI</a:t>
            </a:r>
          </a:p>
        </p:txBody>
      </p:sp>
      <p:cxnSp>
        <p:nvCxnSpPr>
          <p:cNvPr id="91" name="Straight Connector 90">
            <a:extLst>
              <a:ext uri="{FF2B5EF4-FFF2-40B4-BE49-F238E27FC236}">
                <a16:creationId xmlns:a16="http://schemas.microsoft.com/office/drawing/2014/main" id="{59E7ADF9-653F-4D6F-82FD-9A881AE01879}"/>
              </a:ext>
            </a:extLst>
          </p:cNvPr>
          <p:cNvCxnSpPr>
            <a:cxnSpLocks/>
          </p:cNvCxnSpPr>
          <p:nvPr/>
        </p:nvCxnSpPr>
        <p:spPr bwMode="auto">
          <a:xfrm>
            <a:off x="11028247" y="5846970"/>
            <a:ext cx="187535"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sp>
        <p:nvSpPr>
          <p:cNvPr id="92" name="Freeform: Shape 91">
            <a:extLst>
              <a:ext uri="{FF2B5EF4-FFF2-40B4-BE49-F238E27FC236}">
                <a16:creationId xmlns:a16="http://schemas.microsoft.com/office/drawing/2014/main" id="{343F8E4C-ED56-4E17-B29E-80DE0110D8EA}"/>
              </a:ext>
            </a:extLst>
          </p:cNvPr>
          <p:cNvSpPr/>
          <p:nvPr/>
        </p:nvSpPr>
        <p:spPr bwMode="auto">
          <a:xfrm>
            <a:off x="7157318" y="5236420"/>
            <a:ext cx="2881347" cy="749940"/>
          </a:xfrm>
          <a:custGeom>
            <a:avLst/>
            <a:gdLst>
              <a:gd name="connsiteX0" fmla="*/ 0 w 2881347"/>
              <a:gd name="connsiteY0" fmla="*/ 0 h 749940"/>
              <a:gd name="connsiteX1" fmla="*/ 690734 w 2881347"/>
              <a:gd name="connsiteY1" fmla="*/ 749940 h 749940"/>
              <a:gd name="connsiteX2" fmla="*/ 2447171 w 2881347"/>
              <a:gd name="connsiteY2" fmla="*/ 749940 h 749940"/>
              <a:gd name="connsiteX3" fmla="*/ 2881347 w 2881347"/>
              <a:gd name="connsiteY3" fmla="*/ 605215 h 749940"/>
              <a:gd name="connsiteX4" fmla="*/ 2881347 w 2881347"/>
              <a:gd name="connsiteY4" fmla="*/ 605215 h 749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347" h="749940">
                <a:moveTo>
                  <a:pt x="0" y="0"/>
                </a:moveTo>
                <a:lnTo>
                  <a:pt x="690734" y="749940"/>
                </a:lnTo>
                <a:lnTo>
                  <a:pt x="2447171" y="749940"/>
                </a:lnTo>
                <a:lnTo>
                  <a:pt x="2881347" y="605215"/>
                </a:lnTo>
                <a:lnTo>
                  <a:pt x="2881347" y="605215"/>
                </a:lnTo>
              </a:path>
            </a:pathLst>
          </a:custGeom>
          <a:noFill/>
          <a:ln w="28575" cap="flat" cmpd="sng" algn="ctr">
            <a:solidFill>
              <a:schemeClr val="accent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cxnSp>
        <p:nvCxnSpPr>
          <p:cNvPr id="93" name="Straight Connector 92">
            <a:extLst>
              <a:ext uri="{FF2B5EF4-FFF2-40B4-BE49-F238E27FC236}">
                <a16:creationId xmlns:a16="http://schemas.microsoft.com/office/drawing/2014/main" id="{FF4930BB-7DAB-4162-86DB-76654CC4E2E1}"/>
              </a:ext>
            </a:extLst>
          </p:cNvPr>
          <p:cNvCxnSpPr>
            <a:endCxn id="92" idx="3"/>
          </p:cNvCxnSpPr>
          <p:nvPr/>
        </p:nvCxnSpPr>
        <p:spPr bwMode="auto">
          <a:xfrm flipH="1" flipV="1">
            <a:off x="10038665" y="5841635"/>
            <a:ext cx="1217247" cy="5335"/>
          </a:xfrm>
          <a:prstGeom prst="line">
            <a:avLst/>
          </a:prstGeom>
          <a:noFill/>
          <a:ln w="28575" cap="flat" cmpd="sng" algn="ctr">
            <a:solidFill>
              <a:schemeClr val="accent3"/>
            </a:solidFill>
            <a:prstDash val="solid"/>
            <a:round/>
            <a:headEnd type="none" w="med" len="med"/>
            <a:tailEnd type="none" w="med" len="med"/>
          </a:ln>
          <a:effectLst/>
        </p:spPr>
      </p:cxnSp>
      <p:sp>
        <p:nvSpPr>
          <p:cNvPr id="94" name="Freeform: Shape 93">
            <a:extLst>
              <a:ext uri="{FF2B5EF4-FFF2-40B4-BE49-F238E27FC236}">
                <a16:creationId xmlns:a16="http://schemas.microsoft.com/office/drawing/2014/main" id="{4598594F-CE94-4715-8392-93478AC11B9A}"/>
              </a:ext>
            </a:extLst>
          </p:cNvPr>
          <p:cNvSpPr/>
          <p:nvPr/>
        </p:nvSpPr>
        <p:spPr bwMode="auto">
          <a:xfrm>
            <a:off x="7150740" y="4368069"/>
            <a:ext cx="2901082" cy="1480144"/>
          </a:xfrm>
          <a:custGeom>
            <a:avLst/>
            <a:gdLst>
              <a:gd name="connsiteX0" fmla="*/ 0 w 2901082"/>
              <a:gd name="connsiteY0" fmla="*/ 710469 h 1480144"/>
              <a:gd name="connsiteX1" fmla="*/ 703890 w 2901082"/>
              <a:gd name="connsiteY1" fmla="*/ 0 h 1480144"/>
              <a:gd name="connsiteX2" fmla="*/ 2184034 w 2901082"/>
              <a:gd name="connsiteY2" fmla="*/ 0 h 1480144"/>
              <a:gd name="connsiteX3" fmla="*/ 2184034 w 2901082"/>
              <a:gd name="connsiteY3" fmla="*/ 1217007 h 1480144"/>
              <a:gd name="connsiteX4" fmla="*/ 2434014 w 2901082"/>
              <a:gd name="connsiteY4" fmla="*/ 1217007 h 1480144"/>
              <a:gd name="connsiteX5" fmla="*/ 2901082 w 2901082"/>
              <a:gd name="connsiteY5" fmla="*/ 1480144 h 148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082" h="1480144">
                <a:moveTo>
                  <a:pt x="0" y="710469"/>
                </a:moveTo>
                <a:lnTo>
                  <a:pt x="703890" y="0"/>
                </a:lnTo>
                <a:lnTo>
                  <a:pt x="2184034" y="0"/>
                </a:lnTo>
                <a:lnTo>
                  <a:pt x="2184034" y="1217007"/>
                </a:lnTo>
                <a:lnTo>
                  <a:pt x="2434014" y="1217007"/>
                </a:lnTo>
                <a:lnTo>
                  <a:pt x="2901082" y="1480144"/>
                </a:lnTo>
              </a:path>
            </a:pathLst>
          </a:custGeom>
          <a:noFill/>
          <a:ln w="28575" cap="flat" cmpd="sng" algn="ctr">
            <a:solidFill>
              <a:schemeClr val="accent6"/>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95" name="Oval 94">
            <a:extLst>
              <a:ext uri="{FF2B5EF4-FFF2-40B4-BE49-F238E27FC236}">
                <a16:creationId xmlns:a16="http://schemas.microsoft.com/office/drawing/2014/main" id="{926CA665-FC18-4BF2-8E49-7170953DCD5B}"/>
              </a:ext>
            </a:extLst>
          </p:cNvPr>
          <p:cNvSpPr/>
          <p:nvPr/>
        </p:nvSpPr>
        <p:spPr bwMode="auto">
          <a:xfrm>
            <a:off x="7953599" y="5895989"/>
            <a:ext cx="187203" cy="187203"/>
          </a:xfrm>
          <a:prstGeom prst="ellipse">
            <a:avLst/>
          </a:prstGeom>
          <a:solidFill>
            <a:schemeClr val="accent4"/>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T</a:t>
            </a:r>
          </a:p>
        </p:txBody>
      </p:sp>
      <p:sp>
        <p:nvSpPr>
          <p:cNvPr id="96" name="Oval 223">
            <a:extLst>
              <a:ext uri="{FF2B5EF4-FFF2-40B4-BE49-F238E27FC236}">
                <a16:creationId xmlns:a16="http://schemas.microsoft.com/office/drawing/2014/main" id="{904A7B69-485C-462B-A420-B661D9C05EC1}"/>
              </a:ext>
            </a:extLst>
          </p:cNvPr>
          <p:cNvSpPr>
            <a:spLocks noChangeArrowheads="1"/>
          </p:cNvSpPr>
          <p:nvPr/>
        </p:nvSpPr>
        <p:spPr bwMode="auto">
          <a:xfrm rot="7475467">
            <a:off x="9900766" y="5740699"/>
            <a:ext cx="215900" cy="215900"/>
          </a:xfrm>
          <a:prstGeom prst="ellipse">
            <a:avLst/>
          </a:prstGeom>
          <a:solidFill>
            <a:schemeClr val="accent4"/>
          </a:solidFill>
          <a:ln w="12700" algn="ctr">
            <a:noFill/>
            <a:round/>
            <a:headEnd/>
            <a:tailEnd/>
          </a:ln>
          <a:effectLst/>
        </p:spPr>
        <p:txBody>
          <a:bodyPr wrap="none" lIns="0" rIns="0" anchor="ctr"/>
          <a:lstStyle/>
          <a:p>
            <a:pPr algn="ctr"/>
            <a:r>
              <a:rPr lang="en-US" altLang="sv-SE" sz="1200" b="1">
                <a:solidFill>
                  <a:srgbClr val="002060"/>
                </a:solidFill>
                <a:latin typeface="Wingdings" panose="05000000000000000000" pitchFamily="2" charset="2"/>
              </a:rPr>
              <a:t>f</a:t>
            </a:r>
            <a:endParaRPr lang="en-US" altLang="sv-SE" sz="1200" b="1">
              <a:solidFill>
                <a:srgbClr val="002060"/>
              </a:solidFill>
            </a:endParaRPr>
          </a:p>
        </p:txBody>
      </p:sp>
      <p:sp>
        <p:nvSpPr>
          <p:cNvPr id="97" name="Arc 96">
            <a:extLst>
              <a:ext uri="{FF2B5EF4-FFF2-40B4-BE49-F238E27FC236}">
                <a16:creationId xmlns:a16="http://schemas.microsoft.com/office/drawing/2014/main" id="{6A37FE7D-6393-498F-9E09-17B087431B57}"/>
              </a:ext>
            </a:extLst>
          </p:cNvPr>
          <p:cNvSpPr/>
          <p:nvPr/>
        </p:nvSpPr>
        <p:spPr bwMode="auto">
          <a:xfrm>
            <a:off x="7392667" y="4858093"/>
            <a:ext cx="140677" cy="645835"/>
          </a:xfrm>
          <a:prstGeom prst="arc">
            <a:avLst>
              <a:gd name="adj1" fmla="val 16200000"/>
              <a:gd name="adj2" fmla="val 5295732"/>
            </a:avLst>
          </a:prstGeom>
          <a:noFill/>
          <a:ln w="6350" cap="flat" cmpd="sng" algn="ctr">
            <a:solidFill>
              <a:schemeClr val="accent5"/>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00" name="Text Box 1179">
            <a:extLst>
              <a:ext uri="{FF2B5EF4-FFF2-40B4-BE49-F238E27FC236}">
                <a16:creationId xmlns:a16="http://schemas.microsoft.com/office/drawing/2014/main" id="{23E5FC9F-DC42-428A-BA0D-D5AACFD9D215}"/>
              </a:ext>
            </a:extLst>
          </p:cNvPr>
          <p:cNvSpPr txBox="1">
            <a:spLocks noChangeArrowheads="1"/>
          </p:cNvSpPr>
          <p:nvPr/>
        </p:nvSpPr>
        <p:spPr bwMode="auto">
          <a:xfrm>
            <a:off x="7599266" y="4927897"/>
            <a:ext cx="46487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1000">
                <a:solidFill>
                  <a:schemeClr val="accent5">
                    <a:lumMod val="75000"/>
                  </a:schemeClr>
                </a:solidFill>
                <a:latin typeface="+mn-lt"/>
              </a:rPr>
              <a:t>EPS</a:t>
            </a:r>
            <a:br>
              <a:rPr lang="en-US" sz="1000">
                <a:solidFill>
                  <a:schemeClr val="accent5">
                    <a:lumMod val="75000"/>
                  </a:schemeClr>
                </a:solidFill>
                <a:latin typeface="+mn-lt"/>
              </a:rPr>
            </a:br>
            <a:r>
              <a:rPr lang="en-US" sz="1000">
                <a:solidFill>
                  <a:schemeClr val="accent5">
                    <a:lumMod val="75000"/>
                  </a:schemeClr>
                </a:solidFill>
                <a:latin typeface="+mn-lt"/>
              </a:rPr>
              <a:t>Fallback</a:t>
            </a:r>
          </a:p>
        </p:txBody>
      </p:sp>
      <p:sp>
        <p:nvSpPr>
          <p:cNvPr id="50" name="TextBox 49">
            <a:extLst>
              <a:ext uri="{FF2B5EF4-FFF2-40B4-BE49-F238E27FC236}">
                <a16:creationId xmlns:a16="http://schemas.microsoft.com/office/drawing/2014/main" id="{97F164F3-23C7-4133-B835-AFC579393E06}"/>
              </a:ext>
            </a:extLst>
          </p:cNvPr>
          <p:cNvSpPr txBox="1"/>
          <p:nvPr/>
        </p:nvSpPr>
        <p:spPr bwMode="auto">
          <a:xfrm>
            <a:off x="9601176" y="4534135"/>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endParaRPr lang="en-US" sz="1200">
              <a:solidFill>
                <a:schemeClr val="bg1">
                  <a:lumMod val="50000"/>
                </a:schemeClr>
              </a:solidFill>
              <a:latin typeface="Ericsson Technical Icons" panose="00000500000000000000" pitchFamily="2" charset="0"/>
            </a:endParaRPr>
          </a:p>
          <a:p>
            <a:pPr algn="ctr">
              <a:lnSpc>
                <a:spcPct val="90000"/>
              </a:lnSpc>
              <a:spcBef>
                <a:spcPts val="0"/>
              </a:spcBef>
              <a:buClr>
                <a:schemeClr val="tx1"/>
              </a:buClr>
            </a:pPr>
            <a:r>
              <a:rPr lang="en-US" sz="1050">
                <a:solidFill>
                  <a:schemeClr val="bg1">
                    <a:lumMod val="50000"/>
                  </a:schemeClr>
                </a:solidFill>
              </a:rPr>
              <a:t>SMF</a:t>
            </a:r>
            <a:br>
              <a:rPr lang="en-US" sz="1050">
                <a:solidFill>
                  <a:schemeClr val="bg1">
                    <a:lumMod val="50000"/>
                  </a:schemeClr>
                </a:solidFill>
              </a:rPr>
            </a:br>
            <a:endParaRPr lang="en-US" sz="1050">
              <a:solidFill>
                <a:schemeClr val="bg1">
                  <a:lumMod val="50000"/>
                </a:schemeClr>
              </a:solidFill>
            </a:endParaRPr>
          </a:p>
        </p:txBody>
      </p:sp>
      <p:cxnSp>
        <p:nvCxnSpPr>
          <p:cNvPr id="53" name="Straight Connector 52">
            <a:extLst>
              <a:ext uri="{FF2B5EF4-FFF2-40B4-BE49-F238E27FC236}">
                <a16:creationId xmlns:a16="http://schemas.microsoft.com/office/drawing/2014/main" id="{0B8EB3F9-6C75-4F22-9DB1-56367A484856}"/>
              </a:ext>
            </a:extLst>
          </p:cNvPr>
          <p:cNvCxnSpPr>
            <a:cxnSpLocks/>
            <a:stCxn id="50" idx="2"/>
            <a:endCxn id="79" idx="0"/>
          </p:cNvCxnSpPr>
          <p:nvPr/>
        </p:nvCxnSpPr>
        <p:spPr bwMode="auto">
          <a:xfrm>
            <a:off x="9812300" y="5218860"/>
            <a:ext cx="0" cy="284298"/>
          </a:xfrm>
          <a:prstGeom prst="line">
            <a:avLst/>
          </a:prstGeom>
          <a:noFill/>
          <a:ln w="3175" cap="flat" cmpd="sng" algn="ctr">
            <a:solidFill>
              <a:schemeClr val="tx1"/>
            </a:solidFill>
            <a:prstDash val="dash"/>
            <a:round/>
            <a:headEnd type="none" w="med" len="med"/>
            <a:tailEnd type="none" w="med" len="med"/>
          </a:ln>
          <a:effectLst/>
        </p:spPr>
      </p:cxnSp>
      <p:cxnSp>
        <p:nvCxnSpPr>
          <p:cNvPr id="56" name="Straight Connector 55">
            <a:extLst>
              <a:ext uri="{FF2B5EF4-FFF2-40B4-BE49-F238E27FC236}">
                <a16:creationId xmlns:a16="http://schemas.microsoft.com/office/drawing/2014/main" id="{ED34C611-22AA-42D3-873B-C4290CAD99A0}"/>
              </a:ext>
            </a:extLst>
          </p:cNvPr>
          <p:cNvCxnSpPr>
            <a:cxnSpLocks/>
            <a:stCxn id="50" idx="1"/>
            <a:endCxn id="76" idx="3"/>
          </p:cNvCxnSpPr>
          <p:nvPr/>
        </p:nvCxnSpPr>
        <p:spPr bwMode="auto">
          <a:xfrm rot="10800000" flipV="1">
            <a:off x="9092920" y="4876498"/>
            <a:ext cx="508257" cy="573136"/>
          </a:xfrm>
          <a:prstGeom prst="bentConnector3">
            <a:avLst>
              <a:gd name="adj1" fmla="val 26441"/>
            </a:avLst>
          </a:prstGeom>
          <a:noFill/>
          <a:ln w="3175" cap="flat" cmpd="sng" algn="ctr">
            <a:solidFill>
              <a:schemeClr val="tx1"/>
            </a:solidFill>
            <a:prstDash val="dash"/>
            <a:round/>
            <a:headEnd type="none" w="med" len="med"/>
            <a:tailEnd type="none" w="med" len="med"/>
          </a:ln>
          <a:effectLst/>
        </p:spPr>
      </p:cxnSp>
      <p:cxnSp>
        <p:nvCxnSpPr>
          <p:cNvPr id="59" name="Straight Connector 58">
            <a:extLst>
              <a:ext uri="{FF2B5EF4-FFF2-40B4-BE49-F238E27FC236}">
                <a16:creationId xmlns:a16="http://schemas.microsoft.com/office/drawing/2014/main" id="{2023C318-BD17-4480-892F-0F1425602218}"/>
              </a:ext>
            </a:extLst>
          </p:cNvPr>
          <p:cNvCxnSpPr>
            <a:cxnSpLocks/>
          </p:cNvCxnSpPr>
          <p:nvPr/>
        </p:nvCxnSpPr>
        <p:spPr bwMode="auto">
          <a:xfrm rot="10800000">
            <a:off x="9101476" y="4235788"/>
            <a:ext cx="511155" cy="399209"/>
          </a:xfrm>
          <a:prstGeom prst="bentConnector3">
            <a:avLst>
              <a:gd name="adj1" fmla="val 28704"/>
            </a:avLst>
          </a:prstGeom>
          <a:noFill/>
          <a:ln w="3175" cap="flat" cmpd="sng" algn="ctr">
            <a:solidFill>
              <a:schemeClr val="tx1"/>
            </a:solidFill>
            <a:prstDash val="dash"/>
            <a:round/>
            <a:headEnd type="none" w="med" len="med"/>
            <a:tailEnd type="none" w="med" len="med"/>
          </a:ln>
          <a:effectLst/>
        </p:spPr>
      </p:cxnSp>
      <p:sp>
        <p:nvSpPr>
          <p:cNvPr id="46" name="object 8">
            <a:extLst>
              <a:ext uri="{FF2B5EF4-FFF2-40B4-BE49-F238E27FC236}">
                <a16:creationId xmlns:a16="http://schemas.microsoft.com/office/drawing/2014/main" id="{C4647A69-E3CA-4ADD-8F82-364346957FD3}"/>
              </a:ext>
            </a:extLst>
          </p:cNvPr>
          <p:cNvSpPr/>
          <p:nvPr/>
        </p:nvSpPr>
        <p:spPr>
          <a:xfrm>
            <a:off x="9106207" y="2505196"/>
            <a:ext cx="50165" cy="635"/>
          </a:xfrm>
          <a:custGeom>
            <a:avLst/>
            <a:gdLst/>
            <a:ahLst/>
            <a:cxnLst/>
            <a:rect l="l" t="t" r="r" b="b"/>
            <a:pathLst>
              <a:path w="50164" h="635">
                <a:moveTo>
                  <a:pt x="50164" y="12"/>
                </a:moveTo>
                <a:lnTo>
                  <a:pt x="41821" y="12"/>
                </a:lnTo>
                <a:lnTo>
                  <a:pt x="33451" y="0"/>
                </a:lnTo>
                <a:lnTo>
                  <a:pt x="25082" y="0"/>
                </a:lnTo>
                <a:lnTo>
                  <a:pt x="16713" y="0"/>
                </a:lnTo>
                <a:lnTo>
                  <a:pt x="8343" y="12"/>
                </a:lnTo>
                <a:lnTo>
                  <a:pt x="0" y="12"/>
                </a:lnTo>
              </a:path>
            </a:pathLst>
          </a:custGeom>
          <a:ln w="12700">
            <a:solidFill>
              <a:srgbClr val="231F20"/>
            </a:solidFill>
          </a:ln>
        </p:spPr>
        <p:txBody>
          <a:bodyPr wrap="square" lIns="0" tIns="0" rIns="0" bIns="0" rtlCol="0"/>
          <a:lstStyle/>
          <a:p>
            <a:endParaRPr/>
          </a:p>
        </p:txBody>
      </p:sp>
      <p:sp>
        <p:nvSpPr>
          <p:cNvPr id="47" name="Oval 46">
            <a:extLst>
              <a:ext uri="{FF2B5EF4-FFF2-40B4-BE49-F238E27FC236}">
                <a16:creationId xmlns:a16="http://schemas.microsoft.com/office/drawing/2014/main" id="{4770F500-C8C8-4086-B555-8BB09AF840A0}"/>
              </a:ext>
            </a:extLst>
          </p:cNvPr>
          <p:cNvSpPr/>
          <p:nvPr/>
        </p:nvSpPr>
        <p:spPr bwMode="auto">
          <a:xfrm>
            <a:off x="6593925" y="2336829"/>
            <a:ext cx="4280135" cy="269099"/>
          </a:xfrm>
          <a:prstGeom prst="ellipse">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1" forceAA="0" compatLnSpc="1">
            <a:prstTxWarp prst="textNoShape">
              <a:avLst/>
            </a:prstTxWarp>
            <a:noAutofit/>
          </a:bodyPr>
          <a:lstStyle/>
          <a:p>
            <a:pPr algn="ctr" fontAlgn="base">
              <a:spcBef>
                <a:spcPts val="300"/>
              </a:spcBef>
              <a:spcAft>
                <a:spcPct val="0"/>
              </a:spcAft>
            </a:pPr>
            <a:r>
              <a:rPr lang="en-IN" sz="1200">
                <a:solidFill>
                  <a:schemeClr val="bg1"/>
                </a:solidFill>
              </a:rPr>
              <a:t>LTE in 5G EPS (voice)</a:t>
            </a:r>
          </a:p>
        </p:txBody>
      </p:sp>
      <p:sp>
        <p:nvSpPr>
          <p:cNvPr id="48" name="Oval 47">
            <a:extLst>
              <a:ext uri="{FF2B5EF4-FFF2-40B4-BE49-F238E27FC236}">
                <a16:creationId xmlns:a16="http://schemas.microsoft.com/office/drawing/2014/main" id="{D2DEC9F3-419A-4467-B717-E1662B9E3AE1}"/>
              </a:ext>
            </a:extLst>
          </p:cNvPr>
          <p:cNvSpPr/>
          <p:nvPr/>
        </p:nvSpPr>
        <p:spPr bwMode="auto">
          <a:xfrm>
            <a:off x="7246155" y="2157444"/>
            <a:ext cx="2975675" cy="211027"/>
          </a:xfrm>
          <a:prstGeom prst="ellipse">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1" forceAA="0" compatLnSpc="1">
            <a:prstTxWarp prst="textNoShape">
              <a:avLst/>
            </a:prstTxWarp>
            <a:noAutofit/>
          </a:bodyPr>
          <a:lstStyle/>
          <a:p>
            <a:pPr fontAlgn="base">
              <a:spcBef>
                <a:spcPts val="300"/>
              </a:spcBef>
              <a:spcAft>
                <a:spcPct val="0"/>
              </a:spcAft>
            </a:pPr>
            <a:r>
              <a:rPr lang="en-US" sz="1200">
                <a:solidFill>
                  <a:schemeClr val="bg1"/>
                </a:solidFill>
              </a:rPr>
              <a:t>NR in 5GS</a:t>
            </a:r>
            <a:endParaRPr kumimoji="0" lang="en-US" sz="1200" b="0" i="0" u="none" strike="noStrike" cap="none" normalizeH="0" baseline="0">
              <a:ln>
                <a:noFill/>
              </a:ln>
              <a:solidFill>
                <a:schemeClr val="bg1"/>
              </a:solidFill>
              <a:effectLst/>
              <a:latin typeface="+mn-lt"/>
            </a:endParaRPr>
          </a:p>
        </p:txBody>
      </p:sp>
      <p:cxnSp>
        <p:nvCxnSpPr>
          <p:cNvPr id="52" name="Straight Arrow Connector 51">
            <a:extLst>
              <a:ext uri="{FF2B5EF4-FFF2-40B4-BE49-F238E27FC236}">
                <a16:creationId xmlns:a16="http://schemas.microsoft.com/office/drawing/2014/main" id="{50ED89FD-1D4E-43CB-A39B-0C962256F265}"/>
              </a:ext>
            </a:extLst>
          </p:cNvPr>
          <p:cNvCxnSpPr/>
          <p:nvPr/>
        </p:nvCxnSpPr>
        <p:spPr bwMode="auto">
          <a:xfrm>
            <a:off x="9629825" y="2262957"/>
            <a:ext cx="0" cy="249133"/>
          </a:xfrm>
          <a:prstGeom prst="straightConnector1">
            <a:avLst/>
          </a:prstGeom>
          <a:solidFill>
            <a:schemeClr val="accent1"/>
          </a:solidFill>
          <a:ln w="34925" cap="flat" cmpd="sng" algn="ctr">
            <a:solidFill>
              <a:schemeClr val="accent5"/>
            </a:solidFill>
            <a:prstDash val="solid"/>
            <a:round/>
            <a:headEnd type="none" w="med" len="med"/>
            <a:tailEnd type="triangle"/>
          </a:ln>
          <a:effectLst/>
        </p:spPr>
      </p:cxnSp>
    </p:spTree>
    <p:extLst>
      <p:ext uri="{BB962C8B-B14F-4D97-AF65-F5344CB8AC3E}">
        <p14:creationId xmlns:p14="http://schemas.microsoft.com/office/powerpoint/2010/main" val="42701397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EF8BDF-79B9-4800-9F68-5DAF69F91311}"/>
              </a:ext>
            </a:extLst>
          </p:cNvPr>
          <p:cNvSpPr>
            <a:spLocks noGrp="1"/>
          </p:cNvSpPr>
          <p:nvPr>
            <p:ph sz="quarter" idx="10"/>
          </p:nvPr>
        </p:nvSpPr>
        <p:spPr>
          <a:xfrm>
            <a:off x="479425" y="1844675"/>
            <a:ext cx="5472113" cy="4537073"/>
          </a:xfrm>
        </p:spPr>
        <p:txBody>
          <a:bodyPr>
            <a:normAutofit fontScale="92500" lnSpcReduction="20000"/>
          </a:bodyPr>
          <a:lstStyle/>
          <a:p>
            <a:r>
              <a:rPr lang="en-US" sz="1600"/>
              <a:t>Typical coverage scenario for VoLTE based on option 3 deployments:</a:t>
            </a:r>
            <a:endParaRPr lang="sv-SE" sz="1600"/>
          </a:p>
          <a:p>
            <a:pPr lvl="1"/>
            <a:r>
              <a:rPr lang="en-US" sz="1600"/>
              <a:t>NR coverage overlapping LTE coverage, non-standalone</a:t>
            </a:r>
          </a:p>
          <a:p>
            <a:pPr lvl="1"/>
            <a:r>
              <a:rPr lang="en-US" sz="1600"/>
              <a:t>Wide-area LTE coverage supporting VoLTE</a:t>
            </a:r>
          </a:p>
          <a:p>
            <a:pPr lvl="1"/>
            <a:r>
              <a:rPr lang="en-US" sz="1600"/>
              <a:t>The VoLTE network may interwork with an underlying 2G/3G network, including single radio voice call continuity (SRVCC), SMS over 4G NAS and CSFB</a:t>
            </a:r>
          </a:p>
          <a:p>
            <a:pPr marL="0" indent="0">
              <a:buNone/>
            </a:pPr>
            <a:endParaRPr lang="sv-SE" sz="1600"/>
          </a:p>
          <a:p>
            <a:r>
              <a:rPr lang="en-US" sz="1600"/>
              <a:t>The E-UTRAN is enhanced to include NR support</a:t>
            </a:r>
          </a:p>
          <a:p>
            <a:pPr lvl="1"/>
            <a:r>
              <a:rPr lang="en-US" sz="1600"/>
              <a:t>E-UTRA-NR Dual Connectivity (EN-DC)</a:t>
            </a:r>
          </a:p>
          <a:p>
            <a:endParaRPr lang="en-US" sz="1600"/>
          </a:p>
          <a:p>
            <a:r>
              <a:rPr lang="en-US" sz="1600"/>
              <a:t>4G VoLTE can continue to use the partially or fully upgraded RAN</a:t>
            </a:r>
          </a:p>
          <a:p>
            <a:endParaRPr lang="en-US" sz="1600"/>
          </a:p>
          <a:p>
            <a:r>
              <a:rPr lang="en-US" sz="1600"/>
              <a:t>There are no architectural changes or impact on IMS.</a:t>
            </a:r>
          </a:p>
          <a:p>
            <a:pPr lvl="1"/>
            <a:r>
              <a:rPr lang="en-US" sz="1600"/>
              <a:t>There is not even awareness of EN-DC in IMS.</a:t>
            </a:r>
          </a:p>
          <a:p>
            <a:pPr lvl="1"/>
            <a:r>
              <a:rPr lang="en-US" sz="1600"/>
              <a:t>All VoLTE principles for 4G remain. </a:t>
            </a:r>
          </a:p>
          <a:p>
            <a:pPr lvl="1"/>
            <a:r>
              <a:rPr lang="en-US" sz="1600"/>
              <a:t>A PDN connection to the IMS APN with a default EPS bearer is used for SIP signaling (QCI=5) and a dedicated EPS bearer is used for voice media (QCI=1). </a:t>
            </a:r>
          </a:p>
          <a:p>
            <a:endParaRPr lang="en-US" sz="1600"/>
          </a:p>
        </p:txBody>
      </p:sp>
      <p:sp>
        <p:nvSpPr>
          <p:cNvPr id="3" name="Title 2">
            <a:extLst>
              <a:ext uri="{FF2B5EF4-FFF2-40B4-BE49-F238E27FC236}">
                <a16:creationId xmlns:a16="http://schemas.microsoft.com/office/drawing/2014/main" id="{C8D5DD80-002F-4CC2-B04C-1C1D819DA13A}"/>
              </a:ext>
            </a:extLst>
          </p:cNvPr>
          <p:cNvSpPr>
            <a:spLocks noGrp="1"/>
          </p:cNvSpPr>
          <p:nvPr>
            <p:ph type="title"/>
          </p:nvPr>
        </p:nvSpPr>
        <p:spPr>
          <a:xfrm>
            <a:off x="479424" y="476250"/>
            <a:ext cx="8353425" cy="1081088"/>
          </a:xfrm>
        </p:spPr>
        <p:txBody>
          <a:bodyPr/>
          <a:lstStyle/>
          <a:p>
            <a:r>
              <a:rPr lang="nl-NL" sz="3600">
                <a:latin typeface="Ericsson Hilda Light" panose="00000400000000000000" pitchFamily="2" charset="0"/>
              </a:rPr>
              <a:t>Voice in EN-DC (option 3)</a:t>
            </a:r>
            <a:endParaRPr lang="en-US" sz="3600">
              <a:latin typeface="Ericsson Hilda Light" panose="00000400000000000000" pitchFamily="2" charset="0"/>
            </a:endParaRPr>
          </a:p>
        </p:txBody>
      </p:sp>
      <p:grpSp>
        <p:nvGrpSpPr>
          <p:cNvPr id="41" name="Group 40">
            <a:extLst>
              <a:ext uri="{FF2B5EF4-FFF2-40B4-BE49-F238E27FC236}">
                <a16:creationId xmlns:a16="http://schemas.microsoft.com/office/drawing/2014/main" id="{690BA111-0B06-4188-9BF6-52F2D729CC27}"/>
              </a:ext>
            </a:extLst>
          </p:cNvPr>
          <p:cNvGrpSpPr/>
          <p:nvPr/>
        </p:nvGrpSpPr>
        <p:grpSpPr>
          <a:xfrm>
            <a:off x="7488068" y="4312386"/>
            <a:ext cx="3524156" cy="1567367"/>
            <a:chOff x="6801304" y="3741109"/>
            <a:chExt cx="4930698" cy="2192926"/>
          </a:xfrm>
        </p:grpSpPr>
        <p:sp>
          <p:nvSpPr>
            <p:cNvPr id="42" name="TextBox 41">
              <a:extLst>
                <a:ext uri="{FF2B5EF4-FFF2-40B4-BE49-F238E27FC236}">
                  <a16:creationId xmlns:a16="http://schemas.microsoft.com/office/drawing/2014/main" id="{153EEF40-A890-4B7C-A36C-288578B572C4}"/>
                </a:ext>
              </a:extLst>
            </p:cNvPr>
            <p:cNvSpPr txBox="1"/>
            <p:nvPr/>
          </p:nvSpPr>
          <p:spPr bwMode="auto">
            <a:xfrm>
              <a:off x="7892729" y="5037949"/>
              <a:ext cx="551438" cy="896086"/>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4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B</a:t>
              </a:r>
              <a:endParaRPr kumimoji="0" lang="en-US" sz="1400" b="0" i="0" u="none" strike="noStrike" kern="1200" cap="none" spc="0" normalizeH="0" baseline="0" noProof="0">
                <a:ln>
                  <a:noFill/>
                </a:ln>
                <a:solidFill>
                  <a:srgbClr val="0FC373">
                    <a:lumMod val="75000"/>
                  </a:srgbClr>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900" b="0" i="0" u="none" strike="noStrike" kern="1200" cap="none" spc="0" normalizeH="0" baseline="0" noProof="0">
                  <a:ln>
                    <a:noFill/>
                  </a:ln>
                  <a:solidFill>
                    <a:srgbClr val="0082F0"/>
                  </a:solidFill>
                  <a:effectLst/>
                  <a:uLnTx/>
                  <a:uFillTx/>
                  <a:latin typeface="Arial" charset="0"/>
                  <a:ea typeface="+mn-ea"/>
                  <a:cs typeface="+mn-cs"/>
                </a:rPr>
                <a:t>E-UTRAN</a:t>
              </a:r>
            </a:p>
          </p:txBody>
        </p:sp>
        <p:sp>
          <p:nvSpPr>
            <p:cNvPr id="43" name="TextBox 42">
              <a:extLst>
                <a:ext uri="{FF2B5EF4-FFF2-40B4-BE49-F238E27FC236}">
                  <a16:creationId xmlns:a16="http://schemas.microsoft.com/office/drawing/2014/main" id="{F9CEC310-4287-4455-97E6-FC71D3F6DE48}"/>
                </a:ext>
              </a:extLst>
            </p:cNvPr>
            <p:cNvSpPr txBox="1"/>
            <p:nvPr/>
          </p:nvSpPr>
          <p:spPr bwMode="auto">
            <a:xfrm>
              <a:off x="7531157" y="5652634"/>
              <a:ext cx="358609" cy="234319"/>
            </a:xfrm>
            <a:prstGeom prst="rect">
              <a:avLst/>
            </a:prstGeom>
            <a:solidFill>
              <a:schemeClr val="accent5"/>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defPPr>
                <a:defRPr lang="en-GB"/>
              </a:defPPr>
              <a:lvl1pPr algn="ctr">
                <a:spcBef>
                  <a:spcPts val="0"/>
                </a:spcBef>
                <a:buClr>
                  <a:schemeClr val="tx1"/>
                </a:buClr>
                <a:defRPr sz="900"/>
              </a:lvl1pPr>
            </a:lstStyle>
            <a:p>
              <a:pPr marL="0" marR="0" lvl="0" indent="0" algn="ctr" defTabSz="914400" rtl="0" eaLnBrk="1" fontAlgn="base" latinLnBrk="0" hangingPunct="1">
                <a:lnSpc>
                  <a:spcPct val="100000"/>
                </a:lnSpc>
                <a:spcBef>
                  <a:spcPts val="0"/>
                </a:spcBef>
                <a:spcAft>
                  <a:spcPct val="0"/>
                </a:spcAft>
                <a:buClr>
                  <a:srgbClr val="181818"/>
                </a:buClr>
                <a:buSzTx/>
                <a:buFontTx/>
                <a:buNone/>
                <a:tabLst/>
                <a:defRPr/>
              </a:pPr>
              <a:r>
                <a:rPr kumimoji="0" lang="en-US" sz="800" b="0" i="0" u="none" strike="noStrike" kern="1200" cap="none" spc="0" normalizeH="0" baseline="0" noProof="0">
                  <a:ln>
                    <a:noFill/>
                  </a:ln>
                  <a:solidFill>
                    <a:srgbClr val="FFFFFF"/>
                  </a:solidFill>
                  <a:effectLst/>
                  <a:uLnTx/>
                  <a:uFillTx/>
                  <a:latin typeface="Arial" charset="0"/>
                  <a:ea typeface="+mn-ea"/>
                  <a:cs typeface="+mn-cs"/>
                </a:rPr>
                <a:t>NR</a:t>
              </a:r>
            </a:p>
          </p:txBody>
        </p:sp>
        <p:sp>
          <p:nvSpPr>
            <p:cNvPr id="47" name="TextBox 46">
              <a:extLst>
                <a:ext uri="{FF2B5EF4-FFF2-40B4-BE49-F238E27FC236}">
                  <a16:creationId xmlns:a16="http://schemas.microsoft.com/office/drawing/2014/main" id="{BF5B4C6A-A284-4B63-A0E7-0D7F3F89CE64}"/>
                </a:ext>
              </a:extLst>
            </p:cNvPr>
            <p:cNvSpPr txBox="1"/>
            <p:nvPr/>
          </p:nvSpPr>
          <p:spPr bwMode="auto">
            <a:xfrm>
              <a:off x="7528577" y="5096601"/>
              <a:ext cx="358609" cy="234319"/>
            </a:xfrm>
            <a:prstGeom prst="rect">
              <a:avLst/>
            </a:prstGeom>
            <a:solidFill>
              <a:schemeClr val="accent2"/>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defPPr>
                <a:defRPr lang="en-GB"/>
              </a:defPPr>
              <a:lvl1pPr algn="ctr">
                <a:spcBef>
                  <a:spcPts val="0"/>
                </a:spcBef>
                <a:buClr>
                  <a:schemeClr val="tx1"/>
                </a:buClr>
                <a:defRPr sz="900"/>
              </a:lvl1pPr>
            </a:lstStyle>
            <a:p>
              <a:pPr marL="0" marR="0" lvl="0" indent="0" algn="ctr" defTabSz="914400" rtl="0" eaLnBrk="1" fontAlgn="base" latinLnBrk="0" hangingPunct="1">
                <a:lnSpc>
                  <a:spcPct val="100000"/>
                </a:lnSpc>
                <a:spcBef>
                  <a:spcPts val="0"/>
                </a:spcBef>
                <a:spcAft>
                  <a:spcPct val="0"/>
                </a:spcAft>
                <a:buClr>
                  <a:srgbClr val="181818"/>
                </a:buClr>
                <a:buSzTx/>
                <a:buFontTx/>
                <a:buNone/>
                <a:tabLst/>
                <a:defRPr/>
              </a:pPr>
              <a:r>
                <a:rPr kumimoji="0" lang="en-US" sz="800" b="0" i="0" u="none" strike="noStrike" kern="1200" cap="none" spc="0" normalizeH="0" baseline="0" noProof="0">
                  <a:ln>
                    <a:noFill/>
                  </a:ln>
                  <a:solidFill>
                    <a:schemeClr val="bg1"/>
                  </a:solidFill>
                  <a:effectLst/>
                  <a:uLnTx/>
                  <a:uFillTx/>
                  <a:latin typeface="Arial" charset="0"/>
                  <a:ea typeface="+mn-ea"/>
                  <a:cs typeface="+mn-cs"/>
                </a:rPr>
                <a:t>LTE</a:t>
              </a:r>
            </a:p>
          </p:txBody>
        </p:sp>
        <p:cxnSp>
          <p:nvCxnSpPr>
            <p:cNvPr id="48" name="Straight Connector 47">
              <a:extLst>
                <a:ext uri="{FF2B5EF4-FFF2-40B4-BE49-F238E27FC236}">
                  <a16:creationId xmlns:a16="http://schemas.microsoft.com/office/drawing/2014/main" id="{FD3A6221-EC24-4F43-AAE7-A625E20F85AB}"/>
                </a:ext>
              </a:extLst>
            </p:cNvPr>
            <p:cNvCxnSpPr>
              <a:cxnSpLocks/>
            </p:cNvCxnSpPr>
            <p:nvPr/>
          </p:nvCxnSpPr>
          <p:spPr bwMode="auto">
            <a:xfrm>
              <a:off x="11575457" y="5399057"/>
              <a:ext cx="0" cy="155037"/>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49" name="Text Box 1179">
              <a:extLst>
                <a:ext uri="{FF2B5EF4-FFF2-40B4-BE49-F238E27FC236}">
                  <a16:creationId xmlns:a16="http://schemas.microsoft.com/office/drawing/2014/main" id="{A2BDCBE8-4F6E-4D76-9973-23915F901F03}"/>
                </a:ext>
              </a:extLst>
            </p:cNvPr>
            <p:cNvSpPr txBox="1">
              <a:spLocks noChangeArrowheads="1"/>
            </p:cNvSpPr>
            <p:nvPr/>
          </p:nvSpPr>
          <p:spPr bwMode="auto">
            <a:xfrm>
              <a:off x="11460305" y="5230067"/>
              <a:ext cx="271697" cy="184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a:ln>
                    <a:noFill/>
                  </a:ln>
                  <a:solidFill>
                    <a:srgbClr val="181818"/>
                  </a:solidFill>
                  <a:effectLst/>
                  <a:uLnTx/>
                  <a:uFillTx/>
                  <a:latin typeface="Ericsson Hilda"/>
                  <a:ea typeface="+mn-ea"/>
                  <a:cs typeface="Arial" charset="0"/>
                </a:rPr>
                <a:t>NNI</a:t>
              </a:r>
            </a:p>
          </p:txBody>
        </p:sp>
        <p:cxnSp>
          <p:nvCxnSpPr>
            <p:cNvPr id="50" name="Straight Connector 49">
              <a:extLst>
                <a:ext uri="{FF2B5EF4-FFF2-40B4-BE49-F238E27FC236}">
                  <a16:creationId xmlns:a16="http://schemas.microsoft.com/office/drawing/2014/main" id="{6995E3F8-C118-4C49-8AFF-360B3885103F}"/>
                </a:ext>
              </a:extLst>
            </p:cNvPr>
            <p:cNvCxnSpPr>
              <a:cxnSpLocks/>
            </p:cNvCxnSpPr>
            <p:nvPr/>
          </p:nvCxnSpPr>
          <p:spPr bwMode="auto">
            <a:xfrm>
              <a:off x="11397450" y="5488818"/>
              <a:ext cx="244913" cy="0"/>
            </a:xfrm>
            <a:prstGeom prst="line">
              <a:avLst/>
            </a:prstGeom>
            <a:solidFill>
              <a:schemeClr val="accent1"/>
            </a:solidFill>
            <a:ln w="12700" cap="flat" cmpd="sng" algn="ctr">
              <a:solidFill>
                <a:schemeClr val="accent2">
                  <a:lumMod val="75000"/>
                </a:schemeClr>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76102369-FD71-4319-94B5-1B15488810CA}"/>
                </a:ext>
              </a:extLst>
            </p:cNvPr>
            <p:cNvSpPr txBox="1"/>
            <p:nvPr/>
          </p:nvSpPr>
          <p:spPr bwMode="auto">
            <a:xfrm>
              <a:off x="10846012" y="5039814"/>
              <a:ext cx="551438" cy="894221"/>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4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4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4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Arial" charset="0"/>
                  <a:ea typeface="+mn-ea"/>
                  <a:cs typeface="+mn-cs"/>
                </a:rPr>
                <a:t>IMS</a:t>
              </a:r>
              <a:endParaRPr kumimoji="0" lang="en-US" sz="1100" b="0" i="0" u="none" strike="noStrike" kern="1200" cap="none" spc="0" normalizeH="0" baseline="0" noProof="0">
                <a:ln>
                  <a:noFill/>
                </a:ln>
                <a:solidFill>
                  <a:srgbClr val="0FC373">
                    <a:lumMod val="75000"/>
                  </a:srgbClr>
                </a:solidFill>
                <a:effectLst/>
                <a:uLnTx/>
                <a:uFillTx/>
                <a:latin typeface="Arial" charset="0"/>
                <a:ea typeface="+mn-ea"/>
                <a:cs typeface="+mn-cs"/>
              </a:endParaRPr>
            </a:p>
          </p:txBody>
        </p:sp>
        <p:sp>
          <p:nvSpPr>
            <p:cNvPr id="52" name="TextBox 51">
              <a:extLst>
                <a:ext uri="{FF2B5EF4-FFF2-40B4-BE49-F238E27FC236}">
                  <a16:creationId xmlns:a16="http://schemas.microsoft.com/office/drawing/2014/main" id="{D206DDA7-FD4C-4FDB-9838-4C0C6DF67DE3}"/>
                </a:ext>
              </a:extLst>
            </p:cNvPr>
            <p:cNvSpPr txBox="1"/>
            <p:nvPr/>
          </p:nvSpPr>
          <p:spPr bwMode="auto">
            <a:xfrm>
              <a:off x="9303303" y="5039813"/>
              <a:ext cx="551439" cy="894222"/>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r>
                <a:rPr lang="en-US" sz="1000">
                  <a:solidFill>
                    <a:srgbClr val="0082F0"/>
                  </a:solidFill>
                  <a:latin typeface="Arial" charset="0"/>
                </a:rPr>
                <a:t>5G EPC</a:t>
              </a:r>
              <a:endParaRPr kumimoji="0" lang="en-US" sz="1100" b="0" i="0" u="none" strike="noStrike" kern="1200" cap="none" spc="0" normalizeH="0" baseline="0" noProof="0">
                <a:ln>
                  <a:noFill/>
                </a:ln>
                <a:solidFill>
                  <a:srgbClr val="181818"/>
                </a:solidFill>
                <a:effectLst/>
                <a:uLnTx/>
                <a:uFillTx/>
                <a:latin typeface="Arial" charset="0"/>
                <a:ea typeface="+mn-ea"/>
                <a:cs typeface="+mn-cs"/>
              </a:endParaRPr>
            </a:p>
          </p:txBody>
        </p:sp>
        <p:sp>
          <p:nvSpPr>
            <p:cNvPr id="53" name="TextBox 52">
              <a:extLst>
                <a:ext uri="{FF2B5EF4-FFF2-40B4-BE49-F238E27FC236}">
                  <a16:creationId xmlns:a16="http://schemas.microsoft.com/office/drawing/2014/main" id="{1274AC92-F62E-4648-B191-951F884D85B6}"/>
                </a:ext>
              </a:extLst>
            </p:cNvPr>
            <p:cNvSpPr txBox="1"/>
            <p:nvPr/>
          </p:nvSpPr>
          <p:spPr bwMode="auto">
            <a:xfrm>
              <a:off x="9304312" y="3741109"/>
              <a:ext cx="550429" cy="894447"/>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20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D</a:t>
              </a:r>
              <a:endParaRPr kumimoji="0" lang="en-US" sz="2000" b="0" i="0" u="none" strike="noStrike" kern="1200" cap="none" spc="0" normalizeH="0" baseline="0" noProof="0">
                <a:ln>
                  <a:noFill/>
                </a:ln>
                <a:solidFill>
                  <a:srgbClr val="0FC373">
                    <a:lumMod val="75000"/>
                  </a:srgbClr>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100" b="0" i="0" u="none" strike="noStrike" kern="1200" cap="none" spc="0" normalizeH="0" baseline="0" noProof="0">
                  <a:ln>
                    <a:noFill/>
                  </a:ln>
                  <a:solidFill>
                    <a:srgbClr val="0FC373">
                      <a:lumMod val="75000"/>
                    </a:srgbClr>
                  </a:solidFill>
                  <a:effectLst/>
                  <a:uLnTx/>
                  <a:uFillTx/>
                  <a:latin typeface="Arial" charset="0"/>
                  <a:ea typeface="+mn-ea"/>
                  <a:cs typeface="+mn-cs"/>
                </a:rPr>
                <a:t>HSS</a:t>
              </a:r>
            </a:p>
          </p:txBody>
        </p:sp>
        <p:sp>
          <p:nvSpPr>
            <p:cNvPr id="54" name="Freeform: Shape 53">
              <a:extLst>
                <a:ext uri="{FF2B5EF4-FFF2-40B4-BE49-F238E27FC236}">
                  <a16:creationId xmlns:a16="http://schemas.microsoft.com/office/drawing/2014/main" id="{DBEBAC01-D599-4AB9-86D1-4D467AAD4C17}"/>
                </a:ext>
              </a:extLst>
            </p:cNvPr>
            <p:cNvSpPr/>
            <p:nvPr/>
          </p:nvSpPr>
          <p:spPr bwMode="auto">
            <a:xfrm>
              <a:off x="9849390" y="4281906"/>
              <a:ext cx="1275506" cy="756035"/>
            </a:xfrm>
            <a:custGeom>
              <a:avLst/>
              <a:gdLst>
                <a:gd name="connsiteX0" fmla="*/ 0 w 505521"/>
                <a:gd name="connsiteY0" fmla="*/ 0 h 1360448"/>
                <a:gd name="connsiteX1" fmla="*/ 505521 w 505521"/>
                <a:gd name="connsiteY1" fmla="*/ 0 h 1360448"/>
                <a:gd name="connsiteX2" fmla="*/ 505521 w 505521"/>
                <a:gd name="connsiteY2" fmla="*/ 1360448 h 1360448"/>
              </a:gdLst>
              <a:ahLst/>
              <a:cxnLst>
                <a:cxn ang="0">
                  <a:pos x="connsiteX0" y="connsiteY0"/>
                </a:cxn>
                <a:cxn ang="0">
                  <a:pos x="connsiteX1" y="connsiteY1"/>
                </a:cxn>
                <a:cxn ang="0">
                  <a:pos x="connsiteX2" y="connsiteY2"/>
                </a:cxn>
              </a:cxnLst>
              <a:rect l="l" t="t" r="r" b="b"/>
              <a:pathLst>
                <a:path w="505521" h="1360448">
                  <a:moveTo>
                    <a:pt x="0" y="0"/>
                  </a:moveTo>
                  <a:lnTo>
                    <a:pt x="505521" y="0"/>
                  </a:lnTo>
                  <a:lnTo>
                    <a:pt x="505521" y="1360448"/>
                  </a:lnTo>
                </a:path>
              </a:pathLst>
            </a:custGeom>
            <a:noFill/>
            <a:ln w="3175" cap="flat" cmpd="sng" algn="ctr">
              <a:solidFill>
                <a:schemeClr val="tx1"/>
              </a:solidFill>
              <a:prstDash val="dash"/>
              <a:round/>
              <a:headEnd type="none" w="med" len="med"/>
              <a:tailEnd type="none" w="med" len="med"/>
            </a:ln>
            <a:effec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55" name="Straight Connector 54">
              <a:extLst>
                <a:ext uri="{FF2B5EF4-FFF2-40B4-BE49-F238E27FC236}">
                  <a16:creationId xmlns:a16="http://schemas.microsoft.com/office/drawing/2014/main" id="{1189437D-B888-4207-88A7-D5FFBE665C25}"/>
                </a:ext>
              </a:extLst>
            </p:cNvPr>
            <p:cNvCxnSpPr>
              <a:cxnSpLocks/>
              <a:stCxn id="52" idx="3"/>
              <a:endCxn id="51" idx="1"/>
            </p:cNvCxnSpPr>
            <p:nvPr/>
          </p:nvCxnSpPr>
          <p:spPr bwMode="auto">
            <a:xfrm>
              <a:off x="9854741" y="5486925"/>
              <a:ext cx="991271" cy="0"/>
            </a:xfrm>
            <a:prstGeom prst="line">
              <a:avLst/>
            </a:prstGeom>
            <a:solidFill>
              <a:schemeClr val="accent1"/>
            </a:solidFill>
            <a:ln w="12700" cap="flat" cmpd="sng" algn="ctr">
              <a:solidFill>
                <a:srgbClr val="00285F"/>
              </a:solidFill>
              <a:prstDash val="solid"/>
              <a:round/>
              <a:headEnd type="none" w="med" len="med"/>
              <a:tailEnd type="none" w="med" len="med"/>
            </a:ln>
            <a:effectLst/>
          </p:spPr>
        </p:cxnSp>
        <p:sp>
          <p:nvSpPr>
            <p:cNvPr id="56" name="TextBox 55">
              <a:extLst>
                <a:ext uri="{FF2B5EF4-FFF2-40B4-BE49-F238E27FC236}">
                  <a16:creationId xmlns:a16="http://schemas.microsoft.com/office/drawing/2014/main" id="{7CB8A743-0116-4FEA-A1EF-22D275D62111}"/>
                </a:ext>
              </a:extLst>
            </p:cNvPr>
            <p:cNvSpPr txBox="1"/>
            <p:nvPr/>
          </p:nvSpPr>
          <p:spPr bwMode="auto">
            <a:xfrm>
              <a:off x="10220234" y="4708895"/>
              <a:ext cx="386260" cy="627672"/>
            </a:xfrm>
            <a:prstGeom prst="rect">
              <a:avLst/>
            </a:prstGeom>
            <a:solidFill>
              <a:schemeClr val="bg1"/>
            </a:solidFill>
            <a:ln w="19050">
              <a:solidFill>
                <a:schemeClr val="accent2">
                  <a:lumMod val="7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r>
                <a:rPr kumimoji="0" lang="en-US" sz="10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0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0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d</a:t>
              </a:r>
            </a:p>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800" b="0" i="0" u="none" strike="noStrike" kern="1200" cap="none" spc="0" normalizeH="0" baseline="0" noProof="0">
                  <a:ln>
                    <a:noFill/>
                  </a:ln>
                  <a:solidFill>
                    <a:srgbClr val="0FC373">
                      <a:lumMod val="75000"/>
                    </a:srgbClr>
                  </a:solidFill>
                  <a:effectLst/>
                  <a:uLnTx/>
                  <a:uFillTx/>
                  <a:latin typeface="Arial" charset="0"/>
                  <a:ea typeface="+mn-ea"/>
                  <a:cs typeface="+mn-cs"/>
                </a:rPr>
                <a:t>PCRF</a:t>
              </a:r>
              <a:br>
                <a:rPr kumimoji="0" lang="en-US" sz="1000" b="0" i="0" u="none" strike="noStrike" kern="1200" cap="none" spc="0" normalizeH="0" baseline="0" noProof="0">
                  <a:ln>
                    <a:noFill/>
                  </a:ln>
                  <a:solidFill>
                    <a:srgbClr val="0FC373">
                      <a:lumMod val="75000"/>
                    </a:srgbClr>
                  </a:solidFill>
                  <a:effectLst/>
                  <a:uLnTx/>
                  <a:uFillTx/>
                  <a:latin typeface="Arial" charset="0"/>
                  <a:ea typeface="+mn-ea"/>
                  <a:cs typeface="+mn-cs"/>
                </a:rPr>
              </a:br>
              <a:endParaRPr kumimoji="0" lang="en-US" sz="1000" b="0" i="0" u="none" strike="noStrike" kern="1200" cap="none" spc="0" normalizeH="0" baseline="0" noProof="0">
                <a:ln>
                  <a:noFill/>
                </a:ln>
                <a:solidFill>
                  <a:srgbClr val="0FC373">
                    <a:lumMod val="75000"/>
                  </a:srgbClr>
                </a:solidFill>
                <a:effectLst/>
                <a:uLnTx/>
                <a:uFillTx/>
                <a:latin typeface="Arial" charset="0"/>
                <a:ea typeface="+mn-ea"/>
                <a:cs typeface="+mn-cs"/>
              </a:endParaRPr>
            </a:p>
          </p:txBody>
        </p:sp>
        <p:cxnSp>
          <p:nvCxnSpPr>
            <p:cNvPr id="57" name="Straight Connector 56">
              <a:extLst>
                <a:ext uri="{FF2B5EF4-FFF2-40B4-BE49-F238E27FC236}">
                  <a16:creationId xmlns:a16="http://schemas.microsoft.com/office/drawing/2014/main" id="{2C44FF54-293D-42C9-AE57-6A5DA8E9AECB}"/>
                </a:ext>
              </a:extLst>
            </p:cNvPr>
            <p:cNvCxnSpPr>
              <a:cxnSpLocks/>
            </p:cNvCxnSpPr>
            <p:nvPr/>
          </p:nvCxnSpPr>
          <p:spPr bwMode="auto">
            <a:xfrm>
              <a:off x="9866985" y="5256121"/>
              <a:ext cx="353249" cy="0"/>
            </a:xfrm>
            <a:prstGeom prst="line">
              <a:avLst/>
            </a:prstGeom>
            <a:noFill/>
            <a:ln w="3175" cap="flat" cmpd="sng" algn="ctr">
              <a:solidFill>
                <a:schemeClr val="tx1"/>
              </a:solidFill>
              <a:prstDash val="dash"/>
              <a:round/>
              <a:headEnd type="none" w="med" len="med"/>
              <a:tailEnd type="none" w="med" len="med"/>
            </a:ln>
            <a:effectLst/>
          </p:spPr>
        </p:cxnSp>
        <p:cxnSp>
          <p:nvCxnSpPr>
            <p:cNvPr id="58" name="Straight Connector 57">
              <a:extLst>
                <a:ext uri="{FF2B5EF4-FFF2-40B4-BE49-F238E27FC236}">
                  <a16:creationId xmlns:a16="http://schemas.microsoft.com/office/drawing/2014/main" id="{EC686DBD-1D5A-41BE-904E-A465FC6072C2}"/>
                </a:ext>
              </a:extLst>
            </p:cNvPr>
            <p:cNvCxnSpPr>
              <a:cxnSpLocks/>
            </p:cNvCxnSpPr>
            <p:nvPr/>
          </p:nvCxnSpPr>
          <p:spPr bwMode="auto">
            <a:xfrm>
              <a:off x="10624504" y="5256121"/>
              <a:ext cx="225331" cy="0"/>
            </a:xfrm>
            <a:prstGeom prst="line">
              <a:avLst/>
            </a:prstGeom>
            <a:noFill/>
            <a:ln w="3175" cap="flat" cmpd="sng" algn="ctr">
              <a:solidFill>
                <a:schemeClr val="tx1"/>
              </a:solidFill>
              <a:prstDash val="dash"/>
              <a:round/>
              <a:headEnd type="none" w="med" len="med"/>
              <a:tailEnd type="none" w="med" len="med"/>
            </a:ln>
            <a:effectLst/>
          </p:spPr>
        </p:cxnSp>
        <p:cxnSp>
          <p:nvCxnSpPr>
            <p:cNvPr id="59" name="Straight Connector 58">
              <a:extLst>
                <a:ext uri="{FF2B5EF4-FFF2-40B4-BE49-F238E27FC236}">
                  <a16:creationId xmlns:a16="http://schemas.microsoft.com/office/drawing/2014/main" id="{2A21C76D-C00F-4641-812E-6EB4A49DAD9F}"/>
                </a:ext>
              </a:extLst>
            </p:cNvPr>
            <p:cNvCxnSpPr>
              <a:cxnSpLocks/>
              <a:stCxn id="42" idx="3"/>
              <a:endCxn id="52" idx="1"/>
            </p:cNvCxnSpPr>
            <p:nvPr/>
          </p:nvCxnSpPr>
          <p:spPr bwMode="auto">
            <a:xfrm>
              <a:off x="8444167" y="5485992"/>
              <a:ext cx="859136" cy="933"/>
            </a:xfrm>
            <a:prstGeom prst="line">
              <a:avLst/>
            </a:prstGeom>
            <a:solidFill>
              <a:schemeClr val="accent1"/>
            </a:solidFill>
            <a:ln w="12700" cap="flat" cmpd="sng" algn="ctr">
              <a:solidFill>
                <a:srgbClr val="00285F"/>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FFA6391E-CDA7-43E1-9770-A63666949BB5}"/>
                </a:ext>
              </a:extLst>
            </p:cNvPr>
            <p:cNvCxnSpPr>
              <a:cxnSpLocks/>
              <a:stCxn id="53" idx="2"/>
              <a:endCxn id="52" idx="0"/>
            </p:cNvCxnSpPr>
            <p:nvPr/>
          </p:nvCxnSpPr>
          <p:spPr bwMode="auto">
            <a:xfrm flipH="1">
              <a:off x="9579022" y="4635556"/>
              <a:ext cx="505" cy="404258"/>
            </a:xfrm>
            <a:prstGeom prst="line">
              <a:avLst/>
            </a:prstGeom>
            <a:noFill/>
            <a:ln w="3175" cap="flat" cmpd="sng" algn="ctr">
              <a:solidFill>
                <a:schemeClr val="tx1"/>
              </a:solidFill>
              <a:prstDash val="dash"/>
              <a:round/>
              <a:headEnd type="none" w="med" len="med"/>
              <a:tailEnd type="none" w="med" len="med"/>
            </a:ln>
            <a:effectLst/>
          </p:spPr>
        </p:cxnSp>
        <p:cxnSp>
          <p:nvCxnSpPr>
            <p:cNvPr id="61" name="Straight Connector 60">
              <a:extLst>
                <a:ext uri="{FF2B5EF4-FFF2-40B4-BE49-F238E27FC236}">
                  <a16:creationId xmlns:a16="http://schemas.microsoft.com/office/drawing/2014/main" id="{EC98DB22-EEA5-46B0-AA3F-C249BD4E6116}"/>
                </a:ext>
              </a:extLst>
            </p:cNvPr>
            <p:cNvCxnSpPr>
              <a:cxnSpLocks/>
            </p:cNvCxnSpPr>
            <p:nvPr/>
          </p:nvCxnSpPr>
          <p:spPr bwMode="auto">
            <a:xfrm>
              <a:off x="7133209" y="5221811"/>
              <a:ext cx="386353" cy="0"/>
            </a:xfrm>
            <a:prstGeom prst="line">
              <a:avLst/>
            </a:prstGeom>
            <a:solidFill>
              <a:schemeClr val="accent1"/>
            </a:solidFill>
            <a:ln w="3175" cap="flat" cmpd="sng" algn="ctr">
              <a:solidFill>
                <a:schemeClr val="accent2">
                  <a:lumMod val="75000"/>
                </a:schemeClr>
              </a:solidFill>
              <a:prstDash val="solid"/>
              <a:round/>
              <a:headEnd type="none" w="med" len="med"/>
              <a:tailEnd type="none"/>
            </a:ln>
            <a:effectLst/>
          </p:spPr>
        </p:cxnSp>
        <p:cxnSp>
          <p:nvCxnSpPr>
            <p:cNvPr id="62" name="Straight Connector 61">
              <a:extLst>
                <a:ext uri="{FF2B5EF4-FFF2-40B4-BE49-F238E27FC236}">
                  <a16:creationId xmlns:a16="http://schemas.microsoft.com/office/drawing/2014/main" id="{7523FCAE-D902-44B9-B9B5-573CFDAFF796}"/>
                </a:ext>
              </a:extLst>
            </p:cNvPr>
            <p:cNvCxnSpPr>
              <a:cxnSpLocks/>
            </p:cNvCxnSpPr>
            <p:nvPr/>
          </p:nvCxnSpPr>
          <p:spPr bwMode="auto">
            <a:xfrm>
              <a:off x="7133209" y="5769793"/>
              <a:ext cx="397948" cy="0"/>
            </a:xfrm>
            <a:prstGeom prst="line">
              <a:avLst/>
            </a:prstGeom>
            <a:solidFill>
              <a:schemeClr val="accent1"/>
            </a:solidFill>
            <a:ln w="3175" cap="flat" cmpd="sng" algn="ctr">
              <a:solidFill>
                <a:schemeClr val="accent1"/>
              </a:solidFill>
              <a:prstDash val="lgDash"/>
              <a:round/>
              <a:headEnd type="none" w="med" len="med"/>
              <a:tailEnd type="none"/>
            </a:ln>
            <a:effectLst/>
          </p:spPr>
        </p:cxnSp>
        <p:grpSp>
          <p:nvGrpSpPr>
            <p:cNvPr id="63" name="Group 62">
              <a:extLst>
                <a:ext uri="{FF2B5EF4-FFF2-40B4-BE49-F238E27FC236}">
                  <a16:creationId xmlns:a16="http://schemas.microsoft.com/office/drawing/2014/main" id="{D4D372A3-3C1C-44EA-AC72-DD7AFC539CDE}"/>
                </a:ext>
              </a:extLst>
            </p:cNvPr>
            <p:cNvGrpSpPr/>
            <p:nvPr/>
          </p:nvGrpSpPr>
          <p:grpSpPr>
            <a:xfrm>
              <a:off x="6801304" y="5179417"/>
              <a:ext cx="347513" cy="623446"/>
              <a:chOff x="7013560" y="5271339"/>
              <a:chExt cx="239298" cy="429306"/>
            </a:xfrm>
          </p:grpSpPr>
          <p:sp>
            <p:nvSpPr>
              <p:cNvPr id="64" name="Rectangle: Rounded Corners 63">
                <a:extLst>
                  <a:ext uri="{FF2B5EF4-FFF2-40B4-BE49-F238E27FC236}">
                    <a16:creationId xmlns:a16="http://schemas.microsoft.com/office/drawing/2014/main" id="{14742A9E-3F32-4441-A53C-BC3DD7962299}"/>
                  </a:ext>
                </a:extLst>
              </p:cNvPr>
              <p:cNvSpPr/>
              <p:nvPr/>
            </p:nvSpPr>
            <p:spPr bwMode="auto">
              <a:xfrm>
                <a:off x="7013560" y="5271339"/>
                <a:ext cx="233753" cy="421286"/>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65" name="Freeform 6">
                <a:extLst>
                  <a:ext uri="{FF2B5EF4-FFF2-40B4-BE49-F238E27FC236}">
                    <a16:creationId xmlns:a16="http://schemas.microsoft.com/office/drawing/2014/main" id="{2795AF5A-853E-45AD-A0E1-FDEEA9AF5776}"/>
                  </a:ext>
                </a:extLst>
              </p:cNvPr>
              <p:cNvSpPr>
                <a:spLocks noChangeAspect="1" noEditPoints="1"/>
              </p:cNvSpPr>
              <p:nvPr/>
            </p:nvSpPr>
            <p:spPr bwMode="auto">
              <a:xfrm>
                <a:off x="7013560" y="5271339"/>
                <a:ext cx="239298" cy="42930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noFill/>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b="0" i="0" u="none" strike="noStrike" kern="1200" cap="none" spc="0" normalizeH="0" baseline="0" noProof="0">
                  <a:ln>
                    <a:noFill/>
                  </a:ln>
                  <a:solidFill>
                    <a:srgbClr val="181818"/>
                  </a:solidFill>
                  <a:effectLst/>
                  <a:uLnTx/>
                  <a:uFillTx/>
                  <a:latin typeface="Arial" charset="0"/>
                  <a:ea typeface="+mn-ea"/>
                  <a:cs typeface="+mn-cs"/>
                </a:endParaRPr>
              </a:p>
            </p:txBody>
          </p:sp>
        </p:grpSp>
      </p:grpSp>
      <p:grpSp>
        <p:nvGrpSpPr>
          <p:cNvPr id="67" name="Group 66">
            <a:extLst>
              <a:ext uri="{FF2B5EF4-FFF2-40B4-BE49-F238E27FC236}">
                <a16:creationId xmlns:a16="http://schemas.microsoft.com/office/drawing/2014/main" id="{A44DA8FD-C7D9-461A-80B9-491EF06FE2B1}"/>
              </a:ext>
            </a:extLst>
          </p:cNvPr>
          <p:cNvGrpSpPr/>
          <p:nvPr/>
        </p:nvGrpSpPr>
        <p:grpSpPr>
          <a:xfrm>
            <a:off x="7585958" y="1789224"/>
            <a:ext cx="148524" cy="239885"/>
            <a:chOff x="2651570" y="5134915"/>
            <a:chExt cx="148524" cy="239885"/>
          </a:xfrm>
        </p:grpSpPr>
        <p:grpSp>
          <p:nvGrpSpPr>
            <p:cNvPr id="76" name="Group 75">
              <a:extLst>
                <a:ext uri="{FF2B5EF4-FFF2-40B4-BE49-F238E27FC236}">
                  <a16:creationId xmlns:a16="http://schemas.microsoft.com/office/drawing/2014/main" id="{DB12B0CA-C50A-4923-9C2D-E77C43E47330}"/>
                </a:ext>
              </a:extLst>
            </p:cNvPr>
            <p:cNvGrpSpPr/>
            <p:nvPr/>
          </p:nvGrpSpPr>
          <p:grpSpPr>
            <a:xfrm>
              <a:off x="2651570" y="5134915"/>
              <a:ext cx="148524" cy="239885"/>
              <a:chOff x="2675120" y="4656051"/>
              <a:chExt cx="148524" cy="239885"/>
            </a:xfrm>
          </p:grpSpPr>
          <p:sp>
            <p:nvSpPr>
              <p:cNvPr id="84" name="Rectangle: Rounded Corners 83">
                <a:extLst>
                  <a:ext uri="{FF2B5EF4-FFF2-40B4-BE49-F238E27FC236}">
                    <a16:creationId xmlns:a16="http://schemas.microsoft.com/office/drawing/2014/main" id="{4E7E6AD5-C8E4-4E58-9210-44C63B19194F}"/>
                  </a:ext>
                </a:extLst>
              </p:cNvPr>
              <p:cNvSpPr/>
              <p:nvPr/>
            </p:nvSpPr>
            <p:spPr bwMode="auto">
              <a:xfrm>
                <a:off x="2677441" y="4656051"/>
                <a:ext cx="146203" cy="232538"/>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90" name="Freeform 6">
                <a:extLst>
                  <a:ext uri="{FF2B5EF4-FFF2-40B4-BE49-F238E27FC236}">
                    <a16:creationId xmlns:a16="http://schemas.microsoft.com/office/drawing/2014/main" id="{6956458D-4E82-4A01-95FE-7E4E70F969DE}"/>
                  </a:ext>
                </a:extLst>
              </p:cNvPr>
              <p:cNvSpPr>
                <a:spLocks noChangeAspect="1" noEditPoints="1"/>
              </p:cNvSpPr>
              <p:nvPr/>
            </p:nvSpPr>
            <p:spPr bwMode="auto">
              <a:xfrm>
                <a:off x="2675120" y="4663398"/>
                <a:ext cx="146203" cy="23253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grpSp>
        <p:sp>
          <p:nvSpPr>
            <p:cNvPr id="77" name="Rectangle 76">
              <a:extLst>
                <a:ext uri="{FF2B5EF4-FFF2-40B4-BE49-F238E27FC236}">
                  <a16:creationId xmlns:a16="http://schemas.microsoft.com/office/drawing/2014/main" id="{E4ECDBF6-1189-4A1D-9887-3B2EEF0D23B8}"/>
                </a:ext>
              </a:extLst>
            </p:cNvPr>
            <p:cNvSpPr/>
            <p:nvPr/>
          </p:nvSpPr>
          <p:spPr>
            <a:xfrm>
              <a:off x="2725799" y="5177913"/>
              <a:ext cx="65" cy="153888"/>
            </a:xfrm>
            <a:prstGeom prst="rect">
              <a:avLst/>
            </a:prstGeom>
          </p:spPr>
          <p:txBody>
            <a:bodyPr wrap="none" lIns="0" tIns="0" rIns="0" bIns="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000" b="0" i="0" u="none" strike="noStrike" kern="1200" cap="none" spc="0" normalizeH="0" baseline="0" noProof="0">
                <a:ln>
                  <a:noFill/>
                </a:ln>
                <a:solidFill>
                  <a:srgbClr val="181818"/>
                </a:solidFill>
                <a:effectLst/>
                <a:uLnTx/>
                <a:uFillTx/>
                <a:latin typeface="Arial" charset="0"/>
                <a:ea typeface="+mn-ea"/>
                <a:cs typeface="+mn-cs"/>
              </a:endParaRPr>
            </a:p>
          </p:txBody>
        </p:sp>
      </p:grpSp>
      <p:sp>
        <p:nvSpPr>
          <p:cNvPr id="91" name="Rectangle 90">
            <a:extLst>
              <a:ext uri="{FF2B5EF4-FFF2-40B4-BE49-F238E27FC236}">
                <a16:creationId xmlns:a16="http://schemas.microsoft.com/office/drawing/2014/main" id="{B54AFAF7-B5E4-4AAB-8E32-2A43B8109DC5}"/>
              </a:ext>
            </a:extLst>
          </p:cNvPr>
          <p:cNvSpPr/>
          <p:nvPr/>
        </p:nvSpPr>
        <p:spPr>
          <a:xfrm>
            <a:off x="7802941" y="1807591"/>
            <a:ext cx="1236236" cy="253916"/>
          </a:xfrm>
          <a:prstGeom prst="rect">
            <a:avLst/>
          </a:prstGeom>
        </p:spPr>
        <p:txBody>
          <a:bodyPr wrap="non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50" b="0" i="0" u="none" strike="noStrike" kern="1200" cap="none" spc="0" normalizeH="0" baseline="0" noProof="0">
                <a:ln>
                  <a:noFill/>
                </a:ln>
                <a:solidFill>
                  <a:srgbClr val="58585A"/>
                </a:solidFill>
                <a:effectLst/>
                <a:uLnTx/>
                <a:uFillTx/>
                <a:latin typeface="Ericsson Hilda"/>
                <a:ea typeface="+mn-ea"/>
                <a:cs typeface="+mn-cs"/>
              </a:rPr>
              <a:t>Dual Connectivity</a:t>
            </a:r>
          </a:p>
        </p:txBody>
      </p:sp>
      <p:cxnSp>
        <p:nvCxnSpPr>
          <p:cNvPr id="92" name="Straight Connector 91">
            <a:extLst>
              <a:ext uri="{FF2B5EF4-FFF2-40B4-BE49-F238E27FC236}">
                <a16:creationId xmlns:a16="http://schemas.microsoft.com/office/drawing/2014/main" id="{4DBDDBB2-EAE5-4F14-9CD7-83A0CF98E5AC}"/>
              </a:ext>
            </a:extLst>
          </p:cNvPr>
          <p:cNvCxnSpPr>
            <a:cxnSpLocks/>
          </p:cNvCxnSpPr>
          <p:nvPr/>
        </p:nvCxnSpPr>
        <p:spPr bwMode="auto">
          <a:xfrm>
            <a:off x="6435815" y="3365213"/>
            <a:ext cx="5607856" cy="0"/>
          </a:xfrm>
          <a:prstGeom prst="line">
            <a:avLst/>
          </a:prstGeom>
          <a:solidFill>
            <a:schemeClr val="accent1"/>
          </a:solidFill>
          <a:ln w="57150" cap="flat" cmpd="sng" algn="ctr">
            <a:solidFill>
              <a:schemeClr val="bg1">
                <a:lumMod val="65000"/>
              </a:schemeClr>
            </a:solidFill>
            <a:prstDash val="solid"/>
            <a:round/>
            <a:headEnd type="none" w="med" len="med"/>
            <a:tailEnd type="none" w="med" len="med"/>
          </a:ln>
          <a:effectLst/>
        </p:spPr>
      </p:cxnSp>
      <p:sp>
        <p:nvSpPr>
          <p:cNvPr id="93" name="Oval 92">
            <a:extLst>
              <a:ext uri="{FF2B5EF4-FFF2-40B4-BE49-F238E27FC236}">
                <a16:creationId xmlns:a16="http://schemas.microsoft.com/office/drawing/2014/main" id="{29236240-DCAD-4A92-B694-AE7B45183193}"/>
              </a:ext>
            </a:extLst>
          </p:cNvPr>
          <p:cNvSpPr/>
          <p:nvPr/>
        </p:nvSpPr>
        <p:spPr bwMode="auto">
          <a:xfrm>
            <a:off x="6712133" y="2423830"/>
            <a:ext cx="4727899" cy="344218"/>
          </a:xfrm>
          <a:prstGeom prst="ellipse">
            <a:avLst/>
          </a:prstGeom>
          <a:solidFill>
            <a:schemeClr val="bg1">
              <a:lumMod val="75000"/>
            </a:schemeClr>
          </a:solidFill>
          <a:ln w="12700" cap="flat" cmpd="sng" algn="ctr">
            <a:solidFill>
              <a:srgbClr val="002060"/>
            </a:solidFill>
            <a:prstDash val="dash"/>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58585A"/>
                </a:solidFill>
                <a:effectLst/>
                <a:uLnTx/>
                <a:uFillTx/>
                <a:latin typeface="Ericsson Hilda"/>
                <a:ea typeface="+mn-ea"/>
                <a:cs typeface="+mn-cs"/>
              </a:rPr>
              <a:t>CS voice coverage</a:t>
            </a:r>
          </a:p>
        </p:txBody>
      </p:sp>
      <p:sp>
        <p:nvSpPr>
          <p:cNvPr id="94" name="TextBox 93">
            <a:extLst>
              <a:ext uri="{FF2B5EF4-FFF2-40B4-BE49-F238E27FC236}">
                <a16:creationId xmlns:a16="http://schemas.microsoft.com/office/drawing/2014/main" id="{B3EE0B91-9FEA-4E9C-BE0D-4CF95922BD2E}"/>
              </a:ext>
            </a:extLst>
          </p:cNvPr>
          <p:cNvSpPr txBox="1"/>
          <p:nvPr/>
        </p:nvSpPr>
        <p:spPr>
          <a:xfrm>
            <a:off x="10770452" y="2187258"/>
            <a:ext cx="764953" cy="246221"/>
          </a:xfrm>
          <a:prstGeom prst="rect">
            <a:avLst/>
          </a:prstGeom>
          <a:solidFill>
            <a:srgbClr val="FFFFFF">
              <a:alpha val="78000"/>
            </a:srgbClr>
          </a:solidFill>
        </p:spPr>
        <p:txBody>
          <a:bodyPr wrap="none" rtlCol="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a:ln>
                  <a:noFill/>
                </a:ln>
                <a:solidFill>
                  <a:srgbClr val="181818"/>
                </a:solidFill>
                <a:effectLst/>
                <a:uLnTx/>
                <a:uFillTx/>
                <a:latin typeface="Ericsson Hilda"/>
                <a:ea typeface="+mn-ea"/>
                <a:cs typeface="+mn-cs"/>
              </a:rPr>
              <a:t>4G SRVCC</a:t>
            </a:r>
          </a:p>
        </p:txBody>
      </p:sp>
      <p:sp>
        <p:nvSpPr>
          <p:cNvPr id="110" name="Oval 109">
            <a:extLst>
              <a:ext uri="{FF2B5EF4-FFF2-40B4-BE49-F238E27FC236}">
                <a16:creationId xmlns:a16="http://schemas.microsoft.com/office/drawing/2014/main" id="{1EBBD565-5CA2-4B08-B891-BA01FDA69246}"/>
              </a:ext>
            </a:extLst>
          </p:cNvPr>
          <p:cNvSpPr/>
          <p:nvPr/>
        </p:nvSpPr>
        <p:spPr bwMode="auto">
          <a:xfrm>
            <a:off x="6856045" y="2306490"/>
            <a:ext cx="3777251" cy="216454"/>
          </a:xfrm>
          <a:prstGeom prst="ellipse">
            <a:avLst/>
          </a:prstGeom>
          <a:solidFill>
            <a:schemeClr val="accent2"/>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solidFill>
                <a:effectLst/>
                <a:uLnTx/>
                <a:uFillTx/>
                <a:latin typeface="Arial" charset="0"/>
                <a:ea typeface="+mn-ea"/>
                <a:cs typeface="+mn-cs"/>
              </a:rPr>
              <a:t>LTE in (5G) EPS (voice)</a:t>
            </a:r>
          </a:p>
        </p:txBody>
      </p:sp>
      <p:sp>
        <p:nvSpPr>
          <p:cNvPr id="111" name="Oval 110">
            <a:extLst>
              <a:ext uri="{FF2B5EF4-FFF2-40B4-BE49-F238E27FC236}">
                <a16:creationId xmlns:a16="http://schemas.microsoft.com/office/drawing/2014/main" id="{83887C95-8108-4DC8-8FCE-8F88BA2EBA34}"/>
              </a:ext>
            </a:extLst>
          </p:cNvPr>
          <p:cNvSpPr/>
          <p:nvPr/>
        </p:nvSpPr>
        <p:spPr bwMode="auto">
          <a:xfrm>
            <a:off x="7308002" y="2158250"/>
            <a:ext cx="748447" cy="154914"/>
          </a:xfrm>
          <a:prstGeom prst="ellipse">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Ericsson Hilda"/>
                <a:ea typeface="+mn-ea"/>
                <a:cs typeface="+mn-cs"/>
              </a:rPr>
              <a:t>NR</a:t>
            </a:r>
          </a:p>
        </p:txBody>
      </p:sp>
      <p:sp>
        <p:nvSpPr>
          <p:cNvPr id="112" name="Arc 111">
            <a:extLst>
              <a:ext uri="{FF2B5EF4-FFF2-40B4-BE49-F238E27FC236}">
                <a16:creationId xmlns:a16="http://schemas.microsoft.com/office/drawing/2014/main" id="{61306B91-EDF9-4EFD-A845-7D843FDC2BB2}"/>
              </a:ext>
            </a:extLst>
          </p:cNvPr>
          <p:cNvSpPr/>
          <p:nvPr/>
        </p:nvSpPr>
        <p:spPr bwMode="auto">
          <a:xfrm>
            <a:off x="10531882" y="2423829"/>
            <a:ext cx="219180" cy="402673"/>
          </a:xfrm>
          <a:prstGeom prst="arc">
            <a:avLst/>
          </a:prstGeom>
          <a:noFill/>
          <a:ln w="38100" cap="flat" cmpd="sng" algn="ctr">
            <a:solidFill>
              <a:schemeClr val="tx1"/>
            </a:solidFill>
            <a:prstDash val="solid"/>
            <a:round/>
            <a:headEnd type="non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13" name="Oval 112">
            <a:extLst>
              <a:ext uri="{FF2B5EF4-FFF2-40B4-BE49-F238E27FC236}">
                <a16:creationId xmlns:a16="http://schemas.microsoft.com/office/drawing/2014/main" id="{631E6D8E-86F7-4C40-91BF-465B4CDB1370}"/>
              </a:ext>
            </a:extLst>
          </p:cNvPr>
          <p:cNvSpPr/>
          <p:nvPr/>
        </p:nvSpPr>
        <p:spPr bwMode="auto">
          <a:xfrm>
            <a:off x="8314618" y="2158250"/>
            <a:ext cx="748447" cy="154914"/>
          </a:xfrm>
          <a:prstGeom prst="ellipse">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Ericsson Hilda"/>
                <a:ea typeface="+mn-ea"/>
                <a:cs typeface="+mn-cs"/>
              </a:rPr>
              <a:t>NR</a:t>
            </a:r>
          </a:p>
        </p:txBody>
      </p:sp>
      <p:sp>
        <p:nvSpPr>
          <p:cNvPr id="114" name="Oval 113">
            <a:extLst>
              <a:ext uri="{FF2B5EF4-FFF2-40B4-BE49-F238E27FC236}">
                <a16:creationId xmlns:a16="http://schemas.microsoft.com/office/drawing/2014/main" id="{694AADB7-C18A-41AA-993C-38666CF31E95}"/>
              </a:ext>
            </a:extLst>
          </p:cNvPr>
          <p:cNvSpPr/>
          <p:nvPr/>
        </p:nvSpPr>
        <p:spPr bwMode="auto">
          <a:xfrm>
            <a:off x="9163352" y="2188469"/>
            <a:ext cx="748447" cy="154914"/>
          </a:xfrm>
          <a:prstGeom prst="ellipse">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Ericsson Hilda"/>
                <a:ea typeface="+mn-ea"/>
                <a:cs typeface="+mn-cs"/>
              </a:rPr>
              <a:t>NR</a:t>
            </a:r>
          </a:p>
        </p:txBody>
      </p:sp>
      <p:cxnSp>
        <p:nvCxnSpPr>
          <p:cNvPr id="66" name="Straight Connector 65">
            <a:extLst>
              <a:ext uri="{FF2B5EF4-FFF2-40B4-BE49-F238E27FC236}">
                <a16:creationId xmlns:a16="http://schemas.microsoft.com/office/drawing/2014/main" id="{0F3D5125-92F0-4686-AD3B-1B9060A83540}"/>
              </a:ext>
            </a:extLst>
          </p:cNvPr>
          <p:cNvCxnSpPr>
            <a:cxnSpLocks/>
          </p:cNvCxnSpPr>
          <p:nvPr/>
        </p:nvCxnSpPr>
        <p:spPr bwMode="auto">
          <a:xfrm flipV="1">
            <a:off x="7541682" y="2193575"/>
            <a:ext cx="0" cy="237943"/>
          </a:xfrm>
          <a:prstGeom prst="line">
            <a:avLst/>
          </a:prstGeom>
          <a:solidFill>
            <a:schemeClr val="accent1"/>
          </a:solidFill>
          <a:ln w="19050" cap="flat" cmpd="sng" algn="ctr">
            <a:solidFill>
              <a:srgbClr val="007B78"/>
            </a:solidFill>
            <a:prstDash val="solid"/>
            <a:round/>
            <a:headEnd type="oval" w="med" len="med"/>
            <a:tailEnd type="none" w="med" len="med"/>
          </a:ln>
          <a:effectLst/>
        </p:spPr>
      </p:cxnSp>
    </p:spTree>
    <p:extLst>
      <p:ext uri="{BB962C8B-B14F-4D97-AF65-F5344CB8AC3E}">
        <p14:creationId xmlns:p14="http://schemas.microsoft.com/office/powerpoint/2010/main" val="3653424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C50857-94FC-4F7D-8602-6F0BC9270455}"/>
              </a:ext>
            </a:extLst>
          </p:cNvPr>
          <p:cNvSpPr>
            <a:spLocks noGrp="1"/>
          </p:cNvSpPr>
          <p:nvPr>
            <p:ph sz="quarter" idx="10"/>
          </p:nvPr>
        </p:nvSpPr>
        <p:spPr/>
        <p:txBody>
          <a:bodyPr>
            <a:noAutofit/>
          </a:bodyPr>
          <a:lstStyle/>
          <a:p>
            <a:pPr>
              <a:lnSpc>
                <a:spcPct val="90000"/>
              </a:lnSpc>
              <a:spcBef>
                <a:spcPts val="500"/>
              </a:spcBef>
            </a:pPr>
            <a:r>
              <a:rPr lang="en-US" sz="1400"/>
              <a:t>Voice over NR implies that voice calls can be made on NR. </a:t>
            </a:r>
          </a:p>
          <a:p>
            <a:pPr>
              <a:lnSpc>
                <a:spcPct val="90000"/>
              </a:lnSpc>
              <a:spcBef>
                <a:spcPts val="500"/>
              </a:spcBef>
            </a:pPr>
            <a:r>
              <a:rPr lang="en-US" sz="1400"/>
              <a:t>Typical coverage scenario</a:t>
            </a:r>
            <a:endParaRPr lang="sv-SE" sz="1400"/>
          </a:p>
          <a:p>
            <a:pPr lvl="1">
              <a:lnSpc>
                <a:spcPct val="90000"/>
              </a:lnSpc>
              <a:spcBef>
                <a:spcPts val="500"/>
              </a:spcBef>
            </a:pPr>
            <a:r>
              <a:rPr lang="en-US" sz="1400"/>
              <a:t>NR coverage controlled by a 5G Core that supports voice. The NR coverage can be embedded in, or partly outside, LTE coverage served by EPC</a:t>
            </a:r>
          </a:p>
          <a:p>
            <a:pPr lvl="1">
              <a:lnSpc>
                <a:spcPct val="90000"/>
              </a:lnSpc>
              <a:spcBef>
                <a:spcPts val="500"/>
              </a:spcBef>
            </a:pPr>
            <a:r>
              <a:rPr lang="en-US" sz="1400"/>
              <a:t>LTE coverage controlled by EPC supporting VoLTE</a:t>
            </a:r>
          </a:p>
          <a:p>
            <a:pPr lvl="1">
              <a:lnSpc>
                <a:spcPct val="90000"/>
              </a:lnSpc>
              <a:spcBef>
                <a:spcPts val="500"/>
              </a:spcBef>
            </a:pPr>
            <a:endParaRPr lang="en-US" sz="1400"/>
          </a:p>
          <a:p>
            <a:pPr>
              <a:lnSpc>
                <a:spcPct val="90000"/>
              </a:lnSpc>
            </a:pPr>
            <a:r>
              <a:rPr lang="en-US" sz="1400"/>
              <a:t>The telephony service behavior </a:t>
            </a:r>
          </a:p>
          <a:p>
            <a:pPr lvl="1">
              <a:lnSpc>
                <a:spcPct val="90000"/>
              </a:lnSpc>
            </a:pPr>
            <a:r>
              <a:rPr lang="en-US" sz="1400"/>
              <a:t>Calls can be made in NR coverage</a:t>
            </a:r>
          </a:p>
          <a:p>
            <a:pPr lvl="1">
              <a:lnSpc>
                <a:spcPct val="90000"/>
              </a:lnSpc>
            </a:pPr>
            <a:r>
              <a:rPr lang="en-US" sz="1400"/>
              <a:t>Handover of IMS signaling and voice between 5GS and 5G EPS is performed e.g. when loosing NR coverage or LTE coverage</a:t>
            </a:r>
          </a:p>
          <a:p>
            <a:pPr lvl="1">
              <a:lnSpc>
                <a:spcPct val="110000"/>
              </a:lnSpc>
            </a:pPr>
            <a:r>
              <a:rPr lang="en-US" sz="1400"/>
              <a:t>In initial releases, the phone may stay on underlying LTE even when NR coverage is available during a call</a:t>
            </a:r>
          </a:p>
          <a:p>
            <a:pPr lvl="2">
              <a:lnSpc>
                <a:spcPct val="110000"/>
              </a:lnSpc>
            </a:pPr>
            <a:endParaRPr lang="en-US" sz="1400"/>
          </a:p>
        </p:txBody>
      </p:sp>
      <p:sp>
        <p:nvSpPr>
          <p:cNvPr id="3" name="Title 2">
            <a:extLst>
              <a:ext uri="{FF2B5EF4-FFF2-40B4-BE49-F238E27FC236}">
                <a16:creationId xmlns:a16="http://schemas.microsoft.com/office/drawing/2014/main" id="{298E8E35-8EE0-4243-AD97-D1CBB4F55016}"/>
              </a:ext>
            </a:extLst>
          </p:cNvPr>
          <p:cNvSpPr>
            <a:spLocks noGrp="1"/>
          </p:cNvSpPr>
          <p:nvPr>
            <p:ph type="title"/>
          </p:nvPr>
        </p:nvSpPr>
        <p:spPr/>
        <p:txBody>
          <a:bodyPr/>
          <a:lstStyle/>
          <a:p>
            <a:r>
              <a:rPr lang="en-US"/>
              <a:t>Voice over NR (option 2)</a:t>
            </a:r>
          </a:p>
        </p:txBody>
      </p:sp>
      <p:sp>
        <p:nvSpPr>
          <p:cNvPr id="5" name="Oval 4">
            <a:extLst>
              <a:ext uri="{FF2B5EF4-FFF2-40B4-BE49-F238E27FC236}">
                <a16:creationId xmlns:a16="http://schemas.microsoft.com/office/drawing/2014/main" id="{43A1B61C-C15F-414A-826E-29B632639E0D}"/>
              </a:ext>
            </a:extLst>
          </p:cNvPr>
          <p:cNvSpPr/>
          <p:nvPr/>
        </p:nvSpPr>
        <p:spPr bwMode="auto">
          <a:xfrm>
            <a:off x="7558982" y="1547515"/>
            <a:ext cx="1683655" cy="172447"/>
          </a:xfrm>
          <a:prstGeom prst="ellipse">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pPr>
            <a:r>
              <a:rPr lang="en-US" sz="1050">
                <a:solidFill>
                  <a:schemeClr val="bg1"/>
                </a:solidFill>
                <a:latin typeface="+mn-lt"/>
              </a:rPr>
              <a:t>NR in 5GS (voice)</a:t>
            </a:r>
          </a:p>
        </p:txBody>
      </p:sp>
      <p:sp>
        <p:nvSpPr>
          <p:cNvPr id="6" name="Oval 5">
            <a:extLst>
              <a:ext uri="{FF2B5EF4-FFF2-40B4-BE49-F238E27FC236}">
                <a16:creationId xmlns:a16="http://schemas.microsoft.com/office/drawing/2014/main" id="{C5A59A98-76C3-4FF8-871C-8CF7BF02E586}"/>
              </a:ext>
            </a:extLst>
          </p:cNvPr>
          <p:cNvSpPr/>
          <p:nvPr/>
        </p:nvSpPr>
        <p:spPr bwMode="auto">
          <a:xfrm>
            <a:off x="6792230" y="1796662"/>
            <a:ext cx="3777251" cy="216454"/>
          </a:xfrm>
          <a:prstGeom prst="ellipse">
            <a:avLst/>
          </a:prstGeom>
          <a:solidFill>
            <a:schemeClr val="accent2"/>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fontAlgn="auto">
              <a:spcBef>
                <a:spcPts val="0"/>
              </a:spcBef>
              <a:spcAft>
                <a:spcPts val="0"/>
              </a:spcAft>
            </a:pPr>
            <a:r>
              <a:rPr lang="en-US" sz="1100" kern="0">
                <a:solidFill>
                  <a:schemeClr val="tx1">
                    <a:lumMod val="75000"/>
                    <a:lumOff val="25000"/>
                  </a:schemeClr>
                </a:solidFill>
              </a:rPr>
              <a:t>LTE in EPS (voice)</a:t>
            </a:r>
          </a:p>
        </p:txBody>
      </p:sp>
      <p:grpSp>
        <p:nvGrpSpPr>
          <p:cNvPr id="7" name="Group 6">
            <a:extLst>
              <a:ext uri="{FF2B5EF4-FFF2-40B4-BE49-F238E27FC236}">
                <a16:creationId xmlns:a16="http://schemas.microsoft.com/office/drawing/2014/main" id="{29414364-FE53-4177-9CFF-83C6DC7E7C1F}"/>
              </a:ext>
            </a:extLst>
          </p:cNvPr>
          <p:cNvGrpSpPr/>
          <p:nvPr/>
        </p:nvGrpSpPr>
        <p:grpSpPr>
          <a:xfrm>
            <a:off x="9917250" y="2105958"/>
            <a:ext cx="393977" cy="232538"/>
            <a:chOff x="4881391" y="5174037"/>
            <a:chExt cx="393977" cy="232538"/>
          </a:xfrm>
        </p:grpSpPr>
        <p:cxnSp>
          <p:nvCxnSpPr>
            <p:cNvPr id="8" name="Straight Arrow Connector 7">
              <a:extLst>
                <a:ext uri="{FF2B5EF4-FFF2-40B4-BE49-F238E27FC236}">
                  <a16:creationId xmlns:a16="http://schemas.microsoft.com/office/drawing/2014/main" id="{BCEB8C40-F5DF-4006-8F22-F36D9160E885}"/>
                </a:ext>
              </a:extLst>
            </p:cNvPr>
            <p:cNvCxnSpPr>
              <a:cxnSpLocks/>
            </p:cNvCxnSpPr>
            <p:nvPr/>
          </p:nvCxnSpPr>
          <p:spPr bwMode="auto">
            <a:xfrm>
              <a:off x="4881391" y="5290306"/>
              <a:ext cx="393977" cy="0"/>
            </a:xfrm>
            <a:prstGeom prst="straightConnector1">
              <a:avLst/>
            </a:prstGeom>
            <a:solidFill>
              <a:schemeClr val="accent1"/>
            </a:solidFill>
            <a:ln w="19050" cap="flat" cmpd="sng" algn="ctr">
              <a:gradFill flip="none" rotWithShape="1">
                <a:gsLst>
                  <a:gs pos="0">
                    <a:schemeClr val="accent2">
                      <a:lumMod val="75000"/>
                    </a:schemeClr>
                  </a:gs>
                  <a:gs pos="100000">
                    <a:schemeClr val="accent1">
                      <a:lumMod val="75000"/>
                    </a:schemeClr>
                  </a:gs>
                </a:gsLst>
                <a:lin ang="0" scaled="1"/>
                <a:tileRect/>
              </a:gradFill>
              <a:prstDash val="solid"/>
              <a:round/>
              <a:headEnd type="triangle" w="med" len="med"/>
              <a:tailEnd type="triangle" w="med" len="med"/>
            </a:ln>
            <a:effectLst/>
          </p:spPr>
        </p:cxnSp>
        <p:sp>
          <p:nvSpPr>
            <p:cNvPr id="9" name="Rectangle: Rounded Corners 8">
              <a:extLst>
                <a:ext uri="{FF2B5EF4-FFF2-40B4-BE49-F238E27FC236}">
                  <a16:creationId xmlns:a16="http://schemas.microsoft.com/office/drawing/2014/main" id="{B77FDDD4-EB18-4E7E-B536-80A82763FCFC}"/>
                </a:ext>
              </a:extLst>
            </p:cNvPr>
            <p:cNvSpPr/>
            <p:nvPr/>
          </p:nvSpPr>
          <p:spPr bwMode="auto">
            <a:xfrm>
              <a:off x="5003334" y="5174037"/>
              <a:ext cx="146203" cy="232538"/>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0" name="Freeform 6">
              <a:extLst>
                <a:ext uri="{FF2B5EF4-FFF2-40B4-BE49-F238E27FC236}">
                  <a16:creationId xmlns:a16="http://schemas.microsoft.com/office/drawing/2014/main" id="{B1DE67C8-0500-42C5-B760-1D836614AFE6}"/>
                </a:ext>
              </a:extLst>
            </p:cNvPr>
            <p:cNvSpPr>
              <a:spLocks noChangeAspect="1" noEditPoints="1"/>
            </p:cNvSpPr>
            <p:nvPr/>
          </p:nvSpPr>
          <p:spPr bwMode="auto">
            <a:xfrm>
              <a:off x="5001033" y="5174037"/>
              <a:ext cx="146203" cy="23253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1" name="Rectangle 10">
            <a:extLst>
              <a:ext uri="{FF2B5EF4-FFF2-40B4-BE49-F238E27FC236}">
                <a16:creationId xmlns:a16="http://schemas.microsoft.com/office/drawing/2014/main" id="{77074B06-DC64-4E4F-BD2C-7F0BD7A1AC8D}"/>
              </a:ext>
            </a:extLst>
          </p:cNvPr>
          <p:cNvSpPr/>
          <p:nvPr/>
        </p:nvSpPr>
        <p:spPr>
          <a:xfrm>
            <a:off x="9547131" y="2454462"/>
            <a:ext cx="1156086" cy="253916"/>
          </a:xfrm>
          <a:prstGeom prst="rect">
            <a:avLst/>
          </a:prstGeom>
        </p:spPr>
        <p:txBody>
          <a:bodyPr wrap="none">
            <a:spAutoFit/>
          </a:bodyPr>
          <a:lstStyle/>
          <a:p>
            <a:pPr lvl="0" algn="ctr"/>
            <a:r>
              <a:rPr lang="en-US" sz="1050">
                <a:solidFill>
                  <a:srgbClr val="58585A"/>
                </a:solidFill>
              </a:rPr>
              <a:t>Inter system HO</a:t>
            </a:r>
          </a:p>
        </p:txBody>
      </p:sp>
      <p:sp>
        <p:nvSpPr>
          <p:cNvPr id="12" name="Oval 11">
            <a:extLst>
              <a:ext uri="{FF2B5EF4-FFF2-40B4-BE49-F238E27FC236}">
                <a16:creationId xmlns:a16="http://schemas.microsoft.com/office/drawing/2014/main" id="{C2AC379D-BF66-4EC8-B1A7-98826D82A978}"/>
              </a:ext>
            </a:extLst>
          </p:cNvPr>
          <p:cNvSpPr/>
          <p:nvPr/>
        </p:nvSpPr>
        <p:spPr bwMode="auto">
          <a:xfrm>
            <a:off x="9731297" y="1527468"/>
            <a:ext cx="1970585" cy="172447"/>
          </a:xfrm>
          <a:prstGeom prst="ellipse">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pPr>
            <a:r>
              <a:rPr lang="en-US" sz="1050">
                <a:solidFill>
                  <a:schemeClr val="bg1"/>
                </a:solidFill>
                <a:latin typeface="+mn-lt"/>
              </a:rPr>
              <a:t>NR in 5GS (voice + EC)</a:t>
            </a:r>
          </a:p>
        </p:txBody>
      </p:sp>
      <p:grpSp>
        <p:nvGrpSpPr>
          <p:cNvPr id="28" name="Group 27">
            <a:extLst>
              <a:ext uri="{FF2B5EF4-FFF2-40B4-BE49-F238E27FC236}">
                <a16:creationId xmlns:a16="http://schemas.microsoft.com/office/drawing/2014/main" id="{9F04BB49-4F15-47B3-992A-B26C9E249F66}"/>
              </a:ext>
            </a:extLst>
          </p:cNvPr>
          <p:cNvGrpSpPr/>
          <p:nvPr/>
        </p:nvGrpSpPr>
        <p:grpSpPr>
          <a:xfrm>
            <a:off x="7456400" y="2105958"/>
            <a:ext cx="373960" cy="232538"/>
            <a:chOff x="7456400" y="2105958"/>
            <a:chExt cx="373960" cy="232538"/>
          </a:xfrm>
        </p:grpSpPr>
        <p:cxnSp>
          <p:nvCxnSpPr>
            <p:cNvPr id="14" name="Straight Arrow Connector 13">
              <a:extLst>
                <a:ext uri="{FF2B5EF4-FFF2-40B4-BE49-F238E27FC236}">
                  <a16:creationId xmlns:a16="http://schemas.microsoft.com/office/drawing/2014/main" id="{9B003AD8-9977-452A-BF28-B0A2E48D5C76}"/>
                </a:ext>
              </a:extLst>
            </p:cNvPr>
            <p:cNvCxnSpPr>
              <a:cxnSpLocks/>
            </p:cNvCxnSpPr>
            <p:nvPr/>
          </p:nvCxnSpPr>
          <p:spPr bwMode="auto">
            <a:xfrm>
              <a:off x="7456400" y="2222227"/>
              <a:ext cx="373960" cy="0"/>
            </a:xfrm>
            <a:prstGeom prst="straightConnector1">
              <a:avLst/>
            </a:prstGeom>
            <a:solidFill>
              <a:schemeClr val="accent1"/>
            </a:solidFill>
            <a:ln w="19050" cap="flat" cmpd="sng" algn="ctr">
              <a:gradFill flip="none" rotWithShape="1">
                <a:gsLst>
                  <a:gs pos="0">
                    <a:schemeClr val="accent2">
                      <a:lumMod val="75000"/>
                    </a:schemeClr>
                  </a:gs>
                  <a:gs pos="100000">
                    <a:schemeClr val="accent1">
                      <a:lumMod val="75000"/>
                    </a:schemeClr>
                  </a:gs>
                </a:gsLst>
                <a:lin ang="0" scaled="1"/>
                <a:tileRect/>
              </a:gradFill>
              <a:prstDash val="solid"/>
              <a:round/>
              <a:headEnd type="triangle" w="med" len="med"/>
              <a:tailEnd type="none" w="med" len="med"/>
            </a:ln>
            <a:effectLst/>
          </p:spPr>
        </p:cxnSp>
        <p:sp>
          <p:nvSpPr>
            <p:cNvPr id="15" name="Rectangle: Rounded Corners 14">
              <a:extLst>
                <a:ext uri="{FF2B5EF4-FFF2-40B4-BE49-F238E27FC236}">
                  <a16:creationId xmlns:a16="http://schemas.microsoft.com/office/drawing/2014/main" id="{741C5CBD-FEF7-43EE-9758-85CA5CEB6FF3}"/>
                </a:ext>
              </a:extLst>
            </p:cNvPr>
            <p:cNvSpPr/>
            <p:nvPr/>
          </p:nvSpPr>
          <p:spPr bwMode="auto">
            <a:xfrm>
              <a:off x="7591499" y="2105958"/>
              <a:ext cx="146203" cy="232538"/>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Freeform 6">
              <a:extLst>
                <a:ext uri="{FF2B5EF4-FFF2-40B4-BE49-F238E27FC236}">
                  <a16:creationId xmlns:a16="http://schemas.microsoft.com/office/drawing/2014/main" id="{848A17B2-2C80-4CCB-ADC4-48710D094662}"/>
                </a:ext>
              </a:extLst>
            </p:cNvPr>
            <p:cNvSpPr>
              <a:spLocks noChangeAspect="1" noEditPoints="1"/>
            </p:cNvSpPr>
            <p:nvPr/>
          </p:nvSpPr>
          <p:spPr bwMode="auto">
            <a:xfrm>
              <a:off x="7589198" y="2105958"/>
              <a:ext cx="146203" cy="23253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7" name="Rectangle 16">
            <a:extLst>
              <a:ext uri="{FF2B5EF4-FFF2-40B4-BE49-F238E27FC236}">
                <a16:creationId xmlns:a16="http://schemas.microsoft.com/office/drawing/2014/main" id="{E8765B66-DDFC-4265-B7B0-84C537C54DBD}"/>
              </a:ext>
            </a:extLst>
          </p:cNvPr>
          <p:cNvSpPr/>
          <p:nvPr/>
        </p:nvSpPr>
        <p:spPr>
          <a:xfrm>
            <a:off x="7099437" y="2454462"/>
            <a:ext cx="1156086" cy="253916"/>
          </a:xfrm>
          <a:prstGeom prst="rect">
            <a:avLst/>
          </a:prstGeom>
        </p:spPr>
        <p:txBody>
          <a:bodyPr wrap="none">
            <a:spAutoFit/>
          </a:bodyPr>
          <a:lstStyle/>
          <a:p>
            <a:pPr lvl="0" algn="ctr"/>
            <a:r>
              <a:rPr lang="en-US" sz="1050">
                <a:solidFill>
                  <a:srgbClr val="58585A"/>
                </a:solidFill>
              </a:rPr>
              <a:t>Inter system HO</a:t>
            </a:r>
          </a:p>
        </p:txBody>
      </p:sp>
      <p:cxnSp>
        <p:nvCxnSpPr>
          <p:cNvPr id="18" name="Straight Connector 17">
            <a:extLst>
              <a:ext uri="{FF2B5EF4-FFF2-40B4-BE49-F238E27FC236}">
                <a16:creationId xmlns:a16="http://schemas.microsoft.com/office/drawing/2014/main" id="{45D00F40-294A-48D1-8BB0-F0BC1E01C26E}"/>
              </a:ext>
            </a:extLst>
          </p:cNvPr>
          <p:cNvCxnSpPr>
            <a:cxnSpLocks/>
          </p:cNvCxnSpPr>
          <p:nvPr/>
        </p:nvCxnSpPr>
        <p:spPr bwMode="auto">
          <a:xfrm>
            <a:off x="6096000" y="3381643"/>
            <a:ext cx="6075942" cy="0"/>
          </a:xfrm>
          <a:prstGeom prst="line">
            <a:avLst/>
          </a:prstGeom>
          <a:solidFill>
            <a:schemeClr val="accent1"/>
          </a:solidFill>
          <a:ln w="57150" cap="flat" cmpd="sng" algn="ctr">
            <a:solidFill>
              <a:schemeClr val="bg1">
                <a:lumMod val="65000"/>
              </a:schemeClr>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40F2712C-AD59-4BB1-B5C0-0C127E3D2259}"/>
              </a:ext>
            </a:extLst>
          </p:cNvPr>
          <p:cNvCxnSpPr>
            <a:cxnSpLocks/>
            <a:endCxn id="35" idx="1"/>
          </p:cNvCxnSpPr>
          <p:nvPr/>
        </p:nvCxnSpPr>
        <p:spPr bwMode="auto">
          <a:xfrm>
            <a:off x="10377766" y="4094958"/>
            <a:ext cx="250466" cy="0"/>
          </a:xfrm>
          <a:prstGeom prst="line">
            <a:avLst/>
          </a:prstGeom>
          <a:noFill/>
          <a:ln w="28575" cap="flat" cmpd="sng" algn="ctr">
            <a:solidFill>
              <a:srgbClr val="0070C0"/>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3EDE6C90-91CC-45E2-8E44-46B5ACED6A51}"/>
              </a:ext>
            </a:extLst>
          </p:cNvPr>
          <p:cNvSpPr txBox="1"/>
          <p:nvPr/>
        </p:nvSpPr>
        <p:spPr>
          <a:xfrm>
            <a:off x="10628232" y="3971847"/>
            <a:ext cx="787395" cy="246221"/>
          </a:xfrm>
          <a:prstGeom prst="rect">
            <a:avLst/>
          </a:prstGeom>
          <a:noFill/>
        </p:spPr>
        <p:txBody>
          <a:bodyPr wrap="none" rtlCol="0">
            <a:spAutoFit/>
          </a:bodyPr>
          <a:lstStyle/>
          <a:p>
            <a:r>
              <a:rPr lang="en-US" sz="1000"/>
              <a:t>Before HO</a:t>
            </a:r>
          </a:p>
        </p:txBody>
      </p:sp>
      <p:cxnSp>
        <p:nvCxnSpPr>
          <p:cNvPr id="36" name="Straight Connector 35">
            <a:extLst>
              <a:ext uri="{FF2B5EF4-FFF2-40B4-BE49-F238E27FC236}">
                <a16:creationId xmlns:a16="http://schemas.microsoft.com/office/drawing/2014/main" id="{84D588E2-4381-48C5-8F9F-60C86BA2D047}"/>
              </a:ext>
            </a:extLst>
          </p:cNvPr>
          <p:cNvCxnSpPr>
            <a:cxnSpLocks/>
            <a:endCxn id="37" idx="1"/>
          </p:cNvCxnSpPr>
          <p:nvPr/>
        </p:nvCxnSpPr>
        <p:spPr bwMode="auto">
          <a:xfrm>
            <a:off x="10379220" y="4320880"/>
            <a:ext cx="250466" cy="0"/>
          </a:xfrm>
          <a:prstGeom prst="line">
            <a:avLst/>
          </a:prstGeom>
          <a:noFill/>
          <a:ln w="28575" cap="flat" cmpd="sng" algn="ctr">
            <a:solidFill>
              <a:srgbClr val="FF0000"/>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55421479-5FD0-41DD-A66A-18503D0F149F}"/>
              </a:ext>
            </a:extLst>
          </p:cNvPr>
          <p:cNvSpPr txBox="1"/>
          <p:nvPr/>
        </p:nvSpPr>
        <p:spPr>
          <a:xfrm>
            <a:off x="10629686" y="4197769"/>
            <a:ext cx="681597" cy="246221"/>
          </a:xfrm>
          <a:prstGeom prst="rect">
            <a:avLst/>
          </a:prstGeom>
          <a:noFill/>
        </p:spPr>
        <p:txBody>
          <a:bodyPr wrap="none" rtlCol="0">
            <a:spAutoFit/>
          </a:bodyPr>
          <a:lstStyle/>
          <a:p>
            <a:r>
              <a:rPr lang="en-US" sz="1000"/>
              <a:t>After HO</a:t>
            </a:r>
          </a:p>
        </p:txBody>
      </p:sp>
      <p:sp>
        <p:nvSpPr>
          <p:cNvPr id="71" name="Arc 70">
            <a:extLst>
              <a:ext uri="{FF2B5EF4-FFF2-40B4-BE49-F238E27FC236}">
                <a16:creationId xmlns:a16="http://schemas.microsoft.com/office/drawing/2014/main" id="{5E9EFD78-37B5-465A-A5D3-6CDBDB894350}"/>
              </a:ext>
            </a:extLst>
          </p:cNvPr>
          <p:cNvSpPr/>
          <p:nvPr/>
        </p:nvSpPr>
        <p:spPr bwMode="auto">
          <a:xfrm>
            <a:off x="7396031" y="4814983"/>
            <a:ext cx="140677" cy="645835"/>
          </a:xfrm>
          <a:prstGeom prst="arc">
            <a:avLst>
              <a:gd name="adj1" fmla="val 16200000"/>
              <a:gd name="adj2" fmla="val 5295732"/>
            </a:avLst>
          </a:prstGeom>
          <a:noFill/>
          <a:ln w="6350" cap="flat" cmpd="sng" algn="ctr">
            <a:solidFill>
              <a:schemeClr val="accent3">
                <a:lumMod val="75000"/>
              </a:schemeClr>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4" name="Text Box 1179">
            <a:extLst>
              <a:ext uri="{FF2B5EF4-FFF2-40B4-BE49-F238E27FC236}">
                <a16:creationId xmlns:a16="http://schemas.microsoft.com/office/drawing/2014/main" id="{B4FF0F89-1D2F-4BA6-AD44-81E8F8153533}"/>
              </a:ext>
            </a:extLst>
          </p:cNvPr>
          <p:cNvSpPr txBox="1">
            <a:spLocks noChangeArrowheads="1"/>
          </p:cNvSpPr>
          <p:nvPr/>
        </p:nvSpPr>
        <p:spPr bwMode="auto">
          <a:xfrm>
            <a:off x="7636949" y="5041691"/>
            <a:ext cx="55143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800">
                <a:solidFill>
                  <a:schemeClr val="accent3">
                    <a:lumMod val="75000"/>
                  </a:schemeClr>
                </a:solidFill>
                <a:latin typeface="+mn-lt"/>
              </a:rPr>
              <a:t>Inter system</a:t>
            </a:r>
            <a:br>
              <a:rPr lang="en-US" sz="800">
                <a:solidFill>
                  <a:schemeClr val="accent3">
                    <a:lumMod val="75000"/>
                  </a:schemeClr>
                </a:solidFill>
                <a:latin typeface="+mn-lt"/>
              </a:rPr>
            </a:br>
            <a:r>
              <a:rPr lang="en-US" sz="800">
                <a:solidFill>
                  <a:schemeClr val="accent3">
                    <a:lumMod val="75000"/>
                  </a:schemeClr>
                </a:solidFill>
                <a:latin typeface="+mn-lt"/>
              </a:rPr>
              <a:t>Handover</a:t>
            </a:r>
          </a:p>
        </p:txBody>
      </p:sp>
      <p:sp>
        <p:nvSpPr>
          <p:cNvPr id="59" name="Freeform 6">
            <a:extLst>
              <a:ext uri="{FF2B5EF4-FFF2-40B4-BE49-F238E27FC236}">
                <a16:creationId xmlns:a16="http://schemas.microsoft.com/office/drawing/2014/main" id="{88A1A3A8-DFE5-4611-A64C-383C49BE6D92}"/>
              </a:ext>
            </a:extLst>
          </p:cNvPr>
          <p:cNvSpPr>
            <a:spLocks noChangeAspect="1" noEditPoints="1"/>
          </p:cNvSpPr>
          <p:nvPr/>
        </p:nvSpPr>
        <p:spPr bwMode="auto">
          <a:xfrm>
            <a:off x="6973292" y="4961062"/>
            <a:ext cx="183236" cy="328729"/>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noFill/>
          </a:ln>
        </p:spPr>
        <p:txBody>
          <a:bodyPr/>
          <a:lstStyle/>
          <a:p>
            <a:endParaRPr lang="en-US" sz="1600"/>
          </a:p>
        </p:txBody>
      </p:sp>
      <p:cxnSp>
        <p:nvCxnSpPr>
          <p:cNvPr id="65" name="Straight Connector 64">
            <a:extLst>
              <a:ext uri="{FF2B5EF4-FFF2-40B4-BE49-F238E27FC236}">
                <a16:creationId xmlns:a16="http://schemas.microsoft.com/office/drawing/2014/main" id="{D3BABFC1-700E-4B5D-A256-517A965EEC8C}"/>
              </a:ext>
            </a:extLst>
          </p:cNvPr>
          <p:cNvCxnSpPr>
            <a:cxnSpLocks/>
            <a:stCxn id="79" idx="2"/>
            <a:endCxn id="82" idx="0"/>
          </p:cNvCxnSpPr>
          <p:nvPr/>
        </p:nvCxnSpPr>
        <p:spPr bwMode="auto">
          <a:xfrm flipH="1">
            <a:off x="8881795" y="4704949"/>
            <a:ext cx="3315" cy="402322"/>
          </a:xfrm>
          <a:prstGeom prst="line">
            <a:avLst/>
          </a:prstGeom>
          <a:noFill/>
          <a:ln w="3175" cap="flat" cmpd="sng" algn="ctr">
            <a:solidFill>
              <a:schemeClr val="tx1"/>
            </a:solidFill>
            <a:prstDash val="dash"/>
            <a:round/>
            <a:headEnd type="none" w="med" len="med"/>
            <a:tailEnd type="none" w="med" len="med"/>
          </a:ln>
          <a:effectLst/>
        </p:spPr>
      </p:cxnSp>
      <p:cxnSp>
        <p:nvCxnSpPr>
          <p:cNvPr id="73" name="Straight Connector 72">
            <a:extLst>
              <a:ext uri="{FF2B5EF4-FFF2-40B4-BE49-F238E27FC236}">
                <a16:creationId xmlns:a16="http://schemas.microsoft.com/office/drawing/2014/main" id="{5775B09C-8014-4A7B-9B94-2B22DE15E9D5}"/>
              </a:ext>
            </a:extLst>
          </p:cNvPr>
          <p:cNvCxnSpPr>
            <a:cxnSpLocks/>
          </p:cNvCxnSpPr>
          <p:nvPr/>
        </p:nvCxnSpPr>
        <p:spPr bwMode="auto">
          <a:xfrm>
            <a:off x="8265340" y="5996966"/>
            <a:ext cx="1335835"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309838-A95B-49B4-AAF9-8477C95D0A2E}"/>
              </a:ext>
            </a:extLst>
          </p:cNvPr>
          <p:cNvSpPr txBox="1"/>
          <p:nvPr/>
        </p:nvSpPr>
        <p:spPr bwMode="auto">
          <a:xfrm>
            <a:off x="7848757" y="4023585"/>
            <a:ext cx="422248" cy="686153"/>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lvl="0" algn="ctr">
              <a:buClr>
                <a:srgbClr val="181818"/>
              </a:buClr>
            </a:pPr>
            <a:r>
              <a:rPr lang="en-US" sz="1800">
                <a:solidFill>
                  <a:srgbClr val="FFFFFF">
                    <a:lumMod val="50000"/>
                  </a:srgbClr>
                </a:solidFill>
                <a:latin typeface="Ericsson Technical Icons" panose="00000500000000000000" pitchFamily="2" charset="0"/>
              </a:rPr>
              <a:t>B</a:t>
            </a:r>
            <a:endParaRPr lang="en-US" sz="1800">
              <a:solidFill>
                <a:srgbClr val="FFFFFF">
                  <a:lumMod val="50000"/>
                </a:srgbClr>
              </a:solidFill>
            </a:endParaRPr>
          </a:p>
          <a:p>
            <a:pPr lvl="0" algn="ctr">
              <a:buClr>
                <a:srgbClr val="181818"/>
              </a:buClr>
            </a:pPr>
            <a:r>
              <a:rPr lang="en-US" sz="800">
                <a:solidFill>
                  <a:srgbClr val="FFFFFF">
                    <a:lumMod val="50000"/>
                  </a:srgbClr>
                </a:solidFill>
              </a:rPr>
              <a:t>E-UTRAN</a:t>
            </a:r>
          </a:p>
        </p:txBody>
      </p:sp>
      <p:sp>
        <p:nvSpPr>
          <p:cNvPr id="78" name="TextBox 77">
            <a:extLst>
              <a:ext uri="{FF2B5EF4-FFF2-40B4-BE49-F238E27FC236}">
                <a16:creationId xmlns:a16="http://schemas.microsoft.com/office/drawing/2014/main" id="{93A0CDD6-46A5-4052-9E5C-BB60ED010DC4}"/>
              </a:ext>
            </a:extLst>
          </p:cNvPr>
          <p:cNvSpPr txBox="1"/>
          <p:nvPr/>
        </p:nvSpPr>
        <p:spPr bwMode="auto">
          <a:xfrm>
            <a:off x="10594616" y="5503158"/>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br>
              <a:rPr lang="en-US" sz="1100">
                <a:solidFill>
                  <a:schemeClr val="bg1">
                    <a:lumMod val="50000"/>
                  </a:schemeClr>
                </a:solidFill>
              </a:rPr>
            </a:br>
            <a:r>
              <a:rPr lang="en-US" sz="1100">
                <a:solidFill>
                  <a:schemeClr val="bg1">
                    <a:lumMod val="50000"/>
                  </a:schemeClr>
                </a:solidFill>
              </a:rPr>
              <a:t>IMS</a:t>
            </a:r>
            <a:endParaRPr lang="en-US" sz="1050">
              <a:solidFill>
                <a:schemeClr val="bg1">
                  <a:lumMod val="50000"/>
                </a:schemeClr>
              </a:solidFill>
            </a:endParaRPr>
          </a:p>
        </p:txBody>
      </p:sp>
      <p:sp>
        <p:nvSpPr>
          <p:cNvPr id="79" name="TextBox 78">
            <a:extLst>
              <a:ext uri="{FF2B5EF4-FFF2-40B4-BE49-F238E27FC236}">
                <a16:creationId xmlns:a16="http://schemas.microsoft.com/office/drawing/2014/main" id="{B4D15622-BDFF-44F5-9402-12EAFE6A74F5}"/>
              </a:ext>
            </a:extLst>
          </p:cNvPr>
          <p:cNvSpPr txBox="1"/>
          <p:nvPr/>
        </p:nvSpPr>
        <p:spPr bwMode="auto">
          <a:xfrm>
            <a:off x="8673986" y="4020224"/>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r>
              <a:rPr lang="en-US" sz="1050">
                <a:solidFill>
                  <a:schemeClr val="bg1">
                    <a:lumMod val="50000"/>
                  </a:schemeClr>
                </a:solidFill>
              </a:rPr>
              <a:t>MME+</a:t>
            </a:r>
            <a:br>
              <a:rPr lang="en-US" sz="1050">
                <a:solidFill>
                  <a:schemeClr val="bg1">
                    <a:lumMod val="50000"/>
                  </a:schemeClr>
                </a:solidFill>
              </a:rPr>
            </a:br>
            <a:r>
              <a:rPr lang="en-US" sz="1050">
                <a:solidFill>
                  <a:schemeClr val="bg1">
                    <a:lumMod val="50000"/>
                  </a:schemeClr>
                </a:solidFill>
              </a:rPr>
              <a:t>SGw</a:t>
            </a:r>
            <a:br>
              <a:rPr lang="en-US" sz="1050">
                <a:solidFill>
                  <a:schemeClr val="bg1">
                    <a:lumMod val="50000"/>
                  </a:schemeClr>
                </a:solidFill>
              </a:rPr>
            </a:br>
            <a:endParaRPr lang="en-US" sz="1050">
              <a:solidFill>
                <a:schemeClr val="bg1">
                  <a:lumMod val="50000"/>
                </a:schemeClr>
              </a:solidFill>
            </a:endParaRPr>
          </a:p>
        </p:txBody>
      </p:sp>
      <p:sp>
        <p:nvSpPr>
          <p:cNvPr id="80" name="TextBox 79">
            <a:extLst>
              <a:ext uri="{FF2B5EF4-FFF2-40B4-BE49-F238E27FC236}">
                <a16:creationId xmlns:a16="http://schemas.microsoft.com/office/drawing/2014/main" id="{2E070B61-1423-4184-8E42-0B64AA98ACE9}"/>
              </a:ext>
            </a:extLst>
          </p:cNvPr>
          <p:cNvSpPr txBox="1"/>
          <p:nvPr/>
        </p:nvSpPr>
        <p:spPr bwMode="auto">
          <a:xfrm>
            <a:off x="7850516" y="5501730"/>
            <a:ext cx="422248" cy="686153"/>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bg1">
                    <a:lumMod val="50000"/>
                  </a:schemeClr>
                </a:solidFill>
                <a:latin typeface="Ericsson Technical Icons" panose="00000500000000000000" pitchFamily="2" charset="0"/>
              </a:rPr>
              <a:t>B</a:t>
            </a:r>
            <a:endParaRPr lang="en-US" sz="1800">
              <a:solidFill>
                <a:schemeClr val="bg1">
                  <a:lumMod val="50000"/>
                </a:schemeClr>
              </a:solidFill>
            </a:endParaRPr>
          </a:p>
          <a:p>
            <a:pPr algn="ctr">
              <a:buClr>
                <a:schemeClr val="tx1"/>
              </a:buClr>
            </a:pPr>
            <a:r>
              <a:rPr lang="en-US" sz="1050">
                <a:solidFill>
                  <a:schemeClr val="bg1">
                    <a:lumMod val="50000"/>
                  </a:schemeClr>
                </a:solidFill>
              </a:rPr>
              <a:t>NG-</a:t>
            </a:r>
            <a:br>
              <a:rPr lang="en-US" sz="1050">
                <a:solidFill>
                  <a:schemeClr val="bg1">
                    <a:lumMod val="50000"/>
                  </a:schemeClr>
                </a:solidFill>
              </a:rPr>
            </a:br>
            <a:r>
              <a:rPr lang="en-US" sz="1050">
                <a:solidFill>
                  <a:schemeClr val="bg1">
                    <a:lumMod val="50000"/>
                  </a:schemeClr>
                </a:solidFill>
              </a:rPr>
              <a:t>RAN</a:t>
            </a:r>
          </a:p>
        </p:txBody>
      </p:sp>
      <p:sp>
        <p:nvSpPr>
          <p:cNvPr id="81" name="TextBox 80">
            <a:extLst>
              <a:ext uri="{FF2B5EF4-FFF2-40B4-BE49-F238E27FC236}">
                <a16:creationId xmlns:a16="http://schemas.microsoft.com/office/drawing/2014/main" id="{381C2540-9ED3-4686-A20F-A40E307DDC4B}"/>
              </a:ext>
            </a:extLst>
          </p:cNvPr>
          <p:cNvSpPr txBox="1"/>
          <p:nvPr/>
        </p:nvSpPr>
        <p:spPr bwMode="auto">
          <a:xfrm>
            <a:off x="7573652" y="5739019"/>
            <a:ext cx="274595" cy="179423"/>
          </a:xfrm>
          <a:prstGeom prst="rect">
            <a:avLst/>
          </a:prstGeom>
          <a:solidFill>
            <a:schemeClr val="accent5"/>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defPPr>
              <a:defRPr lang="en-GB"/>
            </a:defPPr>
            <a:lvl1pPr algn="ctr">
              <a:spcBef>
                <a:spcPts val="0"/>
              </a:spcBef>
              <a:buClr>
                <a:schemeClr val="tx1"/>
              </a:buClr>
              <a:defRPr sz="900"/>
            </a:lvl1pPr>
          </a:lstStyle>
          <a:p>
            <a:r>
              <a:rPr lang="en-US" sz="700">
                <a:solidFill>
                  <a:schemeClr val="bg1"/>
                </a:solidFill>
              </a:rPr>
              <a:t>NR</a:t>
            </a:r>
          </a:p>
        </p:txBody>
      </p:sp>
      <p:sp>
        <p:nvSpPr>
          <p:cNvPr id="82" name="TextBox 81">
            <a:extLst>
              <a:ext uri="{FF2B5EF4-FFF2-40B4-BE49-F238E27FC236}">
                <a16:creationId xmlns:a16="http://schemas.microsoft.com/office/drawing/2014/main" id="{6B69A531-8EF7-4F42-B553-5BC3BE775007}"/>
              </a:ext>
            </a:extLst>
          </p:cNvPr>
          <p:cNvSpPr txBox="1"/>
          <p:nvPr/>
        </p:nvSpPr>
        <p:spPr bwMode="auto">
          <a:xfrm>
            <a:off x="8670671" y="5107271"/>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bg1">
                    <a:lumMod val="50000"/>
                  </a:schemeClr>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bg1">
                  <a:lumMod val="50000"/>
                </a:schemeClr>
              </a:solidFill>
            </a:endParaRPr>
          </a:p>
          <a:p>
            <a:pPr algn="ctr">
              <a:lnSpc>
                <a:spcPct val="90000"/>
              </a:lnSpc>
              <a:spcBef>
                <a:spcPts val="0"/>
              </a:spcBef>
              <a:buClr>
                <a:schemeClr val="tx1"/>
              </a:buClr>
            </a:pPr>
            <a:r>
              <a:rPr lang="en-US" sz="1100">
                <a:solidFill>
                  <a:schemeClr val="bg1">
                    <a:lumMod val="50000"/>
                  </a:schemeClr>
                </a:solidFill>
              </a:rPr>
              <a:t>AMF</a:t>
            </a:r>
            <a:br>
              <a:rPr lang="en-US" sz="1050">
                <a:solidFill>
                  <a:schemeClr val="bg1">
                    <a:lumMod val="50000"/>
                  </a:schemeClr>
                </a:solidFill>
              </a:rPr>
            </a:br>
            <a:endParaRPr lang="en-US" sz="1050">
              <a:solidFill>
                <a:schemeClr val="bg1">
                  <a:lumMod val="50000"/>
                </a:schemeClr>
              </a:solidFill>
            </a:endParaRPr>
          </a:p>
        </p:txBody>
      </p:sp>
      <p:sp>
        <p:nvSpPr>
          <p:cNvPr id="83" name="Freeform: Shape 82">
            <a:extLst>
              <a:ext uri="{FF2B5EF4-FFF2-40B4-BE49-F238E27FC236}">
                <a16:creationId xmlns:a16="http://schemas.microsoft.com/office/drawing/2014/main" id="{185F51CA-3BEF-4182-93E1-B72A9541BFC4}"/>
              </a:ext>
            </a:extLst>
          </p:cNvPr>
          <p:cNvSpPr/>
          <p:nvPr/>
        </p:nvSpPr>
        <p:spPr bwMode="auto">
          <a:xfrm>
            <a:off x="9216182" y="4634993"/>
            <a:ext cx="257207" cy="221484"/>
          </a:xfrm>
          <a:custGeom>
            <a:avLst/>
            <a:gdLst>
              <a:gd name="connsiteX0" fmla="*/ 0 w 335902"/>
              <a:gd name="connsiteY0" fmla="*/ 0 h 289249"/>
              <a:gd name="connsiteX1" fmla="*/ 102637 w 335902"/>
              <a:gd name="connsiteY1" fmla="*/ 0 h 289249"/>
              <a:gd name="connsiteX2" fmla="*/ 102637 w 335902"/>
              <a:gd name="connsiteY2" fmla="*/ 289249 h 289249"/>
              <a:gd name="connsiteX3" fmla="*/ 186613 w 335902"/>
              <a:gd name="connsiteY3" fmla="*/ 270587 h 289249"/>
              <a:gd name="connsiteX4" fmla="*/ 335902 w 335902"/>
              <a:gd name="connsiteY4" fmla="*/ 261257 h 289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02" h="289249">
                <a:moveTo>
                  <a:pt x="0" y="0"/>
                </a:moveTo>
                <a:lnTo>
                  <a:pt x="102637" y="0"/>
                </a:lnTo>
                <a:lnTo>
                  <a:pt x="102637" y="289249"/>
                </a:lnTo>
                <a:cubicBezTo>
                  <a:pt x="130629" y="283028"/>
                  <a:pt x="158160" y="274144"/>
                  <a:pt x="186613" y="270587"/>
                </a:cubicBezTo>
                <a:cubicBezTo>
                  <a:pt x="262908" y="261050"/>
                  <a:pt x="284256" y="261257"/>
                  <a:pt x="335902" y="261257"/>
                </a:cubicBezTo>
              </a:path>
            </a:pathLst>
          </a:custGeom>
          <a:noFill/>
          <a:ln w="3175" cap="flat" cmpd="sng" algn="ctr">
            <a:noFill/>
            <a:prstDash val="solid"/>
            <a:round/>
            <a:headEnd type="none" w="med" len="med"/>
            <a:tailEnd type="none" w="med" len="med"/>
          </a:ln>
          <a:effectLst/>
        </p:spPr>
        <p:txBody>
          <a:bodyPr rtlCol="0" anchor="ctr"/>
          <a:lstStyle/>
          <a:p>
            <a:pPr algn="ctr"/>
            <a:endParaRPr lang="en-US" sz="1600"/>
          </a:p>
        </p:txBody>
      </p:sp>
      <p:sp>
        <p:nvSpPr>
          <p:cNvPr id="84" name="Freeform: Shape 83">
            <a:extLst>
              <a:ext uri="{FF2B5EF4-FFF2-40B4-BE49-F238E27FC236}">
                <a16:creationId xmlns:a16="http://schemas.microsoft.com/office/drawing/2014/main" id="{53D367BC-AB9E-45B9-BE48-429B3030972A}"/>
              </a:ext>
            </a:extLst>
          </p:cNvPr>
          <p:cNvSpPr/>
          <p:nvPr/>
        </p:nvSpPr>
        <p:spPr bwMode="auto">
          <a:xfrm>
            <a:off x="9101475" y="4366661"/>
            <a:ext cx="511155" cy="1227863"/>
          </a:xfrm>
          <a:custGeom>
            <a:avLst/>
            <a:gdLst>
              <a:gd name="connsiteX0" fmla="*/ 382555 w 382555"/>
              <a:gd name="connsiteY0" fmla="*/ 335902 h 335902"/>
              <a:gd name="connsiteX1" fmla="*/ 177281 w 382555"/>
              <a:gd name="connsiteY1" fmla="*/ 335902 h 335902"/>
              <a:gd name="connsiteX2" fmla="*/ 177281 w 382555"/>
              <a:gd name="connsiteY2" fmla="*/ 0 h 335902"/>
              <a:gd name="connsiteX3" fmla="*/ 0 w 382555"/>
              <a:gd name="connsiteY3" fmla="*/ 0 h 335902"/>
              <a:gd name="connsiteX4" fmla="*/ 65314 w 382555"/>
              <a:gd name="connsiteY4" fmla="*/ 0 h 33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555" h="335902">
                <a:moveTo>
                  <a:pt x="382555" y="335902"/>
                </a:moveTo>
                <a:lnTo>
                  <a:pt x="177281" y="335902"/>
                </a:lnTo>
                <a:lnTo>
                  <a:pt x="177281" y="0"/>
                </a:lnTo>
                <a:lnTo>
                  <a:pt x="0" y="0"/>
                </a:lnTo>
                <a:lnTo>
                  <a:pt x="65314" y="0"/>
                </a:lnTo>
              </a:path>
            </a:pathLst>
          </a:custGeom>
          <a:noFill/>
          <a:ln w="12700" cap="flat" cmpd="sng" algn="ctr">
            <a:solidFill>
              <a:schemeClr val="bg1">
                <a:lumMod val="50000"/>
              </a:schemeClr>
            </a:solidFill>
            <a:prstDash val="solid"/>
            <a:round/>
            <a:headEnd type="none" w="med" len="med"/>
            <a:tailEnd type="none" w="med" len="med"/>
          </a:ln>
          <a:effectLst/>
        </p:spPr>
        <p:txBody>
          <a:bodyPr rtlCol="0" anchor="ctr"/>
          <a:lstStyle/>
          <a:p>
            <a:pPr algn="ctr"/>
            <a:endParaRPr lang="en-US" sz="1600"/>
          </a:p>
        </p:txBody>
      </p:sp>
      <p:sp>
        <p:nvSpPr>
          <p:cNvPr id="85" name="TextBox 84">
            <a:extLst>
              <a:ext uri="{FF2B5EF4-FFF2-40B4-BE49-F238E27FC236}">
                <a16:creationId xmlns:a16="http://schemas.microsoft.com/office/drawing/2014/main" id="{6C02FEF0-EF67-45EC-B06B-6BBC6F12152E}"/>
              </a:ext>
            </a:extLst>
          </p:cNvPr>
          <p:cNvSpPr txBox="1"/>
          <p:nvPr/>
        </p:nvSpPr>
        <p:spPr bwMode="auto">
          <a:xfrm>
            <a:off x="9601176" y="5503158"/>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br>
              <a:rPr lang="en-US" sz="1200">
                <a:solidFill>
                  <a:schemeClr val="bg1">
                    <a:lumMod val="50000"/>
                  </a:schemeClr>
                </a:solidFill>
                <a:latin typeface="Ericsson Technical Icons" panose="00000500000000000000" pitchFamily="2" charset="0"/>
              </a:rPr>
            </a:br>
            <a:r>
              <a:rPr lang="en-US" sz="1200">
                <a:solidFill>
                  <a:schemeClr val="bg1">
                    <a:lumMod val="50000"/>
                  </a:schemeClr>
                </a:solidFill>
                <a:latin typeface="Ericsson Technical Icons" panose="00000500000000000000" pitchFamily="2" charset="0"/>
              </a:rPr>
              <a:t>g</a:t>
            </a:r>
          </a:p>
          <a:p>
            <a:pPr algn="ctr">
              <a:lnSpc>
                <a:spcPct val="90000"/>
              </a:lnSpc>
              <a:spcBef>
                <a:spcPts val="0"/>
              </a:spcBef>
              <a:buClr>
                <a:schemeClr val="tx1"/>
              </a:buClr>
            </a:pPr>
            <a:r>
              <a:rPr lang="en-US" sz="1100">
                <a:solidFill>
                  <a:schemeClr val="bg1">
                    <a:lumMod val="50000"/>
                  </a:schemeClr>
                </a:solidFill>
              </a:rPr>
              <a:t>UPF</a:t>
            </a:r>
            <a:endParaRPr lang="en-US" sz="1050">
              <a:solidFill>
                <a:schemeClr val="bg1">
                  <a:lumMod val="50000"/>
                </a:schemeClr>
              </a:solidFill>
            </a:endParaRPr>
          </a:p>
        </p:txBody>
      </p:sp>
      <p:sp>
        <p:nvSpPr>
          <p:cNvPr id="86" name="TextBox 85">
            <a:extLst>
              <a:ext uri="{FF2B5EF4-FFF2-40B4-BE49-F238E27FC236}">
                <a16:creationId xmlns:a16="http://schemas.microsoft.com/office/drawing/2014/main" id="{2A2BD7E9-5E16-4876-A66F-E3F443FB8752}"/>
              </a:ext>
            </a:extLst>
          </p:cNvPr>
          <p:cNvSpPr txBox="1"/>
          <p:nvPr/>
        </p:nvSpPr>
        <p:spPr bwMode="auto">
          <a:xfrm>
            <a:off x="7568921" y="4272874"/>
            <a:ext cx="274595" cy="179423"/>
          </a:xfrm>
          <a:prstGeom prst="rect">
            <a:avLst/>
          </a:prstGeom>
          <a:solidFill>
            <a:schemeClr val="accent2"/>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p>
            <a:pPr algn="ctr">
              <a:spcBef>
                <a:spcPts val="0"/>
              </a:spcBef>
              <a:buClr>
                <a:schemeClr val="tx1"/>
              </a:buClr>
            </a:pPr>
            <a:r>
              <a:rPr lang="en-US" sz="700">
                <a:solidFill>
                  <a:schemeClr val="bg1"/>
                </a:solidFill>
              </a:rPr>
              <a:t>LTE</a:t>
            </a:r>
          </a:p>
        </p:txBody>
      </p:sp>
      <p:cxnSp>
        <p:nvCxnSpPr>
          <p:cNvPr id="87" name="Straight Connector 86">
            <a:extLst>
              <a:ext uri="{FF2B5EF4-FFF2-40B4-BE49-F238E27FC236}">
                <a16:creationId xmlns:a16="http://schemas.microsoft.com/office/drawing/2014/main" id="{A49AD993-6C09-4FCD-B93D-326D6D375D8E}"/>
              </a:ext>
            </a:extLst>
          </p:cNvPr>
          <p:cNvCxnSpPr>
            <a:cxnSpLocks/>
          </p:cNvCxnSpPr>
          <p:nvPr/>
        </p:nvCxnSpPr>
        <p:spPr bwMode="auto">
          <a:xfrm>
            <a:off x="8285111" y="5671308"/>
            <a:ext cx="388875" cy="0"/>
          </a:xfrm>
          <a:prstGeom prst="line">
            <a:avLst/>
          </a:prstGeom>
          <a:noFill/>
          <a:ln w="3175" cap="flat" cmpd="sng" algn="ctr">
            <a:solidFill>
              <a:schemeClr val="tx1"/>
            </a:solidFill>
            <a:prstDash val="dash"/>
            <a:round/>
            <a:headEnd type="none" w="med" len="med"/>
            <a:tailEnd type="none" w="med" len="med"/>
          </a:ln>
          <a:effectLst/>
        </p:spPr>
      </p:cxnSp>
      <p:cxnSp>
        <p:nvCxnSpPr>
          <p:cNvPr id="88" name="Straight Connector 87">
            <a:extLst>
              <a:ext uri="{FF2B5EF4-FFF2-40B4-BE49-F238E27FC236}">
                <a16:creationId xmlns:a16="http://schemas.microsoft.com/office/drawing/2014/main" id="{D54CD62B-6E93-4554-9A51-05C958E0C134}"/>
              </a:ext>
            </a:extLst>
          </p:cNvPr>
          <p:cNvCxnSpPr>
            <a:cxnSpLocks/>
            <a:stCxn id="85" idx="3"/>
            <a:endCxn id="78" idx="1"/>
          </p:cNvCxnSpPr>
          <p:nvPr/>
        </p:nvCxnSpPr>
        <p:spPr bwMode="auto">
          <a:xfrm>
            <a:off x="10023424" y="5845521"/>
            <a:ext cx="571192"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99B406EF-7D32-4164-81F1-D9BB9374722C}"/>
              </a:ext>
            </a:extLst>
          </p:cNvPr>
          <p:cNvCxnSpPr>
            <a:cxnSpLocks/>
            <a:stCxn id="77" idx="3"/>
            <a:endCxn id="79" idx="1"/>
          </p:cNvCxnSpPr>
          <p:nvPr/>
        </p:nvCxnSpPr>
        <p:spPr bwMode="auto">
          <a:xfrm flipV="1">
            <a:off x="8271005" y="4362587"/>
            <a:ext cx="402981" cy="4074"/>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8DF451E3-EA89-444B-898B-11627B6542EE}"/>
              </a:ext>
            </a:extLst>
          </p:cNvPr>
          <p:cNvCxnSpPr>
            <a:cxnSpLocks/>
          </p:cNvCxnSpPr>
          <p:nvPr/>
        </p:nvCxnSpPr>
        <p:spPr bwMode="auto">
          <a:xfrm>
            <a:off x="11164551" y="5778238"/>
            <a:ext cx="0" cy="11871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91" name="Text Box 1179">
            <a:extLst>
              <a:ext uri="{FF2B5EF4-FFF2-40B4-BE49-F238E27FC236}">
                <a16:creationId xmlns:a16="http://schemas.microsoft.com/office/drawing/2014/main" id="{6C9A695F-240F-413D-A79D-9C50F9DDF1FB}"/>
              </a:ext>
            </a:extLst>
          </p:cNvPr>
          <p:cNvSpPr txBox="1">
            <a:spLocks noChangeArrowheads="1"/>
          </p:cNvSpPr>
          <p:nvPr/>
        </p:nvSpPr>
        <p:spPr bwMode="auto">
          <a:xfrm>
            <a:off x="11076376" y="5658050"/>
            <a:ext cx="17953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800">
                <a:latin typeface="+mn-lt"/>
              </a:rPr>
              <a:t>NNI</a:t>
            </a:r>
          </a:p>
        </p:txBody>
      </p:sp>
      <p:cxnSp>
        <p:nvCxnSpPr>
          <p:cNvPr id="92" name="Straight Connector 91">
            <a:extLst>
              <a:ext uri="{FF2B5EF4-FFF2-40B4-BE49-F238E27FC236}">
                <a16:creationId xmlns:a16="http://schemas.microsoft.com/office/drawing/2014/main" id="{F125EFAA-1847-481D-84FA-2F2DD40AFFC7}"/>
              </a:ext>
            </a:extLst>
          </p:cNvPr>
          <p:cNvCxnSpPr>
            <a:cxnSpLocks/>
          </p:cNvCxnSpPr>
          <p:nvPr/>
        </p:nvCxnSpPr>
        <p:spPr bwMode="auto">
          <a:xfrm>
            <a:off x="11028247" y="5846970"/>
            <a:ext cx="187535" cy="0"/>
          </a:xfrm>
          <a:prstGeom prst="line">
            <a:avLst/>
          </a:prstGeom>
          <a:solidFill>
            <a:schemeClr val="accent1"/>
          </a:solidFill>
          <a:ln w="12700" cap="flat" cmpd="sng" algn="ctr">
            <a:solidFill>
              <a:schemeClr val="bg1">
                <a:lumMod val="50000"/>
              </a:schemeClr>
            </a:solidFill>
            <a:prstDash val="solid"/>
            <a:round/>
            <a:headEnd type="none" w="med" len="med"/>
            <a:tailEnd type="none" w="med" len="med"/>
          </a:ln>
          <a:effectLst/>
        </p:spPr>
      </p:cxnSp>
      <p:sp>
        <p:nvSpPr>
          <p:cNvPr id="93" name="Freeform: Shape 92">
            <a:extLst>
              <a:ext uri="{FF2B5EF4-FFF2-40B4-BE49-F238E27FC236}">
                <a16:creationId xmlns:a16="http://schemas.microsoft.com/office/drawing/2014/main" id="{538C84DA-95CE-4579-8EE5-C749D2AEB0AE}"/>
              </a:ext>
            </a:extLst>
          </p:cNvPr>
          <p:cNvSpPr/>
          <p:nvPr/>
        </p:nvSpPr>
        <p:spPr bwMode="auto">
          <a:xfrm>
            <a:off x="7157318" y="5236420"/>
            <a:ext cx="2881347" cy="749940"/>
          </a:xfrm>
          <a:custGeom>
            <a:avLst/>
            <a:gdLst>
              <a:gd name="connsiteX0" fmla="*/ 0 w 2881347"/>
              <a:gd name="connsiteY0" fmla="*/ 0 h 749940"/>
              <a:gd name="connsiteX1" fmla="*/ 690734 w 2881347"/>
              <a:gd name="connsiteY1" fmla="*/ 749940 h 749940"/>
              <a:gd name="connsiteX2" fmla="*/ 2447171 w 2881347"/>
              <a:gd name="connsiteY2" fmla="*/ 749940 h 749940"/>
              <a:gd name="connsiteX3" fmla="*/ 2881347 w 2881347"/>
              <a:gd name="connsiteY3" fmla="*/ 605215 h 749940"/>
              <a:gd name="connsiteX4" fmla="*/ 2881347 w 2881347"/>
              <a:gd name="connsiteY4" fmla="*/ 605215 h 749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347" h="749940">
                <a:moveTo>
                  <a:pt x="0" y="0"/>
                </a:moveTo>
                <a:lnTo>
                  <a:pt x="690734" y="749940"/>
                </a:lnTo>
                <a:lnTo>
                  <a:pt x="2447171" y="749940"/>
                </a:lnTo>
                <a:lnTo>
                  <a:pt x="2881347" y="605215"/>
                </a:lnTo>
                <a:lnTo>
                  <a:pt x="2881347" y="605215"/>
                </a:lnTo>
              </a:path>
            </a:pathLst>
          </a:custGeom>
          <a:noFill/>
          <a:ln w="28575" cap="flat" cmpd="sng" algn="ctr">
            <a:solidFill>
              <a:schemeClr val="accent1">
                <a:lumMod val="7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cxnSp>
        <p:nvCxnSpPr>
          <p:cNvPr id="94" name="Straight Connector 93">
            <a:extLst>
              <a:ext uri="{FF2B5EF4-FFF2-40B4-BE49-F238E27FC236}">
                <a16:creationId xmlns:a16="http://schemas.microsoft.com/office/drawing/2014/main" id="{CF6F183B-1FCE-4C30-BE30-2BA2851A0DB4}"/>
              </a:ext>
            </a:extLst>
          </p:cNvPr>
          <p:cNvCxnSpPr>
            <a:endCxn id="93" idx="3"/>
          </p:cNvCxnSpPr>
          <p:nvPr/>
        </p:nvCxnSpPr>
        <p:spPr bwMode="auto">
          <a:xfrm flipH="1" flipV="1">
            <a:off x="10038665" y="5841635"/>
            <a:ext cx="1217247" cy="5335"/>
          </a:xfrm>
          <a:prstGeom prst="line">
            <a:avLst/>
          </a:prstGeom>
          <a:noFill/>
          <a:ln w="28575" cap="flat" cmpd="sng" algn="ctr">
            <a:solidFill>
              <a:schemeClr val="accent3">
                <a:lumMod val="75000"/>
              </a:schemeClr>
            </a:solidFill>
            <a:prstDash val="solid"/>
            <a:round/>
            <a:headEnd type="none" w="med" len="med"/>
            <a:tailEnd type="none" w="med" len="med"/>
          </a:ln>
          <a:effectLst/>
        </p:spPr>
      </p:cxnSp>
      <p:sp>
        <p:nvSpPr>
          <p:cNvPr id="95" name="Freeform: Shape 94">
            <a:extLst>
              <a:ext uri="{FF2B5EF4-FFF2-40B4-BE49-F238E27FC236}">
                <a16:creationId xmlns:a16="http://schemas.microsoft.com/office/drawing/2014/main" id="{425EDE1A-9077-465A-A435-2E4C599E1F02}"/>
              </a:ext>
            </a:extLst>
          </p:cNvPr>
          <p:cNvSpPr/>
          <p:nvPr/>
        </p:nvSpPr>
        <p:spPr bwMode="auto">
          <a:xfrm>
            <a:off x="7150740" y="4368069"/>
            <a:ext cx="2901082" cy="1480144"/>
          </a:xfrm>
          <a:custGeom>
            <a:avLst/>
            <a:gdLst>
              <a:gd name="connsiteX0" fmla="*/ 0 w 2901082"/>
              <a:gd name="connsiteY0" fmla="*/ 710469 h 1480144"/>
              <a:gd name="connsiteX1" fmla="*/ 703890 w 2901082"/>
              <a:gd name="connsiteY1" fmla="*/ 0 h 1480144"/>
              <a:gd name="connsiteX2" fmla="*/ 2184034 w 2901082"/>
              <a:gd name="connsiteY2" fmla="*/ 0 h 1480144"/>
              <a:gd name="connsiteX3" fmla="*/ 2184034 w 2901082"/>
              <a:gd name="connsiteY3" fmla="*/ 1217007 h 1480144"/>
              <a:gd name="connsiteX4" fmla="*/ 2434014 w 2901082"/>
              <a:gd name="connsiteY4" fmla="*/ 1217007 h 1480144"/>
              <a:gd name="connsiteX5" fmla="*/ 2901082 w 2901082"/>
              <a:gd name="connsiteY5" fmla="*/ 1480144 h 148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082" h="1480144">
                <a:moveTo>
                  <a:pt x="0" y="710469"/>
                </a:moveTo>
                <a:lnTo>
                  <a:pt x="703890" y="0"/>
                </a:lnTo>
                <a:lnTo>
                  <a:pt x="2184034" y="0"/>
                </a:lnTo>
                <a:lnTo>
                  <a:pt x="2184034" y="1217007"/>
                </a:lnTo>
                <a:lnTo>
                  <a:pt x="2434014" y="1217007"/>
                </a:lnTo>
                <a:lnTo>
                  <a:pt x="2901082" y="1480144"/>
                </a:lnTo>
              </a:path>
            </a:pathLst>
          </a:custGeom>
          <a:noFill/>
          <a:ln w="28575" cap="flat" cmpd="sng" algn="ctr">
            <a:solidFill>
              <a:schemeClr val="accent6"/>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96" name="Oval 95">
            <a:extLst>
              <a:ext uri="{FF2B5EF4-FFF2-40B4-BE49-F238E27FC236}">
                <a16:creationId xmlns:a16="http://schemas.microsoft.com/office/drawing/2014/main" id="{2C3E6366-B9E7-4BE6-9AB1-8276762ECBCA}"/>
              </a:ext>
            </a:extLst>
          </p:cNvPr>
          <p:cNvSpPr/>
          <p:nvPr/>
        </p:nvSpPr>
        <p:spPr bwMode="auto">
          <a:xfrm>
            <a:off x="7953599" y="5895989"/>
            <a:ext cx="187203" cy="187203"/>
          </a:xfrm>
          <a:prstGeom prst="ellipse">
            <a:avLst/>
          </a:prstGeom>
          <a:solidFill>
            <a:schemeClr val="accent4"/>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T</a:t>
            </a:r>
          </a:p>
        </p:txBody>
      </p:sp>
      <p:sp>
        <p:nvSpPr>
          <p:cNvPr id="97" name="Oval 223">
            <a:extLst>
              <a:ext uri="{FF2B5EF4-FFF2-40B4-BE49-F238E27FC236}">
                <a16:creationId xmlns:a16="http://schemas.microsoft.com/office/drawing/2014/main" id="{93A2D1BE-BD9F-4854-A3DE-FADDE72C8946}"/>
              </a:ext>
            </a:extLst>
          </p:cNvPr>
          <p:cNvSpPr>
            <a:spLocks noChangeArrowheads="1"/>
          </p:cNvSpPr>
          <p:nvPr/>
        </p:nvSpPr>
        <p:spPr bwMode="auto">
          <a:xfrm rot="7475467">
            <a:off x="9900766" y="5740699"/>
            <a:ext cx="215900" cy="215900"/>
          </a:xfrm>
          <a:prstGeom prst="ellipse">
            <a:avLst/>
          </a:prstGeom>
          <a:solidFill>
            <a:schemeClr val="accent4"/>
          </a:solidFill>
          <a:ln w="12700" algn="ctr">
            <a:noFill/>
            <a:round/>
            <a:headEnd/>
            <a:tailEnd/>
          </a:ln>
          <a:effectLst/>
        </p:spPr>
        <p:txBody>
          <a:bodyPr wrap="none" lIns="0" rIns="0" anchor="ctr"/>
          <a:lstStyle/>
          <a:p>
            <a:pPr algn="ctr"/>
            <a:r>
              <a:rPr lang="en-US" altLang="sv-SE" sz="1200" b="1">
                <a:solidFill>
                  <a:srgbClr val="002060"/>
                </a:solidFill>
                <a:latin typeface="Wingdings" panose="05000000000000000000" pitchFamily="2" charset="2"/>
              </a:rPr>
              <a:t>f</a:t>
            </a:r>
            <a:endParaRPr lang="en-US" altLang="sv-SE" sz="1200" b="1">
              <a:solidFill>
                <a:srgbClr val="002060"/>
              </a:solidFill>
            </a:endParaRPr>
          </a:p>
        </p:txBody>
      </p:sp>
      <p:sp>
        <p:nvSpPr>
          <p:cNvPr id="100" name="TextBox 99">
            <a:extLst>
              <a:ext uri="{FF2B5EF4-FFF2-40B4-BE49-F238E27FC236}">
                <a16:creationId xmlns:a16="http://schemas.microsoft.com/office/drawing/2014/main" id="{F639B7B5-0E32-41D9-93DE-4C855021D25A}"/>
              </a:ext>
            </a:extLst>
          </p:cNvPr>
          <p:cNvSpPr txBox="1"/>
          <p:nvPr/>
        </p:nvSpPr>
        <p:spPr bwMode="auto">
          <a:xfrm>
            <a:off x="9601176" y="4534135"/>
            <a:ext cx="422248" cy="684725"/>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bg1">
                    <a:lumMod val="50000"/>
                  </a:schemeClr>
                </a:solidFill>
                <a:latin typeface="Ericsson Technical Icons" panose="00000500000000000000" pitchFamily="2" charset="0"/>
              </a:rPr>
              <a:t>S</a:t>
            </a:r>
            <a:br>
              <a:rPr lang="en-US" sz="1200">
                <a:solidFill>
                  <a:schemeClr val="bg1">
                    <a:lumMod val="50000"/>
                  </a:schemeClr>
                </a:solidFill>
                <a:latin typeface="Ericsson Technical Icons" panose="00000500000000000000" pitchFamily="2" charset="0"/>
              </a:rPr>
            </a:br>
            <a:endParaRPr lang="en-US" sz="1200">
              <a:solidFill>
                <a:schemeClr val="bg1">
                  <a:lumMod val="50000"/>
                </a:schemeClr>
              </a:solidFill>
              <a:latin typeface="Ericsson Technical Icons" panose="00000500000000000000" pitchFamily="2" charset="0"/>
            </a:endParaRPr>
          </a:p>
          <a:p>
            <a:pPr algn="ctr">
              <a:lnSpc>
                <a:spcPct val="90000"/>
              </a:lnSpc>
              <a:spcBef>
                <a:spcPts val="0"/>
              </a:spcBef>
              <a:buClr>
                <a:schemeClr val="tx1"/>
              </a:buClr>
            </a:pPr>
            <a:r>
              <a:rPr lang="en-US" sz="1050">
                <a:solidFill>
                  <a:schemeClr val="bg1">
                    <a:lumMod val="50000"/>
                  </a:schemeClr>
                </a:solidFill>
              </a:rPr>
              <a:t>SMF</a:t>
            </a:r>
            <a:br>
              <a:rPr lang="en-US" sz="1050">
                <a:solidFill>
                  <a:schemeClr val="bg1">
                    <a:lumMod val="50000"/>
                  </a:schemeClr>
                </a:solidFill>
              </a:rPr>
            </a:br>
            <a:endParaRPr lang="en-US" sz="1050">
              <a:solidFill>
                <a:schemeClr val="bg1">
                  <a:lumMod val="50000"/>
                </a:schemeClr>
              </a:solidFill>
            </a:endParaRPr>
          </a:p>
        </p:txBody>
      </p:sp>
      <p:cxnSp>
        <p:nvCxnSpPr>
          <p:cNvPr id="101" name="Straight Connector 100">
            <a:extLst>
              <a:ext uri="{FF2B5EF4-FFF2-40B4-BE49-F238E27FC236}">
                <a16:creationId xmlns:a16="http://schemas.microsoft.com/office/drawing/2014/main" id="{562A563F-36EC-4057-8CFB-7328B478F953}"/>
              </a:ext>
            </a:extLst>
          </p:cNvPr>
          <p:cNvCxnSpPr>
            <a:cxnSpLocks/>
            <a:stCxn id="100" idx="2"/>
            <a:endCxn id="85" idx="0"/>
          </p:cNvCxnSpPr>
          <p:nvPr/>
        </p:nvCxnSpPr>
        <p:spPr bwMode="auto">
          <a:xfrm>
            <a:off x="9812300" y="5218860"/>
            <a:ext cx="0" cy="284298"/>
          </a:xfrm>
          <a:prstGeom prst="line">
            <a:avLst/>
          </a:prstGeom>
          <a:noFill/>
          <a:ln w="3175" cap="flat" cmpd="sng" algn="ctr">
            <a:solidFill>
              <a:schemeClr val="tx1"/>
            </a:solidFill>
            <a:prstDash val="dash"/>
            <a:round/>
            <a:headEnd type="none" w="med" len="med"/>
            <a:tailEnd type="none" w="med" len="med"/>
          </a:ln>
          <a:effectLst/>
        </p:spPr>
      </p:cxnSp>
      <p:cxnSp>
        <p:nvCxnSpPr>
          <p:cNvPr id="102" name="Straight Connector 55">
            <a:extLst>
              <a:ext uri="{FF2B5EF4-FFF2-40B4-BE49-F238E27FC236}">
                <a16:creationId xmlns:a16="http://schemas.microsoft.com/office/drawing/2014/main" id="{CAE3476C-5A5D-4469-B198-EF1C30D6E789}"/>
              </a:ext>
            </a:extLst>
          </p:cNvPr>
          <p:cNvCxnSpPr>
            <a:cxnSpLocks/>
            <a:stCxn id="100" idx="1"/>
            <a:endCxn id="82" idx="3"/>
          </p:cNvCxnSpPr>
          <p:nvPr/>
        </p:nvCxnSpPr>
        <p:spPr bwMode="auto">
          <a:xfrm rot="10800000" flipV="1">
            <a:off x="9092920" y="4876498"/>
            <a:ext cx="508257" cy="573136"/>
          </a:xfrm>
          <a:prstGeom prst="bentConnector3">
            <a:avLst>
              <a:gd name="adj1" fmla="val 26441"/>
            </a:avLst>
          </a:prstGeom>
          <a:noFill/>
          <a:ln w="3175" cap="flat" cmpd="sng" algn="ctr">
            <a:solidFill>
              <a:schemeClr val="tx1"/>
            </a:solidFill>
            <a:prstDash val="dash"/>
            <a:round/>
            <a:headEnd type="none" w="med" len="med"/>
            <a:tailEnd type="none" w="med" len="med"/>
          </a:ln>
          <a:effectLst/>
        </p:spPr>
      </p:cxnSp>
      <p:cxnSp>
        <p:nvCxnSpPr>
          <p:cNvPr id="103" name="Straight Connector 58">
            <a:extLst>
              <a:ext uri="{FF2B5EF4-FFF2-40B4-BE49-F238E27FC236}">
                <a16:creationId xmlns:a16="http://schemas.microsoft.com/office/drawing/2014/main" id="{98A2A3D3-AB17-4870-B94A-2D9A1F63D592}"/>
              </a:ext>
            </a:extLst>
          </p:cNvPr>
          <p:cNvCxnSpPr>
            <a:cxnSpLocks/>
          </p:cNvCxnSpPr>
          <p:nvPr/>
        </p:nvCxnSpPr>
        <p:spPr bwMode="auto">
          <a:xfrm rot="10800000">
            <a:off x="9101476" y="4235788"/>
            <a:ext cx="511155" cy="399209"/>
          </a:xfrm>
          <a:prstGeom prst="bentConnector3">
            <a:avLst>
              <a:gd name="adj1" fmla="val 28704"/>
            </a:avLst>
          </a:prstGeom>
          <a:noFill/>
          <a:ln w="317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17207110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TextBox 137">
            <a:extLst>
              <a:ext uri="{FF2B5EF4-FFF2-40B4-BE49-F238E27FC236}">
                <a16:creationId xmlns:a16="http://schemas.microsoft.com/office/drawing/2014/main" id="{679A392D-907F-43D0-A857-DB035B1DC665}"/>
              </a:ext>
            </a:extLst>
          </p:cNvPr>
          <p:cNvSpPr txBox="1"/>
          <p:nvPr/>
        </p:nvSpPr>
        <p:spPr bwMode="auto">
          <a:xfrm>
            <a:off x="6245454" y="3877171"/>
            <a:ext cx="5528729" cy="24170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lvl="0" indent="0">
              <a:lnSpc>
                <a:spcPct val="90000"/>
              </a:lnSpc>
              <a:spcAft>
                <a:spcPts val="300"/>
              </a:spcAft>
              <a:buClr>
                <a:srgbClr val="181818"/>
              </a:buClr>
              <a:buNone/>
              <a:defRPr/>
            </a:pPr>
            <a:r>
              <a:rPr lang="en-US" sz="1600" b="1">
                <a:solidFill>
                  <a:srgbClr val="181818"/>
                </a:solidFill>
              </a:rPr>
              <a:t>EPS Fallback – QoS triggered </a:t>
            </a:r>
            <a:r>
              <a:rPr lang="en-US" sz="1600" b="1"/>
              <a:t>for emergency </a:t>
            </a:r>
          </a:p>
          <a:p>
            <a:pPr marL="285750" lvl="0" indent="-285750">
              <a:lnSpc>
                <a:spcPct val="90000"/>
              </a:lnSpc>
              <a:spcBef>
                <a:spcPts val="0"/>
              </a:spcBef>
              <a:spcAft>
                <a:spcPts val="300"/>
              </a:spcAft>
              <a:buClr>
                <a:srgbClr val="181818"/>
              </a:buClr>
              <a:buFont typeface="Ericsson Hilda Light" panose="00000600000000000000" pitchFamily="2" charset="0"/>
              <a:buChar char="—"/>
              <a:defRPr/>
            </a:pPr>
            <a:r>
              <a:rPr lang="en-US" sz="1400"/>
              <a:t>Falling back to Emergency call over LTE during  call establishment (like for voice)</a:t>
            </a:r>
          </a:p>
          <a:p>
            <a:pPr marL="285750" indent="-285750">
              <a:lnSpc>
                <a:spcPct val="90000"/>
              </a:lnSpc>
              <a:spcBef>
                <a:spcPts val="0"/>
              </a:spcBef>
              <a:spcAft>
                <a:spcPts val="300"/>
              </a:spcAft>
              <a:buClr>
                <a:srgbClr val="181818"/>
              </a:buClr>
              <a:buFont typeface="Ericsson Hilda Light" panose="00000600000000000000" pitchFamily="2" charset="0"/>
              <a:buChar char="—"/>
              <a:defRPr/>
            </a:pPr>
            <a:r>
              <a:rPr lang="en-US" sz="1400"/>
              <a:t>NR and 5GC supporting emergency features incl. impacts on GMLC/LRF</a:t>
            </a:r>
            <a:br>
              <a:rPr lang="en-US" sz="1400"/>
            </a:br>
            <a:endParaRPr lang="en-US" sz="1400"/>
          </a:p>
          <a:p>
            <a:pPr marL="0" lvl="0" indent="0" fontAlgn="auto">
              <a:lnSpc>
                <a:spcPct val="90000"/>
              </a:lnSpc>
              <a:spcBef>
                <a:spcPts val="0"/>
              </a:spcBef>
              <a:spcAft>
                <a:spcPts val="300"/>
              </a:spcAft>
              <a:buClr>
                <a:srgbClr val="181818"/>
              </a:buClr>
              <a:buNone/>
              <a:defRPr/>
            </a:pPr>
            <a:r>
              <a:rPr lang="en-US" sz="1600" b="1"/>
              <a:t>Emergency over NR </a:t>
            </a:r>
            <a:r>
              <a:rPr lang="en-US" sz="1600"/>
              <a:t>(recommended)</a:t>
            </a:r>
            <a:endParaRPr kumimoji="0" lang="en-US" sz="1600" b="1" i="0" u="none" strike="noStrike" kern="1200" cap="none" spc="0" normalizeH="0" baseline="0" noProof="0">
              <a:ln>
                <a:noFill/>
              </a:ln>
              <a:effectLst/>
              <a:uLnTx/>
              <a:uFillTx/>
              <a:latin typeface="Ericsson Hilda"/>
            </a:endParaRPr>
          </a:p>
          <a:p>
            <a:pPr marL="285750" marR="0" lvl="0" indent="-285750" algn="l" defTabSz="914400" rtl="0" eaLnBrk="1" fontAlgn="auto" latinLnBrk="0" hangingPunct="1">
              <a:lnSpc>
                <a:spcPct val="90000"/>
              </a:lnSpc>
              <a:spcBef>
                <a:spcPts val="0"/>
              </a:spcBef>
              <a:spcAft>
                <a:spcPts val="300"/>
              </a:spcAft>
              <a:buClr>
                <a:srgbClr val="181818"/>
              </a:buClr>
              <a:buSzTx/>
              <a:buFont typeface="Ericsson Hilda Light" panose="00000600000000000000" pitchFamily="2" charset="0"/>
              <a:buChar char="—"/>
              <a:tabLst/>
              <a:defRPr/>
            </a:pPr>
            <a:r>
              <a:rPr kumimoji="0" lang="en-US" sz="1400" b="0" i="0" u="none" strike="noStrike" kern="1200" cap="none" spc="0" normalizeH="0" baseline="0" noProof="0">
                <a:ln>
                  <a:noFill/>
                </a:ln>
                <a:effectLst/>
                <a:uLnTx/>
                <a:uFillTx/>
                <a:latin typeface="Ericsson Hilda"/>
                <a:ea typeface="+mn-ea"/>
                <a:cs typeface="+mn-cs"/>
              </a:rPr>
              <a:t>Using NR for emergency communication with seamless mobility between 5GS and EPS using IRAT handover</a:t>
            </a:r>
          </a:p>
          <a:p>
            <a:pPr marL="285750" lvl="0" indent="-285750" fontAlgn="auto">
              <a:lnSpc>
                <a:spcPct val="90000"/>
              </a:lnSpc>
              <a:spcBef>
                <a:spcPts val="0"/>
              </a:spcBef>
              <a:spcAft>
                <a:spcPts val="300"/>
              </a:spcAft>
              <a:buClr>
                <a:srgbClr val="181818"/>
              </a:buClr>
              <a:buFont typeface="Ericsson Hilda Light" panose="00000600000000000000" pitchFamily="2" charset="0"/>
              <a:buChar char="—"/>
              <a:defRPr/>
            </a:pPr>
            <a:r>
              <a:rPr kumimoji="0" lang="en-US" sz="1400" b="0" i="0" u="none" strike="noStrike" kern="1200" cap="none" spc="0" normalizeH="0" baseline="0" noProof="0">
                <a:ln>
                  <a:noFill/>
                </a:ln>
                <a:effectLst/>
                <a:uLnTx/>
                <a:uFillTx/>
                <a:latin typeface="Ericsson Hilda"/>
                <a:ea typeface="+mn-ea"/>
                <a:cs typeface="+mn-cs"/>
              </a:rPr>
              <a:t>NR and 5GC supporting emergency features </a:t>
            </a:r>
            <a:r>
              <a:rPr lang="en-US" sz="1400"/>
              <a:t>incl. impacts on GMLC/LRF</a:t>
            </a:r>
            <a:endParaRPr kumimoji="0" lang="en-US" sz="1400" b="0" i="0" u="none" strike="sngStrike" kern="1200" cap="none" spc="0" normalizeH="0" baseline="0" noProof="0">
              <a:ln>
                <a:noFill/>
              </a:ln>
              <a:effectLst/>
              <a:uLnTx/>
              <a:uFillTx/>
              <a:latin typeface="Ericsson Hilda"/>
              <a:ea typeface="+mn-ea"/>
              <a:cs typeface="+mn-cs"/>
            </a:endParaRPr>
          </a:p>
        </p:txBody>
      </p:sp>
      <p:sp>
        <p:nvSpPr>
          <p:cNvPr id="11" name="Title 1">
            <a:extLst>
              <a:ext uri="{FF2B5EF4-FFF2-40B4-BE49-F238E27FC236}">
                <a16:creationId xmlns:a16="http://schemas.microsoft.com/office/drawing/2014/main" id="{43966A13-A4AE-43C6-93F7-BAE1DE4716A4}"/>
              </a:ext>
            </a:extLst>
          </p:cNvPr>
          <p:cNvSpPr>
            <a:spLocks noGrp="1"/>
          </p:cNvSpPr>
          <p:nvPr>
            <p:ph type="title"/>
          </p:nvPr>
        </p:nvSpPr>
        <p:spPr>
          <a:xfrm>
            <a:off x="332677" y="429747"/>
            <a:ext cx="8983339" cy="1081088"/>
          </a:xfrm>
        </p:spPr>
        <p:txBody>
          <a:bodyPr/>
          <a:lstStyle/>
          <a:p>
            <a:r>
              <a:rPr lang="en-US">
                <a:solidFill>
                  <a:schemeClr val="accent1"/>
                </a:solidFill>
              </a:rPr>
              <a:t>Emergency call </a:t>
            </a:r>
            <a:r>
              <a:rPr lang="en-US"/>
              <a:t>in the 5GS</a:t>
            </a:r>
            <a:endParaRPr lang="en-US">
              <a:highlight>
                <a:srgbClr val="FFFF00"/>
              </a:highlight>
            </a:endParaRPr>
          </a:p>
        </p:txBody>
      </p:sp>
      <p:sp>
        <p:nvSpPr>
          <p:cNvPr id="334" name="Rectangle 333">
            <a:extLst>
              <a:ext uri="{FF2B5EF4-FFF2-40B4-BE49-F238E27FC236}">
                <a16:creationId xmlns:a16="http://schemas.microsoft.com/office/drawing/2014/main" id="{77F0DDE9-DE0E-46E0-ADD3-1DB1F243E853}"/>
              </a:ext>
            </a:extLst>
          </p:cNvPr>
          <p:cNvSpPr/>
          <p:nvPr/>
        </p:nvSpPr>
        <p:spPr bwMode="auto">
          <a:xfrm>
            <a:off x="9642682" y="140209"/>
            <a:ext cx="45719" cy="45719"/>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a:ea typeface="+mn-ea"/>
              <a:cs typeface="+mn-cs"/>
            </a:endParaRPr>
          </a:p>
        </p:txBody>
      </p:sp>
      <p:grpSp>
        <p:nvGrpSpPr>
          <p:cNvPr id="5" name="Group 4">
            <a:extLst>
              <a:ext uri="{FF2B5EF4-FFF2-40B4-BE49-F238E27FC236}">
                <a16:creationId xmlns:a16="http://schemas.microsoft.com/office/drawing/2014/main" id="{C9D90BB0-764E-4D5E-8E4B-929023BDEE52}"/>
              </a:ext>
            </a:extLst>
          </p:cNvPr>
          <p:cNvGrpSpPr/>
          <p:nvPr/>
        </p:nvGrpSpPr>
        <p:grpSpPr>
          <a:xfrm>
            <a:off x="6245455" y="1329993"/>
            <a:ext cx="5475234" cy="2265967"/>
            <a:chOff x="5998876" y="1751229"/>
            <a:chExt cx="5475234" cy="2265967"/>
          </a:xfrm>
        </p:grpSpPr>
        <p:pic>
          <p:nvPicPr>
            <p:cNvPr id="166" name="Graphic 165">
              <a:extLst>
                <a:ext uri="{FF2B5EF4-FFF2-40B4-BE49-F238E27FC236}">
                  <a16:creationId xmlns:a16="http://schemas.microsoft.com/office/drawing/2014/main" id="{CC83C6DA-EF7B-4ECF-95ED-9F4A6BE4028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30646" y="2422317"/>
              <a:ext cx="316359" cy="424445"/>
            </a:xfrm>
            <a:prstGeom prst="rect">
              <a:avLst/>
            </a:prstGeom>
          </p:spPr>
        </p:pic>
        <p:sp>
          <p:nvSpPr>
            <p:cNvPr id="167" name="Rectangle 166">
              <a:extLst>
                <a:ext uri="{FF2B5EF4-FFF2-40B4-BE49-F238E27FC236}">
                  <a16:creationId xmlns:a16="http://schemas.microsoft.com/office/drawing/2014/main" id="{062644CF-DE36-42A6-A621-0546EA3D7732}"/>
                </a:ext>
              </a:extLst>
            </p:cNvPr>
            <p:cNvSpPr/>
            <p:nvPr/>
          </p:nvSpPr>
          <p:spPr bwMode="auto">
            <a:xfrm>
              <a:off x="9586742" y="3455227"/>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68" name="Straight Connector 167">
              <a:extLst>
                <a:ext uri="{FF2B5EF4-FFF2-40B4-BE49-F238E27FC236}">
                  <a16:creationId xmlns:a16="http://schemas.microsoft.com/office/drawing/2014/main" id="{303887F3-6396-4FB7-A86E-F6995A2D4FFB}"/>
                </a:ext>
              </a:extLst>
            </p:cNvPr>
            <p:cNvCxnSpPr>
              <a:cxnSpLocks/>
              <a:stCxn id="181" idx="3"/>
              <a:endCxn id="167" idx="1"/>
            </p:cNvCxnSpPr>
            <p:nvPr/>
          </p:nvCxnSpPr>
          <p:spPr bwMode="auto">
            <a:xfrm>
              <a:off x="9133539" y="3482057"/>
              <a:ext cx="45320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69" name="Rectangle 168">
              <a:extLst>
                <a:ext uri="{FF2B5EF4-FFF2-40B4-BE49-F238E27FC236}">
                  <a16:creationId xmlns:a16="http://schemas.microsoft.com/office/drawing/2014/main" id="{5616E17B-1570-4512-9CDB-AEF7FA5256BB}"/>
                </a:ext>
              </a:extLst>
            </p:cNvPr>
            <p:cNvSpPr/>
            <p:nvPr/>
          </p:nvSpPr>
          <p:spPr bwMode="auto">
            <a:xfrm>
              <a:off x="8183467" y="359643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0" name="Rectangle 169">
              <a:extLst>
                <a:ext uri="{FF2B5EF4-FFF2-40B4-BE49-F238E27FC236}">
                  <a16:creationId xmlns:a16="http://schemas.microsoft.com/office/drawing/2014/main" id="{CB16D966-BCED-4732-8878-412D542584DF}"/>
                </a:ext>
              </a:extLst>
            </p:cNvPr>
            <p:cNvSpPr/>
            <p:nvPr/>
          </p:nvSpPr>
          <p:spPr bwMode="auto">
            <a:xfrm>
              <a:off x="8692660" y="359643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2" name="Rectangle 171">
              <a:extLst>
                <a:ext uri="{FF2B5EF4-FFF2-40B4-BE49-F238E27FC236}">
                  <a16:creationId xmlns:a16="http://schemas.microsoft.com/office/drawing/2014/main" id="{DA80DE4B-C01B-4E5A-9922-841F9EBBDD44}"/>
                </a:ext>
              </a:extLst>
            </p:cNvPr>
            <p:cNvSpPr/>
            <p:nvPr/>
          </p:nvSpPr>
          <p:spPr bwMode="auto">
            <a:xfrm>
              <a:off x="7202747" y="358948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3" name="Rectangle 172">
              <a:extLst>
                <a:ext uri="{FF2B5EF4-FFF2-40B4-BE49-F238E27FC236}">
                  <a16:creationId xmlns:a16="http://schemas.microsoft.com/office/drawing/2014/main" id="{65DB2526-3DD6-43D0-B782-BE39E0343AB4}"/>
                </a:ext>
              </a:extLst>
            </p:cNvPr>
            <p:cNvSpPr/>
            <p:nvPr/>
          </p:nvSpPr>
          <p:spPr bwMode="auto">
            <a:xfrm>
              <a:off x="7678687" y="358948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6" name="Rectangle 175">
              <a:extLst>
                <a:ext uri="{FF2B5EF4-FFF2-40B4-BE49-F238E27FC236}">
                  <a16:creationId xmlns:a16="http://schemas.microsoft.com/office/drawing/2014/main" id="{5ED4190C-C04F-49B7-B3BD-26CFBB5DF9C3}"/>
                </a:ext>
              </a:extLst>
            </p:cNvPr>
            <p:cNvSpPr/>
            <p:nvPr/>
          </p:nvSpPr>
          <p:spPr bwMode="auto">
            <a:xfrm>
              <a:off x="8791444" y="2793105"/>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0" name="Rectangle 179">
              <a:extLst>
                <a:ext uri="{FF2B5EF4-FFF2-40B4-BE49-F238E27FC236}">
                  <a16:creationId xmlns:a16="http://schemas.microsoft.com/office/drawing/2014/main" id="{4334513D-5217-4FF9-A9B8-116C72D77A4D}"/>
                </a:ext>
              </a:extLst>
            </p:cNvPr>
            <p:cNvSpPr/>
            <p:nvPr/>
          </p:nvSpPr>
          <p:spPr bwMode="auto">
            <a:xfrm>
              <a:off x="8990948" y="2793105"/>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1" name="Rectangle 180">
              <a:extLst>
                <a:ext uri="{FF2B5EF4-FFF2-40B4-BE49-F238E27FC236}">
                  <a16:creationId xmlns:a16="http://schemas.microsoft.com/office/drawing/2014/main" id="{4FF18791-2BD2-4DED-AFAB-763AE5530843}"/>
                </a:ext>
              </a:extLst>
            </p:cNvPr>
            <p:cNvSpPr/>
            <p:nvPr/>
          </p:nvSpPr>
          <p:spPr bwMode="auto">
            <a:xfrm>
              <a:off x="9077549" y="3455227"/>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2" name="Rectangle 181">
              <a:extLst>
                <a:ext uri="{FF2B5EF4-FFF2-40B4-BE49-F238E27FC236}">
                  <a16:creationId xmlns:a16="http://schemas.microsoft.com/office/drawing/2014/main" id="{D526DB06-EBAE-49BB-8690-473DEB65970E}"/>
                </a:ext>
              </a:extLst>
            </p:cNvPr>
            <p:cNvSpPr/>
            <p:nvPr/>
          </p:nvSpPr>
          <p:spPr bwMode="auto">
            <a:xfrm>
              <a:off x="6672506" y="3465780"/>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3" name="Rectangle 182">
              <a:extLst>
                <a:ext uri="{FF2B5EF4-FFF2-40B4-BE49-F238E27FC236}">
                  <a16:creationId xmlns:a16="http://schemas.microsoft.com/office/drawing/2014/main" id="{1DE74207-6F31-4A4E-9C8A-A2B61C902243}"/>
                </a:ext>
              </a:extLst>
            </p:cNvPr>
            <p:cNvSpPr/>
            <p:nvPr/>
          </p:nvSpPr>
          <p:spPr bwMode="auto">
            <a:xfrm>
              <a:off x="6724555" y="2649327"/>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84" name="Rectangle 183">
              <a:extLst>
                <a:ext uri="{FF2B5EF4-FFF2-40B4-BE49-F238E27FC236}">
                  <a16:creationId xmlns:a16="http://schemas.microsoft.com/office/drawing/2014/main" id="{A6FCFCF1-078D-4F7B-8459-57DF05AC66A6}"/>
                </a:ext>
              </a:extLst>
            </p:cNvPr>
            <p:cNvSpPr/>
            <p:nvPr/>
          </p:nvSpPr>
          <p:spPr bwMode="auto">
            <a:xfrm>
              <a:off x="7176623" y="2651824"/>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5" name="Rectangle 184">
              <a:extLst>
                <a:ext uri="{FF2B5EF4-FFF2-40B4-BE49-F238E27FC236}">
                  <a16:creationId xmlns:a16="http://schemas.microsoft.com/office/drawing/2014/main" id="{8238468C-1B2E-42EE-BC01-3F211ECABC47}"/>
                </a:ext>
              </a:extLst>
            </p:cNvPr>
            <p:cNvSpPr/>
            <p:nvPr/>
          </p:nvSpPr>
          <p:spPr bwMode="auto">
            <a:xfrm>
              <a:off x="7678687" y="2651824"/>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87" name="Rectangle 186">
              <a:extLst>
                <a:ext uri="{FF2B5EF4-FFF2-40B4-BE49-F238E27FC236}">
                  <a16:creationId xmlns:a16="http://schemas.microsoft.com/office/drawing/2014/main" id="{B4FA0831-14B3-4C19-880D-8CBEA383764C}"/>
                </a:ext>
              </a:extLst>
            </p:cNvPr>
            <p:cNvSpPr/>
            <p:nvPr/>
          </p:nvSpPr>
          <p:spPr bwMode="auto">
            <a:xfrm>
              <a:off x="7678687" y="2516209"/>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88" name="Straight Connector 187">
              <a:extLst>
                <a:ext uri="{FF2B5EF4-FFF2-40B4-BE49-F238E27FC236}">
                  <a16:creationId xmlns:a16="http://schemas.microsoft.com/office/drawing/2014/main" id="{6401E530-9F4F-4004-890C-198B0DD067F9}"/>
                </a:ext>
              </a:extLst>
            </p:cNvPr>
            <p:cNvCxnSpPr>
              <a:cxnSpLocks/>
              <a:stCxn id="189" idx="3"/>
              <a:endCxn id="187" idx="1"/>
            </p:cNvCxnSpPr>
            <p:nvPr/>
          </p:nvCxnSpPr>
          <p:spPr bwMode="auto">
            <a:xfrm>
              <a:off x="7232614" y="2543038"/>
              <a:ext cx="44607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89" name="Rectangle 188">
              <a:extLst>
                <a:ext uri="{FF2B5EF4-FFF2-40B4-BE49-F238E27FC236}">
                  <a16:creationId xmlns:a16="http://schemas.microsoft.com/office/drawing/2014/main" id="{A6360C98-791F-40F1-B68A-9BC376611FAC}"/>
                </a:ext>
              </a:extLst>
            </p:cNvPr>
            <p:cNvSpPr/>
            <p:nvPr/>
          </p:nvSpPr>
          <p:spPr bwMode="auto">
            <a:xfrm>
              <a:off x="7176623" y="2516209"/>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0" name="Rectangle 189">
              <a:extLst>
                <a:ext uri="{FF2B5EF4-FFF2-40B4-BE49-F238E27FC236}">
                  <a16:creationId xmlns:a16="http://schemas.microsoft.com/office/drawing/2014/main" id="{68990A1C-5557-4EAB-8ACF-7DC8DCD503AE}"/>
                </a:ext>
              </a:extLst>
            </p:cNvPr>
            <p:cNvSpPr/>
            <p:nvPr/>
          </p:nvSpPr>
          <p:spPr bwMode="auto">
            <a:xfrm>
              <a:off x="8183467" y="2651824"/>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1" name="Rectangle 190">
              <a:extLst>
                <a:ext uri="{FF2B5EF4-FFF2-40B4-BE49-F238E27FC236}">
                  <a16:creationId xmlns:a16="http://schemas.microsoft.com/office/drawing/2014/main" id="{7BAA7FB0-3265-4D32-9157-4C0B46FE3E59}"/>
                </a:ext>
              </a:extLst>
            </p:cNvPr>
            <p:cNvSpPr/>
            <p:nvPr/>
          </p:nvSpPr>
          <p:spPr bwMode="auto">
            <a:xfrm>
              <a:off x="8692660" y="2651824"/>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93" name="Rectangle 192">
              <a:extLst>
                <a:ext uri="{FF2B5EF4-FFF2-40B4-BE49-F238E27FC236}">
                  <a16:creationId xmlns:a16="http://schemas.microsoft.com/office/drawing/2014/main" id="{6D4B5936-90DD-48E7-8231-6CE0422406CB}"/>
                </a:ext>
              </a:extLst>
            </p:cNvPr>
            <p:cNvSpPr/>
            <p:nvPr/>
          </p:nvSpPr>
          <p:spPr bwMode="auto">
            <a:xfrm>
              <a:off x="8692660" y="2516209"/>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94" name="Straight Connector 193">
              <a:extLst>
                <a:ext uri="{FF2B5EF4-FFF2-40B4-BE49-F238E27FC236}">
                  <a16:creationId xmlns:a16="http://schemas.microsoft.com/office/drawing/2014/main" id="{CBB85A51-D45A-4F9E-80F2-259C418EAA62}"/>
                </a:ext>
              </a:extLst>
            </p:cNvPr>
            <p:cNvCxnSpPr>
              <a:cxnSpLocks/>
              <a:stCxn id="195" idx="3"/>
              <a:endCxn id="193" idx="1"/>
            </p:cNvCxnSpPr>
            <p:nvPr/>
          </p:nvCxnSpPr>
          <p:spPr bwMode="auto">
            <a:xfrm>
              <a:off x="8239458" y="2543038"/>
              <a:ext cx="45320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95" name="Rectangle 194">
              <a:extLst>
                <a:ext uri="{FF2B5EF4-FFF2-40B4-BE49-F238E27FC236}">
                  <a16:creationId xmlns:a16="http://schemas.microsoft.com/office/drawing/2014/main" id="{62661E07-EF69-4F86-910A-BDFE2C88C843}"/>
                </a:ext>
              </a:extLst>
            </p:cNvPr>
            <p:cNvSpPr/>
            <p:nvPr/>
          </p:nvSpPr>
          <p:spPr bwMode="auto">
            <a:xfrm>
              <a:off x="8183467" y="2516209"/>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pic>
          <p:nvPicPr>
            <p:cNvPr id="199" name="Graphic 198">
              <a:extLst>
                <a:ext uri="{FF2B5EF4-FFF2-40B4-BE49-F238E27FC236}">
                  <a16:creationId xmlns:a16="http://schemas.microsoft.com/office/drawing/2014/main" id="{1E20DD0B-90C8-4860-AC4F-774251EFB0B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30646" y="3361246"/>
              <a:ext cx="316359" cy="424445"/>
            </a:xfrm>
            <a:prstGeom prst="rect">
              <a:avLst/>
            </a:prstGeom>
          </p:spPr>
        </p:pic>
        <p:sp>
          <p:nvSpPr>
            <p:cNvPr id="230" name="TextBox 229">
              <a:extLst>
                <a:ext uri="{FF2B5EF4-FFF2-40B4-BE49-F238E27FC236}">
                  <a16:creationId xmlns:a16="http://schemas.microsoft.com/office/drawing/2014/main" id="{A44C9BCE-11AC-44E9-AABE-4D7C6754F5E5}"/>
                </a:ext>
              </a:extLst>
            </p:cNvPr>
            <p:cNvSpPr txBox="1">
              <a:spLocks noChangeAspect="1"/>
            </p:cNvSpPr>
            <p:nvPr/>
          </p:nvSpPr>
          <p:spPr bwMode="auto">
            <a:xfrm>
              <a:off x="7798578" y="2160191"/>
              <a:ext cx="440878" cy="686571"/>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FC373"/>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1" i="0" u="none" strike="noStrike" kern="1200" cap="none" spc="0" normalizeH="0" baseline="0" noProof="0">
                  <a:ln>
                    <a:noFill/>
                  </a:ln>
                  <a:solidFill>
                    <a:srgbClr val="0FC373"/>
                  </a:solidFill>
                  <a:effectLst/>
                  <a:uLnTx/>
                  <a:uFillTx/>
                  <a:latin typeface="Ericsson Hilda"/>
                  <a:ea typeface="+mn-ea"/>
                  <a:cs typeface="+mn-cs"/>
                </a:rPr>
                <a:t>LTE or</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1" i="0" u="none" strike="noStrike" kern="1200" cap="none" spc="0" normalizeH="0" baseline="0" noProof="0">
                  <a:ln>
                    <a:noFill/>
                  </a:ln>
                  <a:solidFill>
                    <a:srgbClr val="0FC373"/>
                  </a:solidFill>
                  <a:effectLst/>
                  <a:uLnTx/>
                  <a:uFillTx/>
                  <a:latin typeface="Ericsson Hilda"/>
                  <a:ea typeface="+mn-ea"/>
                  <a:cs typeface="+mn-cs"/>
                </a:rPr>
                <a:t>EN-DC</a:t>
              </a:r>
            </a:p>
          </p:txBody>
        </p:sp>
        <p:sp>
          <p:nvSpPr>
            <p:cNvPr id="232" name="TextBox 231">
              <a:extLst>
                <a:ext uri="{FF2B5EF4-FFF2-40B4-BE49-F238E27FC236}">
                  <a16:creationId xmlns:a16="http://schemas.microsoft.com/office/drawing/2014/main" id="{F274C52A-6E68-48CB-B5EE-67D9218751CF}"/>
                </a:ext>
              </a:extLst>
            </p:cNvPr>
            <p:cNvSpPr txBox="1">
              <a:spLocks noChangeAspect="1"/>
            </p:cNvSpPr>
            <p:nvPr/>
          </p:nvSpPr>
          <p:spPr bwMode="auto">
            <a:xfrm>
              <a:off x="8692660" y="2160191"/>
              <a:ext cx="440878" cy="686571"/>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700" b="1" i="0" u="none" strike="noStrike" kern="1200" cap="none" spc="0" normalizeH="0" baseline="0" noProof="0">
                  <a:ln>
                    <a:noFill/>
                  </a:ln>
                  <a:solidFill>
                    <a:srgbClr val="0FC373"/>
                  </a:solidFill>
                  <a:effectLst/>
                  <a:uLnTx/>
                  <a:uFillTx/>
                  <a:latin typeface="Ericsson Hilda"/>
                  <a:ea typeface="+mn-ea"/>
                  <a:cs typeface="+mn-cs"/>
                </a:rPr>
                <a:t>MME</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700" b="1" i="0" u="none" strike="noStrike" kern="1200" cap="none" spc="0" normalizeH="0" baseline="0" noProof="0">
                  <a:ln>
                    <a:noFill/>
                  </a:ln>
                  <a:solidFill>
                    <a:srgbClr val="0FC373"/>
                  </a:solidFill>
                  <a:effectLst/>
                  <a:uLnTx/>
                  <a:uFillTx/>
                  <a:latin typeface="Ericsson Hilda"/>
                  <a:ea typeface="+mn-ea"/>
                  <a:cs typeface="+mn-cs"/>
                </a:rPr>
                <a:t>SGW</a:t>
              </a:r>
            </a:p>
          </p:txBody>
        </p:sp>
        <p:sp>
          <p:nvSpPr>
            <p:cNvPr id="233" name="TextBox 232">
              <a:extLst>
                <a:ext uri="{FF2B5EF4-FFF2-40B4-BE49-F238E27FC236}">
                  <a16:creationId xmlns:a16="http://schemas.microsoft.com/office/drawing/2014/main" id="{02FA892C-2B0D-43D3-A6B8-C44BC8D67DAB}"/>
                </a:ext>
              </a:extLst>
            </p:cNvPr>
            <p:cNvSpPr txBox="1">
              <a:spLocks noChangeAspect="1"/>
            </p:cNvSpPr>
            <p:nvPr/>
          </p:nvSpPr>
          <p:spPr bwMode="auto">
            <a:xfrm>
              <a:off x="9586742" y="3099120"/>
              <a:ext cx="440878" cy="686571"/>
            </a:xfrm>
            <a:prstGeom prst="rect">
              <a:avLst/>
            </a:prstGeom>
            <a:solidFill>
              <a:schemeClr val="bg1"/>
            </a:solidFill>
            <a:ln w="19050">
              <a:solidFill>
                <a:schemeClr val="accent1"/>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chemeClr val="accent1"/>
                  </a:solidFill>
                  <a:effectLst/>
                  <a:uLnTx/>
                  <a:uFillTx/>
                  <a:latin typeface="Ericsson Hilda"/>
                  <a:ea typeface="+mn-ea"/>
                  <a:cs typeface="+mn-cs"/>
                </a:rPr>
                <a:t>IMS</a:t>
              </a:r>
            </a:p>
          </p:txBody>
        </p:sp>
        <p:sp>
          <p:nvSpPr>
            <p:cNvPr id="234" name="TextBox 233">
              <a:extLst>
                <a:ext uri="{FF2B5EF4-FFF2-40B4-BE49-F238E27FC236}">
                  <a16:creationId xmlns:a16="http://schemas.microsoft.com/office/drawing/2014/main" id="{EE3580F7-028D-4AF3-BA82-06AC6FC08B73}"/>
                </a:ext>
              </a:extLst>
            </p:cNvPr>
            <p:cNvSpPr txBox="1">
              <a:spLocks noChangeAspect="1"/>
            </p:cNvSpPr>
            <p:nvPr/>
          </p:nvSpPr>
          <p:spPr bwMode="auto">
            <a:xfrm>
              <a:off x="8692660" y="3099120"/>
              <a:ext cx="440878" cy="686571"/>
            </a:xfrm>
            <a:prstGeom prst="rect">
              <a:avLst/>
            </a:prstGeom>
            <a:solidFill>
              <a:schemeClr val="bg1"/>
            </a:solidFill>
            <a:ln w="19050">
              <a:solidFill>
                <a:schemeClr val="accent1"/>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rgbClr val="0082F0"/>
                  </a:solidFill>
                  <a:effectLst/>
                  <a:uLnTx/>
                  <a:uFillTx/>
                  <a:latin typeface="Ericsson Hilda"/>
                  <a:ea typeface="+mn-ea"/>
                  <a:cs typeface="+mn-cs"/>
                </a:rPr>
                <a:t>5GC</a:t>
              </a:r>
              <a:endParaRPr kumimoji="0" lang="en-US" sz="800" b="1" i="0" u="none" strike="noStrike" kern="1200" cap="none" spc="0" normalizeH="0" baseline="0" noProof="0">
                <a:ln>
                  <a:noFill/>
                </a:ln>
                <a:solidFill>
                  <a:srgbClr val="181818"/>
                </a:solidFill>
                <a:effectLst/>
                <a:uLnTx/>
                <a:uFillTx/>
                <a:latin typeface="Ericsson Hilda"/>
                <a:ea typeface="+mn-ea"/>
                <a:cs typeface="+mn-cs"/>
              </a:endParaRPr>
            </a:p>
          </p:txBody>
        </p:sp>
        <p:sp>
          <p:nvSpPr>
            <p:cNvPr id="235" name="TextBox 234">
              <a:extLst>
                <a:ext uri="{FF2B5EF4-FFF2-40B4-BE49-F238E27FC236}">
                  <a16:creationId xmlns:a16="http://schemas.microsoft.com/office/drawing/2014/main" id="{9B76CC82-7456-46A1-BA36-6A3CAF16E7F1}"/>
                </a:ext>
              </a:extLst>
            </p:cNvPr>
            <p:cNvSpPr txBox="1">
              <a:spLocks noChangeAspect="1"/>
            </p:cNvSpPr>
            <p:nvPr/>
          </p:nvSpPr>
          <p:spPr bwMode="auto">
            <a:xfrm>
              <a:off x="7798578" y="3099120"/>
              <a:ext cx="440878" cy="68657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082F0"/>
                  </a:solidFill>
                  <a:effectLst/>
                  <a:uLnTx/>
                  <a:uFillTx/>
                  <a:latin typeface="Ericsson Hilda"/>
                  <a:ea typeface="+mn-ea"/>
                  <a:cs typeface="+mn-cs"/>
                </a:rPr>
                <a:t>NR</a:t>
              </a:r>
            </a:p>
          </p:txBody>
        </p:sp>
        <p:sp>
          <p:nvSpPr>
            <p:cNvPr id="238" name="Rectangle 237">
              <a:extLst>
                <a:ext uri="{FF2B5EF4-FFF2-40B4-BE49-F238E27FC236}">
                  <a16:creationId xmlns:a16="http://schemas.microsoft.com/office/drawing/2014/main" id="{583FEAB9-2667-407A-B963-472E445088D3}"/>
                </a:ext>
              </a:extLst>
            </p:cNvPr>
            <p:cNvSpPr/>
            <p:nvPr/>
          </p:nvSpPr>
          <p:spPr bwMode="auto">
            <a:xfrm>
              <a:off x="5998876" y="1751229"/>
              <a:ext cx="5475234" cy="2265967"/>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150" sz="1200" b="0" i="0" u="none" strike="noStrike" kern="1200" cap="none" spc="0" normalizeH="0" baseline="0" noProof="0">
                  <a:ln>
                    <a:noFill/>
                  </a:ln>
                  <a:solidFill>
                    <a:srgbClr val="181818"/>
                  </a:solidFill>
                  <a:effectLst/>
                  <a:uLnTx/>
                  <a:uFillTx/>
                  <a:latin typeface="Ericsson Hilda"/>
                  <a:ea typeface="+mn-ea"/>
                  <a:cs typeface="+mn-cs"/>
                </a:rPr>
                <a:t>E</a:t>
              </a:r>
              <a:r>
                <a:rPr kumimoji="0" lang="en-US" sz="1200" b="0" i="0" u="none" strike="noStrike" kern="1200" cap="none" spc="0" normalizeH="0" baseline="0" noProof="0">
                  <a:ln>
                    <a:noFill/>
                  </a:ln>
                  <a:solidFill>
                    <a:srgbClr val="181818"/>
                  </a:solidFill>
                  <a:effectLst/>
                  <a:uLnTx/>
                  <a:uFillTx/>
                  <a:latin typeface="Ericsson Hilda"/>
                  <a:ea typeface="+mn-ea"/>
                  <a:cs typeface="+mn-cs"/>
                </a:rPr>
                <a:t>m</a:t>
              </a:r>
              <a:r>
                <a:rPr kumimoji="0" lang="en-150" sz="1200" b="0" i="0" u="none" strike="noStrike" kern="1200" cap="none" spc="0" normalizeH="0" baseline="0" noProof="0">
                  <a:ln>
                    <a:noFill/>
                  </a:ln>
                  <a:solidFill>
                    <a:srgbClr val="181818"/>
                  </a:solidFill>
                  <a:effectLst/>
                  <a:uLnTx/>
                  <a:uFillTx/>
                  <a:latin typeface="Ericsson Hilda"/>
                  <a:ea typeface="+mn-ea"/>
                  <a:cs typeface="+mn-cs"/>
                </a:rPr>
                <a:t>e</a:t>
              </a:r>
              <a:r>
                <a:rPr kumimoji="0" lang="en-US" sz="1200" b="0" i="0" u="none" strike="noStrike" kern="1200" cap="none" spc="0" normalizeH="0" baseline="0" noProof="0">
                  <a:ln>
                    <a:noFill/>
                  </a:ln>
                  <a:solidFill>
                    <a:srgbClr val="181818"/>
                  </a:solidFill>
                  <a:effectLst/>
                  <a:uLnTx/>
                  <a:uFillTx/>
                  <a:latin typeface="Ericsson Hilda"/>
                  <a:ea typeface="+mn-ea"/>
                  <a:cs typeface="+mn-cs"/>
                </a:rPr>
                <a:t>r</a:t>
              </a:r>
              <a:r>
                <a:rPr kumimoji="0" lang="en-150" sz="1200" b="0" i="0" u="none" strike="noStrike" kern="1200" cap="none" spc="0" normalizeH="0" baseline="0" noProof="0">
                  <a:ln>
                    <a:noFill/>
                  </a:ln>
                  <a:solidFill>
                    <a:srgbClr val="181818"/>
                  </a:solidFill>
                  <a:effectLst/>
                  <a:uLnTx/>
                  <a:uFillTx/>
                  <a:latin typeface="Ericsson Hilda"/>
                  <a:ea typeface="+mn-ea"/>
                  <a:cs typeface="+mn-cs"/>
                </a:rPr>
                <a:t>g</a:t>
              </a:r>
              <a:r>
                <a:rPr kumimoji="0" lang="en-US" sz="1200" b="0" i="0" u="none" strike="noStrike" kern="1200" cap="none" spc="0" normalizeH="0" baseline="0" noProof="0">
                  <a:ln>
                    <a:noFill/>
                  </a:ln>
                  <a:solidFill>
                    <a:srgbClr val="181818"/>
                  </a:solidFill>
                  <a:effectLst/>
                  <a:uLnTx/>
                  <a:uFillTx/>
                  <a:latin typeface="Ericsson Hilda"/>
                  <a:ea typeface="+mn-ea"/>
                  <a:cs typeface="+mn-cs"/>
                </a:rPr>
                <a:t>e</a:t>
              </a:r>
              <a:r>
                <a:rPr kumimoji="0" lang="en-150" sz="1200" b="0" i="0" u="none" strike="noStrike" kern="1200" cap="none" spc="0" normalizeH="0" baseline="0" noProof="0">
                  <a:ln>
                    <a:noFill/>
                  </a:ln>
                  <a:solidFill>
                    <a:srgbClr val="181818"/>
                  </a:solidFill>
                  <a:effectLst/>
                  <a:uLnTx/>
                  <a:uFillTx/>
                  <a:latin typeface="Ericsson Hilda"/>
                  <a:ea typeface="+mn-ea"/>
                  <a:cs typeface="+mn-cs"/>
                </a:rPr>
                <a:t>n</a:t>
              </a:r>
              <a:r>
                <a:rPr kumimoji="0" lang="en-US" sz="1200" b="0" i="0" u="none" strike="noStrike" kern="1200" cap="none" spc="0" normalizeH="0" baseline="0" noProof="0">
                  <a:ln>
                    <a:noFill/>
                  </a:ln>
                  <a:solidFill>
                    <a:srgbClr val="181818"/>
                  </a:solidFill>
                  <a:effectLst/>
                  <a:uLnTx/>
                  <a:uFillTx/>
                  <a:latin typeface="Ericsson Hilda"/>
                  <a:ea typeface="+mn-ea"/>
                  <a:cs typeface="+mn-cs"/>
                </a:rPr>
                <a:t>c</a:t>
              </a:r>
              <a:r>
                <a:rPr kumimoji="0" lang="en-150" sz="1200" b="0" i="0" u="none" strike="noStrike" kern="1200" cap="none" spc="0" normalizeH="0" baseline="0" noProof="0">
                  <a:ln>
                    <a:noFill/>
                  </a:ln>
                  <a:solidFill>
                    <a:srgbClr val="181818"/>
                  </a:solidFill>
                  <a:effectLst/>
                  <a:uLnTx/>
                  <a:uFillTx/>
                  <a:latin typeface="Ericsson Hilda"/>
                  <a:ea typeface="+mn-ea"/>
                  <a:cs typeface="+mn-cs"/>
                </a:rPr>
                <a:t>y</a:t>
              </a:r>
              <a:r>
                <a:rPr kumimoji="0" lang="en-US" sz="1200" b="0" i="0" u="none" strike="noStrike" kern="1200" cap="none" spc="0" normalizeH="0" baseline="0" noProof="0">
                  <a:ln>
                    <a:noFill/>
                  </a:ln>
                  <a:solidFill>
                    <a:srgbClr val="181818"/>
                  </a:solidFill>
                  <a:effectLst/>
                  <a:uLnTx/>
                  <a:uFillTx/>
                  <a:latin typeface="Ericsson Hilda"/>
                  <a:ea typeface="+mn-ea"/>
                  <a:cs typeface="+mn-cs"/>
                </a:rPr>
                <a:t> over NR incl. EPS Fallback (QoS)</a:t>
              </a:r>
            </a:p>
          </p:txBody>
        </p:sp>
        <p:cxnSp>
          <p:nvCxnSpPr>
            <p:cNvPr id="242" name="Straight Connector 241">
              <a:extLst>
                <a:ext uri="{FF2B5EF4-FFF2-40B4-BE49-F238E27FC236}">
                  <a16:creationId xmlns:a16="http://schemas.microsoft.com/office/drawing/2014/main" id="{9E1E1330-13D1-4C55-A130-440E84AC2292}"/>
                </a:ext>
              </a:extLst>
            </p:cNvPr>
            <p:cNvCxnSpPr>
              <a:cxnSpLocks/>
            </p:cNvCxnSpPr>
            <p:nvPr/>
          </p:nvCxnSpPr>
          <p:spPr bwMode="auto">
            <a:xfrm>
              <a:off x="7248460" y="3493137"/>
              <a:ext cx="446074"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037E3406-631E-42B1-AB80-E4303B9DE6F7}"/>
                </a:ext>
              </a:extLst>
            </p:cNvPr>
            <p:cNvCxnSpPr>
              <a:cxnSpLocks/>
            </p:cNvCxnSpPr>
            <p:nvPr/>
          </p:nvCxnSpPr>
          <p:spPr bwMode="auto">
            <a:xfrm>
              <a:off x="8246587" y="3469230"/>
              <a:ext cx="446074"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46" name="Arc 245">
              <a:extLst>
                <a:ext uri="{FF2B5EF4-FFF2-40B4-BE49-F238E27FC236}">
                  <a16:creationId xmlns:a16="http://schemas.microsoft.com/office/drawing/2014/main" id="{2B0AB0EF-4282-4D72-BB7C-C2F1ED5B9C5C}"/>
                </a:ext>
              </a:extLst>
            </p:cNvPr>
            <p:cNvSpPr/>
            <p:nvPr/>
          </p:nvSpPr>
          <p:spPr bwMode="auto">
            <a:xfrm flipH="1">
              <a:off x="6398470" y="2597306"/>
              <a:ext cx="529731" cy="1052633"/>
            </a:xfrm>
            <a:prstGeom prst="arc">
              <a:avLst>
                <a:gd name="adj1" fmla="val 16598236"/>
                <a:gd name="adj2" fmla="val 4948829"/>
              </a:avLst>
            </a:prstGeom>
            <a:noFill/>
            <a:ln w="12700" cap="flat" cmpd="sng" algn="ctr">
              <a:solidFill>
                <a:schemeClr val="accent2"/>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8C0A"/>
                </a:solidFill>
                <a:effectLst/>
                <a:uLnTx/>
                <a:uFillTx/>
                <a:latin typeface="Arial" charset="0"/>
                <a:ea typeface="+mn-ea"/>
                <a:cs typeface="+mn-cs"/>
              </a:endParaRPr>
            </a:p>
          </p:txBody>
        </p:sp>
        <p:sp>
          <p:nvSpPr>
            <p:cNvPr id="247" name="Text Box 1179">
              <a:extLst>
                <a:ext uri="{FF2B5EF4-FFF2-40B4-BE49-F238E27FC236}">
                  <a16:creationId xmlns:a16="http://schemas.microsoft.com/office/drawing/2014/main" id="{E0AD1E03-2B8E-4818-A007-E2C30EFA8ED6}"/>
                </a:ext>
              </a:extLst>
            </p:cNvPr>
            <p:cNvSpPr txBox="1">
              <a:spLocks noChangeArrowheads="1"/>
            </p:cNvSpPr>
            <p:nvPr/>
          </p:nvSpPr>
          <p:spPr bwMode="auto">
            <a:xfrm>
              <a:off x="6190376" y="2281854"/>
              <a:ext cx="278923"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600" b="0" i="0" u="none" strike="noStrike" kern="1200" cap="none" spc="0" normalizeH="0" baseline="0" noProof="0">
                  <a:ln>
                    <a:noFill/>
                  </a:ln>
                  <a:solidFill>
                    <a:srgbClr val="0FC373"/>
                  </a:solidFill>
                  <a:effectLst/>
                  <a:uLnTx/>
                  <a:uFillTx/>
                  <a:latin typeface="Ericsson Hilda"/>
                  <a:ea typeface="+mn-ea"/>
                  <a:cs typeface="Arial" charset="0"/>
                </a:rPr>
                <a:t>EPS</a:t>
              </a:r>
              <a:br>
                <a:rPr kumimoji="0" lang="en-US" sz="600" b="0" i="0" u="none" strike="noStrike" kern="1200" cap="none" spc="0" normalizeH="0" baseline="0" noProof="0">
                  <a:ln>
                    <a:noFill/>
                  </a:ln>
                  <a:solidFill>
                    <a:srgbClr val="0FC373"/>
                  </a:solidFill>
                  <a:effectLst/>
                  <a:uLnTx/>
                  <a:uFillTx/>
                  <a:latin typeface="Ericsson Hilda"/>
                  <a:ea typeface="+mn-ea"/>
                  <a:cs typeface="Arial" charset="0"/>
                </a:rPr>
              </a:br>
              <a:r>
                <a:rPr kumimoji="0" lang="en-US" sz="600" b="0" i="0" u="none" strike="noStrike" kern="1200" cap="none" spc="0" normalizeH="0" baseline="0" noProof="0">
                  <a:ln>
                    <a:noFill/>
                  </a:ln>
                  <a:solidFill>
                    <a:srgbClr val="0FC373"/>
                  </a:solidFill>
                  <a:effectLst/>
                  <a:uLnTx/>
                  <a:uFillTx/>
                  <a:latin typeface="Ericsson Hilda"/>
                  <a:ea typeface="+mn-ea"/>
                  <a:cs typeface="Arial" charset="0"/>
                </a:rPr>
                <a:t>Fallback</a:t>
              </a:r>
            </a:p>
            <a:p>
              <a:pPr marL="0" marR="0" lvl="0" indent="0" algn="l" defTabSz="914400" rtl="0" eaLnBrk="1" fontAlgn="base" latinLnBrk="0" hangingPunct="1">
                <a:lnSpc>
                  <a:spcPct val="100000"/>
                </a:lnSpc>
                <a:spcBef>
                  <a:spcPct val="50000"/>
                </a:spcBef>
                <a:spcAft>
                  <a:spcPct val="0"/>
                </a:spcAft>
                <a:buClrTx/>
                <a:buSzTx/>
                <a:buFontTx/>
                <a:buNone/>
                <a:tabLst/>
                <a:defRPr/>
              </a:pPr>
              <a:r>
                <a:rPr lang="en-US" sz="600">
                  <a:solidFill>
                    <a:srgbClr val="0FC373"/>
                  </a:solidFill>
                  <a:latin typeface="Ericsson Hilda"/>
                </a:rPr>
                <a:t>(QoS)</a:t>
              </a:r>
              <a:endParaRPr kumimoji="0" lang="en-US" sz="600" b="0" i="0" u="none" strike="noStrike" kern="1200" cap="none" spc="0" normalizeH="0" baseline="0" noProof="0">
                <a:ln>
                  <a:noFill/>
                </a:ln>
                <a:solidFill>
                  <a:srgbClr val="0FC373"/>
                </a:solidFill>
                <a:effectLst/>
                <a:uLnTx/>
                <a:uFillTx/>
                <a:latin typeface="Ericsson Hilda"/>
                <a:ea typeface="+mn-ea"/>
                <a:cs typeface="Arial" charset="0"/>
              </a:endParaRPr>
            </a:p>
          </p:txBody>
        </p:sp>
        <p:sp>
          <p:nvSpPr>
            <p:cNvPr id="248" name="Text Box 1179">
              <a:extLst>
                <a:ext uri="{FF2B5EF4-FFF2-40B4-BE49-F238E27FC236}">
                  <a16:creationId xmlns:a16="http://schemas.microsoft.com/office/drawing/2014/main" id="{F0C574E2-6DC0-4C16-A31C-A301D3FE2207}"/>
                </a:ext>
              </a:extLst>
            </p:cNvPr>
            <p:cNvSpPr txBox="1">
              <a:spLocks noChangeArrowheads="1"/>
            </p:cNvSpPr>
            <p:nvPr/>
          </p:nvSpPr>
          <p:spPr bwMode="auto">
            <a:xfrm>
              <a:off x="6644114" y="2995137"/>
              <a:ext cx="91312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600" b="0" i="0" u="none" strike="noStrike" kern="1200" cap="none" spc="0" normalizeH="0" baseline="0" noProof="0">
                  <a:ln>
                    <a:noFill/>
                  </a:ln>
                  <a:solidFill>
                    <a:srgbClr val="AF78D2">
                      <a:lumMod val="75000"/>
                    </a:srgbClr>
                  </a:solidFill>
                  <a:effectLst/>
                  <a:uLnTx/>
                  <a:uFillTx/>
                  <a:latin typeface="Ericsson Hilda"/>
                  <a:ea typeface="+mn-ea"/>
                  <a:cs typeface="Arial" charset="0"/>
                </a:rPr>
                <a:t>Emergency call over NR w</a:t>
              </a:r>
              <a:br>
                <a:rPr kumimoji="0" lang="en-US" sz="600" b="0" i="0" u="none" strike="noStrike" kern="1200" cap="none" spc="0" normalizeH="0" baseline="0" noProof="0">
                  <a:ln>
                    <a:noFill/>
                  </a:ln>
                  <a:solidFill>
                    <a:srgbClr val="AF78D2">
                      <a:lumMod val="75000"/>
                    </a:srgbClr>
                  </a:solidFill>
                  <a:effectLst/>
                  <a:uLnTx/>
                  <a:uFillTx/>
                  <a:latin typeface="Ericsson Hilda"/>
                  <a:ea typeface="+mn-ea"/>
                  <a:cs typeface="Arial" charset="0"/>
                </a:rPr>
              </a:br>
              <a:r>
                <a:rPr kumimoji="0" lang="en-US" sz="600" b="0" i="0" u="none" strike="noStrike" kern="1200" cap="none" spc="0" normalizeH="0" baseline="0" noProof="0">
                  <a:ln>
                    <a:noFill/>
                  </a:ln>
                  <a:solidFill>
                    <a:srgbClr val="AF78D2">
                      <a:lumMod val="75000"/>
                    </a:srgbClr>
                  </a:solidFill>
                  <a:effectLst/>
                  <a:uLnTx/>
                  <a:uFillTx/>
                  <a:latin typeface="Ericsson Hilda"/>
                  <a:ea typeface="+mn-ea"/>
                  <a:cs typeface="Arial" charset="0"/>
                </a:rPr>
                <a:t>Inter system handover</a:t>
              </a:r>
            </a:p>
          </p:txBody>
        </p:sp>
        <p:sp>
          <p:nvSpPr>
            <p:cNvPr id="249" name="Arc 248">
              <a:extLst>
                <a:ext uri="{FF2B5EF4-FFF2-40B4-BE49-F238E27FC236}">
                  <a16:creationId xmlns:a16="http://schemas.microsoft.com/office/drawing/2014/main" id="{0A2B9189-7D82-465F-A20A-420A5D797088}"/>
                </a:ext>
              </a:extLst>
            </p:cNvPr>
            <p:cNvSpPr/>
            <p:nvPr/>
          </p:nvSpPr>
          <p:spPr bwMode="auto">
            <a:xfrm flipH="1">
              <a:off x="6574302" y="2624996"/>
              <a:ext cx="529731" cy="971437"/>
            </a:xfrm>
            <a:prstGeom prst="arc">
              <a:avLst>
                <a:gd name="adj1" fmla="val 16598236"/>
                <a:gd name="adj2" fmla="val 4948829"/>
              </a:avLst>
            </a:prstGeom>
            <a:noFill/>
            <a:ln w="12700" cap="flat" cmpd="sng" algn="ctr">
              <a:solidFill>
                <a:schemeClr val="accent3"/>
              </a:solidFill>
              <a:prstDash val="solid"/>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Arial" charset="0"/>
                <a:ea typeface="+mn-ea"/>
                <a:cs typeface="+mn-cs"/>
              </a:endParaRPr>
            </a:p>
          </p:txBody>
        </p:sp>
        <p:sp>
          <p:nvSpPr>
            <p:cNvPr id="257" name="Rectangle 256">
              <a:extLst>
                <a:ext uri="{FF2B5EF4-FFF2-40B4-BE49-F238E27FC236}">
                  <a16:creationId xmlns:a16="http://schemas.microsoft.com/office/drawing/2014/main" id="{96DC810B-43F9-48D5-BA8A-21E3B94B676D}"/>
                </a:ext>
              </a:extLst>
            </p:cNvPr>
            <p:cNvSpPr/>
            <p:nvPr/>
          </p:nvSpPr>
          <p:spPr bwMode="auto">
            <a:xfrm>
              <a:off x="8772784" y="3088698"/>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65" name="Rectangle 264">
              <a:extLst>
                <a:ext uri="{FF2B5EF4-FFF2-40B4-BE49-F238E27FC236}">
                  <a16:creationId xmlns:a16="http://schemas.microsoft.com/office/drawing/2014/main" id="{AA0BB1A6-90D9-4B15-9403-7FAFE17E62ED}"/>
                </a:ext>
              </a:extLst>
            </p:cNvPr>
            <p:cNvSpPr/>
            <p:nvPr/>
          </p:nvSpPr>
          <p:spPr bwMode="auto">
            <a:xfrm>
              <a:off x="8772784" y="278268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67" name="Straight Connector 266">
              <a:extLst>
                <a:ext uri="{FF2B5EF4-FFF2-40B4-BE49-F238E27FC236}">
                  <a16:creationId xmlns:a16="http://schemas.microsoft.com/office/drawing/2014/main" id="{7A4E982C-69EB-48BD-9101-03918D31DCD3}"/>
                </a:ext>
              </a:extLst>
            </p:cNvPr>
            <p:cNvCxnSpPr>
              <a:cxnSpLocks/>
            </p:cNvCxnSpPr>
            <p:nvPr/>
          </p:nvCxnSpPr>
          <p:spPr bwMode="auto">
            <a:xfrm>
              <a:off x="8903613" y="2836340"/>
              <a:ext cx="0" cy="252358"/>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68" name="Rectangle 267">
              <a:extLst>
                <a:ext uri="{FF2B5EF4-FFF2-40B4-BE49-F238E27FC236}">
                  <a16:creationId xmlns:a16="http://schemas.microsoft.com/office/drawing/2014/main" id="{8A04642D-4F89-46AC-AB9F-FFE52BEBBDC1}"/>
                </a:ext>
              </a:extLst>
            </p:cNvPr>
            <p:cNvSpPr/>
            <p:nvPr/>
          </p:nvSpPr>
          <p:spPr bwMode="auto">
            <a:xfrm>
              <a:off x="8972287" y="3088698"/>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69" name="Rectangle 268">
              <a:extLst>
                <a:ext uri="{FF2B5EF4-FFF2-40B4-BE49-F238E27FC236}">
                  <a16:creationId xmlns:a16="http://schemas.microsoft.com/office/drawing/2014/main" id="{9E2BEDAF-1F59-4CD5-B7E5-EF86676ED9C6}"/>
                </a:ext>
              </a:extLst>
            </p:cNvPr>
            <p:cNvSpPr/>
            <p:nvPr/>
          </p:nvSpPr>
          <p:spPr bwMode="auto">
            <a:xfrm>
              <a:off x="8972287" y="2782683"/>
              <a:ext cx="55990"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73" name="Straight Connector 272">
              <a:extLst>
                <a:ext uri="{FF2B5EF4-FFF2-40B4-BE49-F238E27FC236}">
                  <a16:creationId xmlns:a16="http://schemas.microsoft.com/office/drawing/2014/main" id="{1CA5BF2D-02D5-4F99-8FE5-4711C282270B}"/>
                </a:ext>
              </a:extLst>
            </p:cNvPr>
            <p:cNvCxnSpPr>
              <a:cxnSpLocks/>
            </p:cNvCxnSpPr>
            <p:nvPr/>
          </p:nvCxnSpPr>
          <p:spPr bwMode="auto">
            <a:xfrm>
              <a:off x="9001900" y="2837173"/>
              <a:ext cx="0" cy="252358"/>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274" name="TextBox 273">
              <a:extLst>
                <a:ext uri="{FF2B5EF4-FFF2-40B4-BE49-F238E27FC236}">
                  <a16:creationId xmlns:a16="http://schemas.microsoft.com/office/drawing/2014/main" id="{E0F30543-C0CD-4ED8-82FC-BCDDA7A1AB5B}"/>
                </a:ext>
              </a:extLst>
            </p:cNvPr>
            <p:cNvSpPr txBox="1"/>
            <p:nvPr/>
          </p:nvSpPr>
          <p:spPr bwMode="auto">
            <a:xfrm>
              <a:off x="9075383" y="2890276"/>
              <a:ext cx="203604" cy="12627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N26</a:t>
              </a:r>
            </a:p>
          </p:txBody>
        </p:sp>
        <p:sp>
          <p:nvSpPr>
            <p:cNvPr id="275" name="TextBox 274">
              <a:extLst>
                <a:ext uri="{FF2B5EF4-FFF2-40B4-BE49-F238E27FC236}">
                  <a16:creationId xmlns:a16="http://schemas.microsoft.com/office/drawing/2014/main" id="{47FB0D96-0AB5-4595-822A-D562933DFC32}"/>
                </a:ext>
              </a:extLst>
            </p:cNvPr>
            <p:cNvSpPr txBox="1"/>
            <p:nvPr/>
          </p:nvSpPr>
          <p:spPr bwMode="auto">
            <a:xfrm>
              <a:off x="8727446" y="2904167"/>
              <a:ext cx="134974" cy="126279"/>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S5</a:t>
              </a:r>
            </a:p>
          </p:txBody>
        </p:sp>
        <p:sp>
          <p:nvSpPr>
            <p:cNvPr id="87" name="TextBox 86">
              <a:extLst>
                <a:ext uri="{FF2B5EF4-FFF2-40B4-BE49-F238E27FC236}">
                  <a16:creationId xmlns:a16="http://schemas.microsoft.com/office/drawing/2014/main" id="{7FF2FA0A-69C4-4771-AC34-CEC5375C2CB3}"/>
                </a:ext>
              </a:extLst>
            </p:cNvPr>
            <p:cNvSpPr txBox="1">
              <a:spLocks noChangeAspect="1"/>
            </p:cNvSpPr>
            <p:nvPr/>
          </p:nvSpPr>
          <p:spPr bwMode="auto">
            <a:xfrm>
              <a:off x="10396907" y="3099120"/>
              <a:ext cx="440878" cy="686571"/>
            </a:xfrm>
            <a:prstGeom prst="rect">
              <a:avLst/>
            </a:prstGeom>
            <a:solidFill>
              <a:schemeClr val="bg1"/>
            </a:solidFill>
            <a:ln w="19050">
              <a:solidFill>
                <a:schemeClr val="accent1"/>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chemeClr val="accent1"/>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chemeClr val="accent1"/>
                  </a:solidFill>
                  <a:effectLst/>
                  <a:uLnTx/>
                  <a:uFillTx/>
                  <a:latin typeface="Ericsson Hilda"/>
                  <a:ea typeface="+mn-ea"/>
                  <a:cs typeface="+mn-cs"/>
                </a:rPr>
                <a:t>PSAP</a:t>
              </a:r>
            </a:p>
          </p:txBody>
        </p:sp>
        <p:cxnSp>
          <p:nvCxnSpPr>
            <p:cNvPr id="88" name="Straight Connector 87">
              <a:extLst>
                <a:ext uri="{FF2B5EF4-FFF2-40B4-BE49-F238E27FC236}">
                  <a16:creationId xmlns:a16="http://schemas.microsoft.com/office/drawing/2014/main" id="{1152BEF3-03E7-41FD-BCF7-5C6A9A0B22A9}"/>
                </a:ext>
              </a:extLst>
            </p:cNvPr>
            <p:cNvCxnSpPr>
              <a:cxnSpLocks/>
              <a:stCxn id="233" idx="3"/>
              <a:endCxn id="87" idx="1"/>
            </p:cNvCxnSpPr>
            <p:nvPr/>
          </p:nvCxnSpPr>
          <p:spPr bwMode="auto">
            <a:xfrm>
              <a:off x="10027621" y="3442406"/>
              <a:ext cx="369286"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37DE6839-68F0-4C96-8F8A-CF83EC80340D}"/>
                </a:ext>
              </a:extLst>
            </p:cNvPr>
            <p:cNvSpPr txBox="1"/>
            <p:nvPr/>
          </p:nvSpPr>
          <p:spPr bwMode="auto">
            <a:xfrm>
              <a:off x="9578640" y="2163051"/>
              <a:ext cx="445902" cy="68371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05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05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082F0"/>
                  </a:solidFill>
                  <a:effectLst/>
                  <a:uLnTx/>
                  <a:uFillTx/>
                  <a:latin typeface="Ericsson Hilda"/>
                  <a:ea typeface="+mn-ea"/>
                  <a:cs typeface="+mn-cs"/>
                </a:rPr>
                <a:t>GMLC/ LRF</a:t>
              </a:r>
              <a:br>
                <a:rPr kumimoji="0" lang="en-US" sz="1050" b="0" i="0" u="none" strike="noStrike" kern="1200" cap="none" spc="0" normalizeH="0" baseline="0" noProof="0">
                  <a:ln>
                    <a:noFill/>
                  </a:ln>
                  <a:solidFill>
                    <a:srgbClr val="0082F0"/>
                  </a:solidFill>
                  <a:effectLst/>
                  <a:uLnTx/>
                  <a:uFillTx/>
                  <a:latin typeface="Ericsson Hilda"/>
                  <a:ea typeface="+mn-ea"/>
                  <a:cs typeface="+mn-cs"/>
                </a:rPr>
              </a:br>
              <a:endParaRPr kumimoji="0" lang="en-US" sz="1050" b="0" i="0" u="none" strike="noStrike" kern="1200" cap="none" spc="0" normalizeH="0" baseline="0" noProof="0">
                <a:ln>
                  <a:noFill/>
                </a:ln>
                <a:solidFill>
                  <a:srgbClr val="0082F0"/>
                </a:solidFill>
                <a:effectLst/>
                <a:uLnTx/>
                <a:uFillTx/>
                <a:latin typeface="Ericsson Hilda"/>
                <a:ea typeface="+mn-ea"/>
                <a:cs typeface="+mn-cs"/>
              </a:endParaRPr>
            </a:p>
          </p:txBody>
        </p:sp>
        <p:cxnSp>
          <p:nvCxnSpPr>
            <p:cNvPr id="94" name="Straight Connector 93">
              <a:extLst>
                <a:ext uri="{FF2B5EF4-FFF2-40B4-BE49-F238E27FC236}">
                  <a16:creationId xmlns:a16="http://schemas.microsoft.com/office/drawing/2014/main" id="{461913C7-EE8F-46A6-B10B-03D35361A3AC}"/>
                </a:ext>
              </a:extLst>
            </p:cNvPr>
            <p:cNvCxnSpPr>
              <a:cxnSpLocks/>
              <a:stCxn id="93" idx="2"/>
              <a:endCxn id="233" idx="0"/>
            </p:cNvCxnSpPr>
            <p:nvPr/>
          </p:nvCxnSpPr>
          <p:spPr bwMode="auto">
            <a:xfrm>
              <a:off x="9801591" y="2846762"/>
              <a:ext cx="5591" cy="252358"/>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cxnSp>
          <p:nvCxnSpPr>
            <p:cNvPr id="96" name="Straight Connector 95">
              <a:extLst>
                <a:ext uri="{FF2B5EF4-FFF2-40B4-BE49-F238E27FC236}">
                  <a16:creationId xmlns:a16="http://schemas.microsoft.com/office/drawing/2014/main" id="{11B7EFDA-2F82-4D8D-A0FF-3FD7CF9BDD2B}"/>
                </a:ext>
              </a:extLst>
            </p:cNvPr>
            <p:cNvCxnSpPr>
              <a:cxnSpLocks/>
              <a:stCxn id="93" idx="3"/>
              <a:endCxn id="87" idx="0"/>
            </p:cNvCxnSpPr>
            <p:nvPr/>
          </p:nvCxnSpPr>
          <p:spPr bwMode="auto">
            <a:xfrm>
              <a:off x="10024542" y="2504907"/>
              <a:ext cx="592804" cy="594213"/>
            </a:xfrm>
            <a:prstGeom prst="bentConnector2">
              <a:avLst/>
            </a:prstGeom>
            <a:solidFill>
              <a:schemeClr val="accent1"/>
            </a:solidFill>
            <a:ln w="12700" cap="flat" cmpd="sng" algn="ctr">
              <a:solidFill>
                <a:schemeClr val="accent1"/>
              </a:solidFill>
              <a:prstDash val="dash"/>
              <a:round/>
              <a:headEnd type="none" w="med" len="med"/>
              <a:tailEnd type="none" w="med" len="med"/>
            </a:ln>
            <a:effectLst/>
          </p:spPr>
        </p:cxnSp>
        <p:cxnSp>
          <p:nvCxnSpPr>
            <p:cNvPr id="99" name="Straight Connector 98">
              <a:extLst>
                <a:ext uri="{FF2B5EF4-FFF2-40B4-BE49-F238E27FC236}">
                  <a16:creationId xmlns:a16="http://schemas.microsoft.com/office/drawing/2014/main" id="{138502CF-CD6D-406E-B1FF-11FA185A364B}"/>
                </a:ext>
              </a:extLst>
            </p:cNvPr>
            <p:cNvCxnSpPr>
              <a:cxnSpLocks/>
            </p:cNvCxnSpPr>
            <p:nvPr/>
          </p:nvCxnSpPr>
          <p:spPr bwMode="auto">
            <a:xfrm flipH="1" flipV="1">
              <a:off x="9133539" y="2401010"/>
              <a:ext cx="445101" cy="1431"/>
            </a:xfrm>
            <a:prstGeom prst="line">
              <a:avLst/>
            </a:prstGeom>
            <a:solidFill>
              <a:schemeClr val="accent1"/>
            </a:solidFill>
            <a:ln w="12700" cap="flat" cmpd="sng" algn="ctr">
              <a:solidFill>
                <a:schemeClr val="accent2"/>
              </a:solidFill>
              <a:prstDash val="dash"/>
              <a:round/>
              <a:headEnd type="none" w="med" len="med"/>
              <a:tailEnd type="none" w="med" len="med"/>
            </a:ln>
            <a:effectLst/>
          </p:spPr>
        </p:cxnSp>
        <p:sp>
          <p:nvSpPr>
            <p:cNvPr id="2" name="Freeform: Shape 1">
              <a:extLst>
                <a:ext uri="{FF2B5EF4-FFF2-40B4-BE49-F238E27FC236}">
                  <a16:creationId xmlns:a16="http://schemas.microsoft.com/office/drawing/2014/main" id="{6A39A8FA-2FA2-43AD-9FF4-EDE799C98874}"/>
                </a:ext>
              </a:extLst>
            </p:cNvPr>
            <p:cNvSpPr/>
            <p:nvPr/>
          </p:nvSpPr>
          <p:spPr bwMode="auto">
            <a:xfrm>
              <a:off x="9130811" y="2643915"/>
              <a:ext cx="458655" cy="696414"/>
            </a:xfrm>
            <a:custGeom>
              <a:avLst/>
              <a:gdLst>
                <a:gd name="connsiteX0" fmla="*/ 0 w 374515"/>
                <a:gd name="connsiteY0" fmla="*/ 593387 h 593387"/>
                <a:gd name="connsiteX1" fmla="*/ 194553 w 374515"/>
                <a:gd name="connsiteY1" fmla="*/ 593387 h 593387"/>
                <a:gd name="connsiteX2" fmla="*/ 194553 w 374515"/>
                <a:gd name="connsiteY2" fmla="*/ 0 h 593387"/>
                <a:gd name="connsiteX3" fmla="*/ 374515 w 374515"/>
                <a:gd name="connsiteY3" fmla="*/ 0 h 593387"/>
              </a:gdLst>
              <a:ahLst/>
              <a:cxnLst>
                <a:cxn ang="0">
                  <a:pos x="connsiteX0" y="connsiteY0"/>
                </a:cxn>
                <a:cxn ang="0">
                  <a:pos x="connsiteX1" y="connsiteY1"/>
                </a:cxn>
                <a:cxn ang="0">
                  <a:pos x="connsiteX2" y="connsiteY2"/>
                </a:cxn>
                <a:cxn ang="0">
                  <a:pos x="connsiteX3" y="connsiteY3"/>
                </a:cxn>
              </a:cxnLst>
              <a:rect l="l" t="t" r="r" b="b"/>
              <a:pathLst>
                <a:path w="374515" h="593387">
                  <a:moveTo>
                    <a:pt x="0" y="593387"/>
                  </a:moveTo>
                  <a:lnTo>
                    <a:pt x="194553" y="593387"/>
                  </a:lnTo>
                  <a:lnTo>
                    <a:pt x="194553" y="0"/>
                  </a:lnTo>
                  <a:lnTo>
                    <a:pt x="374515" y="0"/>
                  </a:lnTo>
                </a:path>
              </a:pathLst>
            </a:custGeom>
            <a:noFill/>
            <a:ln w="12700" cap="flat" cmpd="sng" algn="ctr">
              <a:solidFill>
                <a:schemeClr val="accent1"/>
              </a:solidFill>
              <a:prstDash val="dash"/>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181818"/>
                </a:solidFill>
                <a:effectLst/>
                <a:uLnTx/>
                <a:uFillTx/>
                <a:latin typeface="Ericsson Hilda"/>
                <a:ea typeface="+mn-ea"/>
                <a:cs typeface="+mn-cs"/>
              </a:endParaRPr>
            </a:p>
          </p:txBody>
        </p:sp>
      </p:grpSp>
      <p:sp>
        <p:nvSpPr>
          <p:cNvPr id="218" name="TextBox 217">
            <a:extLst>
              <a:ext uri="{FF2B5EF4-FFF2-40B4-BE49-F238E27FC236}">
                <a16:creationId xmlns:a16="http://schemas.microsoft.com/office/drawing/2014/main" id="{B53652F7-83B4-4652-9330-999A98741212}"/>
              </a:ext>
            </a:extLst>
          </p:cNvPr>
          <p:cNvSpPr txBox="1"/>
          <p:nvPr/>
        </p:nvSpPr>
        <p:spPr bwMode="auto">
          <a:xfrm>
            <a:off x="448362" y="3877171"/>
            <a:ext cx="5237932" cy="2882259"/>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lvl="0" indent="0">
              <a:lnSpc>
                <a:spcPct val="90000"/>
              </a:lnSpc>
              <a:spcAft>
                <a:spcPts val="300"/>
              </a:spcAft>
              <a:buClr>
                <a:srgbClr val="181818"/>
              </a:buClr>
              <a:buNone/>
              <a:defRPr/>
            </a:pPr>
            <a:r>
              <a:rPr lang="en-US" sz="1600" b="1">
                <a:solidFill>
                  <a:srgbClr val="181818"/>
                </a:solidFill>
              </a:rPr>
              <a:t>UE Reselection to LTE </a:t>
            </a:r>
            <a:r>
              <a:rPr lang="en-US" sz="1600" b="1"/>
              <a:t>for emergency</a:t>
            </a:r>
          </a:p>
          <a:p>
            <a:pPr marL="285750" lvl="0" indent="-285750">
              <a:lnSpc>
                <a:spcPct val="90000"/>
              </a:lnSpc>
              <a:spcBef>
                <a:spcPts val="0"/>
              </a:spcBef>
              <a:spcAft>
                <a:spcPts val="300"/>
              </a:spcAft>
              <a:buClr>
                <a:srgbClr val="181818"/>
              </a:buClr>
              <a:buFont typeface="Ericsson Hilda Light" panose="00000600000000000000" pitchFamily="2" charset="0"/>
              <a:buChar char="—"/>
              <a:defRPr/>
            </a:pPr>
            <a:r>
              <a:rPr lang="en-US" sz="1400"/>
              <a:t>UE re-selects to LTE as 5GC will not announce support for Emergency Call.</a:t>
            </a:r>
          </a:p>
          <a:p>
            <a:pPr marL="285750" lvl="0" indent="-285750">
              <a:lnSpc>
                <a:spcPct val="90000"/>
              </a:lnSpc>
              <a:spcBef>
                <a:spcPts val="0"/>
              </a:spcBef>
              <a:spcAft>
                <a:spcPts val="800"/>
              </a:spcAft>
              <a:buClr>
                <a:srgbClr val="181818"/>
              </a:buClr>
              <a:buFont typeface="Ericsson Hilda Light" panose="00000600000000000000" pitchFamily="2" charset="0"/>
              <a:buChar char="—"/>
              <a:defRPr/>
            </a:pPr>
            <a:r>
              <a:rPr lang="en-US" sz="1400"/>
              <a:t>Solution is depending on the UE access selection.</a:t>
            </a:r>
          </a:p>
          <a:p>
            <a:pPr marL="285750" lvl="0" indent="-285750">
              <a:lnSpc>
                <a:spcPct val="90000"/>
              </a:lnSpc>
              <a:spcBef>
                <a:spcPts val="0"/>
              </a:spcBef>
              <a:spcAft>
                <a:spcPts val="800"/>
              </a:spcAft>
              <a:buClr>
                <a:srgbClr val="181818"/>
              </a:buClr>
              <a:buFont typeface="Ericsson Hilda Light" panose="00000600000000000000" pitchFamily="2" charset="0"/>
              <a:buChar char="—"/>
              <a:defRPr/>
            </a:pPr>
            <a:r>
              <a:rPr lang="en-US" sz="1400"/>
              <a:t>Suited for operators not using IMS emergency call</a:t>
            </a:r>
          </a:p>
          <a:p>
            <a:pPr marL="0" indent="0">
              <a:lnSpc>
                <a:spcPct val="90000"/>
              </a:lnSpc>
              <a:spcAft>
                <a:spcPts val="300"/>
              </a:spcAft>
              <a:buClr>
                <a:srgbClr val="181818"/>
              </a:buClr>
              <a:buNone/>
              <a:defRPr/>
            </a:pPr>
            <a:r>
              <a:rPr lang="en-US" sz="1600" b="1"/>
              <a:t>EPS Fallback: Service Request  for emergency </a:t>
            </a:r>
            <a:r>
              <a:rPr lang="en-US" sz="1600"/>
              <a:t>(recommended)</a:t>
            </a:r>
          </a:p>
          <a:p>
            <a:pPr marL="285750" lvl="0" indent="-285750">
              <a:lnSpc>
                <a:spcPct val="90000"/>
              </a:lnSpc>
              <a:spcBef>
                <a:spcPts val="0"/>
              </a:spcBef>
              <a:spcAft>
                <a:spcPts val="300"/>
              </a:spcAft>
              <a:buClr>
                <a:srgbClr val="181818"/>
              </a:buClr>
              <a:buFont typeface="Ericsson Hilda Light" panose="00000600000000000000" pitchFamily="2" charset="0"/>
              <a:buChar char="—"/>
              <a:defRPr/>
            </a:pPr>
            <a:r>
              <a:rPr lang="en-US" sz="1400"/>
              <a:t>Using service-request for emergency by the UE (with support from AMF and gNB)</a:t>
            </a:r>
          </a:p>
          <a:p>
            <a:pPr marL="285750" indent="-285750">
              <a:lnSpc>
                <a:spcPct val="90000"/>
              </a:lnSpc>
              <a:spcBef>
                <a:spcPts val="0"/>
              </a:spcBef>
              <a:spcAft>
                <a:spcPts val="300"/>
              </a:spcAft>
              <a:buClr>
                <a:srgbClr val="181818"/>
              </a:buClr>
              <a:buFont typeface="Ericsson Hilda Light" panose="00000600000000000000" pitchFamily="2" charset="0"/>
              <a:buChar char="—"/>
              <a:defRPr/>
            </a:pPr>
            <a:r>
              <a:rPr lang="en-US" sz="1400">
                <a:solidFill>
                  <a:srgbClr val="181818"/>
                </a:solidFill>
              </a:rPr>
              <a:t>No need for NR and 5GC to support emergency features other than needed for service-request for emergency handling</a:t>
            </a:r>
            <a:endParaRPr kumimoji="0" lang="en-US" sz="1800" b="1" i="0" u="none" strike="noStrike" kern="1200" cap="none" spc="0" normalizeH="0" baseline="0" noProof="0">
              <a:ln>
                <a:noFill/>
              </a:ln>
              <a:solidFill>
                <a:srgbClr val="181818"/>
              </a:solidFill>
              <a:effectLst/>
              <a:uLnTx/>
              <a:uFillTx/>
              <a:latin typeface="Ericsson Hilda"/>
              <a:ea typeface="+mn-ea"/>
              <a:cs typeface="+mn-cs"/>
            </a:endParaRPr>
          </a:p>
          <a:p>
            <a:pPr marL="742950" marR="0" lvl="1" indent="-285750" algn="l" defTabSz="914400" rtl="0" eaLnBrk="1" fontAlgn="auto" latinLnBrk="0" hangingPunct="1">
              <a:lnSpc>
                <a:spcPct val="90000"/>
              </a:lnSpc>
              <a:spcBef>
                <a:spcPts val="0"/>
              </a:spcBef>
              <a:spcAft>
                <a:spcPts val="300"/>
              </a:spcAft>
              <a:buClr>
                <a:srgbClr val="181818"/>
              </a:buClr>
              <a:buSzTx/>
              <a:buFont typeface="Ericsson Hilda Light" panose="00000600000000000000" pitchFamily="2" charset="0"/>
              <a:buChar char="—"/>
              <a:tabLst/>
              <a:defRPr/>
            </a:pPr>
            <a:endParaRPr kumimoji="0" lang="en-US" sz="1400" b="1" i="0" u="none" strike="noStrike" kern="1200" cap="none" spc="0" normalizeH="0" baseline="0" noProof="0">
              <a:ln>
                <a:noFill/>
              </a:ln>
              <a:solidFill>
                <a:srgbClr val="0082F0"/>
              </a:solidFill>
              <a:effectLst/>
              <a:uLnTx/>
              <a:uFillTx/>
              <a:latin typeface="Ericsson Hilda"/>
              <a:ea typeface="+mn-ea"/>
              <a:cs typeface="+mn-cs"/>
            </a:endParaRPr>
          </a:p>
        </p:txBody>
      </p:sp>
      <p:sp>
        <p:nvSpPr>
          <p:cNvPr id="164" name="Rectangle 163">
            <a:extLst>
              <a:ext uri="{FF2B5EF4-FFF2-40B4-BE49-F238E27FC236}">
                <a16:creationId xmlns:a16="http://schemas.microsoft.com/office/drawing/2014/main" id="{BB6E692D-8093-4B3D-A02E-FE411393485A}"/>
              </a:ext>
            </a:extLst>
          </p:cNvPr>
          <p:cNvSpPr/>
          <p:nvPr/>
        </p:nvSpPr>
        <p:spPr bwMode="auto">
          <a:xfrm>
            <a:off x="448362" y="1329992"/>
            <a:ext cx="5237933" cy="2265967"/>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lvl="0" indent="0">
              <a:buClr>
                <a:srgbClr val="181818"/>
              </a:buClr>
              <a:buNone/>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Emergency with </a:t>
            </a:r>
            <a:r>
              <a:rPr lang="en-US" sz="1200">
                <a:solidFill>
                  <a:srgbClr val="181818"/>
                </a:solidFill>
              </a:rPr>
              <a:t>UE reselection to LTE or EPS </a:t>
            </a:r>
            <a:r>
              <a:rPr kumimoji="0" lang="en-US" sz="1200" b="0" i="0" u="none" strike="noStrike" kern="1200" cap="none" spc="0" normalizeH="0" baseline="0" noProof="0">
                <a:ln>
                  <a:noFill/>
                </a:ln>
                <a:solidFill>
                  <a:srgbClr val="181818"/>
                </a:solidFill>
                <a:effectLst/>
                <a:uLnTx/>
                <a:uFillTx/>
                <a:latin typeface="Ericsson Hilda"/>
                <a:ea typeface="+mn-ea"/>
                <a:cs typeface="+mn-cs"/>
              </a:rPr>
              <a:t>fallback </a:t>
            </a:r>
            <a:r>
              <a:rPr lang="en-US" sz="1200">
                <a:solidFill>
                  <a:srgbClr val="181818"/>
                </a:solidFill>
                <a:latin typeface="Ericsson Hilda"/>
              </a:rPr>
              <a:t>with </a:t>
            </a:r>
            <a:r>
              <a:rPr kumimoji="0" lang="en-US" sz="1200" b="0" i="0" u="none" strike="noStrike" kern="1200" cap="none" spc="0" normalizeH="0" baseline="0" noProof="0">
                <a:ln>
                  <a:noFill/>
                </a:ln>
                <a:solidFill>
                  <a:srgbClr val="181818"/>
                </a:solidFill>
                <a:effectLst/>
                <a:uLnTx/>
                <a:uFillTx/>
                <a:latin typeface="Ericsson Hilda"/>
                <a:ea typeface="+mn-ea"/>
                <a:cs typeface="+mn-cs"/>
              </a:rPr>
              <a:t>SR</a:t>
            </a:r>
          </a:p>
        </p:txBody>
      </p:sp>
      <p:pic>
        <p:nvPicPr>
          <p:cNvPr id="97" name="Graphic 96">
            <a:extLst>
              <a:ext uri="{FF2B5EF4-FFF2-40B4-BE49-F238E27FC236}">
                <a16:creationId xmlns:a16="http://schemas.microsoft.com/office/drawing/2014/main" id="{427A1919-2115-4C67-87AC-225A1679DC0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00046" y="1999822"/>
            <a:ext cx="319670" cy="424445"/>
          </a:xfrm>
          <a:prstGeom prst="rect">
            <a:avLst/>
          </a:prstGeom>
        </p:spPr>
      </p:pic>
      <p:sp>
        <p:nvSpPr>
          <p:cNvPr id="98" name="Rectangle 97">
            <a:extLst>
              <a:ext uri="{FF2B5EF4-FFF2-40B4-BE49-F238E27FC236}">
                <a16:creationId xmlns:a16="http://schemas.microsoft.com/office/drawing/2014/main" id="{175100FC-981A-4F80-90ED-16876894CA49}"/>
              </a:ext>
            </a:extLst>
          </p:cNvPr>
          <p:cNvSpPr/>
          <p:nvPr/>
        </p:nvSpPr>
        <p:spPr bwMode="auto">
          <a:xfrm>
            <a:off x="4084999" y="3032732"/>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01" name="Rectangle 100">
            <a:extLst>
              <a:ext uri="{FF2B5EF4-FFF2-40B4-BE49-F238E27FC236}">
                <a16:creationId xmlns:a16="http://schemas.microsoft.com/office/drawing/2014/main" id="{216D0DB6-A7EC-4638-ABF5-C065AA7B6BED}"/>
              </a:ext>
            </a:extLst>
          </p:cNvPr>
          <p:cNvSpPr/>
          <p:nvPr/>
        </p:nvSpPr>
        <p:spPr bwMode="auto">
          <a:xfrm>
            <a:off x="2667031" y="3173938"/>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02" name="Rectangle 101">
            <a:extLst>
              <a:ext uri="{FF2B5EF4-FFF2-40B4-BE49-F238E27FC236}">
                <a16:creationId xmlns:a16="http://schemas.microsoft.com/office/drawing/2014/main" id="{3F1E7030-3D88-4C64-928C-5BC03B09D4D3}"/>
              </a:ext>
            </a:extLst>
          </p:cNvPr>
          <p:cNvSpPr/>
          <p:nvPr/>
        </p:nvSpPr>
        <p:spPr bwMode="auto">
          <a:xfrm>
            <a:off x="3181556" y="3173938"/>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10" name="Rectangle 109">
            <a:extLst>
              <a:ext uri="{FF2B5EF4-FFF2-40B4-BE49-F238E27FC236}">
                <a16:creationId xmlns:a16="http://schemas.microsoft.com/office/drawing/2014/main" id="{20E48ED5-C314-45DC-B1ED-BE6693457D42}"/>
              </a:ext>
            </a:extLst>
          </p:cNvPr>
          <p:cNvSpPr/>
          <p:nvPr/>
        </p:nvSpPr>
        <p:spPr bwMode="auto">
          <a:xfrm>
            <a:off x="1676044" y="3166987"/>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23" name="Rectangle 122">
            <a:extLst>
              <a:ext uri="{FF2B5EF4-FFF2-40B4-BE49-F238E27FC236}">
                <a16:creationId xmlns:a16="http://schemas.microsoft.com/office/drawing/2014/main" id="{0418C2D1-98AB-463E-9963-B2A351B74058}"/>
              </a:ext>
            </a:extLst>
          </p:cNvPr>
          <p:cNvSpPr/>
          <p:nvPr/>
        </p:nvSpPr>
        <p:spPr bwMode="auto">
          <a:xfrm>
            <a:off x="2156965" y="3166987"/>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35" name="Rectangle 134">
            <a:extLst>
              <a:ext uri="{FF2B5EF4-FFF2-40B4-BE49-F238E27FC236}">
                <a16:creationId xmlns:a16="http://schemas.microsoft.com/office/drawing/2014/main" id="{8D5F5240-F6B1-4D63-85F9-51DE23A67C78}"/>
              </a:ext>
            </a:extLst>
          </p:cNvPr>
          <p:cNvSpPr/>
          <p:nvPr/>
        </p:nvSpPr>
        <p:spPr bwMode="auto">
          <a:xfrm>
            <a:off x="3281374" y="2370610"/>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39" name="Rectangle 138">
            <a:extLst>
              <a:ext uri="{FF2B5EF4-FFF2-40B4-BE49-F238E27FC236}">
                <a16:creationId xmlns:a16="http://schemas.microsoft.com/office/drawing/2014/main" id="{3C2202F8-4591-40E6-9B22-3AC686831E1D}"/>
              </a:ext>
            </a:extLst>
          </p:cNvPr>
          <p:cNvSpPr/>
          <p:nvPr/>
        </p:nvSpPr>
        <p:spPr bwMode="auto">
          <a:xfrm>
            <a:off x="3482967" y="2370610"/>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40" name="Rectangle 139">
            <a:extLst>
              <a:ext uri="{FF2B5EF4-FFF2-40B4-BE49-F238E27FC236}">
                <a16:creationId xmlns:a16="http://schemas.microsoft.com/office/drawing/2014/main" id="{5671AD60-7D06-44E9-9276-C219516BFB3A}"/>
              </a:ext>
            </a:extLst>
          </p:cNvPr>
          <p:cNvSpPr/>
          <p:nvPr/>
        </p:nvSpPr>
        <p:spPr bwMode="auto">
          <a:xfrm>
            <a:off x="3570473" y="3032732"/>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41" name="Rectangle 140">
            <a:extLst>
              <a:ext uri="{FF2B5EF4-FFF2-40B4-BE49-F238E27FC236}">
                <a16:creationId xmlns:a16="http://schemas.microsoft.com/office/drawing/2014/main" id="{891A131C-B5B4-4327-BD05-601CC080E9D8}"/>
              </a:ext>
            </a:extLst>
          </p:cNvPr>
          <p:cNvSpPr/>
          <p:nvPr/>
        </p:nvSpPr>
        <p:spPr bwMode="auto">
          <a:xfrm>
            <a:off x="1140249" y="3043284"/>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42" name="Rectangle 141">
            <a:extLst>
              <a:ext uri="{FF2B5EF4-FFF2-40B4-BE49-F238E27FC236}">
                <a16:creationId xmlns:a16="http://schemas.microsoft.com/office/drawing/2014/main" id="{C58B4F40-E0C2-4F91-80AD-5777F4F36285}"/>
              </a:ext>
            </a:extLst>
          </p:cNvPr>
          <p:cNvSpPr/>
          <p:nvPr/>
        </p:nvSpPr>
        <p:spPr bwMode="auto">
          <a:xfrm>
            <a:off x="1192843" y="2226831"/>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43" name="Rectangle 142">
            <a:extLst>
              <a:ext uri="{FF2B5EF4-FFF2-40B4-BE49-F238E27FC236}">
                <a16:creationId xmlns:a16="http://schemas.microsoft.com/office/drawing/2014/main" id="{C244ACBC-67D7-4042-9BD6-C7DB0C518219}"/>
              </a:ext>
            </a:extLst>
          </p:cNvPr>
          <p:cNvSpPr/>
          <p:nvPr/>
        </p:nvSpPr>
        <p:spPr bwMode="auto">
          <a:xfrm>
            <a:off x="1649645" y="2229329"/>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44" name="Rectangle 143">
            <a:extLst>
              <a:ext uri="{FF2B5EF4-FFF2-40B4-BE49-F238E27FC236}">
                <a16:creationId xmlns:a16="http://schemas.microsoft.com/office/drawing/2014/main" id="{EB0C0F1B-2C06-4AC0-9904-8FDA8B9079DC}"/>
              </a:ext>
            </a:extLst>
          </p:cNvPr>
          <p:cNvSpPr/>
          <p:nvPr/>
        </p:nvSpPr>
        <p:spPr bwMode="auto">
          <a:xfrm>
            <a:off x="2156965" y="2229329"/>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46" name="Rectangle 145">
            <a:extLst>
              <a:ext uri="{FF2B5EF4-FFF2-40B4-BE49-F238E27FC236}">
                <a16:creationId xmlns:a16="http://schemas.microsoft.com/office/drawing/2014/main" id="{D1ABFD5F-8E0C-480A-BC29-F6723ADFDD17}"/>
              </a:ext>
            </a:extLst>
          </p:cNvPr>
          <p:cNvSpPr/>
          <p:nvPr/>
        </p:nvSpPr>
        <p:spPr bwMode="auto">
          <a:xfrm>
            <a:off x="2156965" y="2093714"/>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47" name="Straight Connector 146">
            <a:extLst>
              <a:ext uri="{FF2B5EF4-FFF2-40B4-BE49-F238E27FC236}">
                <a16:creationId xmlns:a16="http://schemas.microsoft.com/office/drawing/2014/main" id="{40B49DE6-2EC3-443C-848A-118912876E3B}"/>
              </a:ext>
            </a:extLst>
          </p:cNvPr>
          <p:cNvCxnSpPr>
            <a:cxnSpLocks/>
            <a:stCxn id="148" idx="3"/>
            <a:endCxn id="146" idx="1"/>
          </p:cNvCxnSpPr>
          <p:nvPr/>
        </p:nvCxnSpPr>
        <p:spPr bwMode="auto">
          <a:xfrm>
            <a:off x="1706222" y="2120543"/>
            <a:ext cx="450744"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48" name="Rectangle 147">
            <a:extLst>
              <a:ext uri="{FF2B5EF4-FFF2-40B4-BE49-F238E27FC236}">
                <a16:creationId xmlns:a16="http://schemas.microsoft.com/office/drawing/2014/main" id="{944FE23C-5ECB-45FD-82E8-6430F1CB57EA}"/>
              </a:ext>
            </a:extLst>
          </p:cNvPr>
          <p:cNvSpPr/>
          <p:nvPr/>
        </p:nvSpPr>
        <p:spPr bwMode="auto">
          <a:xfrm>
            <a:off x="1649645" y="2093714"/>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49" name="Rectangle 148">
            <a:extLst>
              <a:ext uri="{FF2B5EF4-FFF2-40B4-BE49-F238E27FC236}">
                <a16:creationId xmlns:a16="http://schemas.microsoft.com/office/drawing/2014/main" id="{43872AEF-D79D-4B11-BD31-35E3D3C6D720}"/>
              </a:ext>
            </a:extLst>
          </p:cNvPr>
          <p:cNvSpPr/>
          <p:nvPr/>
        </p:nvSpPr>
        <p:spPr bwMode="auto">
          <a:xfrm>
            <a:off x="2667031" y="2229329"/>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50" name="Rectangle 149">
            <a:extLst>
              <a:ext uri="{FF2B5EF4-FFF2-40B4-BE49-F238E27FC236}">
                <a16:creationId xmlns:a16="http://schemas.microsoft.com/office/drawing/2014/main" id="{FB79EADC-3666-4DC4-99BF-71F41E9BFF02}"/>
              </a:ext>
            </a:extLst>
          </p:cNvPr>
          <p:cNvSpPr/>
          <p:nvPr/>
        </p:nvSpPr>
        <p:spPr bwMode="auto">
          <a:xfrm>
            <a:off x="3181556" y="2229329"/>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52" name="Rectangle 151">
            <a:extLst>
              <a:ext uri="{FF2B5EF4-FFF2-40B4-BE49-F238E27FC236}">
                <a16:creationId xmlns:a16="http://schemas.microsoft.com/office/drawing/2014/main" id="{01FE1AE1-8B2A-4840-A7A3-0803D96F9B04}"/>
              </a:ext>
            </a:extLst>
          </p:cNvPr>
          <p:cNvSpPr/>
          <p:nvPr/>
        </p:nvSpPr>
        <p:spPr bwMode="auto">
          <a:xfrm>
            <a:off x="3181556" y="2093714"/>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153" name="Straight Connector 152">
            <a:extLst>
              <a:ext uri="{FF2B5EF4-FFF2-40B4-BE49-F238E27FC236}">
                <a16:creationId xmlns:a16="http://schemas.microsoft.com/office/drawing/2014/main" id="{CFA5C6DF-CB20-4537-B6C2-DA1D46DB29EB}"/>
              </a:ext>
            </a:extLst>
          </p:cNvPr>
          <p:cNvCxnSpPr>
            <a:cxnSpLocks/>
            <a:stCxn id="154" idx="3"/>
            <a:endCxn id="152" idx="1"/>
          </p:cNvCxnSpPr>
          <p:nvPr/>
        </p:nvCxnSpPr>
        <p:spPr bwMode="auto">
          <a:xfrm>
            <a:off x="2723608" y="2120543"/>
            <a:ext cx="457948"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154" name="Rectangle 153">
            <a:extLst>
              <a:ext uri="{FF2B5EF4-FFF2-40B4-BE49-F238E27FC236}">
                <a16:creationId xmlns:a16="http://schemas.microsoft.com/office/drawing/2014/main" id="{6AC40CDA-412C-4F4B-853F-6D30CEEFC557}"/>
              </a:ext>
            </a:extLst>
          </p:cNvPr>
          <p:cNvSpPr/>
          <p:nvPr/>
        </p:nvSpPr>
        <p:spPr bwMode="auto">
          <a:xfrm>
            <a:off x="2667031" y="2093714"/>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156" name="TextBox 155">
            <a:extLst>
              <a:ext uri="{FF2B5EF4-FFF2-40B4-BE49-F238E27FC236}">
                <a16:creationId xmlns:a16="http://schemas.microsoft.com/office/drawing/2014/main" id="{AB7DAC9C-E851-43FA-A801-71128DBBE91D}"/>
              </a:ext>
            </a:extLst>
          </p:cNvPr>
          <p:cNvSpPr txBox="1"/>
          <p:nvPr/>
        </p:nvSpPr>
        <p:spPr bwMode="auto">
          <a:xfrm>
            <a:off x="1669816" y="1983029"/>
            <a:ext cx="546625" cy="92333"/>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Emergency Call</a:t>
            </a:r>
            <a:endParaRPr kumimoji="0" lang="en-US" sz="600" b="0" i="0" u="none" strike="noStrike" kern="1200" cap="none" spc="0" normalizeH="0" baseline="0" noProof="0">
              <a:ln>
                <a:noFill/>
              </a:ln>
              <a:solidFill>
                <a:schemeClr val="accent6">
                  <a:lumMod val="40000"/>
                  <a:lumOff val="60000"/>
                </a:schemeClr>
              </a:solidFill>
              <a:effectLst/>
              <a:uLnTx/>
              <a:uFillTx/>
              <a:latin typeface="Arial" panose="020B0604020202020204" pitchFamily="34" charset="0"/>
              <a:ea typeface="+mn-ea"/>
              <a:cs typeface="Arial" panose="020B0604020202020204" pitchFamily="34" charset="0"/>
            </a:endParaRPr>
          </a:p>
        </p:txBody>
      </p:sp>
      <p:pic>
        <p:nvPicPr>
          <p:cNvPr id="158" name="Graphic 157">
            <a:extLst>
              <a:ext uri="{FF2B5EF4-FFF2-40B4-BE49-F238E27FC236}">
                <a16:creationId xmlns:a16="http://schemas.microsoft.com/office/drawing/2014/main" id="{017D18E7-7281-43E3-A224-EEDCF533FA8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00046" y="2938750"/>
            <a:ext cx="319670" cy="424445"/>
          </a:xfrm>
          <a:prstGeom prst="rect">
            <a:avLst/>
          </a:prstGeom>
        </p:spPr>
      </p:pic>
      <p:sp>
        <p:nvSpPr>
          <p:cNvPr id="159" name="TextBox 158">
            <a:extLst>
              <a:ext uri="{FF2B5EF4-FFF2-40B4-BE49-F238E27FC236}">
                <a16:creationId xmlns:a16="http://schemas.microsoft.com/office/drawing/2014/main" id="{1D54D2C8-4C00-4EC2-A6F3-7104C50D9A76}"/>
              </a:ext>
            </a:extLst>
          </p:cNvPr>
          <p:cNvSpPr txBox="1">
            <a:spLocks noChangeAspect="1"/>
          </p:cNvSpPr>
          <p:nvPr/>
        </p:nvSpPr>
        <p:spPr bwMode="auto">
          <a:xfrm>
            <a:off x="2278113" y="1737696"/>
            <a:ext cx="445494" cy="686571"/>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FC373"/>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1" i="0" u="none" strike="noStrike" kern="1200" cap="none" spc="0" normalizeH="0" baseline="0" noProof="0">
                <a:ln>
                  <a:noFill/>
                </a:ln>
                <a:solidFill>
                  <a:srgbClr val="0FC373"/>
                </a:solidFill>
                <a:effectLst/>
                <a:uLnTx/>
                <a:uFillTx/>
                <a:latin typeface="Ericsson Hilda"/>
                <a:ea typeface="+mn-ea"/>
                <a:cs typeface="+mn-cs"/>
              </a:rPr>
              <a:t>LTE or</a:t>
            </a: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1" i="0" u="none" strike="noStrike" kern="1200" cap="none" spc="0" normalizeH="0" baseline="0" noProof="0">
                <a:ln>
                  <a:noFill/>
                </a:ln>
                <a:solidFill>
                  <a:srgbClr val="0FC373"/>
                </a:solidFill>
                <a:effectLst/>
                <a:uLnTx/>
                <a:uFillTx/>
                <a:latin typeface="Ericsson Hilda"/>
                <a:ea typeface="+mn-ea"/>
                <a:cs typeface="+mn-cs"/>
              </a:rPr>
              <a:t>EN-DC</a:t>
            </a:r>
          </a:p>
        </p:txBody>
      </p:sp>
      <p:sp>
        <p:nvSpPr>
          <p:cNvPr id="160" name="TextBox 159">
            <a:extLst>
              <a:ext uri="{FF2B5EF4-FFF2-40B4-BE49-F238E27FC236}">
                <a16:creationId xmlns:a16="http://schemas.microsoft.com/office/drawing/2014/main" id="{2BF39C16-A44C-488E-AB0F-8FF56D4979C9}"/>
              </a:ext>
            </a:extLst>
          </p:cNvPr>
          <p:cNvSpPr txBox="1">
            <a:spLocks noChangeAspect="1"/>
          </p:cNvSpPr>
          <p:nvPr/>
        </p:nvSpPr>
        <p:spPr bwMode="auto">
          <a:xfrm>
            <a:off x="3181556" y="1737696"/>
            <a:ext cx="445494" cy="686571"/>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700" b="1" i="0" u="none" strike="noStrike" kern="1200" cap="none" spc="0" normalizeH="0" baseline="0" noProof="0">
                <a:ln>
                  <a:noFill/>
                </a:ln>
                <a:solidFill>
                  <a:srgbClr val="0FC373"/>
                </a:solidFill>
                <a:effectLst/>
                <a:uLnTx/>
                <a:uFillTx/>
                <a:latin typeface="Ericsson Hilda"/>
                <a:ea typeface="+mn-ea"/>
                <a:cs typeface="+mn-cs"/>
              </a:rPr>
              <a:t>EPC</a:t>
            </a:r>
          </a:p>
        </p:txBody>
      </p:sp>
      <p:sp>
        <p:nvSpPr>
          <p:cNvPr id="161" name="TextBox 160">
            <a:extLst>
              <a:ext uri="{FF2B5EF4-FFF2-40B4-BE49-F238E27FC236}">
                <a16:creationId xmlns:a16="http://schemas.microsoft.com/office/drawing/2014/main" id="{30E740DD-26AB-4231-BF66-C745B721A6F2}"/>
              </a:ext>
            </a:extLst>
          </p:cNvPr>
          <p:cNvSpPr txBox="1">
            <a:spLocks noChangeAspect="1"/>
          </p:cNvSpPr>
          <p:nvPr/>
        </p:nvSpPr>
        <p:spPr bwMode="auto">
          <a:xfrm>
            <a:off x="4084999" y="2676624"/>
            <a:ext cx="445494" cy="686571"/>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rgbClr val="0FC373"/>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rgbClr val="0FC373"/>
                </a:solidFill>
                <a:effectLst/>
                <a:uLnTx/>
                <a:uFillTx/>
                <a:latin typeface="Ericsson Hilda"/>
                <a:ea typeface="+mn-ea"/>
                <a:cs typeface="+mn-cs"/>
              </a:rPr>
              <a:t>IMS</a:t>
            </a:r>
          </a:p>
        </p:txBody>
      </p:sp>
      <p:sp>
        <p:nvSpPr>
          <p:cNvPr id="162" name="TextBox 161">
            <a:extLst>
              <a:ext uri="{FF2B5EF4-FFF2-40B4-BE49-F238E27FC236}">
                <a16:creationId xmlns:a16="http://schemas.microsoft.com/office/drawing/2014/main" id="{4A7C9E7A-5DDB-48C0-B8D7-054C5FEFD100}"/>
              </a:ext>
            </a:extLst>
          </p:cNvPr>
          <p:cNvSpPr txBox="1">
            <a:spLocks noChangeAspect="1"/>
          </p:cNvSpPr>
          <p:nvPr/>
        </p:nvSpPr>
        <p:spPr bwMode="auto">
          <a:xfrm>
            <a:off x="3181556" y="2676624"/>
            <a:ext cx="445494" cy="686571"/>
          </a:xfrm>
          <a:prstGeom prst="rect">
            <a:avLst/>
          </a:prstGeom>
          <a:solidFill>
            <a:schemeClr val="bg1"/>
          </a:solidFill>
          <a:ln w="19050">
            <a:solidFill>
              <a:schemeClr val="accent1"/>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rgbClr val="0082F0"/>
                </a:solidFill>
                <a:effectLst/>
                <a:uLnTx/>
                <a:uFillTx/>
                <a:latin typeface="Ericsson Hilda"/>
                <a:ea typeface="+mn-ea"/>
                <a:cs typeface="+mn-cs"/>
              </a:rPr>
              <a:t>5GC</a:t>
            </a:r>
            <a:endParaRPr kumimoji="0" lang="en-US" sz="800" b="1" i="0" u="none" strike="noStrike" kern="1200" cap="none" spc="0" normalizeH="0" baseline="0" noProof="0">
              <a:ln>
                <a:noFill/>
              </a:ln>
              <a:solidFill>
                <a:srgbClr val="181818"/>
              </a:solidFill>
              <a:effectLst/>
              <a:uLnTx/>
              <a:uFillTx/>
              <a:latin typeface="Ericsson Hilda"/>
              <a:ea typeface="+mn-ea"/>
              <a:cs typeface="+mn-cs"/>
            </a:endParaRPr>
          </a:p>
        </p:txBody>
      </p:sp>
      <p:sp>
        <p:nvSpPr>
          <p:cNvPr id="163" name="TextBox 162">
            <a:extLst>
              <a:ext uri="{FF2B5EF4-FFF2-40B4-BE49-F238E27FC236}">
                <a16:creationId xmlns:a16="http://schemas.microsoft.com/office/drawing/2014/main" id="{B630B304-A9A5-440F-9581-58AC14B33C3C}"/>
              </a:ext>
            </a:extLst>
          </p:cNvPr>
          <p:cNvSpPr txBox="1">
            <a:spLocks noChangeAspect="1"/>
          </p:cNvSpPr>
          <p:nvPr/>
        </p:nvSpPr>
        <p:spPr bwMode="auto">
          <a:xfrm>
            <a:off x="2278113" y="2676624"/>
            <a:ext cx="445494" cy="68657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800" b="1" i="0" u="none" strike="noStrike" kern="1200" cap="none" spc="0" normalizeH="0" baseline="0" noProof="0">
                <a:ln>
                  <a:noFill/>
                </a:ln>
                <a:solidFill>
                  <a:srgbClr val="0082F0"/>
                </a:solidFill>
                <a:effectLst/>
                <a:uLnTx/>
                <a:uFillTx/>
                <a:latin typeface="Ericsson Hilda"/>
                <a:ea typeface="+mn-ea"/>
                <a:cs typeface="+mn-cs"/>
              </a:rPr>
              <a:t>NR</a:t>
            </a:r>
          </a:p>
        </p:txBody>
      </p:sp>
      <p:cxnSp>
        <p:nvCxnSpPr>
          <p:cNvPr id="165" name="Straight Connector 164">
            <a:extLst>
              <a:ext uri="{FF2B5EF4-FFF2-40B4-BE49-F238E27FC236}">
                <a16:creationId xmlns:a16="http://schemas.microsoft.com/office/drawing/2014/main" id="{3533A381-3B6F-4A99-9A84-96CE166CFB4A}"/>
              </a:ext>
            </a:extLst>
          </p:cNvPr>
          <p:cNvCxnSpPr>
            <a:cxnSpLocks/>
          </p:cNvCxnSpPr>
          <p:nvPr/>
        </p:nvCxnSpPr>
        <p:spPr bwMode="auto">
          <a:xfrm>
            <a:off x="1722235" y="3070641"/>
            <a:ext cx="450744"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175" name="TextBox 174">
            <a:extLst>
              <a:ext uri="{FF2B5EF4-FFF2-40B4-BE49-F238E27FC236}">
                <a16:creationId xmlns:a16="http://schemas.microsoft.com/office/drawing/2014/main" id="{EC190258-E622-4535-A5F4-ECA28C9E2E3F}"/>
              </a:ext>
            </a:extLst>
          </p:cNvPr>
          <p:cNvSpPr txBox="1"/>
          <p:nvPr/>
        </p:nvSpPr>
        <p:spPr bwMode="auto">
          <a:xfrm>
            <a:off x="1776095" y="2898797"/>
            <a:ext cx="375103" cy="92333"/>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Registered</a:t>
            </a:r>
          </a:p>
        </p:txBody>
      </p:sp>
      <p:cxnSp>
        <p:nvCxnSpPr>
          <p:cNvPr id="177" name="Straight Connector 176">
            <a:extLst>
              <a:ext uri="{FF2B5EF4-FFF2-40B4-BE49-F238E27FC236}">
                <a16:creationId xmlns:a16="http://schemas.microsoft.com/office/drawing/2014/main" id="{3447B789-0144-412F-B60C-E16EA175FF48}"/>
              </a:ext>
            </a:extLst>
          </p:cNvPr>
          <p:cNvCxnSpPr>
            <a:cxnSpLocks/>
          </p:cNvCxnSpPr>
          <p:nvPr/>
        </p:nvCxnSpPr>
        <p:spPr bwMode="auto">
          <a:xfrm>
            <a:off x="2730812" y="3046734"/>
            <a:ext cx="450744"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178" name="Arc 177">
            <a:extLst>
              <a:ext uri="{FF2B5EF4-FFF2-40B4-BE49-F238E27FC236}">
                <a16:creationId xmlns:a16="http://schemas.microsoft.com/office/drawing/2014/main" id="{FDE0C41D-78F2-4535-AAA6-6282A14848B7}"/>
              </a:ext>
            </a:extLst>
          </p:cNvPr>
          <p:cNvSpPr/>
          <p:nvPr/>
        </p:nvSpPr>
        <p:spPr bwMode="auto">
          <a:xfrm flipH="1">
            <a:off x="729260" y="2187786"/>
            <a:ext cx="535278" cy="1052633"/>
          </a:xfrm>
          <a:prstGeom prst="arc">
            <a:avLst>
              <a:gd name="adj1" fmla="val 16598236"/>
              <a:gd name="adj2" fmla="val 4948829"/>
            </a:avLst>
          </a:prstGeom>
          <a:noFill/>
          <a:ln w="12700" cap="flat" cmpd="sng" algn="ctr">
            <a:solidFill>
              <a:schemeClr val="accent5"/>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8C0A"/>
              </a:solidFill>
              <a:effectLst/>
              <a:uLnTx/>
              <a:uFillTx/>
              <a:latin typeface="Arial" charset="0"/>
              <a:ea typeface="+mn-ea"/>
              <a:cs typeface="+mn-cs"/>
            </a:endParaRPr>
          </a:p>
        </p:txBody>
      </p:sp>
      <p:sp>
        <p:nvSpPr>
          <p:cNvPr id="179" name="Text Box 1179">
            <a:extLst>
              <a:ext uri="{FF2B5EF4-FFF2-40B4-BE49-F238E27FC236}">
                <a16:creationId xmlns:a16="http://schemas.microsoft.com/office/drawing/2014/main" id="{98B14287-F72A-4DF7-A887-0509E0F73E94}"/>
              </a:ext>
            </a:extLst>
          </p:cNvPr>
          <p:cNvSpPr txBox="1">
            <a:spLocks noChangeArrowheads="1"/>
          </p:cNvSpPr>
          <p:nvPr/>
        </p:nvSpPr>
        <p:spPr bwMode="auto">
          <a:xfrm>
            <a:off x="572943" y="1936776"/>
            <a:ext cx="36516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lvl="0" indent="0" eaLnBrk="1" fontAlgn="base" hangingPunct="1">
              <a:spcBef>
                <a:spcPct val="50000"/>
              </a:spcBef>
              <a:spcAft>
                <a:spcPct val="0"/>
              </a:spcAft>
              <a:buNone/>
              <a:defRPr/>
            </a:pPr>
            <a:r>
              <a:rPr lang="en-US" sz="600">
                <a:solidFill>
                  <a:schemeClr val="accent5"/>
                </a:solidFill>
                <a:latin typeface="Ericsson Hilda"/>
              </a:rPr>
              <a:t>UE</a:t>
            </a:r>
            <a:br>
              <a:rPr lang="en-US" sz="600">
                <a:solidFill>
                  <a:schemeClr val="accent5"/>
                </a:solidFill>
                <a:latin typeface="Ericsson Hilda"/>
              </a:rPr>
            </a:br>
            <a:r>
              <a:rPr lang="en-US" sz="600">
                <a:solidFill>
                  <a:schemeClr val="accent5"/>
                </a:solidFill>
                <a:latin typeface="Ericsson Hilda"/>
              </a:rPr>
              <a:t>Reselection  </a:t>
            </a:r>
            <a:endParaRPr kumimoji="0" lang="en-US" sz="600" b="0" i="0" u="none" strike="noStrike" kern="1200" cap="none" spc="0" normalizeH="0" baseline="0" noProof="0">
              <a:ln>
                <a:noFill/>
              </a:ln>
              <a:solidFill>
                <a:schemeClr val="accent5"/>
              </a:solidFill>
              <a:effectLst/>
              <a:uLnTx/>
              <a:uFillTx/>
              <a:latin typeface="Ericsson Hilda"/>
            </a:endParaRPr>
          </a:p>
        </p:txBody>
      </p:sp>
      <p:sp>
        <p:nvSpPr>
          <p:cNvPr id="202" name="Rectangle 201">
            <a:extLst>
              <a:ext uri="{FF2B5EF4-FFF2-40B4-BE49-F238E27FC236}">
                <a16:creationId xmlns:a16="http://schemas.microsoft.com/office/drawing/2014/main" id="{5F943446-33CF-4046-B255-625FB92A0225}"/>
              </a:ext>
            </a:extLst>
          </p:cNvPr>
          <p:cNvSpPr/>
          <p:nvPr/>
        </p:nvSpPr>
        <p:spPr bwMode="auto">
          <a:xfrm>
            <a:off x="3262519" y="2666203"/>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sp>
        <p:nvSpPr>
          <p:cNvPr id="203" name="Rectangle 202">
            <a:extLst>
              <a:ext uri="{FF2B5EF4-FFF2-40B4-BE49-F238E27FC236}">
                <a16:creationId xmlns:a16="http://schemas.microsoft.com/office/drawing/2014/main" id="{76D5AF40-3BCB-4DB5-BCC9-B3F358062697}"/>
              </a:ext>
            </a:extLst>
          </p:cNvPr>
          <p:cNvSpPr/>
          <p:nvPr/>
        </p:nvSpPr>
        <p:spPr bwMode="auto">
          <a:xfrm>
            <a:off x="3262519" y="2360188"/>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p:txBody>
      </p:sp>
      <p:cxnSp>
        <p:nvCxnSpPr>
          <p:cNvPr id="205" name="Straight Connector 204">
            <a:extLst>
              <a:ext uri="{FF2B5EF4-FFF2-40B4-BE49-F238E27FC236}">
                <a16:creationId xmlns:a16="http://schemas.microsoft.com/office/drawing/2014/main" id="{417D6286-11E2-47F3-80E1-151A64A55733}"/>
              </a:ext>
            </a:extLst>
          </p:cNvPr>
          <p:cNvCxnSpPr>
            <a:cxnSpLocks/>
          </p:cNvCxnSpPr>
          <p:nvPr/>
        </p:nvCxnSpPr>
        <p:spPr bwMode="auto">
          <a:xfrm>
            <a:off x="3394718" y="2413845"/>
            <a:ext cx="0" cy="252358"/>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06" name="Rectangle 205">
            <a:extLst>
              <a:ext uri="{FF2B5EF4-FFF2-40B4-BE49-F238E27FC236}">
                <a16:creationId xmlns:a16="http://schemas.microsoft.com/office/drawing/2014/main" id="{A34483FF-C10A-4AFD-AF7B-9020917491F9}"/>
              </a:ext>
            </a:extLst>
          </p:cNvPr>
          <p:cNvSpPr/>
          <p:nvPr/>
        </p:nvSpPr>
        <p:spPr bwMode="auto">
          <a:xfrm>
            <a:off x="3464111" y="2666203"/>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sp>
        <p:nvSpPr>
          <p:cNvPr id="207" name="Rectangle 206">
            <a:extLst>
              <a:ext uri="{FF2B5EF4-FFF2-40B4-BE49-F238E27FC236}">
                <a16:creationId xmlns:a16="http://schemas.microsoft.com/office/drawing/2014/main" id="{02E7DDD1-A0FC-4571-9418-1B4F5F1F1D34}"/>
              </a:ext>
            </a:extLst>
          </p:cNvPr>
          <p:cNvSpPr/>
          <p:nvPr/>
        </p:nvSpPr>
        <p:spPr bwMode="auto">
          <a:xfrm>
            <a:off x="3464111" y="2360188"/>
            <a:ext cx="56577" cy="5365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208" name="Straight Connector 207">
            <a:extLst>
              <a:ext uri="{FF2B5EF4-FFF2-40B4-BE49-F238E27FC236}">
                <a16:creationId xmlns:a16="http://schemas.microsoft.com/office/drawing/2014/main" id="{6680BA07-3FF5-4F47-BB0E-ACA2EF5B51B2}"/>
              </a:ext>
            </a:extLst>
          </p:cNvPr>
          <p:cNvCxnSpPr>
            <a:cxnSpLocks/>
          </p:cNvCxnSpPr>
          <p:nvPr/>
        </p:nvCxnSpPr>
        <p:spPr bwMode="auto">
          <a:xfrm>
            <a:off x="3494033" y="2414677"/>
            <a:ext cx="0" cy="252358"/>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209" name="TextBox 208">
            <a:extLst>
              <a:ext uri="{FF2B5EF4-FFF2-40B4-BE49-F238E27FC236}">
                <a16:creationId xmlns:a16="http://schemas.microsoft.com/office/drawing/2014/main" id="{9D98B712-FC8E-4798-AC3E-CC2DCAA9131C}"/>
              </a:ext>
            </a:extLst>
          </p:cNvPr>
          <p:cNvSpPr txBox="1"/>
          <p:nvPr/>
        </p:nvSpPr>
        <p:spPr bwMode="auto">
          <a:xfrm>
            <a:off x="3599817" y="2467780"/>
            <a:ext cx="142668" cy="92333"/>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N26</a:t>
            </a:r>
          </a:p>
        </p:txBody>
      </p:sp>
      <p:sp>
        <p:nvSpPr>
          <p:cNvPr id="210" name="TextBox 209">
            <a:extLst>
              <a:ext uri="{FF2B5EF4-FFF2-40B4-BE49-F238E27FC236}">
                <a16:creationId xmlns:a16="http://schemas.microsoft.com/office/drawing/2014/main" id="{F38B282B-118E-4254-98A8-B4588E6698E4}"/>
              </a:ext>
            </a:extLst>
          </p:cNvPr>
          <p:cNvSpPr txBox="1"/>
          <p:nvPr/>
        </p:nvSpPr>
        <p:spPr bwMode="auto">
          <a:xfrm>
            <a:off x="3251243" y="2482931"/>
            <a:ext cx="94577" cy="92333"/>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082F0"/>
                </a:solidFill>
                <a:effectLst/>
                <a:uLnTx/>
                <a:uFillTx/>
                <a:latin typeface="Arial" panose="020B0604020202020204" pitchFamily="34" charset="0"/>
                <a:ea typeface="+mn-ea"/>
                <a:cs typeface="Arial" panose="020B0604020202020204" pitchFamily="34" charset="0"/>
              </a:rPr>
              <a:t>S5</a:t>
            </a:r>
          </a:p>
        </p:txBody>
      </p:sp>
      <p:sp>
        <p:nvSpPr>
          <p:cNvPr id="211" name="TextBox 210">
            <a:extLst>
              <a:ext uri="{FF2B5EF4-FFF2-40B4-BE49-F238E27FC236}">
                <a16:creationId xmlns:a16="http://schemas.microsoft.com/office/drawing/2014/main" id="{8BA31ABD-5DC3-40FE-83A7-27706019C4FC}"/>
              </a:ext>
            </a:extLst>
          </p:cNvPr>
          <p:cNvSpPr txBox="1">
            <a:spLocks noChangeAspect="1"/>
          </p:cNvSpPr>
          <p:nvPr/>
        </p:nvSpPr>
        <p:spPr bwMode="auto">
          <a:xfrm>
            <a:off x="4903646" y="2676624"/>
            <a:ext cx="445494" cy="686571"/>
          </a:xfrm>
          <a:prstGeom prst="rect">
            <a:avLst/>
          </a:prstGeom>
          <a:solidFill>
            <a:schemeClr val="bg1"/>
          </a:solidFill>
          <a:ln w="19050">
            <a:solidFill>
              <a:schemeClr val="accent2"/>
            </a:solidFill>
            <a:prstDash val="sysDot"/>
            <a:miter lim="800000"/>
            <a:headEnd/>
            <a:tailEnd/>
          </a:ln>
        </p:spPr>
        <p:txBody>
          <a:bodyPr vert="horz" wrap="squar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100" b="1"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S</a:t>
            </a:r>
            <a:br>
              <a:rPr kumimoji="0" lang="en-US" sz="1100" b="1"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br>
            <a:r>
              <a:rPr kumimoji="0" lang="en-US" sz="1100" b="1"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G</a:t>
            </a:r>
            <a:br>
              <a:rPr kumimoji="0" lang="en-US" sz="1100" b="1"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br>
            <a:r>
              <a:rPr kumimoji="0" lang="en-US" sz="800" b="1" i="0" u="none" strike="noStrike" kern="1200" cap="none" spc="0" normalizeH="0" baseline="0" noProof="0">
                <a:ln>
                  <a:noFill/>
                </a:ln>
                <a:solidFill>
                  <a:schemeClr val="accent2"/>
                </a:solidFill>
                <a:effectLst/>
                <a:uLnTx/>
                <a:uFillTx/>
                <a:latin typeface="Ericsson Hilda"/>
                <a:ea typeface="+mn-ea"/>
                <a:cs typeface="+mn-cs"/>
              </a:rPr>
              <a:t>PSAP</a:t>
            </a:r>
          </a:p>
        </p:txBody>
      </p:sp>
      <p:cxnSp>
        <p:nvCxnSpPr>
          <p:cNvPr id="212" name="Straight Connector 211">
            <a:extLst>
              <a:ext uri="{FF2B5EF4-FFF2-40B4-BE49-F238E27FC236}">
                <a16:creationId xmlns:a16="http://schemas.microsoft.com/office/drawing/2014/main" id="{13F54D94-0B2B-4575-93CC-DD6A4D40D0E5}"/>
              </a:ext>
            </a:extLst>
          </p:cNvPr>
          <p:cNvCxnSpPr>
            <a:cxnSpLocks/>
            <a:stCxn id="161" idx="3"/>
            <a:endCxn id="211" idx="1"/>
          </p:cNvCxnSpPr>
          <p:nvPr/>
        </p:nvCxnSpPr>
        <p:spPr bwMode="auto">
          <a:xfrm>
            <a:off x="4530494" y="3019910"/>
            <a:ext cx="373152" cy="0"/>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sp>
        <p:nvSpPr>
          <p:cNvPr id="213" name="TextBox 212">
            <a:extLst>
              <a:ext uri="{FF2B5EF4-FFF2-40B4-BE49-F238E27FC236}">
                <a16:creationId xmlns:a16="http://schemas.microsoft.com/office/drawing/2014/main" id="{57067AA9-E434-4310-8033-63ABF0D17C3F}"/>
              </a:ext>
            </a:extLst>
          </p:cNvPr>
          <p:cNvSpPr txBox="1"/>
          <p:nvPr/>
        </p:nvSpPr>
        <p:spPr bwMode="auto">
          <a:xfrm>
            <a:off x="4076812" y="1740556"/>
            <a:ext cx="450570" cy="683711"/>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s</a:t>
            </a:r>
            <a:br>
              <a:rPr kumimoji="0" lang="en-US" sz="105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br>
            <a:r>
              <a:rPr kumimoji="0" lang="en-US" sz="105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chemeClr val="accent2"/>
                </a:solidFill>
                <a:effectLst/>
                <a:uLnTx/>
                <a:uFillTx/>
                <a:latin typeface="Ericsson Hilda"/>
                <a:ea typeface="+mn-ea"/>
                <a:cs typeface="+mn-cs"/>
              </a:rPr>
              <a:t>GMLC/ LRF</a:t>
            </a:r>
            <a:br>
              <a:rPr kumimoji="0" lang="en-US" sz="1050" b="0" i="0" u="none" strike="noStrike" kern="1200" cap="none" spc="0" normalizeH="0" baseline="0" noProof="0">
                <a:ln>
                  <a:noFill/>
                </a:ln>
                <a:solidFill>
                  <a:schemeClr val="accent2"/>
                </a:solidFill>
                <a:effectLst/>
                <a:uLnTx/>
                <a:uFillTx/>
                <a:latin typeface="Ericsson Hilda"/>
                <a:ea typeface="+mn-ea"/>
                <a:cs typeface="+mn-cs"/>
              </a:rPr>
            </a:br>
            <a:endParaRPr kumimoji="0" lang="en-US" sz="1050" b="0" i="0" u="none" strike="noStrike" kern="1200" cap="none" spc="0" normalizeH="0" baseline="0" noProof="0">
              <a:ln>
                <a:noFill/>
              </a:ln>
              <a:solidFill>
                <a:schemeClr val="accent2"/>
              </a:solidFill>
              <a:effectLst/>
              <a:uLnTx/>
              <a:uFillTx/>
              <a:latin typeface="Ericsson Hilda"/>
              <a:ea typeface="+mn-ea"/>
              <a:cs typeface="+mn-cs"/>
            </a:endParaRPr>
          </a:p>
        </p:txBody>
      </p:sp>
      <p:cxnSp>
        <p:nvCxnSpPr>
          <p:cNvPr id="214" name="Straight Connector 213">
            <a:extLst>
              <a:ext uri="{FF2B5EF4-FFF2-40B4-BE49-F238E27FC236}">
                <a16:creationId xmlns:a16="http://schemas.microsoft.com/office/drawing/2014/main" id="{CF6C2A97-4BDC-4032-B04B-1BED51FCB9FA}"/>
              </a:ext>
            </a:extLst>
          </p:cNvPr>
          <p:cNvCxnSpPr>
            <a:cxnSpLocks/>
            <a:stCxn id="213" idx="2"/>
            <a:endCxn id="161" idx="0"/>
          </p:cNvCxnSpPr>
          <p:nvPr/>
        </p:nvCxnSpPr>
        <p:spPr bwMode="auto">
          <a:xfrm>
            <a:off x="4302097" y="2424267"/>
            <a:ext cx="5650" cy="252358"/>
          </a:xfrm>
          <a:prstGeom prst="line">
            <a:avLst/>
          </a:prstGeom>
          <a:solidFill>
            <a:schemeClr val="accent1"/>
          </a:solidFill>
          <a:ln w="12700" cap="flat" cmpd="sng" algn="ctr">
            <a:solidFill>
              <a:schemeClr val="accent2"/>
            </a:solidFill>
            <a:prstDash val="dash"/>
            <a:round/>
            <a:headEnd type="none" w="med" len="med"/>
            <a:tailEnd type="none" w="med" len="med"/>
          </a:ln>
          <a:effectLst/>
        </p:spPr>
      </p:cxnSp>
      <p:cxnSp>
        <p:nvCxnSpPr>
          <p:cNvPr id="215" name="Straight Connector 95">
            <a:extLst>
              <a:ext uri="{FF2B5EF4-FFF2-40B4-BE49-F238E27FC236}">
                <a16:creationId xmlns:a16="http://schemas.microsoft.com/office/drawing/2014/main" id="{03A58B7E-856E-475D-BA91-2C5512E23569}"/>
              </a:ext>
            </a:extLst>
          </p:cNvPr>
          <p:cNvCxnSpPr>
            <a:cxnSpLocks/>
            <a:stCxn id="213" idx="3"/>
            <a:endCxn id="211" idx="0"/>
          </p:cNvCxnSpPr>
          <p:nvPr/>
        </p:nvCxnSpPr>
        <p:spPr bwMode="auto">
          <a:xfrm>
            <a:off x="4527382" y="2082412"/>
            <a:ext cx="599011" cy="594212"/>
          </a:xfrm>
          <a:prstGeom prst="bentConnector2">
            <a:avLst/>
          </a:prstGeom>
          <a:solidFill>
            <a:schemeClr val="accent1"/>
          </a:solidFill>
          <a:ln w="12700" cap="flat" cmpd="sng" algn="ctr">
            <a:solidFill>
              <a:schemeClr val="accent2"/>
            </a:solidFill>
            <a:prstDash val="dash"/>
            <a:round/>
            <a:headEnd type="none" w="med" len="med"/>
            <a:tailEnd type="none" w="med" len="med"/>
          </a:ln>
          <a:effectLst/>
        </p:spPr>
      </p:cxnSp>
      <p:cxnSp>
        <p:nvCxnSpPr>
          <p:cNvPr id="216" name="Straight Connector 215">
            <a:extLst>
              <a:ext uri="{FF2B5EF4-FFF2-40B4-BE49-F238E27FC236}">
                <a16:creationId xmlns:a16="http://schemas.microsoft.com/office/drawing/2014/main" id="{63081F76-C894-49DB-9494-C156228AA806}"/>
              </a:ext>
            </a:extLst>
          </p:cNvPr>
          <p:cNvCxnSpPr>
            <a:cxnSpLocks/>
          </p:cNvCxnSpPr>
          <p:nvPr/>
        </p:nvCxnSpPr>
        <p:spPr bwMode="auto">
          <a:xfrm flipH="1" flipV="1">
            <a:off x="3627050" y="1978514"/>
            <a:ext cx="449762" cy="1431"/>
          </a:xfrm>
          <a:prstGeom prst="line">
            <a:avLst/>
          </a:prstGeom>
          <a:solidFill>
            <a:schemeClr val="accent1"/>
          </a:solidFill>
          <a:ln w="12700" cap="flat" cmpd="sng" algn="ctr">
            <a:solidFill>
              <a:schemeClr val="accent2"/>
            </a:solidFill>
            <a:prstDash val="dash"/>
            <a:round/>
            <a:headEnd type="none" w="med" len="med"/>
            <a:tailEnd type="none" w="med" len="med"/>
          </a:ln>
          <a:effectLst/>
        </p:spPr>
      </p:cxnSp>
      <p:cxnSp>
        <p:nvCxnSpPr>
          <p:cNvPr id="219" name="Straight Connector 218">
            <a:extLst>
              <a:ext uri="{FF2B5EF4-FFF2-40B4-BE49-F238E27FC236}">
                <a16:creationId xmlns:a16="http://schemas.microsoft.com/office/drawing/2014/main" id="{B9AFFC22-5A54-4214-91D2-1226DD0227F5}"/>
              </a:ext>
            </a:extLst>
          </p:cNvPr>
          <p:cNvCxnSpPr>
            <a:cxnSpLocks/>
            <a:stCxn id="160" idx="3"/>
            <a:endCxn id="161" idx="1"/>
          </p:cNvCxnSpPr>
          <p:nvPr/>
        </p:nvCxnSpPr>
        <p:spPr bwMode="auto">
          <a:xfrm>
            <a:off x="3627050" y="2080981"/>
            <a:ext cx="457948" cy="938928"/>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
        <p:nvSpPr>
          <p:cNvPr id="306" name="Arc 305">
            <a:extLst>
              <a:ext uri="{FF2B5EF4-FFF2-40B4-BE49-F238E27FC236}">
                <a16:creationId xmlns:a16="http://schemas.microsoft.com/office/drawing/2014/main" id="{29C4007C-142C-431E-85C3-132FA824DA4D}"/>
              </a:ext>
            </a:extLst>
          </p:cNvPr>
          <p:cNvSpPr/>
          <p:nvPr/>
        </p:nvSpPr>
        <p:spPr bwMode="auto">
          <a:xfrm flipH="1">
            <a:off x="998418" y="2155744"/>
            <a:ext cx="535278" cy="1052633"/>
          </a:xfrm>
          <a:prstGeom prst="arc">
            <a:avLst>
              <a:gd name="adj1" fmla="val 16598236"/>
              <a:gd name="adj2" fmla="val 4948829"/>
            </a:avLst>
          </a:prstGeom>
          <a:noFill/>
          <a:ln w="12700" cap="flat" cmpd="sng" algn="ctr">
            <a:solidFill>
              <a:schemeClr val="accent2"/>
            </a:solidFill>
            <a:prstDash val="solid"/>
            <a:round/>
            <a:headEnd type="triangl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a:ln>
                <a:noFill/>
              </a:ln>
              <a:solidFill>
                <a:srgbClr val="FF8C0A"/>
              </a:solidFill>
              <a:effectLst/>
              <a:uLnTx/>
              <a:uFillTx/>
              <a:latin typeface="Arial" charset="0"/>
              <a:ea typeface="+mn-ea"/>
              <a:cs typeface="+mn-cs"/>
            </a:endParaRPr>
          </a:p>
        </p:txBody>
      </p:sp>
      <p:sp>
        <p:nvSpPr>
          <p:cNvPr id="307" name="Text Box 1179">
            <a:extLst>
              <a:ext uri="{FF2B5EF4-FFF2-40B4-BE49-F238E27FC236}">
                <a16:creationId xmlns:a16="http://schemas.microsoft.com/office/drawing/2014/main" id="{1A87EF1E-D7CF-4CCF-8484-E9C092C80E0B}"/>
              </a:ext>
            </a:extLst>
          </p:cNvPr>
          <p:cNvSpPr txBox="1">
            <a:spLocks noChangeArrowheads="1"/>
          </p:cNvSpPr>
          <p:nvPr/>
        </p:nvSpPr>
        <p:spPr bwMode="auto">
          <a:xfrm>
            <a:off x="1124733" y="2596611"/>
            <a:ext cx="51777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lang="en-US" sz="600" kern="1200" spc="0">
                <a:solidFill>
                  <a:srgbClr val="0FC373"/>
                </a:solidFill>
                <a:latin typeface="Ericsson Hilda"/>
              </a:rPr>
              <a:t>Service request </a:t>
            </a:r>
            <a:br>
              <a:rPr lang="en-US" sz="600" kern="1200" spc="0">
                <a:solidFill>
                  <a:srgbClr val="0FC373"/>
                </a:solidFill>
                <a:latin typeface="Ericsson Hilda"/>
              </a:rPr>
            </a:br>
            <a:r>
              <a:rPr lang="en-US" sz="600" kern="1200" spc="0">
                <a:solidFill>
                  <a:srgbClr val="0FC373"/>
                </a:solidFill>
                <a:latin typeface="Ericsson Hilda"/>
              </a:rPr>
              <a:t>for emergency</a:t>
            </a:r>
            <a:endParaRPr kumimoji="0" lang="en-US" sz="600" b="0" i="0" u="none" strike="noStrike" kern="1200" cap="none" spc="0" normalizeH="0" baseline="0" noProof="0">
              <a:ln>
                <a:noFill/>
              </a:ln>
              <a:solidFill>
                <a:srgbClr val="0FC373"/>
              </a:solidFill>
              <a:effectLst/>
              <a:uLnTx/>
              <a:uFillTx/>
              <a:latin typeface="Ericsson Hilda"/>
            </a:endParaRPr>
          </a:p>
        </p:txBody>
      </p:sp>
      <p:sp>
        <p:nvSpPr>
          <p:cNvPr id="126" name="TextBox 125">
            <a:extLst>
              <a:ext uri="{FF2B5EF4-FFF2-40B4-BE49-F238E27FC236}">
                <a16:creationId xmlns:a16="http://schemas.microsoft.com/office/drawing/2014/main" id="{4C3C2192-A3A3-436A-8DAF-B0CF7E1E692E}"/>
              </a:ext>
            </a:extLst>
          </p:cNvPr>
          <p:cNvSpPr txBox="1"/>
          <p:nvPr/>
        </p:nvSpPr>
        <p:spPr bwMode="auto">
          <a:xfrm>
            <a:off x="7493358" y="1923114"/>
            <a:ext cx="411971"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Emergency </a:t>
            </a:r>
            <a:b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Call</a:t>
            </a:r>
            <a:endParaRPr kumimoji="0" lang="en-US" sz="600" b="0" i="0" u="none" strike="noStrike" kern="1200" cap="none" spc="0" normalizeH="0" baseline="0" noProof="0">
              <a:ln>
                <a:noFill/>
              </a:ln>
              <a:solidFill>
                <a:schemeClr val="accent6">
                  <a:lumMod val="40000"/>
                  <a:lumOff val="60000"/>
                </a:schemeClr>
              </a:solidFill>
              <a:effectLst/>
              <a:uLnTx/>
              <a:uFillTx/>
              <a:latin typeface="Arial" panose="020B0604020202020204" pitchFamily="34" charset="0"/>
              <a:ea typeface="+mn-ea"/>
              <a:cs typeface="Arial" panose="020B0604020202020204" pitchFamily="34" charset="0"/>
            </a:endParaRPr>
          </a:p>
        </p:txBody>
      </p:sp>
      <p:sp>
        <p:nvSpPr>
          <p:cNvPr id="127" name="TextBox 126">
            <a:extLst>
              <a:ext uri="{FF2B5EF4-FFF2-40B4-BE49-F238E27FC236}">
                <a16:creationId xmlns:a16="http://schemas.microsoft.com/office/drawing/2014/main" id="{511CE194-D9DB-4070-926E-377DACB135FB}"/>
              </a:ext>
            </a:extLst>
          </p:cNvPr>
          <p:cNvSpPr txBox="1"/>
          <p:nvPr/>
        </p:nvSpPr>
        <p:spPr bwMode="auto">
          <a:xfrm>
            <a:off x="7489943" y="3099324"/>
            <a:ext cx="411971"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Arial" panose="020B0604020202020204" pitchFamily="34" charset="0"/>
              </a:rPr>
              <a:t>Emergency </a:t>
            </a:r>
            <a:br>
              <a:rPr kumimoji="0" lang="en-US" sz="600" b="0" i="0"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Arial" panose="020B0604020202020204" pitchFamily="34" charset="0"/>
              </a:rPr>
              <a:t>Call</a:t>
            </a:r>
          </a:p>
        </p:txBody>
      </p:sp>
      <p:sp>
        <p:nvSpPr>
          <p:cNvPr id="129" name="TextBox 128">
            <a:extLst>
              <a:ext uri="{FF2B5EF4-FFF2-40B4-BE49-F238E27FC236}">
                <a16:creationId xmlns:a16="http://schemas.microsoft.com/office/drawing/2014/main" id="{9C55F17E-30B8-41ED-94F7-14C4E8C2753D}"/>
              </a:ext>
            </a:extLst>
          </p:cNvPr>
          <p:cNvSpPr txBox="1"/>
          <p:nvPr/>
        </p:nvSpPr>
        <p:spPr bwMode="auto">
          <a:xfrm>
            <a:off x="7482167" y="2840339"/>
            <a:ext cx="411971"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Emergency </a:t>
            </a:r>
            <a:b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a:ln>
                  <a:noFill/>
                </a:ln>
                <a:solidFill>
                  <a:srgbClr val="0FC373"/>
                </a:solidFill>
                <a:effectLst/>
                <a:uLnTx/>
                <a:uFillTx/>
                <a:latin typeface="Arial" panose="020B0604020202020204" pitchFamily="34" charset="0"/>
                <a:ea typeface="+mn-ea"/>
                <a:cs typeface="Arial" panose="020B0604020202020204" pitchFamily="34" charset="0"/>
              </a:rPr>
              <a:t>Call setup</a:t>
            </a:r>
            <a:endParaRPr kumimoji="0" lang="en-US" sz="600" b="0" i="0" u="none" strike="noStrike" kern="1200" cap="none" spc="0" normalizeH="0" baseline="0" noProof="0">
              <a:ln>
                <a:noFill/>
              </a:ln>
              <a:solidFill>
                <a:schemeClr val="accent6">
                  <a:lumMod val="40000"/>
                  <a:lumOff val="60000"/>
                </a:scheme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82033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5A3FB4-0984-4E88-A582-F4AEA0F529B9}"/>
              </a:ext>
            </a:extLst>
          </p:cNvPr>
          <p:cNvSpPr>
            <a:spLocks noGrp="1"/>
          </p:cNvSpPr>
          <p:nvPr>
            <p:ph sz="quarter" idx="10"/>
          </p:nvPr>
        </p:nvSpPr>
        <p:spPr>
          <a:xfrm>
            <a:off x="473465" y="1516643"/>
            <a:ext cx="4133478" cy="4392613"/>
          </a:xfrm>
        </p:spPr>
        <p:txBody>
          <a:bodyPr>
            <a:normAutofit fontScale="70000" lnSpcReduction="20000"/>
          </a:bodyPr>
          <a:lstStyle/>
          <a:p>
            <a:r>
              <a:rPr lang="en-US" sz="2100">
                <a:solidFill>
                  <a:schemeClr val="accent4"/>
                </a:solidFill>
              </a:rPr>
              <a:t>SMS over NAS</a:t>
            </a:r>
          </a:p>
          <a:p>
            <a:pPr lvl="1"/>
            <a:r>
              <a:rPr lang="en-US"/>
              <a:t>SMSF in 5GC for originating and terminating SMS</a:t>
            </a:r>
          </a:p>
          <a:p>
            <a:pPr lvl="2"/>
            <a:r>
              <a:rPr lang="en-US"/>
              <a:t>MAP for SMS transport with SMS-C</a:t>
            </a:r>
          </a:p>
          <a:p>
            <a:pPr lvl="1"/>
            <a:r>
              <a:rPr lang="en-US"/>
              <a:t>SMS transport between UE and AMF via NAS</a:t>
            </a:r>
            <a:br>
              <a:rPr lang="en-US"/>
            </a:br>
            <a:endParaRPr lang="en-US"/>
          </a:p>
          <a:p>
            <a:r>
              <a:rPr lang="en-US" sz="2100">
                <a:solidFill>
                  <a:schemeClr val="accent2"/>
                </a:solidFill>
              </a:rPr>
              <a:t>SMS over IP</a:t>
            </a:r>
          </a:p>
          <a:p>
            <a:pPr lvl="1"/>
            <a:r>
              <a:rPr lang="en-US"/>
              <a:t>IP-SM-</a:t>
            </a:r>
            <a:r>
              <a:rPr lang="en-US" err="1"/>
              <a:t>Gw</a:t>
            </a:r>
            <a:r>
              <a:rPr lang="en-US"/>
              <a:t> for originating and terminating SMS</a:t>
            </a:r>
          </a:p>
          <a:p>
            <a:pPr lvl="2"/>
            <a:r>
              <a:rPr lang="en-US"/>
              <a:t>Performs MT domain selection to other accesses (4G, 3G, 2G)</a:t>
            </a:r>
          </a:p>
          <a:p>
            <a:pPr lvl="1"/>
            <a:r>
              <a:rPr lang="en-US"/>
              <a:t>SMS transport between UE and IP-SM-GW via IP </a:t>
            </a:r>
          </a:p>
          <a:p>
            <a:pPr marL="0" indent="0">
              <a:buNone/>
            </a:pPr>
            <a:endParaRPr lang="en-US"/>
          </a:p>
          <a:p>
            <a:r>
              <a:rPr lang="en-US"/>
              <a:t>Both SMS over NAS and SMS over IP must be supported.</a:t>
            </a:r>
          </a:p>
          <a:p>
            <a:pPr lvl="1"/>
            <a:r>
              <a:rPr lang="en-US"/>
              <a:t>They can be combined and can be used also in case EPS Fallback is used for voice</a:t>
            </a:r>
          </a:p>
          <a:p>
            <a:pPr lvl="1"/>
            <a:endParaRPr lang="en-US"/>
          </a:p>
          <a:p>
            <a:endParaRPr lang="en-US"/>
          </a:p>
        </p:txBody>
      </p:sp>
      <p:sp>
        <p:nvSpPr>
          <p:cNvPr id="3" name="Title 2">
            <a:extLst>
              <a:ext uri="{FF2B5EF4-FFF2-40B4-BE49-F238E27FC236}">
                <a16:creationId xmlns:a16="http://schemas.microsoft.com/office/drawing/2014/main" id="{A1F3D7D3-4BDB-44B0-97A7-9BC386B78E26}"/>
              </a:ext>
            </a:extLst>
          </p:cNvPr>
          <p:cNvSpPr>
            <a:spLocks noGrp="1"/>
          </p:cNvSpPr>
          <p:nvPr>
            <p:ph type="title"/>
          </p:nvPr>
        </p:nvSpPr>
        <p:spPr>
          <a:xfrm>
            <a:off x="479424" y="476250"/>
            <a:ext cx="8353425" cy="1081088"/>
          </a:xfrm>
        </p:spPr>
        <p:txBody>
          <a:bodyPr/>
          <a:lstStyle/>
          <a:p>
            <a:r>
              <a:rPr lang="en-US" sz="3600"/>
              <a:t>SMS in 5GS</a:t>
            </a:r>
          </a:p>
        </p:txBody>
      </p:sp>
      <p:sp>
        <p:nvSpPr>
          <p:cNvPr id="37" name="Rectangle 36">
            <a:extLst>
              <a:ext uri="{FF2B5EF4-FFF2-40B4-BE49-F238E27FC236}">
                <a16:creationId xmlns:a16="http://schemas.microsoft.com/office/drawing/2014/main" id="{965A11AF-CB2F-4C8E-9C66-50CFA2996CC9}"/>
              </a:ext>
            </a:extLst>
          </p:cNvPr>
          <p:cNvSpPr/>
          <p:nvPr/>
        </p:nvSpPr>
        <p:spPr bwMode="auto">
          <a:xfrm>
            <a:off x="4796188" y="1496296"/>
            <a:ext cx="3855794" cy="1590968"/>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5400000" scaled="1"/>
            <a:tileRect/>
          </a:gra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lvl="0" indent="0">
              <a:buClr>
                <a:srgbClr val="181818"/>
              </a:buClr>
              <a:buNone/>
              <a:defRPr/>
            </a:pPr>
            <a:r>
              <a:rPr lang="en-US" sz="2000">
                <a:solidFill>
                  <a:srgbClr val="181818"/>
                </a:solidFill>
              </a:rPr>
              <a:t>SMS over NAS</a:t>
            </a:r>
          </a:p>
        </p:txBody>
      </p:sp>
      <p:sp>
        <p:nvSpPr>
          <p:cNvPr id="38" name="Rectangle 37">
            <a:extLst>
              <a:ext uri="{FF2B5EF4-FFF2-40B4-BE49-F238E27FC236}">
                <a16:creationId xmlns:a16="http://schemas.microsoft.com/office/drawing/2014/main" id="{1E4483A6-FA2B-4201-8709-68B3C6D7FF5E}"/>
              </a:ext>
            </a:extLst>
          </p:cNvPr>
          <p:cNvSpPr/>
          <p:nvPr/>
        </p:nvSpPr>
        <p:spPr bwMode="auto">
          <a:xfrm>
            <a:off x="4796188" y="3079016"/>
            <a:ext cx="4762943" cy="1321392"/>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l="100000" t="100000"/>
            </a:path>
            <a:tileRect r="-100000" b="-100000"/>
          </a:gra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b" anchorCtr="0" forceAA="0" compatLnSpc="1">
            <a:prstTxWarp prst="textNoShape">
              <a:avLst/>
            </a:prstTxWarp>
            <a:noAutofit/>
          </a:bodyPr>
          <a:lstStyle/>
          <a:p>
            <a:pPr marL="0" lvl="0" indent="0">
              <a:buClr>
                <a:srgbClr val="181818"/>
              </a:buClr>
              <a:buNone/>
              <a:defRPr/>
            </a:pPr>
            <a:r>
              <a:rPr lang="en-US" sz="2000">
                <a:solidFill>
                  <a:srgbClr val="181818"/>
                </a:solidFill>
              </a:rPr>
              <a:t>SMS over IP</a:t>
            </a:r>
          </a:p>
        </p:txBody>
      </p:sp>
      <p:cxnSp>
        <p:nvCxnSpPr>
          <p:cNvPr id="39" name="Straight Connector 38">
            <a:extLst>
              <a:ext uri="{FF2B5EF4-FFF2-40B4-BE49-F238E27FC236}">
                <a16:creationId xmlns:a16="http://schemas.microsoft.com/office/drawing/2014/main" id="{47AF4716-1453-4B08-9596-BEF1E0BB1E76}"/>
              </a:ext>
            </a:extLst>
          </p:cNvPr>
          <p:cNvCxnSpPr>
            <a:cxnSpLocks/>
            <a:stCxn id="56" idx="1"/>
            <a:endCxn id="47" idx="3"/>
          </p:cNvCxnSpPr>
          <p:nvPr/>
        </p:nvCxnSpPr>
        <p:spPr bwMode="auto">
          <a:xfrm flipH="1">
            <a:off x="7553041" y="2406498"/>
            <a:ext cx="282669" cy="0"/>
          </a:xfrm>
          <a:prstGeom prst="line">
            <a:avLst/>
          </a:prstGeom>
          <a:solidFill>
            <a:schemeClr val="accent1"/>
          </a:solidFill>
          <a:ln w="25400" cap="flat" cmpd="sng" algn="ctr">
            <a:solidFill>
              <a:schemeClr val="accent5">
                <a:lumMod val="75000"/>
              </a:schemeClr>
            </a:solidFill>
            <a:prstDash val="dash"/>
            <a:round/>
            <a:headEnd type="none" w="med" len="med"/>
            <a:tailEnd type="none" w="med" len="med"/>
          </a:ln>
          <a:effectLst/>
        </p:spPr>
      </p:cxnSp>
      <p:sp>
        <p:nvSpPr>
          <p:cNvPr id="41" name="TextBox 40">
            <a:extLst>
              <a:ext uri="{FF2B5EF4-FFF2-40B4-BE49-F238E27FC236}">
                <a16:creationId xmlns:a16="http://schemas.microsoft.com/office/drawing/2014/main" id="{03817C8F-DE9F-4C6A-8F8F-4EB1C9461AD4}"/>
              </a:ext>
            </a:extLst>
          </p:cNvPr>
          <p:cNvSpPr txBox="1"/>
          <p:nvPr/>
        </p:nvSpPr>
        <p:spPr bwMode="auto">
          <a:xfrm>
            <a:off x="5866686" y="2584298"/>
            <a:ext cx="551438" cy="896086"/>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a:ea typeface="+mn-ea"/>
                <a:cs typeface="+mn-cs"/>
              </a:rPr>
              <a:t>NG-</a:t>
            </a:r>
            <a:br>
              <a:rPr kumimoji="0" lang="en-US" sz="1200" b="0" i="0" u="none" strike="noStrike" kern="1200" cap="none" spc="0" normalizeH="0" baseline="0" noProof="0">
                <a:ln>
                  <a:noFill/>
                </a:ln>
                <a:solidFill>
                  <a:srgbClr val="0082F0"/>
                </a:solidFill>
                <a:effectLst/>
                <a:uLnTx/>
                <a:uFillTx/>
                <a:latin typeface="Ericsson Hilda"/>
                <a:ea typeface="+mn-ea"/>
                <a:cs typeface="+mn-cs"/>
              </a:rPr>
            </a:br>
            <a:r>
              <a:rPr kumimoji="0" lang="en-US" sz="1200" b="0" i="0" u="none" strike="noStrike" kern="1200" cap="none" spc="0" normalizeH="0" baseline="0" noProof="0">
                <a:ln>
                  <a:noFill/>
                </a:ln>
                <a:solidFill>
                  <a:srgbClr val="0082F0"/>
                </a:solidFill>
                <a:effectLst/>
                <a:uLnTx/>
                <a:uFillTx/>
                <a:latin typeface="Ericsson Hilda"/>
                <a:ea typeface="+mn-ea"/>
                <a:cs typeface="+mn-cs"/>
              </a:rPr>
              <a:t>RAN</a:t>
            </a:r>
          </a:p>
        </p:txBody>
      </p:sp>
      <p:sp>
        <p:nvSpPr>
          <p:cNvPr id="42" name="TextBox 41">
            <a:extLst>
              <a:ext uri="{FF2B5EF4-FFF2-40B4-BE49-F238E27FC236}">
                <a16:creationId xmlns:a16="http://schemas.microsoft.com/office/drawing/2014/main" id="{7303EDB9-262D-4BF0-952A-D1EAD10DD91B}"/>
              </a:ext>
            </a:extLst>
          </p:cNvPr>
          <p:cNvSpPr txBox="1"/>
          <p:nvPr/>
        </p:nvSpPr>
        <p:spPr bwMode="auto">
          <a:xfrm>
            <a:off x="5505114" y="2894187"/>
            <a:ext cx="358609" cy="234319"/>
          </a:xfrm>
          <a:prstGeom prst="rect">
            <a:avLst/>
          </a:prstGeom>
          <a:solidFill>
            <a:schemeClr val="accent5"/>
          </a:solidFill>
          <a:ln w="19050">
            <a:noFill/>
            <a:prstDash val="solid"/>
            <a:miter lim="800000"/>
            <a:headEnd/>
            <a:tailEnd/>
          </a:ln>
        </p:spPr>
        <p:txBody>
          <a:bodyPr vert="horz" wrap="square" lIns="0" tIns="0" rIns="0" bIns="0" numCol="1" rtlCol="0" anchor="ctr" anchorCtr="0" compatLnSpc="1">
            <a:prstTxWarp prst="textNoShape">
              <a:avLst/>
            </a:prstTxWarp>
            <a:noAutofit/>
          </a:bodyPr>
          <a:lstStyle>
            <a:defPPr>
              <a:defRPr lang="en-GB"/>
            </a:defPPr>
            <a:lvl1pPr algn="ctr">
              <a:spcBef>
                <a:spcPts val="0"/>
              </a:spcBef>
              <a:buClr>
                <a:schemeClr val="tx1"/>
              </a:buClr>
              <a:defRPr sz="900"/>
            </a:lvl1p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900" b="0" i="0" u="none" strike="noStrike" kern="1200" cap="none" spc="0" normalizeH="0" baseline="0" noProof="0">
                <a:ln>
                  <a:noFill/>
                </a:ln>
                <a:solidFill>
                  <a:srgbClr val="FFFFFF"/>
                </a:solidFill>
                <a:effectLst/>
                <a:uLnTx/>
                <a:uFillTx/>
                <a:latin typeface="Ericsson Hilda"/>
                <a:ea typeface="+mn-ea"/>
                <a:cs typeface="+mn-cs"/>
              </a:rPr>
              <a:t>NR</a:t>
            </a:r>
          </a:p>
        </p:txBody>
      </p:sp>
      <p:sp>
        <p:nvSpPr>
          <p:cNvPr id="47" name="TextBox 46">
            <a:extLst>
              <a:ext uri="{FF2B5EF4-FFF2-40B4-BE49-F238E27FC236}">
                <a16:creationId xmlns:a16="http://schemas.microsoft.com/office/drawing/2014/main" id="{B7F300F9-A2FF-4A64-8825-697E27C92236}"/>
              </a:ext>
            </a:extLst>
          </p:cNvPr>
          <p:cNvSpPr txBox="1"/>
          <p:nvPr/>
        </p:nvSpPr>
        <p:spPr bwMode="auto">
          <a:xfrm>
            <a:off x="7001603" y="1959387"/>
            <a:ext cx="551438" cy="89422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AM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53" name="TextBox 52">
            <a:extLst>
              <a:ext uri="{FF2B5EF4-FFF2-40B4-BE49-F238E27FC236}">
                <a16:creationId xmlns:a16="http://schemas.microsoft.com/office/drawing/2014/main" id="{E584C37D-2D58-46C4-A6E2-51356846142D}"/>
              </a:ext>
            </a:extLst>
          </p:cNvPr>
          <p:cNvSpPr txBox="1"/>
          <p:nvPr/>
        </p:nvSpPr>
        <p:spPr bwMode="auto">
          <a:xfrm>
            <a:off x="10118545" y="1496296"/>
            <a:ext cx="550429" cy="894447"/>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endParaRPr kumimoji="0" lang="en-US" sz="2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a:ea typeface="+mn-ea"/>
                <a:cs typeface="+mn-cs"/>
              </a:rPr>
              <a:t>HSS/</a:t>
            </a:r>
            <a:br>
              <a:rPr kumimoji="0" lang="en-US" sz="1200" b="0" i="0" u="none" strike="noStrike" kern="1200" cap="none" spc="0" normalizeH="0" baseline="0" noProof="0">
                <a:ln>
                  <a:noFill/>
                </a:ln>
                <a:solidFill>
                  <a:srgbClr val="0082F0"/>
                </a:solidFill>
                <a:effectLst/>
                <a:uLnTx/>
                <a:uFillTx/>
                <a:latin typeface="Ericsson Hilda"/>
                <a:ea typeface="+mn-ea"/>
                <a:cs typeface="+mn-cs"/>
              </a:rPr>
            </a:br>
            <a:r>
              <a:rPr kumimoji="0" lang="en-US" sz="1200" b="0" i="0" u="none" strike="noStrike" kern="1200" cap="none" spc="0" normalizeH="0" baseline="0" noProof="0">
                <a:ln>
                  <a:noFill/>
                </a:ln>
                <a:solidFill>
                  <a:srgbClr val="0082F0"/>
                </a:solidFill>
                <a:effectLst/>
                <a:uLnTx/>
                <a:uFillTx/>
                <a:latin typeface="Ericsson Hilda"/>
                <a:ea typeface="+mn-ea"/>
                <a:cs typeface="+mn-cs"/>
              </a:rPr>
              <a:t>UDM</a:t>
            </a:r>
          </a:p>
        </p:txBody>
      </p:sp>
      <p:cxnSp>
        <p:nvCxnSpPr>
          <p:cNvPr id="55" name="Straight Connector 54">
            <a:extLst>
              <a:ext uri="{FF2B5EF4-FFF2-40B4-BE49-F238E27FC236}">
                <a16:creationId xmlns:a16="http://schemas.microsoft.com/office/drawing/2014/main" id="{E102565C-C170-4C8C-833E-6D95088FBC6B}"/>
              </a:ext>
            </a:extLst>
          </p:cNvPr>
          <p:cNvCxnSpPr>
            <a:cxnSpLocks/>
            <a:stCxn id="41" idx="3"/>
          </p:cNvCxnSpPr>
          <p:nvPr/>
        </p:nvCxnSpPr>
        <p:spPr bwMode="auto">
          <a:xfrm flipV="1">
            <a:off x="6418124" y="2375479"/>
            <a:ext cx="601314" cy="656862"/>
          </a:xfrm>
          <a:prstGeom prst="line">
            <a:avLst/>
          </a:prstGeom>
          <a:noFill/>
          <a:ln w="25400" cap="flat" cmpd="sng" algn="ctr">
            <a:solidFill>
              <a:schemeClr val="accent5">
                <a:lumMod val="75000"/>
              </a:schemeClr>
            </a:solidFill>
            <a:prstDash val="dash"/>
            <a:round/>
            <a:headEnd type="none" w="med" len="med"/>
            <a:tailEnd type="none" w="med" len="med"/>
          </a:ln>
          <a:effectLst/>
        </p:spPr>
      </p:cxnSp>
      <p:sp>
        <p:nvSpPr>
          <p:cNvPr id="56" name="TextBox 55">
            <a:extLst>
              <a:ext uri="{FF2B5EF4-FFF2-40B4-BE49-F238E27FC236}">
                <a16:creationId xmlns:a16="http://schemas.microsoft.com/office/drawing/2014/main" id="{D507CAC3-66B2-4231-A9AD-7BAF5B52628C}"/>
              </a:ext>
            </a:extLst>
          </p:cNvPr>
          <p:cNvSpPr txBox="1"/>
          <p:nvPr/>
        </p:nvSpPr>
        <p:spPr bwMode="auto">
          <a:xfrm>
            <a:off x="7835710" y="1959387"/>
            <a:ext cx="551438" cy="89422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SMS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57" name="TextBox 56">
            <a:extLst>
              <a:ext uri="{FF2B5EF4-FFF2-40B4-BE49-F238E27FC236}">
                <a16:creationId xmlns:a16="http://schemas.microsoft.com/office/drawing/2014/main" id="{75ECB5EA-D503-4780-A141-05A9399B1E74}"/>
              </a:ext>
            </a:extLst>
          </p:cNvPr>
          <p:cNvSpPr txBox="1"/>
          <p:nvPr/>
        </p:nvSpPr>
        <p:spPr bwMode="auto">
          <a:xfrm>
            <a:off x="11394997" y="2390743"/>
            <a:ext cx="551438" cy="894221"/>
          </a:xfrm>
          <a:prstGeom prst="rect">
            <a:avLst/>
          </a:prstGeom>
          <a:solidFill>
            <a:schemeClr val="bg1"/>
          </a:solidFill>
          <a:ln w="19050">
            <a:solidFill>
              <a:schemeClr val="bg1">
                <a:lumMod val="65000"/>
              </a:schemeClr>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600" b="0" i="0" u="none" strike="noStrike" kern="1200" cap="none" spc="0" normalizeH="0" baseline="0" noProof="0">
                <a:ln>
                  <a:noFill/>
                </a:ln>
                <a:solidFill>
                  <a:srgbClr val="FFFFFF">
                    <a:lumMod val="50000"/>
                  </a:srgbClr>
                </a:solidFill>
                <a:effectLst/>
                <a:uLnTx/>
                <a:uFillTx/>
                <a:latin typeface="Ericsson Technical Icons" panose="00000500000000000000" pitchFamily="2" charset="0"/>
                <a:ea typeface="+mn-ea"/>
                <a:cs typeface="+mn-cs"/>
              </a:rPr>
              <a:t>s</a:t>
            </a:r>
            <a:br>
              <a:rPr kumimoji="0" lang="en-US" sz="1600" b="0" i="0" u="none" strike="noStrike" kern="1200" cap="none" spc="0" normalizeH="0" baseline="0" noProof="0">
                <a:ln>
                  <a:noFill/>
                </a:ln>
                <a:solidFill>
                  <a:srgbClr val="FFFFFF">
                    <a:lumMod val="50000"/>
                  </a:srgbClr>
                </a:solidFill>
                <a:effectLst/>
                <a:uLnTx/>
                <a:uFillTx/>
                <a:latin typeface="Ericsson Technical Icons" panose="00000500000000000000" pitchFamily="2" charset="0"/>
                <a:ea typeface="+mn-ea"/>
                <a:cs typeface="+mn-cs"/>
              </a:rPr>
            </a:br>
            <a:r>
              <a:rPr kumimoji="0" lang="en-US" sz="1600" b="0" i="0" u="none" strike="noStrike" kern="1200" cap="none" spc="0" normalizeH="0" baseline="0" noProof="0">
                <a:ln>
                  <a:noFill/>
                </a:ln>
                <a:solidFill>
                  <a:srgbClr val="FFFFFF">
                    <a:lumMod val="50000"/>
                  </a:srgbClr>
                </a:solidFill>
                <a:effectLst/>
                <a:uLnTx/>
                <a:uFillTx/>
                <a:latin typeface="Ericsson Technical Icons" panose="00000500000000000000" pitchFamily="2" charset="0"/>
                <a:ea typeface="+mn-ea"/>
                <a:cs typeface="+mn-cs"/>
              </a:rPr>
              <a:t>D</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Ericsson Hilda"/>
                <a:ea typeface="+mn-ea"/>
                <a:cs typeface="+mn-cs"/>
              </a:rPr>
              <a:t>SMS-C</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58" name="Straight Connector 57">
            <a:extLst>
              <a:ext uri="{FF2B5EF4-FFF2-40B4-BE49-F238E27FC236}">
                <a16:creationId xmlns:a16="http://schemas.microsoft.com/office/drawing/2014/main" id="{710BF0D3-91F4-4ECF-BD63-40FAA6BD3824}"/>
              </a:ext>
            </a:extLst>
          </p:cNvPr>
          <p:cNvCxnSpPr>
            <a:cxnSpLocks/>
            <a:stCxn id="57" idx="1"/>
            <a:endCxn id="56" idx="3"/>
          </p:cNvCxnSpPr>
          <p:nvPr/>
        </p:nvCxnSpPr>
        <p:spPr bwMode="auto">
          <a:xfrm flipH="1" flipV="1">
            <a:off x="8387148" y="2406498"/>
            <a:ext cx="3007849" cy="431356"/>
          </a:xfrm>
          <a:prstGeom prst="line">
            <a:avLst/>
          </a:prstGeom>
          <a:solidFill>
            <a:schemeClr val="accent1"/>
          </a:solidFill>
          <a:ln w="25400" cap="flat" cmpd="sng" algn="ctr">
            <a:solidFill>
              <a:schemeClr val="accent3">
                <a:lumMod val="75000"/>
              </a:schemeClr>
            </a:solidFill>
            <a:prstDash val="dash"/>
            <a:round/>
            <a:headEnd type="none" w="med" len="med"/>
            <a:tailEnd type="none" w="med" len="med"/>
          </a:ln>
          <a:effectLst/>
        </p:spPr>
      </p:cxnSp>
      <p:sp>
        <p:nvSpPr>
          <p:cNvPr id="59" name="TextBox 58">
            <a:extLst>
              <a:ext uri="{FF2B5EF4-FFF2-40B4-BE49-F238E27FC236}">
                <a16:creationId xmlns:a16="http://schemas.microsoft.com/office/drawing/2014/main" id="{5DC114A2-E82B-4241-BD24-245DBC52B069}"/>
              </a:ext>
            </a:extLst>
          </p:cNvPr>
          <p:cNvSpPr txBox="1"/>
          <p:nvPr/>
        </p:nvSpPr>
        <p:spPr bwMode="auto">
          <a:xfrm>
            <a:off x="7019438" y="3265840"/>
            <a:ext cx="551438" cy="894221"/>
          </a:xfrm>
          <a:prstGeom prst="rect">
            <a:avLst/>
          </a:prstGeom>
          <a:solidFill>
            <a:schemeClr val="bg1"/>
          </a:solidFill>
          <a:ln w="19050">
            <a:solidFill>
              <a:schemeClr val="accent1"/>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br>
              <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endPar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UPF</a:t>
            </a:r>
            <a:br>
              <a:rPr kumimoji="0" lang="en-US" sz="1200" b="0" i="0" u="none" strike="noStrike" kern="1200" cap="none" spc="0" normalizeH="0" baseline="0" noProof="0">
                <a:ln>
                  <a:noFill/>
                </a:ln>
                <a:solidFill>
                  <a:srgbClr val="181818"/>
                </a:solidFill>
                <a:effectLst/>
                <a:uLnTx/>
                <a:uFillTx/>
                <a:latin typeface="Ericsson Hilda"/>
                <a:ea typeface="+mn-ea"/>
                <a:cs typeface="+mn-cs"/>
              </a:rPr>
            </a:b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0" name="TextBox 59">
            <a:extLst>
              <a:ext uri="{FF2B5EF4-FFF2-40B4-BE49-F238E27FC236}">
                <a16:creationId xmlns:a16="http://schemas.microsoft.com/office/drawing/2014/main" id="{AB091BAF-94F8-445A-9BBF-0E0B89178963}"/>
              </a:ext>
            </a:extLst>
          </p:cNvPr>
          <p:cNvSpPr txBox="1"/>
          <p:nvPr/>
        </p:nvSpPr>
        <p:spPr bwMode="auto">
          <a:xfrm>
            <a:off x="8896028" y="3268502"/>
            <a:ext cx="551438" cy="894221"/>
          </a:xfrm>
          <a:prstGeom prst="rect">
            <a:avLst/>
          </a:prstGeom>
          <a:solidFill>
            <a:schemeClr val="bg1"/>
          </a:solidFill>
          <a:ln w="19050">
            <a:solidFill>
              <a:schemeClr val="accent2"/>
            </a:solidFill>
            <a:prstDash val="sysDot"/>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
                <a:srgbClr val="181818"/>
              </a:buClr>
              <a:buSzTx/>
              <a:buFontTx/>
              <a:buNone/>
              <a:tabLst/>
              <a:defRPr/>
            </a:pPr>
            <a:r>
              <a:rPr kumimoji="0" lang="en-US" sz="160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t>S</a:t>
            </a:r>
            <a:br>
              <a:rPr kumimoji="0" lang="en-US" sz="1600" b="0" i="0" u="none" strike="noStrike" kern="1200" cap="none" spc="0" normalizeH="0" baseline="0" noProof="0">
                <a:ln>
                  <a:noFill/>
                </a:ln>
                <a:solidFill>
                  <a:schemeClr val="accent2"/>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chemeClr val="accent2"/>
                </a:solidFill>
                <a:effectLst/>
                <a:uLnTx/>
                <a:uFillTx/>
                <a:latin typeface="Ericsson Hilda"/>
                <a:ea typeface="+mn-ea"/>
                <a:cs typeface="+mn-cs"/>
              </a:rPr>
              <a:t>IP-SM-GW</a:t>
            </a:r>
            <a:br>
              <a:rPr kumimoji="0" lang="en-US" sz="800" b="0" i="0" u="none" strike="noStrike" kern="1200" cap="none" spc="0" normalizeH="0" baseline="0" noProof="0">
                <a:ln>
                  <a:noFill/>
                </a:ln>
                <a:solidFill>
                  <a:schemeClr val="accent2"/>
                </a:solidFill>
                <a:effectLst/>
                <a:uLnTx/>
                <a:uFillTx/>
                <a:latin typeface="Ericsson Hilda"/>
                <a:ea typeface="+mn-ea"/>
                <a:cs typeface="+mn-cs"/>
              </a:rPr>
            </a:br>
            <a:r>
              <a:rPr kumimoji="0" lang="en-US" sz="800" b="0" i="0" u="none" strike="noStrike" kern="1200" cap="none" spc="0" normalizeH="0" baseline="0" noProof="0">
                <a:ln>
                  <a:noFill/>
                </a:ln>
                <a:solidFill>
                  <a:schemeClr val="accent2"/>
                </a:solidFill>
                <a:effectLst/>
                <a:uLnTx/>
                <a:uFillTx/>
                <a:latin typeface="Ericsson Hilda"/>
                <a:ea typeface="+mn-ea"/>
                <a:cs typeface="+mn-cs"/>
              </a:rPr>
              <a:t>IMS</a:t>
            </a:r>
            <a:br>
              <a:rPr kumimoji="0" lang="en-US" sz="800" b="0" i="0" u="none" strike="noStrike" kern="1200" cap="none" spc="0" normalizeH="0" baseline="0" noProof="0">
                <a:ln>
                  <a:noFill/>
                </a:ln>
                <a:solidFill>
                  <a:schemeClr val="accent2"/>
                </a:solidFill>
                <a:effectLst/>
                <a:uLnTx/>
                <a:uFillTx/>
                <a:latin typeface="Ericsson Hilda"/>
                <a:ea typeface="+mn-ea"/>
                <a:cs typeface="+mn-cs"/>
              </a:rPr>
            </a:br>
            <a:r>
              <a:rPr kumimoji="0" lang="en-US" sz="800" b="0" i="0" u="none" strike="noStrike" kern="1200" cap="none" spc="0" normalizeH="0" baseline="0" noProof="0">
                <a:ln>
                  <a:noFill/>
                </a:ln>
                <a:solidFill>
                  <a:schemeClr val="accent2"/>
                </a:solidFill>
                <a:effectLst/>
                <a:uLnTx/>
                <a:uFillTx/>
                <a:latin typeface="Ericsson Hilda"/>
                <a:ea typeface="+mn-ea"/>
                <a:cs typeface="+mn-cs"/>
              </a:rPr>
              <a:t>Core</a:t>
            </a:r>
          </a:p>
        </p:txBody>
      </p:sp>
      <p:cxnSp>
        <p:nvCxnSpPr>
          <p:cNvPr id="61" name="Straight Connector 60">
            <a:extLst>
              <a:ext uri="{FF2B5EF4-FFF2-40B4-BE49-F238E27FC236}">
                <a16:creationId xmlns:a16="http://schemas.microsoft.com/office/drawing/2014/main" id="{13F1764A-0DD4-45B9-A9B2-473C8D085B25}"/>
              </a:ext>
            </a:extLst>
          </p:cNvPr>
          <p:cNvCxnSpPr>
            <a:cxnSpLocks/>
            <a:stCxn id="59" idx="3"/>
            <a:endCxn id="60" idx="1"/>
          </p:cNvCxnSpPr>
          <p:nvPr/>
        </p:nvCxnSpPr>
        <p:spPr bwMode="auto">
          <a:xfrm>
            <a:off x="7570876" y="3712951"/>
            <a:ext cx="1325152" cy="2662"/>
          </a:xfrm>
          <a:prstGeom prst="line">
            <a:avLst/>
          </a:prstGeom>
          <a:noFill/>
          <a:ln w="25400" cap="flat" cmpd="sng" algn="ctr">
            <a:solidFill>
              <a:schemeClr val="accent2">
                <a:lumMod val="50000"/>
              </a:schemeClr>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97CF5A25-DEAD-4D7A-AF08-5D28D4C1905E}"/>
              </a:ext>
            </a:extLst>
          </p:cNvPr>
          <p:cNvCxnSpPr>
            <a:cxnSpLocks/>
            <a:stCxn id="60" idx="0"/>
            <a:endCxn id="53" idx="2"/>
          </p:cNvCxnSpPr>
          <p:nvPr/>
        </p:nvCxnSpPr>
        <p:spPr bwMode="auto">
          <a:xfrm flipV="1">
            <a:off x="9171747" y="2390743"/>
            <a:ext cx="1222013" cy="877759"/>
          </a:xfrm>
          <a:prstGeom prst="line">
            <a:avLst/>
          </a:prstGeom>
          <a:noFill/>
          <a:ln w="12700" cap="flat" cmpd="sng" algn="ctr">
            <a:solidFill>
              <a:schemeClr val="tx1"/>
            </a:solidFill>
            <a:prstDash val="dash"/>
            <a:round/>
            <a:headEnd type="none" w="med" len="med"/>
            <a:tailEnd type="none" w="med" len="med"/>
          </a:ln>
          <a:effectLst/>
        </p:spPr>
      </p:cxnSp>
      <p:cxnSp>
        <p:nvCxnSpPr>
          <p:cNvPr id="63" name="Straight Connector 62">
            <a:extLst>
              <a:ext uri="{FF2B5EF4-FFF2-40B4-BE49-F238E27FC236}">
                <a16:creationId xmlns:a16="http://schemas.microsoft.com/office/drawing/2014/main" id="{B9E883A4-65CA-467C-BE4A-316B0E30D9CC}"/>
              </a:ext>
            </a:extLst>
          </p:cNvPr>
          <p:cNvCxnSpPr>
            <a:cxnSpLocks/>
            <a:stCxn id="56" idx="3"/>
            <a:endCxn id="53" idx="1"/>
          </p:cNvCxnSpPr>
          <p:nvPr/>
        </p:nvCxnSpPr>
        <p:spPr bwMode="auto">
          <a:xfrm flipV="1">
            <a:off x="8387148" y="1943520"/>
            <a:ext cx="1731397" cy="462978"/>
          </a:xfrm>
          <a:prstGeom prst="line">
            <a:avLst/>
          </a:prstGeom>
          <a:noFill/>
          <a:ln w="12700" cap="flat" cmpd="sng" algn="ctr">
            <a:solidFill>
              <a:schemeClr val="tx1"/>
            </a:solidFill>
            <a:prstDash val="dash"/>
            <a:round/>
            <a:headEnd type="none" w="med" len="med"/>
            <a:tailEnd type="none" w="med" len="med"/>
          </a:ln>
          <a:effectLst/>
        </p:spPr>
      </p:cxnSp>
      <p:cxnSp>
        <p:nvCxnSpPr>
          <p:cNvPr id="64" name="Straight Connector 63">
            <a:extLst>
              <a:ext uri="{FF2B5EF4-FFF2-40B4-BE49-F238E27FC236}">
                <a16:creationId xmlns:a16="http://schemas.microsoft.com/office/drawing/2014/main" id="{2A6D675A-6676-434B-BEA9-833379A7A458}"/>
              </a:ext>
            </a:extLst>
          </p:cNvPr>
          <p:cNvCxnSpPr>
            <a:cxnSpLocks/>
            <a:stCxn id="57" idx="0"/>
            <a:endCxn id="53" idx="3"/>
          </p:cNvCxnSpPr>
          <p:nvPr/>
        </p:nvCxnSpPr>
        <p:spPr bwMode="auto">
          <a:xfrm flipH="1" flipV="1">
            <a:off x="10668974" y="1943520"/>
            <a:ext cx="1001742" cy="447223"/>
          </a:xfrm>
          <a:prstGeom prst="line">
            <a:avLst/>
          </a:prstGeom>
          <a:noFill/>
          <a:ln w="12700" cap="flat" cmpd="sng" algn="ctr">
            <a:solidFill>
              <a:schemeClr val="tx1"/>
            </a:solidFill>
            <a:prstDash val="dash"/>
            <a:round/>
            <a:headEnd type="none" w="med" len="med"/>
            <a:tailEnd type="none" w="med" len="med"/>
          </a:ln>
          <a:effectLst/>
        </p:spPr>
      </p:cxnSp>
      <p:cxnSp>
        <p:nvCxnSpPr>
          <p:cNvPr id="65" name="Straight Connector 64">
            <a:extLst>
              <a:ext uri="{FF2B5EF4-FFF2-40B4-BE49-F238E27FC236}">
                <a16:creationId xmlns:a16="http://schemas.microsoft.com/office/drawing/2014/main" id="{2B414929-A993-4C4F-B65E-6DC88A0CBFCE}"/>
              </a:ext>
            </a:extLst>
          </p:cNvPr>
          <p:cNvCxnSpPr>
            <a:cxnSpLocks/>
            <a:stCxn id="41" idx="3"/>
            <a:endCxn id="59" idx="1"/>
          </p:cNvCxnSpPr>
          <p:nvPr/>
        </p:nvCxnSpPr>
        <p:spPr bwMode="auto">
          <a:xfrm>
            <a:off x="6418124" y="3032341"/>
            <a:ext cx="601314" cy="680610"/>
          </a:xfrm>
          <a:prstGeom prst="line">
            <a:avLst/>
          </a:prstGeom>
          <a:noFill/>
          <a:ln w="25400" cap="flat" cmpd="sng" algn="ctr">
            <a:solidFill>
              <a:schemeClr val="accent2">
                <a:lumMod val="50000"/>
              </a:schemeClr>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8FD66FCB-4A90-408B-8C2F-ECFD0BAE5330}"/>
              </a:ext>
            </a:extLst>
          </p:cNvPr>
          <p:cNvCxnSpPr>
            <a:cxnSpLocks/>
            <a:stCxn id="57" idx="1"/>
            <a:endCxn id="60" idx="3"/>
          </p:cNvCxnSpPr>
          <p:nvPr/>
        </p:nvCxnSpPr>
        <p:spPr bwMode="auto">
          <a:xfrm flipH="1">
            <a:off x="9447466" y="2837854"/>
            <a:ext cx="1947531" cy="877759"/>
          </a:xfrm>
          <a:prstGeom prst="line">
            <a:avLst/>
          </a:prstGeom>
          <a:solidFill>
            <a:schemeClr val="accent1"/>
          </a:solidFill>
          <a:ln w="25400" cap="flat" cmpd="sng" algn="ctr">
            <a:solidFill>
              <a:schemeClr val="accent3">
                <a:lumMod val="75000"/>
              </a:schemeClr>
            </a:solidFill>
            <a:prstDash val="dash"/>
            <a:round/>
            <a:headEnd type="none" w="med" len="med"/>
            <a:tailEnd type="none" w="med" len="med"/>
          </a:ln>
          <a:effectLst/>
        </p:spPr>
      </p:cxnSp>
      <p:cxnSp>
        <p:nvCxnSpPr>
          <p:cNvPr id="67" name="Straight Connector 66">
            <a:extLst>
              <a:ext uri="{FF2B5EF4-FFF2-40B4-BE49-F238E27FC236}">
                <a16:creationId xmlns:a16="http://schemas.microsoft.com/office/drawing/2014/main" id="{888AA4AC-D7AA-4355-BAD9-DFAFBAD3ECAA}"/>
              </a:ext>
            </a:extLst>
          </p:cNvPr>
          <p:cNvCxnSpPr>
            <a:cxnSpLocks/>
            <a:stCxn id="56" idx="3"/>
          </p:cNvCxnSpPr>
          <p:nvPr/>
        </p:nvCxnSpPr>
        <p:spPr bwMode="auto">
          <a:xfrm>
            <a:off x="8387148" y="2406498"/>
            <a:ext cx="601314" cy="859342"/>
          </a:xfrm>
          <a:prstGeom prst="line">
            <a:avLst/>
          </a:prstGeom>
          <a:noFill/>
          <a:ln w="25400" cap="flat" cmpd="sng" algn="ctr">
            <a:solidFill>
              <a:schemeClr val="accent3">
                <a:lumMod val="75000"/>
              </a:schemeClr>
            </a:solidFill>
            <a:prstDash val="dash"/>
            <a:round/>
            <a:headEnd type="none" w="med" len="med"/>
            <a:tailEnd type="none" w="med" len="med"/>
          </a:ln>
          <a:effectLst/>
        </p:spPr>
      </p:cxnSp>
      <p:sp>
        <p:nvSpPr>
          <p:cNvPr id="68" name="Rectangle: Rounded Corners 67">
            <a:extLst>
              <a:ext uri="{FF2B5EF4-FFF2-40B4-BE49-F238E27FC236}">
                <a16:creationId xmlns:a16="http://schemas.microsoft.com/office/drawing/2014/main" id="{658C84CD-0F09-41EC-8FBE-9DDF00322CEC}"/>
              </a:ext>
            </a:extLst>
          </p:cNvPr>
          <p:cNvSpPr/>
          <p:nvPr/>
        </p:nvSpPr>
        <p:spPr bwMode="auto">
          <a:xfrm>
            <a:off x="5039388" y="2874600"/>
            <a:ext cx="239298" cy="401478"/>
          </a:xfrm>
          <a:prstGeom prst="roundRect">
            <a:avLst/>
          </a:prstGeom>
          <a:solidFill>
            <a:schemeClr val="bg1"/>
          </a:solid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a:ln>
                <a:noFill/>
              </a:ln>
              <a:solidFill>
                <a:schemeClr val="bg1"/>
              </a:solidFill>
              <a:effectLst/>
              <a:latin typeface="+mn-lt"/>
            </a:endParaRPr>
          </a:p>
        </p:txBody>
      </p:sp>
      <p:sp>
        <p:nvSpPr>
          <p:cNvPr id="69" name="Freeform 6">
            <a:extLst>
              <a:ext uri="{FF2B5EF4-FFF2-40B4-BE49-F238E27FC236}">
                <a16:creationId xmlns:a16="http://schemas.microsoft.com/office/drawing/2014/main" id="{6C195CC2-DA91-40EB-80BB-39AB6EE9C9EA}"/>
              </a:ext>
            </a:extLst>
          </p:cNvPr>
          <p:cNvSpPr>
            <a:spLocks noChangeAspect="1" noEditPoints="1"/>
          </p:cNvSpPr>
          <p:nvPr/>
        </p:nvSpPr>
        <p:spPr bwMode="auto">
          <a:xfrm>
            <a:off x="5043909" y="2864362"/>
            <a:ext cx="239298" cy="42930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lumMod val="6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70" name="TextBox 69">
            <a:extLst>
              <a:ext uri="{FF2B5EF4-FFF2-40B4-BE49-F238E27FC236}">
                <a16:creationId xmlns:a16="http://schemas.microsoft.com/office/drawing/2014/main" id="{2DDEBB55-76FC-4F7A-9BC1-CC1ACDF233D1}"/>
              </a:ext>
            </a:extLst>
          </p:cNvPr>
          <p:cNvSpPr txBox="1"/>
          <p:nvPr/>
        </p:nvSpPr>
        <p:spPr bwMode="auto">
          <a:xfrm>
            <a:off x="10303006" y="4007347"/>
            <a:ext cx="1648776" cy="34412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indent="0">
              <a:buClr>
                <a:schemeClr val="tx1"/>
              </a:buClr>
              <a:buNone/>
            </a:pPr>
            <a:r>
              <a:rPr lang="en-US" sz="2000"/>
              <a:t>SMS over MAP</a:t>
            </a:r>
          </a:p>
        </p:txBody>
      </p:sp>
      <p:cxnSp>
        <p:nvCxnSpPr>
          <p:cNvPr id="71" name="Straight Connector 70">
            <a:extLst>
              <a:ext uri="{FF2B5EF4-FFF2-40B4-BE49-F238E27FC236}">
                <a16:creationId xmlns:a16="http://schemas.microsoft.com/office/drawing/2014/main" id="{244DE26A-6E58-4718-84AF-9A285E008A89}"/>
              </a:ext>
            </a:extLst>
          </p:cNvPr>
          <p:cNvCxnSpPr>
            <a:cxnSpLocks/>
          </p:cNvCxnSpPr>
          <p:nvPr/>
        </p:nvCxnSpPr>
        <p:spPr bwMode="auto">
          <a:xfrm flipH="1" flipV="1">
            <a:off x="9956346" y="4179411"/>
            <a:ext cx="346660" cy="1"/>
          </a:xfrm>
          <a:prstGeom prst="line">
            <a:avLst/>
          </a:prstGeom>
          <a:noFill/>
          <a:ln w="25400" cap="flat" cmpd="sng" algn="ctr">
            <a:solidFill>
              <a:schemeClr val="accent3">
                <a:lumMod val="75000"/>
              </a:schemeClr>
            </a:solidFill>
            <a:prstDash val="dash"/>
            <a:round/>
            <a:headEnd type="none" w="med" len="med"/>
            <a:tailEnd type="none" w="med" len="med"/>
          </a:ln>
          <a:effectLst/>
        </p:spPr>
      </p:cxnSp>
    </p:spTree>
    <p:extLst>
      <p:ext uri="{BB962C8B-B14F-4D97-AF65-F5344CB8AC3E}">
        <p14:creationId xmlns:p14="http://schemas.microsoft.com/office/powerpoint/2010/main" val="30034016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7F0B4-E79A-41CD-8036-CF36EAE11825}"/>
              </a:ext>
            </a:extLst>
          </p:cNvPr>
          <p:cNvSpPr>
            <a:spLocks noGrp="1"/>
          </p:cNvSpPr>
          <p:nvPr>
            <p:ph type="title"/>
          </p:nvPr>
        </p:nvSpPr>
        <p:spPr>
          <a:xfrm>
            <a:off x="479425" y="476250"/>
            <a:ext cx="10511130" cy="1081088"/>
          </a:xfrm>
        </p:spPr>
        <p:txBody>
          <a:bodyPr/>
          <a:lstStyle/>
          <a:p>
            <a:r>
              <a:rPr lang="en-US"/>
              <a:t>Enhanced Network Analytics</a:t>
            </a:r>
            <a:br>
              <a:rPr lang="en-US" sz="2800"/>
            </a:br>
            <a:r>
              <a:rPr lang="en-US" sz="2800"/>
              <a:t>Reference Architecture</a:t>
            </a:r>
            <a:endParaRPr lang="en-US"/>
          </a:p>
        </p:txBody>
      </p:sp>
      <p:pic>
        <p:nvPicPr>
          <p:cNvPr id="6" name="Content Placeholder 5">
            <a:extLst>
              <a:ext uri="{FF2B5EF4-FFF2-40B4-BE49-F238E27FC236}">
                <a16:creationId xmlns:a16="http://schemas.microsoft.com/office/drawing/2014/main" id="{FDAFC5FC-A68A-4D82-9AA6-2013D4F889BF}"/>
              </a:ext>
            </a:extLst>
          </p:cNvPr>
          <p:cNvPicPr>
            <a:picLocks noGrp="1" noChangeAspect="1"/>
          </p:cNvPicPr>
          <p:nvPr>
            <p:ph sz="quarter" idx="10"/>
          </p:nvPr>
        </p:nvPicPr>
        <p:blipFill>
          <a:blip r:embed="rId3"/>
          <a:stretch>
            <a:fillRect/>
          </a:stretch>
        </p:blipFill>
        <p:spPr>
          <a:xfrm>
            <a:off x="996151" y="2024879"/>
            <a:ext cx="3619048" cy="857143"/>
          </a:xfrm>
          <a:prstGeom prst="rect">
            <a:avLst/>
          </a:prstGeom>
        </p:spPr>
      </p:pic>
      <p:pic>
        <p:nvPicPr>
          <p:cNvPr id="13" name="Picture 12">
            <a:extLst>
              <a:ext uri="{FF2B5EF4-FFF2-40B4-BE49-F238E27FC236}">
                <a16:creationId xmlns:a16="http://schemas.microsoft.com/office/drawing/2014/main" id="{9C9419DF-E5E7-4D47-8640-E68653064650}"/>
              </a:ext>
            </a:extLst>
          </p:cNvPr>
          <p:cNvPicPr>
            <a:picLocks noChangeAspect="1"/>
          </p:cNvPicPr>
          <p:nvPr/>
        </p:nvPicPr>
        <p:blipFill>
          <a:blip r:embed="rId4"/>
          <a:stretch>
            <a:fillRect/>
          </a:stretch>
        </p:blipFill>
        <p:spPr>
          <a:xfrm>
            <a:off x="7056309" y="2024879"/>
            <a:ext cx="3619048" cy="866667"/>
          </a:xfrm>
          <a:prstGeom prst="rect">
            <a:avLst/>
          </a:prstGeom>
        </p:spPr>
      </p:pic>
      <p:cxnSp>
        <p:nvCxnSpPr>
          <p:cNvPr id="15" name="Straight Connector 14">
            <a:extLst>
              <a:ext uri="{FF2B5EF4-FFF2-40B4-BE49-F238E27FC236}">
                <a16:creationId xmlns:a16="http://schemas.microsoft.com/office/drawing/2014/main" id="{B71D18A2-B0B2-4348-9E63-C8C2A7FE40DF}"/>
              </a:ext>
            </a:extLst>
          </p:cNvPr>
          <p:cNvCxnSpPr>
            <a:cxnSpLocks/>
          </p:cNvCxnSpPr>
          <p:nvPr/>
        </p:nvCxnSpPr>
        <p:spPr bwMode="auto">
          <a:xfrm>
            <a:off x="5782615" y="1557338"/>
            <a:ext cx="0" cy="4541621"/>
          </a:xfrm>
          <a:prstGeom prst="line">
            <a:avLst/>
          </a:prstGeom>
          <a:solidFill>
            <a:schemeClr val="accent1"/>
          </a:solidFill>
          <a:ln w="25400" cap="flat" cmpd="sng" algn="ctr">
            <a:solidFill>
              <a:schemeClr val="tx1"/>
            </a:solidFill>
            <a:prstDash val="dash"/>
            <a:round/>
            <a:headEnd type="none" w="med" len="med"/>
            <a:tailEnd type="none"/>
          </a:ln>
          <a:effectLst/>
        </p:spPr>
      </p:cxnSp>
      <p:sp>
        <p:nvSpPr>
          <p:cNvPr id="16" name="TextBox 15">
            <a:extLst>
              <a:ext uri="{FF2B5EF4-FFF2-40B4-BE49-F238E27FC236}">
                <a16:creationId xmlns:a16="http://schemas.microsoft.com/office/drawing/2014/main" id="{62615012-F37B-4399-B7FE-2B7F82581047}"/>
              </a:ext>
            </a:extLst>
          </p:cNvPr>
          <p:cNvSpPr txBox="1"/>
          <p:nvPr/>
        </p:nvSpPr>
        <p:spPr bwMode="auto">
          <a:xfrm>
            <a:off x="733425" y="1571760"/>
            <a:ext cx="4352917" cy="442911"/>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buClr>
                <a:schemeClr val="tx1"/>
              </a:buClr>
            </a:pPr>
            <a:r>
              <a:rPr lang="en-GB" b="1">
                <a:solidFill>
                  <a:schemeClr val="accent1"/>
                </a:solidFill>
              </a:rPr>
              <a:t>Data Collection architecture </a:t>
            </a:r>
            <a:endParaRPr lang="en-US" b="1">
              <a:solidFill>
                <a:schemeClr val="accent1"/>
              </a:solidFill>
            </a:endParaRPr>
          </a:p>
          <a:p>
            <a:pPr algn="l">
              <a:buClr>
                <a:schemeClr val="tx1"/>
              </a:buClr>
            </a:pPr>
            <a:endParaRPr lang="en-US" sz="2000" err="1"/>
          </a:p>
        </p:txBody>
      </p:sp>
      <p:sp>
        <p:nvSpPr>
          <p:cNvPr id="17" name="TextBox 16">
            <a:extLst>
              <a:ext uri="{FF2B5EF4-FFF2-40B4-BE49-F238E27FC236}">
                <a16:creationId xmlns:a16="http://schemas.microsoft.com/office/drawing/2014/main" id="{A0E4A0CE-C3AD-417A-82D0-A3F3D652F0DE}"/>
              </a:ext>
            </a:extLst>
          </p:cNvPr>
          <p:cNvSpPr txBox="1"/>
          <p:nvPr/>
        </p:nvSpPr>
        <p:spPr bwMode="auto">
          <a:xfrm>
            <a:off x="6744266" y="1557338"/>
            <a:ext cx="4352917" cy="442912"/>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buClr>
                <a:schemeClr val="tx1"/>
              </a:buClr>
            </a:pPr>
            <a:r>
              <a:rPr lang="es-ES" b="1" err="1">
                <a:solidFill>
                  <a:schemeClr val="accent1"/>
                </a:solidFill>
              </a:rPr>
              <a:t>Analytics</a:t>
            </a:r>
            <a:r>
              <a:rPr lang="es-ES" b="1">
                <a:solidFill>
                  <a:schemeClr val="accent1"/>
                </a:solidFill>
              </a:rPr>
              <a:t> </a:t>
            </a:r>
            <a:r>
              <a:rPr lang="es-ES" b="1" err="1">
                <a:solidFill>
                  <a:schemeClr val="accent1"/>
                </a:solidFill>
              </a:rPr>
              <a:t>Exposure</a:t>
            </a:r>
            <a:r>
              <a:rPr lang="es-ES" b="1">
                <a:solidFill>
                  <a:schemeClr val="accent1"/>
                </a:solidFill>
              </a:rPr>
              <a:t> </a:t>
            </a:r>
            <a:r>
              <a:rPr lang="es-ES" b="1" err="1">
                <a:solidFill>
                  <a:schemeClr val="accent1"/>
                </a:solidFill>
              </a:rPr>
              <a:t>architecture</a:t>
            </a:r>
            <a:endParaRPr lang="en-US" b="1">
              <a:solidFill>
                <a:schemeClr val="accent1"/>
              </a:solidFill>
            </a:endParaRPr>
          </a:p>
          <a:p>
            <a:pPr algn="l">
              <a:buClr>
                <a:schemeClr val="tx1"/>
              </a:buClr>
            </a:pPr>
            <a:endParaRPr lang="en-US" sz="2000" err="1"/>
          </a:p>
        </p:txBody>
      </p:sp>
      <p:graphicFrame>
        <p:nvGraphicFramePr>
          <p:cNvPr id="18" name="Table 17">
            <a:extLst>
              <a:ext uri="{FF2B5EF4-FFF2-40B4-BE49-F238E27FC236}">
                <a16:creationId xmlns:a16="http://schemas.microsoft.com/office/drawing/2014/main" id="{80D48F7A-8329-44B4-9490-D60F450CE2A9}"/>
              </a:ext>
            </a:extLst>
          </p:cNvPr>
          <p:cNvGraphicFramePr>
            <a:graphicFrameLocks noGrp="1"/>
          </p:cNvGraphicFramePr>
          <p:nvPr>
            <p:extLst>
              <p:ext uri="{D42A27DB-BD31-4B8C-83A1-F6EECF244321}">
                <p14:modId xmlns:p14="http://schemas.microsoft.com/office/powerpoint/2010/main" val="3285194100"/>
              </p:ext>
            </p:extLst>
          </p:nvPr>
        </p:nvGraphicFramePr>
        <p:xfrm>
          <a:off x="878205" y="3086576"/>
          <a:ext cx="3312792" cy="1280160"/>
        </p:xfrm>
        <a:graphic>
          <a:graphicData uri="http://schemas.openxmlformats.org/drawingml/2006/table">
            <a:tbl>
              <a:tblPr firstRow="1" firstCol="1" bandRow="1" bandCol="1">
                <a:tableStyleId>{5940675A-B579-460E-94D1-54222C63F5DA}</a:tableStyleId>
              </a:tblPr>
              <a:tblGrid>
                <a:gridCol w="781238">
                  <a:extLst>
                    <a:ext uri="{9D8B030D-6E8A-4147-A177-3AD203B41FA5}">
                      <a16:colId xmlns:a16="http://schemas.microsoft.com/office/drawing/2014/main" val="2451605834"/>
                    </a:ext>
                  </a:extLst>
                </a:gridCol>
                <a:gridCol w="2531554">
                  <a:extLst>
                    <a:ext uri="{9D8B030D-6E8A-4147-A177-3AD203B41FA5}">
                      <a16:colId xmlns:a16="http://schemas.microsoft.com/office/drawing/2014/main" val="4058511941"/>
                    </a:ext>
                  </a:extLst>
                </a:gridCol>
              </a:tblGrid>
              <a:tr h="140970">
                <a:tc>
                  <a:txBody>
                    <a:bodyPr/>
                    <a:lstStyle/>
                    <a:p>
                      <a:pPr algn="ctr">
                        <a:spcAft>
                          <a:spcPts val="0"/>
                        </a:spcAft>
                      </a:pPr>
                      <a:r>
                        <a:rPr lang="en-GB" sz="1050">
                          <a:effectLst/>
                        </a:rPr>
                        <a:t>NF</a:t>
                      </a:r>
                      <a:endParaRPr lang="en-US" sz="105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1050">
                          <a:effectLst/>
                        </a:rPr>
                        <a:t>Service</a:t>
                      </a:r>
                      <a:endParaRPr lang="en-US" sz="105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558527128"/>
                  </a:ext>
                </a:extLst>
              </a:tr>
              <a:tr h="140970">
                <a:tc>
                  <a:txBody>
                    <a:bodyPr/>
                    <a:lstStyle/>
                    <a:p>
                      <a:pPr>
                        <a:spcAft>
                          <a:spcPts val="0"/>
                        </a:spcAft>
                      </a:pPr>
                      <a:r>
                        <a:rPr lang="en-GB" sz="1050">
                          <a:effectLst/>
                        </a:rPr>
                        <a:t>AMF</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amf_EventExposure</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82872258"/>
                  </a:ext>
                </a:extLst>
              </a:tr>
              <a:tr h="140970">
                <a:tc>
                  <a:txBody>
                    <a:bodyPr/>
                    <a:lstStyle/>
                    <a:p>
                      <a:pPr>
                        <a:spcAft>
                          <a:spcPts val="0"/>
                        </a:spcAft>
                      </a:pPr>
                      <a:r>
                        <a:rPr lang="en-GB" sz="1050">
                          <a:effectLst/>
                        </a:rPr>
                        <a:t>SMF</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smf_EventExposure</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322257255"/>
                  </a:ext>
                </a:extLst>
              </a:tr>
              <a:tr h="140970">
                <a:tc>
                  <a:txBody>
                    <a:bodyPr/>
                    <a:lstStyle/>
                    <a:p>
                      <a:pPr>
                        <a:spcAft>
                          <a:spcPts val="0"/>
                        </a:spcAft>
                      </a:pPr>
                      <a:r>
                        <a:rPr lang="en-GB" sz="1050">
                          <a:effectLst/>
                        </a:rPr>
                        <a:t>PCF</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pcf_EventExposure</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74902618"/>
                  </a:ext>
                </a:extLst>
              </a:tr>
              <a:tr h="140970">
                <a:tc>
                  <a:txBody>
                    <a:bodyPr/>
                    <a:lstStyle/>
                    <a:p>
                      <a:pPr>
                        <a:spcAft>
                          <a:spcPts val="0"/>
                        </a:spcAft>
                      </a:pPr>
                      <a:r>
                        <a:rPr lang="en-GB" sz="1050">
                          <a:effectLst/>
                        </a:rPr>
                        <a:t>UDM</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udm_EventExposure</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79037351"/>
                  </a:ext>
                </a:extLst>
              </a:tr>
              <a:tr h="140970">
                <a:tc>
                  <a:txBody>
                    <a:bodyPr/>
                    <a:lstStyle/>
                    <a:p>
                      <a:pPr>
                        <a:spcAft>
                          <a:spcPts val="0"/>
                        </a:spcAft>
                      </a:pPr>
                      <a:r>
                        <a:rPr lang="en-GB" sz="1050">
                          <a:effectLst/>
                        </a:rPr>
                        <a:t>NEF</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nef_EventExposure</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520058689"/>
                  </a:ext>
                </a:extLst>
              </a:tr>
              <a:tr h="140970">
                <a:tc rowSpan="2">
                  <a:txBody>
                    <a:bodyPr/>
                    <a:lstStyle/>
                    <a:p>
                      <a:pPr>
                        <a:spcAft>
                          <a:spcPts val="0"/>
                        </a:spcAft>
                      </a:pPr>
                      <a:r>
                        <a:rPr lang="en-GB" sz="1050">
                          <a:effectLst/>
                        </a:rPr>
                        <a:t>NRF</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050">
                          <a:effectLst/>
                        </a:rPr>
                        <a:t>Nnrf_NFDiscovery</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33883434"/>
                  </a:ext>
                </a:extLst>
              </a:tr>
              <a:tr h="140970">
                <a:tc vMerge="1">
                  <a:txBody>
                    <a:bodyPr/>
                    <a:lstStyle/>
                    <a:p>
                      <a:endParaRPr lang="en-US"/>
                    </a:p>
                  </a:txBody>
                  <a:tcPr/>
                </a:tc>
                <a:tc>
                  <a:txBody>
                    <a:bodyPr/>
                    <a:lstStyle/>
                    <a:p>
                      <a:pPr>
                        <a:spcAft>
                          <a:spcPts val="0"/>
                        </a:spcAft>
                      </a:pPr>
                      <a:r>
                        <a:rPr lang="en-GB" sz="1050" err="1">
                          <a:effectLst/>
                        </a:rPr>
                        <a:t>Nnrf_NFManagement</a:t>
                      </a:r>
                      <a:endParaRPr lang="en-US" sz="105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182415747"/>
                  </a:ext>
                </a:extLst>
              </a:tr>
            </a:tbl>
          </a:graphicData>
        </a:graphic>
      </p:graphicFrame>
      <p:sp>
        <p:nvSpPr>
          <p:cNvPr id="20" name="Rectangle 19">
            <a:extLst>
              <a:ext uri="{FF2B5EF4-FFF2-40B4-BE49-F238E27FC236}">
                <a16:creationId xmlns:a16="http://schemas.microsoft.com/office/drawing/2014/main" id="{FC887723-9271-46A4-B6F7-982A9F4EA55E}"/>
              </a:ext>
            </a:extLst>
          </p:cNvPr>
          <p:cNvSpPr/>
          <p:nvPr/>
        </p:nvSpPr>
        <p:spPr>
          <a:xfrm>
            <a:off x="190500" y="4686985"/>
            <a:ext cx="5438768" cy="1061829"/>
          </a:xfrm>
          <a:prstGeom prst="rect">
            <a:avLst/>
          </a:prstGeom>
        </p:spPr>
        <p:txBody>
          <a:bodyPr wrap="square">
            <a:spAutoFit/>
          </a:bodyPr>
          <a:lstStyle/>
          <a:p>
            <a:pPr marL="285750" indent="-285750">
              <a:buFont typeface="Arial" panose="020B0604020202020204" pitchFamily="34" charset="0"/>
              <a:buChar char="•"/>
            </a:pPr>
            <a:r>
              <a:rPr lang="en-US" sz="1400"/>
              <a:t>How NWDAF collects data from UPF is out of the scope of Rel-16.</a:t>
            </a:r>
          </a:p>
          <a:p>
            <a:pPr marL="285750" indent="-285750">
              <a:buFont typeface="Arial" panose="020B0604020202020204" pitchFamily="34" charset="0"/>
              <a:buChar char="•"/>
            </a:pPr>
            <a:r>
              <a:rPr lang="en-US" sz="1400"/>
              <a:t>NWDAF collects PM and KPIs from OAM using APIs defined in 28 series</a:t>
            </a:r>
          </a:p>
        </p:txBody>
      </p:sp>
      <p:graphicFrame>
        <p:nvGraphicFramePr>
          <p:cNvPr id="21" name="Table 20">
            <a:extLst>
              <a:ext uri="{FF2B5EF4-FFF2-40B4-BE49-F238E27FC236}">
                <a16:creationId xmlns:a16="http://schemas.microsoft.com/office/drawing/2014/main" id="{0F6ABEE4-5B7F-4A21-B37C-DD48F149E77F}"/>
              </a:ext>
            </a:extLst>
          </p:cNvPr>
          <p:cNvGraphicFramePr>
            <a:graphicFrameLocks noGrp="1"/>
          </p:cNvGraphicFramePr>
          <p:nvPr>
            <p:extLst>
              <p:ext uri="{D42A27DB-BD31-4B8C-83A1-F6EECF244321}">
                <p14:modId xmlns:p14="http://schemas.microsoft.com/office/powerpoint/2010/main" val="695783007"/>
              </p:ext>
            </p:extLst>
          </p:nvPr>
        </p:nvGraphicFramePr>
        <p:xfrm>
          <a:off x="6188636" y="3072158"/>
          <a:ext cx="5464175" cy="2346960"/>
        </p:xfrm>
        <a:graphic>
          <a:graphicData uri="http://schemas.openxmlformats.org/drawingml/2006/table">
            <a:tbl>
              <a:tblPr firstRow="1" firstCol="1" bandRow="1">
                <a:tableStyleId>{5940675A-B579-460E-94D1-54222C63F5DA}</a:tableStyleId>
              </a:tblPr>
              <a:tblGrid>
                <a:gridCol w="1534937">
                  <a:extLst>
                    <a:ext uri="{9D8B030D-6E8A-4147-A177-3AD203B41FA5}">
                      <a16:colId xmlns:a16="http://schemas.microsoft.com/office/drawing/2014/main" val="3786939920"/>
                    </a:ext>
                  </a:extLst>
                </a:gridCol>
                <a:gridCol w="1671178">
                  <a:extLst>
                    <a:ext uri="{9D8B030D-6E8A-4147-A177-3AD203B41FA5}">
                      <a16:colId xmlns:a16="http://schemas.microsoft.com/office/drawing/2014/main" val="3074091438"/>
                    </a:ext>
                  </a:extLst>
                </a:gridCol>
                <a:gridCol w="1123950">
                  <a:extLst>
                    <a:ext uri="{9D8B030D-6E8A-4147-A177-3AD203B41FA5}">
                      <a16:colId xmlns:a16="http://schemas.microsoft.com/office/drawing/2014/main" val="3257694838"/>
                    </a:ext>
                  </a:extLst>
                </a:gridCol>
                <a:gridCol w="1134110">
                  <a:extLst>
                    <a:ext uri="{9D8B030D-6E8A-4147-A177-3AD203B41FA5}">
                      <a16:colId xmlns:a16="http://schemas.microsoft.com/office/drawing/2014/main" val="2642903170"/>
                    </a:ext>
                  </a:extLst>
                </a:gridCol>
              </a:tblGrid>
              <a:tr h="0">
                <a:tc>
                  <a:txBody>
                    <a:bodyPr/>
                    <a:lstStyle/>
                    <a:p>
                      <a:pPr algn="ctr">
                        <a:spcAft>
                          <a:spcPts val="0"/>
                        </a:spcAft>
                      </a:pPr>
                      <a:r>
                        <a:rPr lang="en-GB" sz="1100">
                          <a:effectLst/>
                        </a:rPr>
                        <a:t>Service Name</a:t>
                      </a:r>
                      <a:endParaRPr lang="en-US" sz="11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1100">
                          <a:effectLst/>
                        </a:rPr>
                        <a:t>Service Operations</a:t>
                      </a:r>
                      <a:endParaRPr lang="en-US" sz="11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1100">
                          <a:effectLst/>
                        </a:rPr>
                        <a:t>Operation</a:t>
                      </a:r>
                      <a:endParaRPr lang="en-US" sz="1100">
                        <a:effectLst/>
                      </a:endParaRPr>
                    </a:p>
                    <a:p>
                      <a:pPr algn="ctr">
                        <a:spcAft>
                          <a:spcPts val="0"/>
                        </a:spcAft>
                      </a:pPr>
                      <a:r>
                        <a:rPr lang="en-GB" sz="1100">
                          <a:effectLst/>
                        </a:rPr>
                        <a:t>Semantics</a:t>
                      </a:r>
                      <a:endParaRPr lang="en-US" sz="11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1100">
                          <a:effectLst/>
                        </a:rPr>
                        <a:t>Example Consumer(s)</a:t>
                      </a:r>
                      <a:endParaRPr lang="en-US" sz="11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56025418"/>
                  </a:ext>
                </a:extLst>
              </a:tr>
              <a:tr h="0">
                <a:tc rowSpan="3">
                  <a:txBody>
                    <a:bodyPr/>
                    <a:lstStyle/>
                    <a:p>
                      <a:pPr>
                        <a:spcAft>
                          <a:spcPts val="0"/>
                        </a:spcAft>
                      </a:pPr>
                      <a:r>
                        <a:rPr lang="en-GB" sz="1100" err="1">
                          <a:effectLst/>
                        </a:rPr>
                        <a:t>Nnwdaf_AnalyticsSubscriptio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p>
                      <a:pPr>
                        <a:spcAft>
                          <a:spcPts val="0"/>
                        </a:spcAft>
                      </a:pPr>
                      <a:r>
                        <a:rPr lang="en-GB" sz="110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p>
                      <a:pPr>
                        <a:spcAft>
                          <a:spcPts val="0"/>
                        </a:spcAft>
                      </a:pPr>
                      <a:r>
                        <a:rPr lang="en-GB" sz="110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Subscrib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Subscribe / Notif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PCF, NSSF, AMF, SMF, NEF, AF</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55045732"/>
                  </a:ext>
                </a:extLst>
              </a:tr>
              <a:tr h="0">
                <a:tc vMerge="1">
                  <a:txBody>
                    <a:bodyPr/>
                    <a:lstStyle/>
                    <a:p>
                      <a:pPr>
                        <a:spcAft>
                          <a:spcPts val="0"/>
                        </a:spcAft>
                      </a:pP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Unsubscrib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PCF, NSSF, AMF, SMF, NEF, AF</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0116304"/>
                  </a:ext>
                </a:extLst>
              </a:tr>
              <a:tr h="0">
                <a:tc vMerge="1">
                  <a:txBody>
                    <a:bodyPr/>
                    <a:lstStyle/>
                    <a:p>
                      <a:pPr>
                        <a:spcAft>
                          <a:spcPts val="0"/>
                        </a:spcAft>
                      </a:pP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Notif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PCF, NSSF, AMF, SMF, NEF, AF</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854862225"/>
                  </a:ext>
                </a:extLst>
              </a:tr>
              <a:tr h="0">
                <a:tc>
                  <a:txBody>
                    <a:bodyPr/>
                    <a:lstStyle/>
                    <a:p>
                      <a:pPr>
                        <a:spcAft>
                          <a:spcPts val="0"/>
                        </a:spcAft>
                      </a:pPr>
                      <a:r>
                        <a:rPr lang="en-GB" sz="1100">
                          <a:effectLst/>
                        </a:rPr>
                        <a:t>Nnwdaf_AnalyticsInfo</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Reques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Request / Respons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1100">
                          <a:effectLst/>
                        </a:rPr>
                        <a:t>PCF, NSSF, AMF, SMF, NEF, AF</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23037698"/>
                  </a:ext>
                </a:extLst>
              </a:tr>
            </a:tbl>
          </a:graphicData>
        </a:graphic>
      </p:graphicFrame>
      <p:sp>
        <p:nvSpPr>
          <p:cNvPr id="3" name="Rectangle 2">
            <a:extLst>
              <a:ext uri="{FF2B5EF4-FFF2-40B4-BE49-F238E27FC236}">
                <a16:creationId xmlns:a16="http://schemas.microsoft.com/office/drawing/2014/main" id="{ACFD1DC3-9D2B-4065-9394-705781386C40}"/>
              </a:ext>
            </a:extLst>
          </p:cNvPr>
          <p:cNvSpPr/>
          <p:nvPr/>
        </p:nvSpPr>
        <p:spPr>
          <a:xfrm>
            <a:off x="6188636" y="5469493"/>
            <a:ext cx="6003363" cy="1169551"/>
          </a:xfrm>
          <a:prstGeom prst="rect">
            <a:avLst/>
          </a:prstGeom>
        </p:spPr>
        <p:txBody>
          <a:bodyPr wrap="square">
            <a:spAutoFit/>
          </a:bodyPr>
          <a:lstStyle/>
          <a:p>
            <a:r>
              <a:rPr lang="en-US" sz="1400">
                <a:solidFill>
                  <a:schemeClr val="accent1">
                    <a:lumMod val="75000"/>
                  </a:schemeClr>
                </a:solidFill>
              </a:rPr>
              <a:t>NWDAF deployment:</a:t>
            </a:r>
          </a:p>
          <a:p>
            <a:pPr marL="285750" indent="-285750">
              <a:buFont typeface="Arial" panose="020B0604020202020204" pitchFamily="34" charset="0"/>
              <a:buChar char="•"/>
            </a:pPr>
            <a:r>
              <a:rPr lang="en-US" sz="1400">
                <a:latin typeface="+mn-lt"/>
              </a:rPr>
              <a:t>Multiple NWDAF instances may be deployed, either per Analytic type or covering a geographical area.</a:t>
            </a:r>
          </a:p>
          <a:p>
            <a:pPr marL="285750" indent="-285750">
              <a:buFont typeface="Arial" panose="020B0604020202020204" pitchFamily="34" charset="0"/>
              <a:buChar char="•"/>
            </a:pPr>
            <a:r>
              <a:rPr lang="en-US" sz="1400">
                <a:latin typeface="+mn-lt"/>
              </a:rPr>
              <a:t>NWDAF instance(s) can be collocated with a 5GS NF</a:t>
            </a:r>
          </a:p>
        </p:txBody>
      </p:sp>
    </p:spTree>
    <p:extLst>
      <p:ext uri="{BB962C8B-B14F-4D97-AF65-F5344CB8AC3E}">
        <p14:creationId xmlns:p14="http://schemas.microsoft.com/office/powerpoint/2010/main" val="4403626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DA72F06-D10F-4834-9BE1-7A056B5828B2}"/>
              </a:ext>
            </a:extLst>
          </p:cNvPr>
          <p:cNvSpPr/>
          <p:nvPr/>
        </p:nvSpPr>
        <p:spPr bwMode="auto">
          <a:xfrm>
            <a:off x="323385" y="3386383"/>
            <a:ext cx="9743482" cy="927230"/>
          </a:xfrm>
          <a:prstGeom prst="rect">
            <a:avLst/>
          </a:prstGeom>
          <a:solidFill>
            <a:schemeClr val="accent4">
              <a:lumMod val="60000"/>
              <a:lumOff val="4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3" name="Rectangle 12">
            <a:extLst>
              <a:ext uri="{FF2B5EF4-FFF2-40B4-BE49-F238E27FC236}">
                <a16:creationId xmlns:a16="http://schemas.microsoft.com/office/drawing/2014/main" id="{44E7F5F5-3B45-4BF7-8FC6-BAAD95A14328}"/>
              </a:ext>
            </a:extLst>
          </p:cNvPr>
          <p:cNvSpPr/>
          <p:nvPr/>
        </p:nvSpPr>
        <p:spPr bwMode="auto">
          <a:xfrm>
            <a:off x="323385" y="4327297"/>
            <a:ext cx="9743482" cy="490235"/>
          </a:xfrm>
          <a:prstGeom prst="rect">
            <a:avLst/>
          </a:prstGeom>
          <a:solidFill>
            <a:schemeClr val="accent1">
              <a:lumMod val="60000"/>
              <a:lumOff val="4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12" name="Rectangle 11">
            <a:extLst>
              <a:ext uri="{FF2B5EF4-FFF2-40B4-BE49-F238E27FC236}">
                <a16:creationId xmlns:a16="http://schemas.microsoft.com/office/drawing/2014/main" id="{E383C96E-74F1-431C-ADB3-084BEF17AC48}"/>
              </a:ext>
            </a:extLst>
          </p:cNvPr>
          <p:cNvSpPr/>
          <p:nvPr/>
        </p:nvSpPr>
        <p:spPr bwMode="auto">
          <a:xfrm>
            <a:off x="323385" y="1933575"/>
            <a:ext cx="9743482" cy="1444626"/>
          </a:xfrm>
          <a:prstGeom prst="rect">
            <a:avLst/>
          </a:prstGeom>
          <a:solidFill>
            <a:schemeClr val="accent2">
              <a:lumMod val="60000"/>
              <a:lumOff val="4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sv-SE" sz="2000" b="0" i="0" u="none" strike="noStrike" cap="none" normalizeH="0" baseline="0" err="1">
              <a:ln>
                <a:noFill/>
              </a:ln>
              <a:solidFill>
                <a:schemeClr val="bg1"/>
              </a:solidFill>
              <a:effectLst/>
              <a:latin typeface="+mn-lt"/>
            </a:endParaRPr>
          </a:p>
        </p:txBody>
      </p:sp>
      <p:sp>
        <p:nvSpPr>
          <p:cNvPr id="2" name="Title 1">
            <a:extLst>
              <a:ext uri="{FF2B5EF4-FFF2-40B4-BE49-F238E27FC236}">
                <a16:creationId xmlns:a16="http://schemas.microsoft.com/office/drawing/2014/main" id="{402A4059-2C90-4DEF-8BB2-FD79CEFEB17A}"/>
              </a:ext>
            </a:extLst>
          </p:cNvPr>
          <p:cNvSpPr>
            <a:spLocks noGrp="1"/>
          </p:cNvSpPr>
          <p:nvPr>
            <p:ph type="title"/>
          </p:nvPr>
        </p:nvSpPr>
        <p:spPr/>
        <p:txBody>
          <a:bodyPr/>
          <a:lstStyle/>
          <a:p>
            <a:r>
              <a:rPr lang="en-US"/>
              <a:t>Enhanced Network Analytics</a:t>
            </a:r>
            <a:br>
              <a:rPr lang="en-US" sz="1800"/>
            </a:br>
            <a:r>
              <a:rPr lang="en-US" sz="2800"/>
              <a:t>General list of analytics IDs</a:t>
            </a:r>
            <a:endParaRPr lang="en-US"/>
          </a:p>
        </p:txBody>
      </p:sp>
      <p:sp>
        <p:nvSpPr>
          <p:cNvPr id="4" name="Rectangle 3">
            <a:extLst>
              <a:ext uri="{FF2B5EF4-FFF2-40B4-BE49-F238E27FC236}">
                <a16:creationId xmlns:a16="http://schemas.microsoft.com/office/drawing/2014/main" id="{CCAC915D-8DBE-485A-B7C9-89BCC7E4A7BD}"/>
              </a:ext>
            </a:extLst>
          </p:cNvPr>
          <p:cNvSpPr/>
          <p:nvPr/>
        </p:nvSpPr>
        <p:spPr bwMode="auto">
          <a:xfrm>
            <a:off x="479424" y="2001923"/>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en-US" sz="2000" b="0" i="0" u="none" strike="noStrike" cap="none" normalizeH="0" baseline="0">
                <a:ln>
                  <a:noFill/>
                </a:ln>
                <a:solidFill>
                  <a:schemeClr val="bg1"/>
                </a:solidFill>
                <a:effectLst/>
                <a:latin typeface="+mn-lt"/>
              </a:rPr>
              <a:t>UE Communication Analytics</a:t>
            </a:r>
          </a:p>
        </p:txBody>
      </p:sp>
      <p:sp>
        <p:nvSpPr>
          <p:cNvPr id="5" name="Rectangle 4">
            <a:extLst>
              <a:ext uri="{FF2B5EF4-FFF2-40B4-BE49-F238E27FC236}">
                <a16:creationId xmlns:a16="http://schemas.microsoft.com/office/drawing/2014/main" id="{21225F34-26B8-45CE-B664-F9F6C3C56A3F}"/>
              </a:ext>
            </a:extLst>
          </p:cNvPr>
          <p:cNvSpPr/>
          <p:nvPr/>
        </p:nvSpPr>
        <p:spPr bwMode="auto">
          <a:xfrm>
            <a:off x="479424" y="2450893"/>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R="0" algn="l" defTabSz="914400" rtl="0" eaLnBrk="1" fontAlgn="base" latinLnBrk="0" hangingPunct="1">
              <a:lnSpc>
                <a:spcPct val="100000"/>
              </a:lnSpc>
              <a:spcBef>
                <a:spcPts val="300"/>
              </a:spcBef>
              <a:spcAft>
                <a:spcPct val="0"/>
              </a:spcAft>
              <a:buClrTx/>
              <a:buSzTx/>
              <a:tabLst/>
            </a:pPr>
            <a:r>
              <a:rPr kumimoji="0" lang="en-US" sz="2000" b="0" i="0" u="none" strike="noStrike" cap="none" normalizeH="0" baseline="0">
                <a:ln>
                  <a:noFill/>
                </a:ln>
                <a:solidFill>
                  <a:schemeClr val="bg1"/>
                </a:solidFill>
                <a:effectLst/>
                <a:latin typeface="+mn-lt"/>
              </a:rPr>
              <a:t>UE Mobility Analytics</a:t>
            </a:r>
          </a:p>
        </p:txBody>
      </p:sp>
      <p:sp>
        <p:nvSpPr>
          <p:cNvPr id="6" name="Rectangle 5">
            <a:extLst>
              <a:ext uri="{FF2B5EF4-FFF2-40B4-BE49-F238E27FC236}">
                <a16:creationId xmlns:a16="http://schemas.microsoft.com/office/drawing/2014/main" id="{575AFDDA-C37D-45B7-9F8B-09D59BD9E9C1}"/>
              </a:ext>
            </a:extLst>
          </p:cNvPr>
          <p:cNvSpPr/>
          <p:nvPr/>
        </p:nvSpPr>
        <p:spPr bwMode="auto">
          <a:xfrm>
            <a:off x="479424" y="2944908"/>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fontAlgn="base">
              <a:spcBef>
                <a:spcPts val="300"/>
              </a:spcBef>
              <a:spcAft>
                <a:spcPct val="0"/>
              </a:spcAft>
            </a:pPr>
            <a:r>
              <a:rPr lang="en-US" sz="2000">
                <a:solidFill>
                  <a:schemeClr val="bg1"/>
                </a:solidFill>
              </a:rPr>
              <a:t>Combination of the two above (indicating normal or abnormal behavior)</a:t>
            </a:r>
          </a:p>
        </p:txBody>
      </p:sp>
      <p:sp>
        <p:nvSpPr>
          <p:cNvPr id="7" name="Rectangle 6">
            <a:extLst>
              <a:ext uri="{FF2B5EF4-FFF2-40B4-BE49-F238E27FC236}">
                <a16:creationId xmlns:a16="http://schemas.microsoft.com/office/drawing/2014/main" id="{7235B4C1-7491-41AA-A786-2CD8CAD3EFAB}"/>
              </a:ext>
            </a:extLst>
          </p:cNvPr>
          <p:cNvSpPr/>
          <p:nvPr/>
        </p:nvSpPr>
        <p:spPr bwMode="auto">
          <a:xfrm>
            <a:off x="479424" y="3438923"/>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fontAlgn="base">
              <a:spcBef>
                <a:spcPts val="300"/>
              </a:spcBef>
              <a:spcAft>
                <a:spcPct val="0"/>
              </a:spcAft>
            </a:pPr>
            <a:r>
              <a:rPr lang="en-US" sz="2000" err="1">
                <a:solidFill>
                  <a:schemeClr val="bg1"/>
                </a:solidFill>
              </a:rPr>
              <a:t>QoE</a:t>
            </a:r>
            <a:r>
              <a:rPr lang="en-US" sz="2000">
                <a:solidFill>
                  <a:schemeClr val="bg1"/>
                </a:solidFill>
              </a:rPr>
              <a:t> calculations per slice, application and user</a:t>
            </a:r>
          </a:p>
        </p:txBody>
      </p:sp>
      <p:sp>
        <p:nvSpPr>
          <p:cNvPr id="8" name="Rectangle 7">
            <a:extLst>
              <a:ext uri="{FF2B5EF4-FFF2-40B4-BE49-F238E27FC236}">
                <a16:creationId xmlns:a16="http://schemas.microsoft.com/office/drawing/2014/main" id="{E0372140-E0E4-45AE-B673-4F13C6679F6E}"/>
              </a:ext>
            </a:extLst>
          </p:cNvPr>
          <p:cNvSpPr/>
          <p:nvPr/>
        </p:nvSpPr>
        <p:spPr bwMode="auto">
          <a:xfrm>
            <a:off x="479424" y="3913471"/>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fontAlgn="base">
              <a:spcBef>
                <a:spcPts val="300"/>
              </a:spcBef>
              <a:spcAft>
                <a:spcPct val="0"/>
              </a:spcAft>
            </a:pPr>
            <a:r>
              <a:rPr lang="en-US" sz="2000">
                <a:solidFill>
                  <a:schemeClr val="bg1"/>
                </a:solidFill>
              </a:rPr>
              <a:t>User Data Congestion</a:t>
            </a:r>
          </a:p>
        </p:txBody>
      </p:sp>
      <p:sp>
        <p:nvSpPr>
          <p:cNvPr id="9" name="Rectangle 8">
            <a:extLst>
              <a:ext uri="{FF2B5EF4-FFF2-40B4-BE49-F238E27FC236}">
                <a16:creationId xmlns:a16="http://schemas.microsoft.com/office/drawing/2014/main" id="{330DADDF-977F-47F4-BC45-CF88E0138B7F}"/>
              </a:ext>
            </a:extLst>
          </p:cNvPr>
          <p:cNvSpPr/>
          <p:nvPr/>
        </p:nvSpPr>
        <p:spPr bwMode="auto">
          <a:xfrm>
            <a:off x="479424" y="4388019"/>
            <a:ext cx="9463596" cy="355107"/>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fontAlgn="base">
              <a:spcBef>
                <a:spcPts val="300"/>
              </a:spcBef>
              <a:spcAft>
                <a:spcPct val="0"/>
              </a:spcAft>
            </a:pPr>
            <a:r>
              <a:rPr lang="en-US" sz="2000">
                <a:solidFill>
                  <a:schemeClr val="bg1"/>
                </a:solidFill>
              </a:rPr>
              <a:t>Network Performance including load from: NF, RAN (via O&amp;M) Slice resources</a:t>
            </a:r>
          </a:p>
        </p:txBody>
      </p:sp>
      <p:sp>
        <p:nvSpPr>
          <p:cNvPr id="10" name="Right Brace 9">
            <a:extLst>
              <a:ext uri="{FF2B5EF4-FFF2-40B4-BE49-F238E27FC236}">
                <a16:creationId xmlns:a16="http://schemas.microsoft.com/office/drawing/2014/main" id="{342397F5-A338-4C5C-8FA2-162186BAC28B}"/>
              </a:ext>
            </a:extLst>
          </p:cNvPr>
          <p:cNvSpPr/>
          <p:nvPr/>
        </p:nvSpPr>
        <p:spPr bwMode="auto">
          <a:xfrm>
            <a:off x="10037233" y="1933574"/>
            <a:ext cx="546410" cy="1444627"/>
          </a:xfrm>
          <a:prstGeom prst="rightBrace">
            <a:avLst>
              <a:gd name="adj1" fmla="val 8333"/>
              <a:gd name="adj2" fmla="val 18938"/>
            </a:avLst>
          </a:prstGeom>
          <a:solidFill>
            <a:schemeClr val="accent2">
              <a:lumMod val="60000"/>
              <a:lumOff val="40000"/>
            </a:schemeClr>
          </a:solidFill>
          <a:ln w="12700" cap="flat" cmpd="sng" algn="ctr">
            <a:solidFill>
              <a:schemeClr val="tx1"/>
            </a:solidFill>
            <a:prstDash val="solid"/>
            <a:round/>
            <a:headEnd type="none" w="med" len="med"/>
            <a:tailEnd type="none"/>
          </a:ln>
          <a:effectLst/>
        </p:spPr>
        <p:txBody>
          <a:bodyPr rtlCol="0" anchor="ctr"/>
          <a:lstStyle/>
          <a:p>
            <a:pPr algn="ctr"/>
            <a:endParaRPr lang="sv-SE"/>
          </a:p>
        </p:txBody>
      </p:sp>
      <p:sp>
        <p:nvSpPr>
          <p:cNvPr id="11" name="TextBox 10">
            <a:extLst>
              <a:ext uri="{FF2B5EF4-FFF2-40B4-BE49-F238E27FC236}">
                <a16:creationId xmlns:a16="http://schemas.microsoft.com/office/drawing/2014/main" id="{4D987AB9-F2DA-45C6-B653-560A2EEA1661}"/>
              </a:ext>
            </a:extLst>
          </p:cNvPr>
          <p:cNvSpPr txBox="1"/>
          <p:nvPr/>
        </p:nvSpPr>
        <p:spPr bwMode="auto">
          <a:xfrm>
            <a:off x="10594692" y="1938167"/>
            <a:ext cx="1326995"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sv-SE" sz="1400"/>
              <a:t>Data source: </a:t>
            </a:r>
            <a:br>
              <a:rPr lang="sv-SE" sz="1400"/>
            </a:br>
            <a:r>
              <a:rPr lang="sv-SE" sz="1400"/>
              <a:t>AMF/SMF NFs</a:t>
            </a:r>
            <a:br>
              <a:rPr lang="sv-SE" sz="1400"/>
            </a:br>
            <a:r>
              <a:rPr lang="sv-SE" sz="1400"/>
              <a:t>and AF</a:t>
            </a:r>
            <a:endParaRPr lang="sv-SE" sz="2000"/>
          </a:p>
        </p:txBody>
      </p:sp>
      <p:sp>
        <p:nvSpPr>
          <p:cNvPr id="14" name="Right Brace 13">
            <a:extLst>
              <a:ext uri="{FF2B5EF4-FFF2-40B4-BE49-F238E27FC236}">
                <a16:creationId xmlns:a16="http://schemas.microsoft.com/office/drawing/2014/main" id="{975D358A-F40D-45B8-B078-F530E14068CE}"/>
              </a:ext>
            </a:extLst>
          </p:cNvPr>
          <p:cNvSpPr/>
          <p:nvPr/>
        </p:nvSpPr>
        <p:spPr bwMode="auto">
          <a:xfrm>
            <a:off x="10037233" y="4327297"/>
            <a:ext cx="546410" cy="490236"/>
          </a:xfrm>
          <a:prstGeom prst="rightBrace">
            <a:avLst>
              <a:gd name="adj1" fmla="val 8333"/>
              <a:gd name="adj2" fmla="val 84297"/>
            </a:avLst>
          </a:prstGeom>
          <a:solidFill>
            <a:schemeClr val="accent1">
              <a:lumMod val="60000"/>
              <a:lumOff val="40000"/>
            </a:schemeClr>
          </a:solidFill>
          <a:ln w="12700" cap="flat" cmpd="sng" algn="ctr">
            <a:solidFill>
              <a:schemeClr val="tx1"/>
            </a:solidFill>
            <a:prstDash val="solid"/>
            <a:round/>
            <a:headEnd type="none" w="med" len="med"/>
            <a:tailEnd type="none"/>
          </a:ln>
          <a:effectLst/>
        </p:spPr>
        <p:txBody>
          <a:bodyPr rtlCol="0" anchor="ctr"/>
          <a:lstStyle/>
          <a:p>
            <a:pPr algn="ctr"/>
            <a:endParaRPr lang="sv-SE"/>
          </a:p>
        </p:txBody>
      </p:sp>
      <p:sp>
        <p:nvSpPr>
          <p:cNvPr id="16" name="TextBox 15">
            <a:extLst>
              <a:ext uri="{FF2B5EF4-FFF2-40B4-BE49-F238E27FC236}">
                <a16:creationId xmlns:a16="http://schemas.microsoft.com/office/drawing/2014/main" id="{0903CEE4-3CCB-4B05-A771-23FFEB928BF8}"/>
              </a:ext>
            </a:extLst>
          </p:cNvPr>
          <p:cNvSpPr txBox="1"/>
          <p:nvPr/>
        </p:nvSpPr>
        <p:spPr bwMode="auto">
          <a:xfrm>
            <a:off x="10583642" y="4336142"/>
            <a:ext cx="1326995"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buClr>
                <a:schemeClr val="tx1"/>
              </a:buClr>
            </a:pPr>
            <a:r>
              <a:rPr lang="sv-SE" sz="1400"/>
              <a:t>Data source: </a:t>
            </a:r>
            <a:br>
              <a:rPr lang="sv-SE" sz="1400"/>
            </a:br>
            <a:r>
              <a:rPr lang="sv-SE" sz="1400"/>
              <a:t>RAN via OAM </a:t>
            </a:r>
            <a:br>
              <a:rPr lang="sv-SE" sz="1400"/>
            </a:br>
            <a:r>
              <a:rPr lang="sv-SE" sz="1400"/>
              <a:t>and partly</a:t>
            </a:r>
            <a:br>
              <a:rPr lang="sv-SE" sz="1400"/>
            </a:br>
            <a:r>
              <a:rPr lang="sv-SE" sz="1400"/>
              <a:t>AMF/SMF NFs</a:t>
            </a:r>
            <a:endParaRPr lang="sv-SE" sz="2000"/>
          </a:p>
        </p:txBody>
      </p:sp>
      <p:sp>
        <p:nvSpPr>
          <p:cNvPr id="18" name="Right Brace 17">
            <a:extLst>
              <a:ext uri="{FF2B5EF4-FFF2-40B4-BE49-F238E27FC236}">
                <a16:creationId xmlns:a16="http://schemas.microsoft.com/office/drawing/2014/main" id="{368BD0FB-9921-48D1-B94F-EA3D428BF64C}"/>
              </a:ext>
            </a:extLst>
          </p:cNvPr>
          <p:cNvSpPr/>
          <p:nvPr/>
        </p:nvSpPr>
        <p:spPr bwMode="auto">
          <a:xfrm>
            <a:off x="10037233" y="3386382"/>
            <a:ext cx="546410" cy="940913"/>
          </a:xfrm>
          <a:prstGeom prst="rightBrace">
            <a:avLst>
              <a:gd name="adj1" fmla="val 8333"/>
              <a:gd name="adj2" fmla="val 22885"/>
            </a:avLst>
          </a:prstGeom>
          <a:solidFill>
            <a:schemeClr val="accent4">
              <a:lumMod val="60000"/>
              <a:lumOff val="40000"/>
            </a:schemeClr>
          </a:solidFill>
          <a:ln w="12700" cap="flat" cmpd="sng" algn="ctr">
            <a:solidFill>
              <a:schemeClr val="tx1"/>
            </a:solidFill>
            <a:prstDash val="solid"/>
            <a:round/>
            <a:headEnd type="none" w="med" len="med"/>
            <a:tailEnd type="none"/>
          </a:ln>
          <a:effectLst/>
        </p:spPr>
        <p:txBody>
          <a:bodyPr rtlCol="0" anchor="ctr"/>
          <a:lstStyle/>
          <a:p>
            <a:pPr algn="ctr"/>
            <a:endParaRPr lang="sv-SE"/>
          </a:p>
        </p:txBody>
      </p:sp>
      <p:sp>
        <p:nvSpPr>
          <p:cNvPr id="19" name="TextBox 18">
            <a:extLst>
              <a:ext uri="{FF2B5EF4-FFF2-40B4-BE49-F238E27FC236}">
                <a16:creationId xmlns:a16="http://schemas.microsoft.com/office/drawing/2014/main" id="{063EF43C-4BA0-47DD-AB9C-A8EB0F85082A}"/>
              </a:ext>
            </a:extLst>
          </p:cNvPr>
          <p:cNvSpPr txBox="1"/>
          <p:nvPr/>
        </p:nvSpPr>
        <p:spPr bwMode="auto">
          <a:xfrm>
            <a:off x="10583643" y="3384340"/>
            <a:ext cx="1326995"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buClr>
                <a:schemeClr val="tx1"/>
              </a:buClr>
            </a:pPr>
            <a:r>
              <a:rPr lang="sv-SE" sz="1400"/>
              <a:t>Data source: </a:t>
            </a:r>
            <a:br>
              <a:rPr lang="sv-SE" sz="1400"/>
            </a:br>
            <a:r>
              <a:rPr lang="sv-SE" sz="1400"/>
              <a:t>RAN via OAM </a:t>
            </a:r>
            <a:br>
              <a:rPr lang="sv-SE" sz="1400"/>
            </a:br>
            <a:r>
              <a:rPr lang="sv-SE" sz="1400"/>
              <a:t>and/or</a:t>
            </a:r>
            <a:br>
              <a:rPr lang="sv-SE" sz="1400"/>
            </a:br>
            <a:r>
              <a:rPr lang="sv-SE" sz="1400"/>
              <a:t>AMF/SMF NFs</a:t>
            </a:r>
          </a:p>
        </p:txBody>
      </p:sp>
    </p:spTree>
    <p:extLst>
      <p:ext uri="{BB962C8B-B14F-4D97-AF65-F5344CB8AC3E}">
        <p14:creationId xmlns:p14="http://schemas.microsoft.com/office/powerpoint/2010/main" val="1850603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3" grpId="0" animBg="1"/>
      <p:bldP spid="12" grpId="0" animBg="1"/>
      <p:bldP spid="10" grpId="0" animBg="1"/>
      <p:bldP spid="11" grpId="0"/>
      <p:bldP spid="14" grpId="0" animBg="1"/>
      <p:bldP spid="16" grpId="0"/>
      <p:bldP spid="18" grpId="0" animBg="1"/>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CC6D44B-BF84-4598-986D-06C5197798B7}"/>
              </a:ext>
            </a:extLst>
          </p:cNvPr>
          <p:cNvPicPr>
            <a:picLocks noChangeAspect="1"/>
          </p:cNvPicPr>
          <p:nvPr/>
        </p:nvPicPr>
        <p:blipFill>
          <a:blip r:embed="rId4"/>
          <a:stretch>
            <a:fillRect/>
          </a:stretch>
        </p:blipFill>
        <p:spPr>
          <a:xfrm>
            <a:off x="6293403" y="3131453"/>
            <a:ext cx="5499252" cy="2679123"/>
          </a:xfrm>
          <a:prstGeom prst="rect">
            <a:avLst/>
          </a:prstGeom>
        </p:spPr>
      </p:pic>
      <p:sp>
        <p:nvSpPr>
          <p:cNvPr id="3" name="Title 2"/>
          <p:cNvSpPr>
            <a:spLocks noGrp="1"/>
          </p:cNvSpPr>
          <p:nvPr>
            <p:ph type="title"/>
          </p:nvPr>
        </p:nvSpPr>
        <p:spPr/>
        <p:txBody>
          <a:bodyPr/>
          <a:lstStyle/>
          <a:p>
            <a:r>
              <a:rPr lang="en-GB"/>
              <a:t>5GC system architecture</a:t>
            </a:r>
            <a:br>
              <a:rPr lang="en-GB"/>
            </a:br>
            <a:r>
              <a:rPr lang="en-GB" sz="2400">
                <a:latin typeface="+mn-lt"/>
              </a:rPr>
              <a:t>3GPP TS 23.501 V15.6.0 (2019-06)</a:t>
            </a:r>
            <a:r>
              <a:rPr lang="en-US" sz="2400">
                <a:latin typeface="+mn-lt"/>
              </a:rPr>
              <a:t> </a:t>
            </a:r>
          </a:p>
        </p:txBody>
      </p:sp>
      <p:sp>
        <p:nvSpPr>
          <p:cNvPr id="2" name="Content Placeholder 1"/>
          <p:cNvSpPr>
            <a:spLocks noGrp="1"/>
          </p:cNvSpPr>
          <p:nvPr>
            <p:ph sz="quarter" idx="4294967295"/>
          </p:nvPr>
        </p:nvSpPr>
        <p:spPr>
          <a:xfrm>
            <a:off x="6293402" y="2256632"/>
            <a:ext cx="5467350" cy="3498850"/>
          </a:xfrm>
          <a:ln>
            <a:noFill/>
          </a:ln>
        </p:spPr>
        <p:txBody>
          <a:bodyPr/>
          <a:lstStyle/>
          <a:p>
            <a:pPr marL="0" indent="0">
              <a:buNone/>
            </a:pPr>
            <a:r>
              <a:rPr lang="en-US" sz="1800"/>
              <a:t>R</a:t>
            </a:r>
            <a:r>
              <a:rPr lang="x-none" sz="1800"/>
              <a:t>eference point representation</a:t>
            </a:r>
            <a:r>
              <a:rPr lang="en-US" sz="1800"/>
              <a:t>. </a:t>
            </a:r>
            <a:br>
              <a:rPr lang="en-US" sz="1600"/>
            </a:br>
            <a:r>
              <a:rPr lang="en-US" sz="1200"/>
              <a:t>shows the </a:t>
            </a:r>
            <a:r>
              <a:rPr lang="en-US" sz="1200" b="1" i="1"/>
              <a:t>interaction that exist between the NF services </a:t>
            </a:r>
            <a:r>
              <a:rPr lang="en-US" sz="1200"/>
              <a:t>in the network functions described by point-to-point reference point (e.g. N11) between any two network functions (e.g. AMF and SMF).</a:t>
            </a:r>
          </a:p>
        </p:txBody>
      </p:sp>
      <p:sp>
        <p:nvSpPr>
          <p:cNvPr id="4" name="Content Placeholder 3"/>
          <p:cNvSpPr>
            <a:spLocks noGrp="1"/>
          </p:cNvSpPr>
          <p:nvPr>
            <p:ph sz="half" idx="4294967295"/>
          </p:nvPr>
        </p:nvSpPr>
        <p:spPr>
          <a:xfrm>
            <a:off x="479424" y="2256632"/>
            <a:ext cx="5464175" cy="3497262"/>
          </a:xfrm>
          <a:ln>
            <a:noFill/>
          </a:ln>
        </p:spPr>
        <p:txBody>
          <a:bodyPr/>
          <a:lstStyle/>
          <a:p>
            <a:pPr marL="0" indent="0">
              <a:buNone/>
            </a:pPr>
            <a:r>
              <a:rPr lang="en-US" sz="1800"/>
              <a:t>S</a:t>
            </a:r>
            <a:r>
              <a:rPr lang="x-none" sz="1800"/>
              <a:t>ervice-based representation, </a:t>
            </a:r>
            <a:br>
              <a:rPr lang="en-US" sz="1600"/>
            </a:br>
            <a:r>
              <a:rPr lang="x-none" sz="1200"/>
              <a:t>where network functions (e.g. AMF) within the control plane </a:t>
            </a:r>
            <a:r>
              <a:rPr lang="x-none" sz="1200" b="1"/>
              <a:t>enables other authorized network functions to access their services </a:t>
            </a:r>
            <a:endParaRPr lang="en-US" sz="1200" b="1"/>
          </a:p>
        </p:txBody>
      </p:sp>
      <p:sp>
        <p:nvSpPr>
          <p:cNvPr id="7" name="Rectangle 4"/>
          <p:cNvSpPr>
            <a:spLocks noChangeArrowheads="1"/>
          </p:cNvSpPr>
          <p:nvPr/>
        </p:nvSpPr>
        <p:spPr bwMode="auto">
          <a:xfrm>
            <a:off x="5537200" y="2235200"/>
            <a:ext cx="12192000" cy="0"/>
          </a:xfrm>
          <a:prstGeom prst="rect">
            <a:avLst/>
          </a:prstGeom>
          <a:solidFill>
            <a:schemeClr val="bg1"/>
          </a:solidFill>
          <a:ln>
            <a:noFill/>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TextBox 8"/>
          <p:cNvSpPr txBox="1"/>
          <p:nvPr/>
        </p:nvSpPr>
        <p:spPr>
          <a:xfrm>
            <a:off x="533400" y="5865660"/>
            <a:ext cx="4347210" cy="700192"/>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Authentication Server Function (AUS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Core Access and Mobility Management Function (AM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Data network (DN), e.g. operator services, Internet access or 3rd party services</a:t>
            </a:r>
            <a:endParaRPr lang="sv-SE" sz="800" kern="0">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sv-SE" sz="800" b="0" i="0" u="none" strike="noStrike" kern="0" cap="none" spc="0" normalizeH="0" baseline="0" noProof="0">
                <a:ln>
                  <a:noFill/>
                </a:ln>
                <a:effectLst/>
                <a:uLnTx/>
                <a:uFillTx/>
                <a:latin typeface="+mn-lt"/>
              </a:rPr>
              <a:t>Network Slice </a:t>
            </a:r>
            <a:r>
              <a:rPr kumimoji="0" lang="sv-SE" sz="800" b="0" i="0" u="none" strike="noStrike" kern="0" cap="none" spc="0" normalizeH="0" baseline="0" noProof="0" err="1">
                <a:ln>
                  <a:noFill/>
                </a:ln>
                <a:effectLst/>
                <a:uLnTx/>
                <a:uFillTx/>
                <a:latin typeface="+mn-lt"/>
              </a:rPr>
              <a:t>Selection</a:t>
            </a:r>
            <a:r>
              <a:rPr kumimoji="0" lang="sv-SE" sz="800" b="0" i="0" u="none" strike="noStrike" kern="0" cap="none" spc="0" normalizeH="0" baseline="0" noProof="0">
                <a:ln>
                  <a:noFill/>
                </a:ln>
                <a:effectLst/>
                <a:uLnTx/>
                <a:uFillTx/>
                <a:latin typeface="+mn-lt"/>
              </a:rPr>
              <a:t> </a:t>
            </a:r>
            <a:r>
              <a:rPr kumimoji="0" lang="sv-SE" sz="800" b="0" i="0" u="none" strike="noStrike" kern="0" cap="none" spc="0" normalizeH="0" baseline="0" noProof="0" err="1">
                <a:ln>
                  <a:noFill/>
                </a:ln>
                <a:effectLst/>
                <a:uLnTx/>
                <a:uFillTx/>
                <a:latin typeface="+mn-lt"/>
              </a:rPr>
              <a:t>Function</a:t>
            </a:r>
            <a:r>
              <a:rPr kumimoji="0" lang="sv-SE" sz="800" b="0" i="0" u="none" strike="noStrike" kern="0" cap="none" spc="0" normalizeH="0" baseline="0" noProof="0">
                <a:ln>
                  <a:noFill/>
                </a:ln>
                <a:effectLst/>
                <a:uLnTx/>
                <a:uFillTx/>
                <a:latin typeface="+mn-lt"/>
              </a:rPr>
              <a:t> (NSSF)</a:t>
            </a:r>
            <a:endParaRPr kumimoji="0" lang="en-US" sz="800" b="0" i="0" u="none" strike="noStrike" kern="0" cap="none" spc="0" normalizeH="0" baseline="0" noProof="0">
              <a:ln>
                <a:noFill/>
              </a:ln>
              <a:effectLst/>
              <a:uLnTx/>
              <a:uFillTx/>
              <a:latin typeface="+mn-lt"/>
            </a:endParaRPr>
          </a:p>
        </p:txBody>
      </p:sp>
      <p:sp>
        <p:nvSpPr>
          <p:cNvPr id="11" name="TextBox 10"/>
          <p:cNvSpPr txBox="1"/>
          <p:nvPr/>
        </p:nvSpPr>
        <p:spPr>
          <a:xfrm>
            <a:off x="4869732" y="5839373"/>
            <a:ext cx="2683510" cy="538609"/>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Network Exposure Function (NE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NF Repository Function (NR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Policy Control function (PCF)</a:t>
            </a:r>
            <a:endParaRPr kumimoji="0" lang="en-US" sz="800" b="0" i="0" u="none" strike="noStrike" kern="0" cap="none" spc="0" normalizeH="0" baseline="0" noProof="0">
              <a:ln>
                <a:noFill/>
              </a:ln>
              <a:effectLst/>
              <a:uLnTx/>
              <a:uFillTx/>
              <a:latin typeface="+mn-lt"/>
            </a:endParaRPr>
          </a:p>
        </p:txBody>
      </p:sp>
      <p:sp>
        <p:nvSpPr>
          <p:cNvPr id="12" name="TextBox 11"/>
          <p:cNvSpPr txBox="1"/>
          <p:nvPr/>
        </p:nvSpPr>
        <p:spPr>
          <a:xfrm>
            <a:off x="8086182" y="5865660"/>
            <a:ext cx="3343275" cy="861774"/>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Session Management Function (SM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Unified Data Management (UDM)</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User plane Function (UP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Application Function (AF)</a:t>
            </a:r>
            <a:endParaRPr kumimoji="0" lang="en-US" sz="800" b="0" i="0" u="none" strike="noStrike" kern="0" cap="none" spc="0" normalizeH="0" baseline="0" noProof="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a:ln>
                  <a:noFill/>
                </a:ln>
                <a:effectLst/>
                <a:uLnTx/>
                <a:uFillTx/>
                <a:latin typeface="+mn-lt"/>
              </a:rPr>
              <a:t>User Equipment (UE)</a:t>
            </a:r>
            <a:endParaRPr kumimoji="0" lang="en-US" sz="800" b="0" i="0" u="none" strike="noStrike" kern="0" cap="none" spc="0" normalizeH="0" baseline="0" noProof="0">
              <a:ln>
                <a:noFill/>
              </a:ln>
              <a:effectLst/>
              <a:uLnTx/>
              <a:uFillTx/>
              <a:latin typeface="+mn-lt"/>
            </a:endParaRPr>
          </a:p>
        </p:txBody>
      </p:sp>
      <p:sp>
        <p:nvSpPr>
          <p:cNvPr id="13" name="TextBox 12"/>
          <p:cNvSpPr txBox="1"/>
          <p:nvPr/>
        </p:nvSpPr>
        <p:spPr>
          <a:xfrm>
            <a:off x="453464" y="1333302"/>
            <a:ext cx="11231024"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a:latin typeface="+mn-lt"/>
              </a:rPr>
              <a:t>The 5GC architecture is defined as service-based and the interaction between network functions is represented in two ways. Network functions within the 5GC Control Plane shall only use service-based interfaces for their interactions.</a:t>
            </a:r>
            <a:endParaRPr kumimoji="0" lang="en-US" sz="1800" b="0" i="0" u="none" strike="noStrike" kern="0" cap="none" spc="0" normalizeH="0" baseline="0" noProof="0">
              <a:ln>
                <a:noFill/>
              </a:ln>
              <a:effectLst/>
              <a:uLnTx/>
              <a:uFillTx/>
              <a:latin typeface="+mn-lt"/>
            </a:endParaRPr>
          </a:p>
        </p:txBody>
      </p:sp>
      <p:graphicFrame>
        <p:nvGraphicFramePr>
          <p:cNvPr id="15" name="Object 14">
            <a:extLst>
              <a:ext uri="{FF2B5EF4-FFF2-40B4-BE49-F238E27FC236}">
                <a16:creationId xmlns:a16="http://schemas.microsoft.com/office/drawing/2014/main" id="{88594891-01C5-4808-BE03-AD424D33E262}"/>
              </a:ext>
            </a:extLst>
          </p:cNvPr>
          <p:cNvGraphicFramePr>
            <a:graphicFrameLocks noChangeAspect="1"/>
          </p:cNvGraphicFramePr>
          <p:nvPr>
            <p:extLst>
              <p:ext uri="{D42A27DB-BD31-4B8C-83A1-F6EECF244321}">
                <p14:modId xmlns:p14="http://schemas.microsoft.com/office/powerpoint/2010/main" val="3738118763"/>
              </p:ext>
            </p:extLst>
          </p:nvPr>
        </p:nvGraphicFramePr>
        <p:xfrm>
          <a:off x="643760" y="3109557"/>
          <a:ext cx="5018247" cy="2564336"/>
        </p:xfrm>
        <a:graphic>
          <a:graphicData uri="http://schemas.openxmlformats.org/presentationml/2006/ole">
            <mc:AlternateContent xmlns:mc="http://schemas.openxmlformats.org/markup-compatibility/2006">
              <mc:Choice xmlns:v="urn:schemas-microsoft-com:vml" Requires="v">
                <p:oleObj spid="_x0000_s2052" name="Visio" r:id="rId5" imgW="3895857" imgH="1990710" progId="Visio.Drawing.11">
                  <p:embed/>
                </p:oleObj>
              </mc:Choice>
              <mc:Fallback>
                <p:oleObj name="Visio" r:id="rId5" imgW="3895857" imgH="1990710" progId="Visio.Drawing.11">
                  <p:embed/>
                  <p:pic>
                    <p:nvPicPr>
                      <p:cNvPr id="15" name="Object 14">
                        <a:extLst>
                          <a:ext uri="{FF2B5EF4-FFF2-40B4-BE49-F238E27FC236}">
                            <a16:creationId xmlns:a16="http://schemas.microsoft.com/office/drawing/2014/main" id="{88594891-01C5-4808-BE03-AD424D33E2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760" y="3109557"/>
                        <a:ext cx="5018247" cy="2564336"/>
                      </a:xfrm>
                      <a:prstGeom prst="rect">
                        <a:avLst/>
                      </a:prstGeom>
                      <a:noFill/>
                    </p:spPr>
                  </p:pic>
                </p:oleObj>
              </mc:Fallback>
            </mc:AlternateContent>
          </a:graphicData>
        </a:graphic>
      </p:graphicFrame>
    </p:spTree>
    <p:extLst>
      <p:ext uri="{BB962C8B-B14F-4D97-AF65-F5344CB8AC3E}">
        <p14:creationId xmlns:p14="http://schemas.microsoft.com/office/powerpoint/2010/main" val="23654901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8161B-1162-4328-AB89-EDDF9EF783E2}"/>
              </a:ext>
            </a:extLst>
          </p:cNvPr>
          <p:cNvSpPr>
            <a:spLocks noGrp="1"/>
          </p:cNvSpPr>
          <p:nvPr>
            <p:ph type="title"/>
          </p:nvPr>
        </p:nvSpPr>
        <p:spPr>
          <a:xfrm>
            <a:off x="479425" y="476250"/>
            <a:ext cx="10777460" cy="1081088"/>
          </a:xfrm>
        </p:spPr>
        <p:txBody>
          <a:bodyPr/>
          <a:lstStyle/>
          <a:p>
            <a:r>
              <a:rPr lang="en-US"/>
              <a:t>Enhanced Network Analytics</a:t>
            </a:r>
            <a:br>
              <a:rPr lang="en-US" sz="2800"/>
            </a:br>
            <a:r>
              <a:rPr lang="en-US" sz="2800" err="1"/>
              <a:t>Analytics</a:t>
            </a:r>
            <a:r>
              <a:rPr lang="en-US" sz="2800"/>
              <a:t> ID</a:t>
            </a:r>
          </a:p>
        </p:txBody>
      </p:sp>
      <p:sp>
        <p:nvSpPr>
          <p:cNvPr id="3" name="Content Placeholder 2">
            <a:extLst>
              <a:ext uri="{FF2B5EF4-FFF2-40B4-BE49-F238E27FC236}">
                <a16:creationId xmlns:a16="http://schemas.microsoft.com/office/drawing/2014/main" id="{1605F380-BD71-4D48-9D7E-B1FDB04AB619}"/>
              </a:ext>
            </a:extLst>
          </p:cNvPr>
          <p:cNvSpPr>
            <a:spLocks noGrp="1"/>
          </p:cNvSpPr>
          <p:nvPr>
            <p:ph sz="quarter" idx="10"/>
          </p:nvPr>
        </p:nvSpPr>
        <p:spPr>
          <a:xfrm>
            <a:off x="381770" y="1481959"/>
            <a:ext cx="5237794" cy="4642394"/>
          </a:xfrm>
        </p:spPr>
        <p:txBody>
          <a:bodyPr/>
          <a:lstStyle/>
          <a:p>
            <a:r>
              <a:rPr lang="en-US" sz="1800" b="1" kern="1200">
                <a:solidFill>
                  <a:schemeClr val="accent1"/>
                </a:solidFill>
              </a:rPr>
              <a:t>Analytics Ids </a:t>
            </a:r>
            <a:r>
              <a:rPr lang="en-US"/>
              <a:t>and related </a:t>
            </a:r>
            <a:r>
              <a:rPr lang="en-US" sz="1800" b="1" kern="1200">
                <a:solidFill>
                  <a:schemeClr val="accent1"/>
                </a:solidFill>
              </a:rPr>
              <a:t>procedures</a:t>
            </a:r>
            <a:r>
              <a:rPr lang="en-US"/>
              <a:t> in 23.288. </a:t>
            </a:r>
          </a:p>
          <a:p>
            <a:pPr lvl="1"/>
            <a:r>
              <a:rPr lang="en-US"/>
              <a:t>Analytics are statistics or predictions</a:t>
            </a:r>
          </a:p>
          <a:p>
            <a:pPr lvl="1"/>
            <a:r>
              <a:rPr lang="en-US"/>
              <a:t>For each Analytics ID,  it is defined:</a:t>
            </a:r>
          </a:p>
          <a:p>
            <a:pPr lvl="2"/>
            <a:r>
              <a:rPr lang="en-US" sz="1800"/>
              <a:t>Which input data NWDAF consumes and sources of this data.</a:t>
            </a:r>
          </a:p>
          <a:p>
            <a:pPr lvl="2"/>
            <a:r>
              <a:rPr lang="en-US" sz="1800"/>
              <a:t>Which Analytics Information is provided.</a:t>
            </a:r>
          </a:p>
          <a:p>
            <a:pPr lvl="2"/>
            <a:r>
              <a:rPr lang="en-US" sz="1800"/>
              <a:t>A procedure to enable a consumer to requests an Analytics Id, including the interaction between NWDAF and the NFs or OAM APIs providing input data.</a:t>
            </a:r>
          </a:p>
          <a:p>
            <a:r>
              <a:rPr lang="en-US"/>
              <a:t>How the consumer uses an Analytics Id is defined in 23.501 or 23.503 or in OAM by SA5.</a:t>
            </a:r>
          </a:p>
          <a:p>
            <a:pPr marL="0" indent="0">
              <a:buNone/>
            </a:pPr>
            <a:endParaRPr lang="en-US"/>
          </a:p>
        </p:txBody>
      </p:sp>
      <p:graphicFrame>
        <p:nvGraphicFramePr>
          <p:cNvPr id="4" name="Table 3">
            <a:extLst>
              <a:ext uri="{FF2B5EF4-FFF2-40B4-BE49-F238E27FC236}">
                <a16:creationId xmlns:a16="http://schemas.microsoft.com/office/drawing/2014/main" id="{CC83DCBD-AC41-4BEB-8599-8F17AF9839B5}"/>
              </a:ext>
            </a:extLst>
          </p:cNvPr>
          <p:cNvGraphicFramePr>
            <a:graphicFrameLocks noGrp="1"/>
          </p:cNvGraphicFramePr>
          <p:nvPr/>
        </p:nvGraphicFramePr>
        <p:xfrm>
          <a:off x="5868155" y="1154796"/>
          <a:ext cx="6252808" cy="5372100"/>
        </p:xfrm>
        <a:graphic>
          <a:graphicData uri="http://schemas.openxmlformats.org/drawingml/2006/table">
            <a:tbl>
              <a:tblPr firstRow="1" firstCol="1" bandRow="1">
                <a:tableStyleId>{C4B1156A-380E-4F78-BDF5-A606A8083BF9}</a:tableStyleId>
              </a:tblPr>
              <a:tblGrid>
                <a:gridCol w="2550133">
                  <a:extLst>
                    <a:ext uri="{9D8B030D-6E8A-4147-A177-3AD203B41FA5}">
                      <a16:colId xmlns:a16="http://schemas.microsoft.com/office/drawing/2014/main" val="2383413898"/>
                    </a:ext>
                  </a:extLst>
                </a:gridCol>
                <a:gridCol w="1269670">
                  <a:extLst>
                    <a:ext uri="{9D8B030D-6E8A-4147-A177-3AD203B41FA5}">
                      <a16:colId xmlns:a16="http://schemas.microsoft.com/office/drawing/2014/main" val="231660440"/>
                    </a:ext>
                  </a:extLst>
                </a:gridCol>
                <a:gridCol w="2433005">
                  <a:extLst>
                    <a:ext uri="{9D8B030D-6E8A-4147-A177-3AD203B41FA5}">
                      <a16:colId xmlns:a16="http://schemas.microsoft.com/office/drawing/2014/main" val="1077739089"/>
                    </a:ext>
                  </a:extLst>
                </a:gridCol>
              </a:tblGrid>
              <a:tr h="137160">
                <a:tc>
                  <a:txBody>
                    <a:bodyPr/>
                    <a:lstStyle/>
                    <a:p>
                      <a:pPr algn="ctr">
                        <a:spcAft>
                          <a:spcPts val="0"/>
                        </a:spcAft>
                      </a:pPr>
                      <a:r>
                        <a:rPr lang="en-GB" sz="1050">
                          <a:effectLst/>
                        </a:rPr>
                        <a:t>Analytics Information</a:t>
                      </a:r>
                      <a:endParaRPr lang="en-US" sz="105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Request Description</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Response Description</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65866473"/>
                  </a:ext>
                </a:extLst>
              </a:tr>
              <a:tr h="274320">
                <a:tc>
                  <a:txBody>
                    <a:bodyPr/>
                    <a:lstStyle/>
                    <a:p>
                      <a:pPr>
                        <a:spcAft>
                          <a:spcPts val="0"/>
                        </a:spcAft>
                      </a:pPr>
                      <a:r>
                        <a:rPr lang="en-GB" sz="1050">
                          <a:solidFill>
                            <a:srgbClr val="00B0F0"/>
                          </a:solidFill>
                          <a:effectLst/>
                        </a:rPr>
                        <a:t>Slice Load level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load level information</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Requested Analytics data, including load level information of Network Slice instance(s).</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16158637"/>
                  </a:ext>
                </a:extLst>
              </a:tr>
              <a:tr h="411480">
                <a:tc>
                  <a:txBody>
                    <a:bodyPr/>
                    <a:lstStyle/>
                    <a:p>
                      <a:pPr>
                        <a:spcAft>
                          <a:spcPts val="0"/>
                        </a:spcAft>
                      </a:pPr>
                      <a:r>
                        <a:rPr lang="en-GB" sz="1050">
                          <a:solidFill>
                            <a:srgbClr val="00B0F0"/>
                          </a:solidFill>
                          <a:effectLst/>
                        </a:rPr>
                        <a:t>Observed Service experience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Service Experience</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Observed Service experience may be provided, individually per UE or clustered per UE subsets in the case of group of UEs, or globally, averaged per Application or averaged across a set of Applications on a Network Slice.</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875038430"/>
                  </a:ext>
                </a:extLst>
              </a:tr>
              <a:tr h="274320">
                <a:tc>
                  <a:txBody>
                    <a:bodyPr/>
                    <a:lstStyle/>
                    <a:p>
                      <a:pPr>
                        <a:spcAft>
                          <a:spcPts val="0"/>
                        </a:spcAft>
                      </a:pPr>
                      <a:r>
                        <a:rPr lang="en-GB" sz="1050">
                          <a:solidFill>
                            <a:srgbClr val="00B0F0"/>
                          </a:solidFill>
                          <a:effectLst/>
                        </a:rPr>
                        <a:t>NF Load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NF load information</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Load statistics or predictions information for specific NF(s).</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889378369"/>
                  </a:ext>
                </a:extLst>
              </a:tr>
              <a:tr h="411480">
                <a:tc>
                  <a:txBody>
                    <a:bodyPr/>
                    <a:lstStyle/>
                    <a:p>
                      <a:pPr>
                        <a:spcAft>
                          <a:spcPts val="0"/>
                        </a:spcAft>
                      </a:pPr>
                      <a:r>
                        <a:rPr lang="en-GB" sz="1050">
                          <a:solidFill>
                            <a:srgbClr val="00B0F0"/>
                          </a:solidFill>
                          <a:effectLst/>
                        </a:rPr>
                        <a:t>Network Performance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Network Performance</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Statistics or predictions on the load in an Area of Interest; in addition, statistics or predictions on the number of UEs that are located in that Area of Interest.</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776048423"/>
                  </a:ext>
                </a:extLst>
              </a:tr>
              <a:tr h="274320">
                <a:tc>
                  <a:txBody>
                    <a:bodyPr/>
                    <a:lstStyle/>
                    <a:p>
                      <a:pPr>
                        <a:spcAft>
                          <a:spcPts val="0"/>
                        </a:spcAft>
                      </a:pPr>
                      <a:r>
                        <a:rPr lang="en-GB" sz="1050">
                          <a:solidFill>
                            <a:srgbClr val="00B0F0"/>
                          </a:solidFill>
                          <a:effectLst/>
                        </a:rPr>
                        <a:t>UE mobility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UE Mobility</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Statistics or predictions on UE mobility.</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34655777"/>
                  </a:ext>
                </a:extLst>
              </a:tr>
              <a:tr h="274320">
                <a:tc>
                  <a:txBody>
                    <a:bodyPr/>
                    <a:lstStyle/>
                    <a:p>
                      <a:pPr>
                        <a:spcAft>
                          <a:spcPts val="0"/>
                        </a:spcAft>
                      </a:pPr>
                      <a:r>
                        <a:rPr lang="en-GB" sz="1050">
                          <a:solidFill>
                            <a:srgbClr val="00B0F0"/>
                          </a:solidFill>
                          <a:effectLst/>
                        </a:rPr>
                        <a:t>UE Communication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UE Communication</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Statistics or predictions on UE communication.</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86361927"/>
                  </a:ext>
                </a:extLst>
              </a:tr>
              <a:tr h="137160">
                <a:tc>
                  <a:txBody>
                    <a:bodyPr/>
                    <a:lstStyle/>
                    <a:p>
                      <a:pPr>
                        <a:spcAft>
                          <a:spcPts val="0"/>
                        </a:spcAft>
                      </a:pPr>
                      <a:r>
                        <a:rPr lang="en-GB" sz="1050">
                          <a:solidFill>
                            <a:srgbClr val="00B0F0"/>
                          </a:solidFill>
                          <a:effectLst/>
                        </a:rPr>
                        <a:t>Expected UE behavioural parameters</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UE Mobility and/or UE Communication</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on UE Mobility and/or UE Communication.</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68850791"/>
                  </a:ext>
                </a:extLst>
              </a:tr>
              <a:tr h="274320">
                <a:tc>
                  <a:txBody>
                    <a:bodyPr/>
                    <a:lstStyle/>
                    <a:p>
                      <a:pPr>
                        <a:spcAft>
                          <a:spcPts val="0"/>
                        </a:spcAft>
                      </a:pPr>
                      <a:r>
                        <a:rPr lang="en-GB" sz="1050">
                          <a:solidFill>
                            <a:srgbClr val="00B0F0"/>
                          </a:solidFill>
                          <a:effectLst/>
                        </a:rPr>
                        <a:t>UE Abnormal behaviour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Abnormal behaviour</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The exception with an appropriate exception ID.</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244202209"/>
                  </a:ext>
                </a:extLst>
              </a:tr>
              <a:tr h="274320">
                <a:tc>
                  <a:txBody>
                    <a:bodyPr/>
                    <a:lstStyle/>
                    <a:p>
                      <a:pPr>
                        <a:spcAft>
                          <a:spcPts val="0"/>
                        </a:spcAft>
                      </a:pPr>
                      <a:r>
                        <a:rPr lang="en-GB" sz="1050">
                          <a:solidFill>
                            <a:srgbClr val="00B0F0"/>
                          </a:solidFill>
                          <a:effectLst/>
                        </a:rPr>
                        <a:t>User Data Congestion information</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User Data Congestion</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Statistics or predictions on the user data congestion for transfer over the user plane, for transfer over the control plane, or for both.</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55558090"/>
                  </a:ext>
                </a:extLst>
              </a:tr>
              <a:tr h="548640">
                <a:tc>
                  <a:txBody>
                    <a:bodyPr/>
                    <a:lstStyle/>
                    <a:p>
                      <a:pPr>
                        <a:spcAft>
                          <a:spcPts val="0"/>
                        </a:spcAft>
                      </a:pPr>
                      <a:r>
                        <a:rPr lang="en-GB" sz="1050">
                          <a:solidFill>
                            <a:srgbClr val="00B0F0"/>
                          </a:solidFill>
                          <a:effectLst/>
                        </a:rPr>
                        <a:t>QoS Sustainability </a:t>
                      </a:r>
                      <a:endParaRPr lang="en-US" sz="1050">
                        <a:solidFill>
                          <a:srgbClr val="00B0F0"/>
                        </a:solidFill>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Analytics ID: QoS Sustainability</a:t>
                      </a:r>
                      <a:endParaRPr lang="en-US" sz="900">
                        <a:effectLst/>
                      </a:endParaRPr>
                    </a:p>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For statistics, the information on the location and the time for the QoS change and the threshold(s) that were crossed; or,</a:t>
                      </a:r>
                      <a:endParaRPr lang="en-US" sz="900">
                        <a:effectLst/>
                      </a:endParaRPr>
                    </a:p>
                    <a:p>
                      <a:pPr>
                        <a:spcAft>
                          <a:spcPts val="0"/>
                        </a:spcAft>
                      </a:pPr>
                      <a:r>
                        <a:rPr lang="en-GB" sz="900">
                          <a:effectLst/>
                        </a:rPr>
                        <a:t>for predictions, the information on the location and the time when a potential QoS change may occur and what threshold(s) may be crossed.</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7909065"/>
                  </a:ext>
                </a:extLst>
              </a:tr>
            </a:tbl>
          </a:graphicData>
        </a:graphic>
      </p:graphicFrame>
    </p:spTree>
    <p:extLst>
      <p:ext uri="{BB962C8B-B14F-4D97-AF65-F5344CB8AC3E}">
        <p14:creationId xmlns:p14="http://schemas.microsoft.com/office/powerpoint/2010/main" val="41048412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02A520F-E382-482F-89AF-2929C3DE1422}"/>
              </a:ext>
            </a:extLst>
          </p:cNvPr>
          <p:cNvSpPr>
            <a:spLocks noGrp="1"/>
          </p:cNvSpPr>
          <p:nvPr>
            <p:ph sz="quarter" idx="3"/>
          </p:nvPr>
        </p:nvSpPr>
        <p:spPr/>
        <p:txBody>
          <a:bodyPr/>
          <a:lstStyle/>
          <a:p>
            <a:r>
              <a:rPr lang="en-US" b="1" kern="1200">
                <a:solidFill>
                  <a:schemeClr val="accent1"/>
                </a:solidFill>
              </a:rPr>
              <a:t>How NWDAF finds a NF serving the UE</a:t>
            </a:r>
          </a:p>
          <a:p>
            <a:pPr lvl="1"/>
            <a:r>
              <a:rPr lang="en-US"/>
              <a:t>NWDAF discovers the NF serving a UE, to retrieve input data using the existing procedures in 23.502, described in the table below:</a:t>
            </a:r>
          </a:p>
          <a:p>
            <a:pPr lvl="1"/>
            <a:endParaRPr lang="en-US" b="1" kern="1200">
              <a:solidFill>
                <a:schemeClr val="accent1"/>
              </a:solidFill>
            </a:endParaRPr>
          </a:p>
        </p:txBody>
      </p:sp>
      <p:sp>
        <p:nvSpPr>
          <p:cNvPr id="3" name="Content Placeholder 2">
            <a:extLst>
              <a:ext uri="{FF2B5EF4-FFF2-40B4-BE49-F238E27FC236}">
                <a16:creationId xmlns:a16="http://schemas.microsoft.com/office/drawing/2014/main" id="{C9599E10-208E-4277-9F11-CAA2F0EBF417}"/>
              </a:ext>
            </a:extLst>
          </p:cNvPr>
          <p:cNvSpPr>
            <a:spLocks noGrp="1"/>
          </p:cNvSpPr>
          <p:nvPr>
            <p:ph sz="half" idx="1"/>
          </p:nvPr>
        </p:nvSpPr>
        <p:spPr/>
        <p:txBody>
          <a:bodyPr/>
          <a:lstStyle/>
          <a:p>
            <a:r>
              <a:rPr lang="en-US" b="1" kern="1200">
                <a:solidFill>
                  <a:schemeClr val="accent1"/>
                </a:solidFill>
              </a:rPr>
              <a:t>NWDAF discovery and selection</a:t>
            </a:r>
            <a:r>
              <a:rPr lang="en-US" sz="2400">
                <a:solidFill>
                  <a:srgbClr val="00B0F0"/>
                </a:solidFill>
              </a:rPr>
              <a:t>:</a:t>
            </a:r>
          </a:p>
          <a:p>
            <a:pPr lvl="1"/>
            <a:r>
              <a:rPr lang="en-GB"/>
              <a:t>Specific NWDAF deployment to provide certain Analytics ID(s) or to serve a certain area, such as a slice or a geographical area.</a:t>
            </a:r>
          </a:p>
          <a:p>
            <a:pPr lvl="1"/>
            <a:r>
              <a:rPr lang="en-US"/>
              <a:t>NWDAF discovery via NRF, or via local configuration in the consumer.</a:t>
            </a:r>
          </a:p>
        </p:txBody>
      </p:sp>
      <p:sp>
        <p:nvSpPr>
          <p:cNvPr id="4" name="Title 3">
            <a:extLst>
              <a:ext uri="{FF2B5EF4-FFF2-40B4-BE49-F238E27FC236}">
                <a16:creationId xmlns:a16="http://schemas.microsoft.com/office/drawing/2014/main" id="{042BC58E-FCB8-41CC-9B91-D06104F13ED7}"/>
              </a:ext>
            </a:extLst>
          </p:cNvPr>
          <p:cNvSpPr>
            <a:spLocks noGrp="1"/>
          </p:cNvSpPr>
          <p:nvPr>
            <p:ph type="title"/>
          </p:nvPr>
        </p:nvSpPr>
        <p:spPr/>
        <p:txBody>
          <a:bodyPr/>
          <a:lstStyle/>
          <a:p>
            <a:r>
              <a:rPr lang="en-US"/>
              <a:t>Enhanced Network Analytics</a:t>
            </a:r>
            <a:br>
              <a:rPr lang="en-US" sz="2800"/>
            </a:br>
            <a:r>
              <a:rPr lang="en-US" sz="2800"/>
              <a:t>Discovery and selection</a:t>
            </a:r>
            <a:endParaRPr lang="en-US"/>
          </a:p>
        </p:txBody>
      </p:sp>
      <p:graphicFrame>
        <p:nvGraphicFramePr>
          <p:cNvPr id="5" name="Table 4">
            <a:extLst>
              <a:ext uri="{FF2B5EF4-FFF2-40B4-BE49-F238E27FC236}">
                <a16:creationId xmlns:a16="http://schemas.microsoft.com/office/drawing/2014/main" id="{231B39E6-DE42-4D42-BA46-A6AF40A37E9B}"/>
              </a:ext>
            </a:extLst>
          </p:cNvPr>
          <p:cNvGraphicFramePr>
            <a:graphicFrameLocks noGrp="1"/>
          </p:cNvGraphicFramePr>
          <p:nvPr>
            <p:extLst>
              <p:ext uri="{D42A27DB-BD31-4B8C-83A1-F6EECF244321}">
                <p14:modId xmlns:p14="http://schemas.microsoft.com/office/powerpoint/2010/main" val="846472875"/>
              </p:ext>
            </p:extLst>
          </p:nvPr>
        </p:nvGraphicFramePr>
        <p:xfrm>
          <a:off x="6468000" y="4040980"/>
          <a:ext cx="5017037" cy="1712491"/>
        </p:xfrm>
        <a:graphic>
          <a:graphicData uri="http://schemas.openxmlformats.org/drawingml/2006/table">
            <a:tbl>
              <a:tblPr firstRow="1" firstCol="1" bandRow="1" bandCol="1">
                <a:tableStyleId>{C4B1156A-380E-4F78-BDF5-A606A8083BF9}</a:tableStyleId>
              </a:tblPr>
              <a:tblGrid>
                <a:gridCol w="1723023">
                  <a:extLst>
                    <a:ext uri="{9D8B030D-6E8A-4147-A177-3AD203B41FA5}">
                      <a16:colId xmlns:a16="http://schemas.microsoft.com/office/drawing/2014/main" val="889685364"/>
                    </a:ext>
                  </a:extLst>
                </a:gridCol>
                <a:gridCol w="1245760">
                  <a:extLst>
                    <a:ext uri="{9D8B030D-6E8A-4147-A177-3AD203B41FA5}">
                      <a16:colId xmlns:a16="http://schemas.microsoft.com/office/drawing/2014/main" val="2813586279"/>
                    </a:ext>
                  </a:extLst>
                </a:gridCol>
                <a:gridCol w="1178404">
                  <a:extLst>
                    <a:ext uri="{9D8B030D-6E8A-4147-A177-3AD203B41FA5}">
                      <a16:colId xmlns:a16="http://schemas.microsoft.com/office/drawing/2014/main" val="4041856648"/>
                    </a:ext>
                  </a:extLst>
                </a:gridCol>
                <a:gridCol w="869850">
                  <a:extLst>
                    <a:ext uri="{9D8B030D-6E8A-4147-A177-3AD203B41FA5}">
                      <a16:colId xmlns:a16="http://schemas.microsoft.com/office/drawing/2014/main" val="3569432903"/>
                    </a:ext>
                  </a:extLst>
                </a:gridCol>
              </a:tblGrid>
              <a:tr h="503948">
                <a:tc>
                  <a:txBody>
                    <a:bodyPr/>
                    <a:lstStyle/>
                    <a:p>
                      <a:pPr algn="ctr">
                        <a:spcAft>
                          <a:spcPts val="0"/>
                        </a:spcAft>
                      </a:pPr>
                      <a:r>
                        <a:rPr lang="en-GB" sz="900">
                          <a:effectLst/>
                        </a:rPr>
                        <a:t>NF instance (serving the UE) to determine</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GB" sz="900">
                          <a:effectLst/>
                        </a:rPr>
                        <a:t>NF to be contacted by NWDAF</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GB" sz="900">
                          <a:effectLst/>
                        </a:rPr>
                        <a:t>Service</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GB" sz="900">
                          <a:effectLst/>
                        </a:rPr>
                        <a:t>Reference in TS 23.502 [3]</a:t>
                      </a:r>
                      <a:endParaRPr lang="en-US" sz="9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779379313"/>
                  </a:ext>
                </a:extLst>
              </a:tr>
              <a:tr h="172649">
                <a:tc>
                  <a:txBody>
                    <a:bodyPr/>
                    <a:lstStyle/>
                    <a:p>
                      <a:pPr algn="ctr">
                        <a:spcAft>
                          <a:spcPts val="0"/>
                        </a:spcAft>
                      </a:pPr>
                      <a:r>
                        <a:rPr lang="en-GB" sz="900">
                          <a:effectLst/>
                        </a:rPr>
                        <a:t>UDM</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NR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Nnrf_NFDiscovery</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5.2.7.3</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53893915"/>
                  </a:ext>
                </a:extLst>
              </a:tr>
              <a:tr h="172649">
                <a:tc>
                  <a:txBody>
                    <a:bodyPr/>
                    <a:lstStyle/>
                    <a:p>
                      <a:pPr algn="ctr">
                        <a:spcAft>
                          <a:spcPts val="0"/>
                        </a:spcAft>
                      </a:pPr>
                      <a:r>
                        <a:rPr lang="en-GB" sz="900">
                          <a:effectLst/>
                        </a:rPr>
                        <a:t>AM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UDM</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Nudm_UECM</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5.2.3.2</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120239644"/>
                  </a:ext>
                </a:extLst>
              </a:tr>
              <a:tr h="172649">
                <a:tc>
                  <a:txBody>
                    <a:bodyPr/>
                    <a:lstStyle/>
                    <a:p>
                      <a:pPr algn="ctr">
                        <a:spcAft>
                          <a:spcPts val="0"/>
                        </a:spcAft>
                      </a:pPr>
                      <a:r>
                        <a:rPr lang="en-GB" sz="900">
                          <a:effectLst/>
                        </a:rPr>
                        <a:t>SM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UDM</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Nudm_UECM</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5.2.3.2</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61593555"/>
                  </a:ext>
                </a:extLst>
              </a:tr>
              <a:tr h="172649">
                <a:tc>
                  <a:txBody>
                    <a:bodyPr/>
                    <a:lstStyle/>
                    <a:p>
                      <a:pPr algn="ctr">
                        <a:spcAft>
                          <a:spcPts val="0"/>
                        </a:spcAft>
                      </a:pPr>
                      <a:r>
                        <a:rPr lang="en-GB" sz="900">
                          <a:effectLst/>
                        </a:rPr>
                        <a:t>BS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NR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Nnrf_NFDiscovery</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5.2.7.3</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25789810"/>
                  </a:ext>
                </a:extLst>
              </a:tr>
              <a:tr h="172649">
                <a:tc>
                  <a:txBody>
                    <a:bodyPr/>
                    <a:lstStyle/>
                    <a:p>
                      <a:pPr algn="ctr">
                        <a:spcAft>
                          <a:spcPts val="0"/>
                        </a:spcAft>
                      </a:pPr>
                      <a:r>
                        <a:rPr lang="en-GB" sz="900">
                          <a:effectLst/>
                        </a:rPr>
                        <a:t>PC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BS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Nbsf_Management</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5.2.13.2</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30640028"/>
                  </a:ext>
                </a:extLst>
              </a:tr>
              <a:tr h="172649">
                <a:tc>
                  <a:txBody>
                    <a:bodyPr/>
                    <a:lstStyle/>
                    <a:p>
                      <a:pPr algn="ctr">
                        <a:spcAft>
                          <a:spcPts val="0"/>
                        </a:spcAft>
                      </a:pPr>
                      <a:r>
                        <a:rPr lang="en-GB" sz="900">
                          <a:effectLst/>
                        </a:rPr>
                        <a:t>NE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FFS</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15176011"/>
                  </a:ext>
                </a:extLst>
              </a:tr>
              <a:tr h="172649">
                <a:tc>
                  <a:txBody>
                    <a:bodyPr/>
                    <a:lstStyle/>
                    <a:p>
                      <a:pPr algn="ctr">
                        <a:spcAft>
                          <a:spcPts val="0"/>
                        </a:spcAft>
                      </a:pPr>
                      <a:r>
                        <a:rPr lang="en-GB" sz="900">
                          <a:effectLst/>
                        </a:rPr>
                        <a:t>AF</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FFS</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ctr">
                        <a:spcAft>
                          <a:spcPts val="0"/>
                        </a:spcAft>
                      </a:pPr>
                      <a:r>
                        <a:rPr lang="en-GB" sz="900">
                          <a:effectLst/>
                        </a:rPr>
                        <a:t> </a:t>
                      </a:r>
                      <a:endParaRPr lang="en-US" sz="9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900832577"/>
                  </a:ext>
                </a:extLst>
              </a:tr>
            </a:tbl>
          </a:graphicData>
        </a:graphic>
      </p:graphicFrame>
    </p:spTree>
    <p:extLst>
      <p:ext uri="{BB962C8B-B14F-4D97-AF65-F5344CB8AC3E}">
        <p14:creationId xmlns:p14="http://schemas.microsoft.com/office/powerpoint/2010/main" val="123747392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F7A5FD-3813-41B8-95EB-113CF315B735}"/>
              </a:ext>
            </a:extLst>
          </p:cNvPr>
          <p:cNvSpPr>
            <a:spLocks noGrp="1"/>
          </p:cNvSpPr>
          <p:nvPr>
            <p:ph sz="quarter" idx="3"/>
          </p:nvPr>
        </p:nvSpPr>
        <p:spPr/>
        <p:txBody>
          <a:bodyPr/>
          <a:lstStyle/>
          <a:p>
            <a:pPr marL="0" indent="0">
              <a:buNone/>
            </a:pPr>
            <a:endParaRPr lang="en-US"/>
          </a:p>
          <a:p>
            <a:pPr marL="0" indent="0">
              <a:buNone/>
            </a:pPr>
            <a:endParaRPr lang="en-US"/>
          </a:p>
        </p:txBody>
      </p:sp>
      <p:sp>
        <p:nvSpPr>
          <p:cNvPr id="4" name="Title 3">
            <a:extLst>
              <a:ext uri="{FF2B5EF4-FFF2-40B4-BE49-F238E27FC236}">
                <a16:creationId xmlns:a16="http://schemas.microsoft.com/office/drawing/2014/main" id="{288F5457-5245-41D8-85AD-E70182244830}"/>
              </a:ext>
            </a:extLst>
          </p:cNvPr>
          <p:cNvSpPr>
            <a:spLocks noGrp="1"/>
          </p:cNvSpPr>
          <p:nvPr>
            <p:ph type="title"/>
          </p:nvPr>
        </p:nvSpPr>
        <p:spPr/>
        <p:txBody>
          <a:bodyPr/>
          <a:lstStyle/>
          <a:p>
            <a:r>
              <a:rPr lang="en-US"/>
              <a:t>Enhanced Network Analytics</a:t>
            </a:r>
            <a:br>
              <a:rPr lang="en-US" sz="2800"/>
            </a:br>
            <a:r>
              <a:rPr lang="en-US" sz="2800"/>
              <a:t>Procedures</a:t>
            </a:r>
            <a:endParaRPr lang="en-US"/>
          </a:p>
        </p:txBody>
      </p:sp>
      <p:graphicFrame>
        <p:nvGraphicFramePr>
          <p:cNvPr id="8" name="Object 7">
            <a:extLst>
              <a:ext uri="{FF2B5EF4-FFF2-40B4-BE49-F238E27FC236}">
                <a16:creationId xmlns:a16="http://schemas.microsoft.com/office/drawing/2014/main" id="{ED841F5E-332A-416E-9197-BA176C7FE56D}"/>
              </a:ext>
            </a:extLst>
          </p:cNvPr>
          <p:cNvGraphicFramePr>
            <a:graphicFrameLocks noChangeAspect="1"/>
          </p:cNvGraphicFramePr>
          <p:nvPr/>
        </p:nvGraphicFramePr>
        <p:xfrm>
          <a:off x="5951538" y="2161158"/>
          <a:ext cx="4994275" cy="3271837"/>
        </p:xfrm>
        <a:graphic>
          <a:graphicData uri="http://schemas.openxmlformats.org/presentationml/2006/ole">
            <mc:AlternateContent xmlns:mc="http://schemas.openxmlformats.org/markup-compatibility/2006">
              <mc:Choice xmlns:v="urn:schemas-microsoft-com:vml" Requires="v">
                <p:oleObj spid="_x0000_s7172" name="Picture" r:id="rId4" imgW="4994237" imgH="3272211" progId="Word.Picture.8">
                  <p:embed/>
                </p:oleObj>
              </mc:Choice>
              <mc:Fallback>
                <p:oleObj name="Picture" r:id="rId4" imgW="4994237" imgH="3272211" progId="Word.Picture.8">
                  <p:embed/>
                  <p:pic>
                    <p:nvPicPr>
                      <p:cNvPr id="8" name="Object 7">
                        <a:extLst>
                          <a:ext uri="{FF2B5EF4-FFF2-40B4-BE49-F238E27FC236}">
                            <a16:creationId xmlns:a16="http://schemas.microsoft.com/office/drawing/2014/main" id="{ED841F5E-332A-416E-9197-BA176C7FE56D}"/>
                          </a:ext>
                        </a:extLst>
                      </p:cNvPr>
                      <p:cNvPicPr/>
                      <p:nvPr/>
                    </p:nvPicPr>
                    <p:blipFill>
                      <a:blip r:embed="rId5"/>
                      <a:stretch>
                        <a:fillRect/>
                      </a:stretch>
                    </p:blipFill>
                    <p:spPr>
                      <a:xfrm>
                        <a:off x="5951538" y="2161158"/>
                        <a:ext cx="4994275" cy="3271837"/>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6280623E-79BB-4E83-B3B9-93171771EF7E}"/>
              </a:ext>
            </a:extLst>
          </p:cNvPr>
          <p:cNvSpPr txBox="1"/>
          <p:nvPr/>
        </p:nvSpPr>
        <p:spPr bwMode="auto">
          <a:xfrm>
            <a:off x="6402073" y="6019061"/>
            <a:ext cx="4861556" cy="200471"/>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en-US" sz="2000">
                <a:solidFill>
                  <a:srgbClr val="00B0F0"/>
                </a:solidFill>
              </a:rPr>
              <a:t>Procedure: </a:t>
            </a:r>
            <a:r>
              <a:rPr lang="en-US" sz="2000"/>
              <a:t>UE Communication Analytics</a:t>
            </a:r>
          </a:p>
        </p:txBody>
      </p:sp>
      <p:sp>
        <p:nvSpPr>
          <p:cNvPr id="11" name="Content Placeholder 1">
            <a:extLst>
              <a:ext uri="{FF2B5EF4-FFF2-40B4-BE49-F238E27FC236}">
                <a16:creationId xmlns:a16="http://schemas.microsoft.com/office/drawing/2014/main" id="{527E4E1F-CEA5-41A2-98B1-A8E6F4891ABA}"/>
              </a:ext>
            </a:extLst>
          </p:cNvPr>
          <p:cNvSpPr txBox="1">
            <a:spLocks/>
          </p:cNvSpPr>
          <p:nvPr/>
        </p:nvSpPr>
        <p:spPr bwMode="auto">
          <a:xfrm>
            <a:off x="623888" y="1844674"/>
            <a:ext cx="4827001" cy="4600514"/>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r>
              <a:rPr lang="en-US" sz="1600"/>
              <a:t>Procedures defined to show.</a:t>
            </a:r>
          </a:p>
          <a:p>
            <a:pPr lvl="1"/>
            <a:r>
              <a:rPr lang="en-US" sz="1600"/>
              <a:t> the NWDAF services to request or subscribe to Analytics</a:t>
            </a:r>
          </a:p>
          <a:p>
            <a:pPr lvl="1"/>
            <a:r>
              <a:rPr lang="en-US" sz="1600"/>
              <a:t>The </a:t>
            </a:r>
            <a:r>
              <a:rPr lang="en-US" sz="1600" err="1"/>
              <a:t>Nnf_EventExposure</a:t>
            </a:r>
            <a:r>
              <a:rPr lang="en-US" sz="1600"/>
              <a:t>, or </a:t>
            </a:r>
            <a:r>
              <a:rPr lang="en-US" sz="1600" err="1"/>
              <a:t>Nnrf_NFmanagement</a:t>
            </a:r>
            <a:r>
              <a:rPr lang="en-US" sz="1600"/>
              <a:t> or OAM services to request input data for analytics,</a:t>
            </a:r>
          </a:p>
          <a:p>
            <a:pPr lvl="1"/>
            <a:r>
              <a:rPr lang="en-US" sz="1600"/>
              <a:t>The NWDAF services to provide a response or a notification (when the consumer subscribed).</a:t>
            </a:r>
          </a:p>
          <a:p>
            <a:r>
              <a:rPr lang="en-US" sz="1600"/>
              <a:t>The same procedure applies and is tailored for Analytics ID:</a:t>
            </a:r>
          </a:p>
          <a:p>
            <a:pPr lvl="1"/>
            <a:r>
              <a:rPr lang="en-US" sz="1600"/>
              <a:t>UE Communication (in the figure)</a:t>
            </a:r>
          </a:p>
          <a:p>
            <a:pPr lvl="1"/>
            <a:r>
              <a:rPr lang="en-GB" sz="1600"/>
              <a:t>Service Experience</a:t>
            </a:r>
          </a:p>
          <a:p>
            <a:pPr lvl="1"/>
            <a:r>
              <a:rPr lang="en-GB" sz="1600"/>
              <a:t>NF load information</a:t>
            </a:r>
          </a:p>
          <a:p>
            <a:pPr lvl="1"/>
            <a:r>
              <a:rPr lang="en-GB" sz="1600"/>
              <a:t>Network Performance</a:t>
            </a:r>
          </a:p>
          <a:p>
            <a:pPr lvl="1"/>
            <a:r>
              <a:rPr lang="en-GB" sz="1600"/>
              <a:t>UE Mobility</a:t>
            </a:r>
          </a:p>
          <a:p>
            <a:pPr lvl="1"/>
            <a:r>
              <a:rPr lang="en-GB" sz="1600"/>
              <a:t>User Data Congestion</a:t>
            </a:r>
            <a:endParaRPr lang="en-US" sz="4000"/>
          </a:p>
          <a:p>
            <a:pPr lvl="1"/>
            <a:r>
              <a:rPr lang="en-GB" sz="1600"/>
              <a:t>QoS Sustainability</a:t>
            </a:r>
            <a:endParaRPr lang="en-US" sz="4000"/>
          </a:p>
          <a:p>
            <a:pPr marL="0" indent="0" fontAlgn="t">
              <a:buNone/>
            </a:pPr>
            <a:endParaRPr lang="en-US" sz="4000"/>
          </a:p>
          <a:p>
            <a:pPr lvl="1"/>
            <a:endParaRPr lang="en-US" sz="1600"/>
          </a:p>
        </p:txBody>
      </p:sp>
    </p:spTree>
    <p:extLst>
      <p:ext uri="{BB962C8B-B14F-4D97-AF65-F5344CB8AC3E}">
        <p14:creationId xmlns:p14="http://schemas.microsoft.com/office/powerpoint/2010/main" val="384429897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6E78CA-90CC-447A-8387-C89C6FB36940}"/>
              </a:ext>
            </a:extLst>
          </p:cNvPr>
          <p:cNvSpPr>
            <a:spLocks noGrp="1"/>
          </p:cNvSpPr>
          <p:nvPr>
            <p:ph sz="quarter" idx="11"/>
          </p:nvPr>
        </p:nvSpPr>
        <p:spPr>
          <a:xfrm>
            <a:off x="479425" y="1814973"/>
            <a:ext cx="8141291" cy="4669646"/>
          </a:xfrm>
        </p:spPr>
        <p:txBody>
          <a:bodyPr/>
          <a:lstStyle/>
          <a:p>
            <a:pPr marL="0" indent="0">
              <a:buNone/>
            </a:pPr>
            <a:r>
              <a:rPr lang="sv-SE" u="sng" dirty="0"/>
              <a:t>Rel-16 principles:</a:t>
            </a:r>
          </a:p>
          <a:p>
            <a:r>
              <a:rPr lang="sv-SE" dirty="0"/>
              <a:t>A PDU Session provides access to one 5G LAN Virtual Network (VN) </a:t>
            </a:r>
          </a:p>
          <a:p>
            <a:r>
              <a:rPr lang="sv-SE" dirty="0"/>
              <a:t>A 1:1 relation between DNN and 5G VN group is assumed</a:t>
            </a:r>
          </a:p>
          <a:p>
            <a:r>
              <a:rPr lang="sv-SE" dirty="0"/>
              <a:t>One SMF is serving a 5G VN group</a:t>
            </a:r>
          </a:p>
          <a:p>
            <a:endParaRPr lang="sv-SE" dirty="0"/>
          </a:p>
          <a:p>
            <a:r>
              <a:rPr lang="sv-SE" dirty="0"/>
              <a:t>Three traffic forwarding methods standardized:</a:t>
            </a:r>
          </a:p>
          <a:p>
            <a:pPr marL="827088" lvl="1" indent="-457200">
              <a:buFont typeface="+mj-lt"/>
              <a:buAutoNum type="arabicPeriod"/>
            </a:pPr>
            <a:r>
              <a:rPr lang="sv-SE" dirty="0"/>
              <a:t>”local switch”</a:t>
            </a:r>
          </a:p>
          <a:p>
            <a:pPr marL="827088" lvl="1" indent="-457200">
              <a:buFont typeface="+mj-lt"/>
              <a:buAutoNum type="arabicPeriod"/>
            </a:pPr>
            <a:r>
              <a:rPr lang="sv-SE" dirty="0"/>
              <a:t>N19-based forwarding</a:t>
            </a:r>
          </a:p>
          <a:p>
            <a:pPr marL="827088" lvl="1" indent="-457200">
              <a:buFont typeface="+mj-lt"/>
              <a:buAutoNum type="arabicPeriod"/>
            </a:pPr>
            <a:r>
              <a:rPr lang="sv-SE" dirty="0"/>
              <a:t>N6-based forwarding</a:t>
            </a:r>
          </a:p>
          <a:p>
            <a:pPr marL="827088" lvl="1" indent="-457200">
              <a:buFont typeface="+mj-lt"/>
              <a:buAutoNum type="arabicPeriod"/>
            </a:pPr>
            <a:endParaRPr lang="sv-SE" dirty="0"/>
          </a:p>
          <a:p>
            <a:r>
              <a:rPr lang="sv-SE" dirty="0"/>
              <a:t>SMF is controlling the traffic forwarding methods for a 5G VN group</a:t>
            </a:r>
          </a:p>
          <a:p>
            <a:endParaRPr lang="sv-SE" dirty="0"/>
          </a:p>
        </p:txBody>
      </p:sp>
      <p:sp>
        <p:nvSpPr>
          <p:cNvPr id="3" name="Title 2">
            <a:extLst>
              <a:ext uri="{FF2B5EF4-FFF2-40B4-BE49-F238E27FC236}">
                <a16:creationId xmlns:a16="http://schemas.microsoft.com/office/drawing/2014/main" id="{21DD7C4F-F7F6-4D97-B24C-F6B779A55443}"/>
              </a:ext>
            </a:extLst>
          </p:cNvPr>
          <p:cNvSpPr>
            <a:spLocks noGrp="1"/>
          </p:cNvSpPr>
          <p:nvPr>
            <p:ph type="title"/>
          </p:nvPr>
        </p:nvSpPr>
        <p:spPr>
          <a:xfrm>
            <a:off x="479425" y="490451"/>
            <a:ext cx="8183338" cy="793510"/>
          </a:xfrm>
        </p:spPr>
        <p:txBody>
          <a:bodyPr/>
          <a:lstStyle/>
          <a:p>
            <a:r>
              <a:rPr lang="sv-SE"/>
              <a:t>IoT – 5G LAN, NPN and URLLC</a:t>
            </a:r>
            <a:br>
              <a:rPr lang="sv-SE" sz="2800"/>
            </a:br>
            <a:r>
              <a:rPr lang="sv-SE" sz="2800"/>
              <a:t>5G LAN – Session and UP management</a:t>
            </a:r>
          </a:p>
        </p:txBody>
      </p:sp>
      <p:sp>
        <p:nvSpPr>
          <p:cNvPr id="4" name="Rectangle 3">
            <a:extLst>
              <a:ext uri="{FF2B5EF4-FFF2-40B4-BE49-F238E27FC236}">
                <a16:creationId xmlns:a16="http://schemas.microsoft.com/office/drawing/2014/main" id="{D22BFB93-DA01-4C0B-B9D3-E439A2D95E8F}"/>
              </a:ext>
            </a:extLst>
          </p:cNvPr>
          <p:cNvSpPr/>
          <p:nvPr/>
        </p:nvSpPr>
        <p:spPr bwMode="auto">
          <a:xfrm>
            <a:off x="10254767" y="422035"/>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SMF</a:t>
            </a:r>
          </a:p>
        </p:txBody>
      </p:sp>
      <p:sp>
        <p:nvSpPr>
          <p:cNvPr id="5" name="Rectangle 4">
            <a:extLst>
              <a:ext uri="{FF2B5EF4-FFF2-40B4-BE49-F238E27FC236}">
                <a16:creationId xmlns:a16="http://schemas.microsoft.com/office/drawing/2014/main" id="{2B529777-8DD4-4298-A381-C9BE8EC317FA}"/>
              </a:ext>
            </a:extLst>
          </p:cNvPr>
          <p:cNvSpPr/>
          <p:nvPr/>
        </p:nvSpPr>
        <p:spPr bwMode="auto">
          <a:xfrm>
            <a:off x="10254767" y="1142897"/>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PF</a:t>
            </a:r>
          </a:p>
        </p:txBody>
      </p:sp>
      <p:cxnSp>
        <p:nvCxnSpPr>
          <p:cNvPr id="9" name="Straight Connector 8">
            <a:extLst>
              <a:ext uri="{FF2B5EF4-FFF2-40B4-BE49-F238E27FC236}">
                <a16:creationId xmlns:a16="http://schemas.microsoft.com/office/drawing/2014/main" id="{30264214-3127-4E2B-825A-3E7EBACFD511}"/>
              </a:ext>
            </a:extLst>
          </p:cNvPr>
          <p:cNvCxnSpPr>
            <a:stCxn id="4" idx="2"/>
            <a:endCxn id="5" idx="0"/>
          </p:cNvCxnSpPr>
          <p:nvPr/>
        </p:nvCxnSpPr>
        <p:spPr bwMode="auto">
          <a:xfrm>
            <a:off x="10571290" y="844065"/>
            <a:ext cx="0" cy="298832"/>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2" name="Flowchart: Summing Junction 11">
            <a:extLst>
              <a:ext uri="{FF2B5EF4-FFF2-40B4-BE49-F238E27FC236}">
                <a16:creationId xmlns:a16="http://schemas.microsoft.com/office/drawing/2014/main" id="{D24E9618-2018-49C6-ACDA-B9C00E9ECA97}"/>
              </a:ext>
            </a:extLst>
          </p:cNvPr>
          <p:cNvSpPr/>
          <p:nvPr/>
        </p:nvSpPr>
        <p:spPr bwMode="auto">
          <a:xfrm>
            <a:off x="10480856" y="1375395"/>
            <a:ext cx="180868" cy="132232"/>
          </a:xfrm>
          <a:prstGeom prst="flowChartSummingJunction">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sp>
        <p:nvSpPr>
          <p:cNvPr id="13" name="Rectangle 12">
            <a:extLst>
              <a:ext uri="{FF2B5EF4-FFF2-40B4-BE49-F238E27FC236}">
                <a16:creationId xmlns:a16="http://schemas.microsoft.com/office/drawing/2014/main" id="{5D001CB9-4FCB-47AC-AFE5-C613A8985168}"/>
              </a:ext>
            </a:extLst>
          </p:cNvPr>
          <p:cNvSpPr/>
          <p:nvPr/>
        </p:nvSpPr>
        <p:spPr bwMode="auto">
          <a:xfrm>
            <a:off x="10294532" y="2377240"/>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SMF</a:t>
            </a:r>
          </a:p>
        </p:txBody>
      </p:sp>
      <p:sp>
        <p:nvSpPr>
          <p:cNvPr id="14" name="Rectangle 13">
            <a:extLst>
              <a:ext uri="{FF2B5EF4-FFF2-40B4-BE49-F238E27FC236}">
                <a16:creationId xmlns:a16="http://schemas.microsoft.com/office/drawing/2014/main" id="{43897235-C8D1-4D96-A9B6-7FE18314DAC2}"/>
              </a:ext>
            </a:extLst>
          </p:cNvPr>
          <p:cNvSpPr/>
          <p:nvPr/>
        </p:nvSpPr>
        <p:spPr bwMode="auto">
          <a:xfrm>
            <a:off x="9882547" y="3098102"/>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PF 1</a:t>
            </a:r>
          </a:p>
        </p:txBody>
      </p:sp>
      <p:cxnSp>
        <p:nvCxnSpPr>
          <p:cNvPr id="17" name="Straight Connector 16">
            <a:extLst>
              <a:ext uri="{FF2B5EF4-FFF2-40B4-BE49-F238E27FC236}">
                <a16:creationId xmlns:a16="http://schemas.microsoft.com/office/drawing/2014/main" id="{D01CE695-7B9A-46CD-9F40-116265F4BAB5}"/>
              </a:ext>
            </a:extLst>
          </p:cNvPr>
          <p:cNvCxnSpPr>
            <a:stCxn id="13" idx="2"/>
            <a:endCxn id="14" idx="0"/>
          </p:cNvCxnSpPr>
          <p:nvPr/>
        </p:nvCxnSpPr>
        <p:spPr bwMode="auto">
          <a:xfrm flipH="1">
            <a:off x="10199070" y="2799270"/>
            <a:ext cx="411985" cy="298832"/>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9" name="Flowchart: Summing Junction 18">
            <a:extLst>
              <a:ext uri="{FF2B5EF4-FFF2-40B4-BE49-F238E27FC236}">
                <a16:creationId xmlns:a16="http://schemas.microsoft.com/office/drawing/2014/main" id="{B8278B05-C13A-457C-80B3-37C176B06615}"/>
              </a:ext>
            </a:extLst>
          </p:cNvPr>
          <p:cNvSpPr/>
          <p:nvPr/>
        </p:nvSpPr>
        <p:spPr bwMode="auto">
          <a:xfrm>
            <a:off x="10108636" y="3330600"/>
            <a:ext cx="180868" cy="132232"/>
          </a:xfrm>
          <a:prstGeom prst="flowChartSummingJunction">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sp>
        <p:nvSpPr>
          <p:cNvPr id="22" name="Rectangle 21">
            <a:extLst>
              <a:ext uri="{FF2B5EF4-FFF2-40B4-BE49-F238E27FC236}">
                <a16:creationId xmlns:a16="http://schemas.microsoft.com/office/drawing/2014/main" id="{DB571492-C7B9-48B3-AF80-0D5D4D199C90}"/>
              </a:ext>
            </a:extLst>
          </p:cNvPr>
          <p:cNvSpPr/>
          <p:nvPr/>
        </p:nvSpPr>
        <p:spPr bwMode="auto">
          <a:xfrm>
            <a:off x="10837142" y="3097884"/>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PF 2</a:t>
            </a:r>
          </a:p>
        </p:txBody>
      </p:sp>
      <p:sp>
        <p:nvSpPr>
          <p:cNvPr id="23" name="Flowchart: Summing Junction 22">
            <a:extLst>
              <a:ext uri="{FF2B5EF4-FFF2-40B4-BE49-F238E27FC236}">
                <a16:creationId xmlns:a16="http://schemas.microsoft.com/office/drawing/2014/main" id="{416280EC-7EBF-4677-8BCC-678CC5C52C46}"/>
              </a:ext>
            </a:extLst>
          </p:cNvPr>
          <p:cNvSpPr/>
          <p:nvPr/>
        </p:nvSpPr>
        <p:spPr bwMode="auto">
          <a:xfrm>
            <a:off x="11063231" y="3330382"/>
            <a:ext cx="180868" cy="132232"/>
          </a:xfrm>
          <a:prstGeom prst="flowChartSummingJunction">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cxnSp>
        <p:nvCxnSpPr>
          <p:cNvPr id="25" name="Straight Connector 24">
            <a:extLst>
              <a:ext uri="{FF2B5EF4-FFF2-40B4-BE49-F238E27FC236}">
                <a16:creationId xmlns:a16="http://schemas.microsoft.com/office/drawing/2014/main" id="{8A2A1BF1-17C8-4AB8-82AD-188AB755E634}"/>
              </a:ext>
            </a:extLst>
          </p:cNvPr>
          <p:cNvCxnSpPr>
            <a:stCxn id="13" idx="2"/>
            <a:endCxn id="22" idx="0"/>
          </p:cNvCxnSpPr>
          <p:nvPr/>
        </p:nvCxnSpPr>
        <p:spPr bwMode="auto">
          <a:xfrm>
            <a:off x="10611055" y="2799270"/>
            <a:ext cx="542610" cy="298614"/>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26" name="Cylinder 25">
            <a:extLst>
              <a:ext uri="{FF2B5EF4-FFF2-40B4-BE49-F238E27FC236}">
                <a16:creationId xmlns:a16="http://schemas.microsoft.com/office/drawing/2014/main" id="{EA486A4A-732C-40ED-8BAF-39415008A8CF}"/>
              </a:ext>
            </a:extLst>
          </p:cNvPr>
          <p:cNvSpPr/>
          <p:nvPr/>
        </p:nvSpPr>
        <p:spPr bwMode="auto">
          <a:xfrm rot="16200000">
            <a:off x="10611856" y="3201676"/>
            <a:ext cx="151420" cy="343945"/>
          </a:xfrm>
          <a:prstGeom prst="can">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sp>
        <p:nvSpPr>
          <p:cNvPr id="27" name="Freeform: Shape 26">
            <a:extLst>
              <a:ext uri="{FF2B5EF4-FFF2-40B4-BE49-F238E27FC236}">
                <a16:creationId xmlns:a16="http://schemas.microsoft.com/office/drawing/2014/main" id="{E845B51A-C3ED-437E-A242-99939AEBF9A5}"/>
              </a:ext>
            </a:extLst>
          </p:cNvPr>
          <p:cNvSpPr/>
          <p:nvPr/>
        </p:nvSpPr>
        <p:spPr bwMode="auto">
          <a:xfrm>
            <a:off x="10076126" y="3390825"/>
            <a:ext cx="1110411" cy="539311"/>
          </a:xfrm>
          <a:custGeom>
            <a:avLst/>
            <a:gdLst>
              <a:gd name="connsiteX0" fmla="*/ 2359 w 1110411"/>
              <a:gd name="connsiteY0" fmla="*/ 539311 h 539311"/>
              <a:gd name="connsiteX1" fmla="*/ 42552 w 1110411"/>
              <a:gd name="connsiteY1" fmla="*/ 97184 h 539311"/>
              <a:gd name="connsiteX2" fmla="*/ 293761 w 1110411"/>
              <a:gd name="connsiteY2" fmla="*/ 6749 h 539311"/>
              <a:gd name="connsiteX3" fmla="*/ 1007194 w 1110411"/>
              <a:gd name="connsiteY3" fmla="*/ 26845 h 539311"/>
              <a:gd name="connsiteX4" fmla="*/ 1097629 w 1110411"/>
              <a:gd name="connsiteY4" fmla="*/ 187619 h 539311"/>
              <a:gd name="connsiteX5" fmla="*/ 1107677 w 1110411"/>
              <a:gd name="connsiteY5" fmla="*/ 539311 h 5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0411" h="539311">
                <a:moveTo>
                  <a:pt x="2359" y="539311"/>
                </a:moveTo>
                <a:cubicBezTo>
                  <a:pt x="-1828" y="362627"/>
                  <a:pt x="-6015" y="185944"/>
                  <a:pt x="42552" y="97184"/>
                </a:cubicBezTo>
                <a:cubicBezTo>
                  <a:pt x="91119" y="8424"/>
                  <a:pt x="132987" y="18472"/>
                  <a:pt x="293761" y="6749"/>
                </a:cubicBezTo>
                <a:cubicBezTo>
                  <a:pt x="454535" y="-4974"/>
                  <a:pt x="873216" y="-3300"/>
                  <a:pt x="1007194" y="26845"/>
                </a:cubicBezTo>
                <a:cubicBezTo>
                  <a:pt x="1141172" y="56990"/>
                  <a:pt x="1080882" y="102208"/>
                  <a:pt x="1097629" y="187619"/>
                </a:cubicBezTo>
                <a:cubicBezTo>
                  <a:pt x="1114376" y="273030"/>
                  <a:pt x="1111026" y="406170"/>
                  <a:pt x="1107677" y="539311"/>
                </a:cubicBezTo>
              </a:path>
            </a:pathLst>
          </a:custGeom>
          <a:noFill/>
          <a:ln w="25400" cap="flat" cmpd="sng" algn="ctr">
            <a:solidFill>
              <a:srgbClr val="C00000"/>
            </a:solidFill>
            <a:prstDash val="solid"/>
            <a:round/>
            <a:headEnd type="none" w="med" len="med"/>
            <a:tailEnd type="none" w="med" len="med"/>
          </a:ln>
          <a:effectLst/>
        </p:spPr>
        <p:txBody>
          <a:bodyPr rtlCol="0" anchor="ctr"/>
          <a:lstStyle/>
          <a:p>
            <a:pPr marL="0" indent="0" algn="ctr">
              <a:buNone/>
            </a:pPr>
            <a:endParaRPr lang="sv-SE"/>
          </a:p>
        </p:txBody>
      </p:sp>
      <p:sp>
        <p:nvSpPr>
          <p:cNvPr id="11" name="Freeform: Shape 10">
            <a:extLst>
              <a:ext uri="{FF2B5EF4-FFF2-40B4-BE49-F238E27FC236}">
                <a16:creationId xmlns:a16="http://schemas.microsoft.com/office/drawing/2014/main" id="{24E05CFA-5E2F-46C0-B9AC-7E11356ED877}"/>
              </a:ext>
            </a:extLst>
          </p:cNvPr>
          <p:cNvSpPr/>
          <p:nvPr/>
        </p:nvSpPr>
        <p:spPr bwMode="auto">
          <a:xfrm>
            <a:off x="10083943" y="1441511"/>
            <a:ext cx="984738" cy="548065"/>
          </a:xfrm>
          <a:custGeom>
            <a:avLst/>
            <a:gdLst>
              <a:gd name="connsiteX0" fmla="*/ 0 w 984738"/>
              <a:gd name="connsiteY0" fmla="*/ 548065 h 548065"/>
              <a:gd name="connsiteX1" fmla="*/ 271305 w 984738"/>
              <a:gd name="connsiteY1" fmla="*/ 126034 h 548065"/>
              <a:gd name="connsiteX2" fmla="*/ 643095 w 984738"/>
              <a:gd name="connsiteY2" fmla="*/ 25551 h 548065"/>
              <a:gd name="connsiteX3" fmla="*/ 984738 w 984738"/>
              <a:gd name="connsiteY3" fmla="*/ 538017 h 548065"/>
            </a:gdLst>
            <a:ahLst/>
            <a:cxnLst>
              <a:cxn ang="0">
                <a:pos x="connsiteX0" y="connsiteY0"/>
              </a:cxn>
              <a:cxn ang="0">
                <a:pos x="connsiteX1" y="connsiteY1"/>
              </a:cxn>
              <a:cxn ang="0">
                <a:pos x="connsiteX2" y="connsiteY2"/>
              </a:cxn>
              <a:cxn ang="0">
                <a:pos x="connsiteX3" y="connsiteY3"/>
              </a:cxn>
            </a:cxnLst>
            <a:rect l="l" t="t" r="r" b="b"/>
            <a:pathLst>
              <a:path w="984738" h="548065">
                <a:moveTo>
                  <a:pt x="0" y="548065"/>
                </a:moveTo>
                <a:cubicBezTo>
                  <a:pt x="82061" y="380592"/>
                  <a:pt x="164123" y="213120"/>
                  <a:pt x="271305" y="126034"/>
                </a:cubicBezTo>
                <a:cubicBezTo>
                  <a:pt x="378487" y="38948"/>
                  <a:pt x="524190" y="-43113"/>
                  <a:pt x="643095" y="25551"/>
                </a:cubicBezTo>
                <a:cubicBezTo>
                  <a:pt x="762000" y="94215"/>
                  <a:pt x="873369" y="316116"/>
                  <a:pt x="984738" y="538017"/>
                </a:cubicBezTo>
              </a:path>
            </a:pathLst>
          </a:custGeom>
          <a:noFill/>
          <a:ln w="25400" cap="flat" cmpd="sng" algn="ctr">
            <a:solidFill>
              <a:srgbClr val="C00000"/>
            </a:solidFill>
            <a:prstDash val="solid"/>
            <a:round/>
            <a:headEnd type="none" w="med" len="med"/>
            <a:tailEnd type="none" w="med" len="med"/>
          </a:ln>
          <a:effectLst/>
        </p:spPr>
        <p:txBody>
          <a:bodyPr rtlCol="0" anchor="ctr"/>
          <a:lstStyle/>
          <a:p>
            <a:pPr marL="0" indent="0" algn="ctr">
              <a:buNone/>
            </a:pPr>
            <a:endParaRPr lang="sv-SE"/>
          </a:p>
        </p:txBody>
      </p:sp>
      <p:sp>
        <p:nvSpPr>
          <p:cNvPr id="28" name="Rectangle 27">
            <a:extLst>
              <a:ext uri="{FF2B5EF4-FFF2-40B4-BE49-F238E27FC236}">
                <a16:creationId xmlns:a16="http://schemas.microsoft.com/office/drawing/2014/main" id="{50556A3D-780B-4A17-AA7F-094122CDBF13}"/>
              </a:ext>
            </a:extLst>
          </p:cNvPr>
          <p:cNvSpPr/>
          <p:nvPr/>
        </p:nvSpPr>
        <p:spPr bwMode="auto">
          <a:xfrm>
            <a:off x="10294532" y="4908845"/>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SMF</a:t>
            </a:r>
          </a:p>
        </p:txBody>
      </p:sp>
      <p:sp>
        <p:nvSpPr>
          <p:cNvPr id="29" name="Rectangle 28">
            <a:extLst>
              <a:ext uri="{FF2B5EF4-FFF2-40B4-BE49-F238E27FC236}">
                <a16:creationId xmlns:a16="http://schemas.microsoft.com/office/drawing/2014/main" id="{5B7D5255-D1BC-4F41-BFFF-A40CB3A4F866}"/>
              </a:ext>
            </a:extLst>
          </p:cNvPr>
          <p:cNvSpPr/>
          <p:nvPr/>
        </p:nvSpPr>
        <p:spPr bwMode="auto">
          <a:xfrm>
            <a:off x="9882547" y="5629707"/>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PF 1</a:t>
            </a:r>
          </a:p>
        </p:txBody>
      </p:sp>
      <p:cxnSp>
        <p:nvCxnSpPr>
          <p:cNvPr id="32" name="Straight Connector 31">
            <a:extLst>
              <a:ext uri="{FF2B5EF4-FFF2-40B4-BE49-F238E27FC236}">
                <a16:creationId xmlns:a16="http://schemas.microsoft.com/office/drawing/2014/main" id="{48D4DE0A-AFF3-4219-B8B4-B6487C6B37F0}"/>
              </a:ext>
            </a:extLst>
          </p:cNvPr>
          <p:cNvCxnSpPr>
            <a:stCxn id="28" idx="2"/>
            <a:endCxn id="29" idx="0"/>
          </p:cNvCxnSpPr>
          <p:nvPr/>
        </p:nvCxnSpPr>
        <p:spPr bwMode="auto">
          <a:xfrm flipH="1">
            <a:off x="10199070" y="5330875"/>
            <a:ext cx="411985" cy="298832"/>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33" name="Flowchart: Summing Junction 32">
            <a:extLst>
              <a:ext uri="{FF2B5EF4-FFF2-40B4-BE49-F238E27FC236}">
                <a16:creationId xmlns:a16="http://schemas.microsoft.com/office/drawing/2014/main" id="{D5F4C563-F3E1-466B-8ABB-9433F81E40C2}"/>
              </a:ext>
            </a:extLst>
          </p:cNvPr>
          <p:cNvSpPr/>
          <p:nvPr/>
        </p:nvSpPr>
        <p:spPr bwMode="auto">
          <a:xfrm>
            <a:off x="10108636" y="5862205"/>
            <a:ext cx="180868" cy="132232"/>
          </a:xfrm>
          <a:prstGeom prst="flowChartSummingJunction">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sp>
        <p:nvSpPr>
          <p:cNvPr id="34" name="Rectangle 33">
            <a:extLst>
              <a:ext uri="{FF2B5EF4-FFF2-40B4-BE49-F238E27FC236}">
                <a16:creationId xmlns:a16="http://schemas.microsoft.com/office/drawing/2014/main" id="{86D8CD9D-70E6-4CD4-B8A7-C902D123FF03}"/>
              </a:ext>
            </a:extLst>
          </p:cNvPr>
          <p:cNvSpPr/>
          <p:nvPr/>
        </p:nvSpPr>
        <p:spPr bwMode="auto">
          <a:xfrm>
            <a:off x="10837142" y="5629489"/>
            <a:ext cx="633046" cy="422030"/>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PF 2</a:t>
            </a:r>
          </a:p>
        </p:txBody>
      </p:sp>
      <p:sp>
        <p:nvSpPr>
          <p:cNvPr id="35" name="Flowchart: Summing Junction 34">
            <a:extLst>
              <a:ext uri="{FF2B5EF4-FFF2-40B4-BE49-F238E27FC236}">
                <a16:creationId xmlns:a16="http://schemas.microsoft.com/office/drawing/2014/main" id="{32DD4180-69EE-4253-89F4-2C7576942FC2}"/>
              </a:ext>
            </a:extLst>
          </p:cNvPr>
          <p:cNvSpPr/>
          <p:nvPr/>
        </p:nvSpPr>
        <p:spPr bwMode="auto">
          <a:xfrm>
            <a:off x="11063231" y="5861987"/>
            <a:ext cx="180868" cy="132232"/>
          </a:xfrm>
          <a:prstGeom prst="flowChartSummingJunction">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cxnSp>
        <p:nvCxnSpPr>
          <p:cNvPr id="36" name="Straight Connector 35">
            <a:extLst>
              <a:ext uri="{FF2B5EF4-FFF2-40B4-BE49-F238E27FC236}">
                <a16:creationId xmlns:a16="http://schemas.microsoft.com/office/drawing/2014/main" id="{46362FD0-97CE-42AB-95C8-373651195A85}"/>
              </a:ext>
            </a:extLst>
          </p:cNvPr>
          <p:cNvCxnSpPr>
            <a:stCxn id="28" idx="2"/>
            <a:endCxn id="34" idx="0"/>
          </p:cNvCxnSpPr>
          <p:nvPr/>
        </p:nvCxnSpPr>
        <p:spPr bwMode="auto">
          <a:xfrm>
            <a:off x="10611055" y="5330875"/>
            <a:ext cx="542610" cy="298614"/>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5" name="Rectangle 14">
            <a:extLst>
              <a:ext uri="{FF2B5EF4-FFF2-40B4-BE49-F238E27FC236}">
                <a16:creationId xmlns:a16="http://schemas.microsoft.com/office/drawing/2014/main" id="{EB0E2DC8-EC99-4456-B61E-52E249946D86}"/>
              </a:ext>
            </a:extLst>
          </p:cNvPr>
          <p:cNvSpPr/>
          <p:nvPr/>
        </p:nvSpPr>
        <p:spPr bwMode="auto">
          <a:xfrm>
            <a:off x="9867229" y="3755802"/>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A</a:t>
            </a:r>
          </a:p>
        </p:txBody>
      </p:sp>
      <p:sp>
        <p:nvSpPr>
          <p:cNvPr id="16" name="Rectangle 15">
            <a:extLst>
              <a:ext uri="{FF2B5EF4-FFF2-40B4-BE49-F238E27FC236}">
                <a16:creationId xmlns:a16="http://schemas.microsoft.com/office/drawing/2014/main" id="{50728317-0641-4458-81D1-F90C9518328D}"/>
              </a:ext>
            </a:extLst>
          </p:cNvPr>
          <p:cNvSpPr/>
          <p:nvPr/>
        </p:nvSpPr>
        <p:spPr bwMode="auto">
          <a:xfrm>
            <a:off x="10821822" y="3755802"/>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B</a:t>
            </a:r>
          </a:p>
        </p:txBody>
      </p:sp>
      <p:sp>
        <p:nvSpPr>
          <p:cNvPr id="6" name="Rectangle 5">
            <a:extLst>
              <a:ext uri="{FF2B5EF4-FFF2-40B4-BE49-F238E27FC236}">
                <a16:creationId xmlns:a16="http://schemas.microsoft.com/office/drawing/2014/main" id="{F0AA6C53-E55F-4E47-BD66-7FDB74D7E00A}"/>
              </a:ext>
            </a:extLst>
          </p:cNvPr>
          <p:cNvSpPr/>
          <p:nvPr/>
        </p:nvSpPr>
        <p:spPr bwMode="auto">
          <a:xfrm>
            <a:off x="9825375" y="1814973"/>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A</a:t>
            </a:r>
          </a:p>
        </p:txBody>
      </p:sp>
      <p:sp>
        <p:nvSpPr>
          <p:cNvPr id="7" name="Rectangle 6">
            <a:extLst>
              <a:ext uri="{FF2B5EF4-FFF2-40B4-BE49-F238E27FC236}">
                <a16:creationId xmlns:a16="http://schemas.microsoft.com/office/drawing/2014/main" id="{EA18A17B-259F-4D8A-B93E-00377090B9AE}"/>
              </a:ext>
            </a:extLst>
          </p:cNvPr>
          <p:cNvSpPr/>
          <p:nvPr/>
        </p:nvSpPr>
        <p:spPr bwMode="auto">
          <a:xfrm>
            <a:off x="10779968" y="1814973"/>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B</a:t>
            </a:r>
          </a:p>
        </p:txBody>
      </p:sp>
      <p:sp>
        <p:nvSpPr>
          <p:cNvPr id="39" name="Cloud 38">
            <a:extLst>
              <a:ext uri="{FF2B5EF4-FFF2-40B4-BE49-F238E27FC236}">
                <a16:creationId xmlns:a16="http://schemas.microsoft.com/office/drawing/2014/main" id="{6502B4D3-6416-49BC-ADA2-5BBA4C43A1E3}"/>
              </a:ext>
            </a:extLst>
          </p:cNvPr>
          <p:cNvSpPr/>
          <p:nvPr/>
        </p:nvSpPr>
        <p:spPr bwMode="auto">
          <a:xfrm>
            <a:off x="9520725" y="4411980"/>
            <a:ext cx="2209800" cy="381401"/>
          </a:xfrm>
          <a:prstGeom prst="cloud">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sv-SE" sz="2000" b="0" i="0" u="none" strike="noStrike" cap="none" normalizeH="0" baseline="0" err="1">
              <a:ln>
                <a:noFill/>
              </a:ln>
              <a:solidFill>
                <a:schemeClr val="bg1"/>
              </a:solidFill>
              <a:effectLst/>
              <a:latin typeface="+mn-lt"/>
            </a:endParaRPr>
          </a:p>
        </p:txBody>
      </p:sp>
      <p:sp>
        <p:nvSpPr>
          <p:cNvPr id="40" name="TextBox 39">
            <a:extLst>
              <a:ext uri="{FF2B5EF4-FFF2-40B4-BE49-F238E27FC236}">
                <a16:creationId xmlns:a16="http://schemas.microsoft.com/office/drawing/2014/main" id="{C3565057-9E08-4D74-B8DC-406BDCDD4372}"/>
              </a:ext>
            </a:extLst>
          </p:cNvPr>
          <p:cNvSpPr txBox="1"/>
          <p:nvPr/>
        </p:nvSpPr>
        <p:spPr bwMode="auto">
          <a:xfrm>
            <a:off x="10693102" y="4411762"/>
            <a:ext cx="370129" cy="146838"/>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1200"/>
              <a:t>DN</a:t>
            </a:r>
          </a:p>
        </p:txBody>
      </p:sp>
      <p:sp>
        <p:nvSpPr>
          <p:cNvPr id="41" name="TextBox 40">
            <a:extLst>
              <a:ext uri="{FF2B5EF4-FFF2-40B4-BE49-F238E27FC236}">
                <a16:creationId xmlns:a16="http://schemas.microsoft.com/office/drawing/2014/main" id="{3DF6D1C4-33CA-443C-BD9C-180CE0CCF9C0}"/>
              </a:ext>
            </a:extLst>
          </p:cNvPr>
          <p:cNvSpPr txBox="1"/>
          <p:nvPr/>
        </p:nvSpPr>
        <p:spPr bwMode="auto">
          <a:xfrm>
            <a:off x="10464786" y="3420595"/>
            <a:ext cx="456631" cy="2130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1200"/>
              <a:t>N19</a:t>
            </a:r>
          </a:p>
        </p:txBody>
      </p:sp>
      <p:sp>
        <p:nvSpPr>
          <p:cNvPr id="42" name="TextBox 41">
            <a:extLst>
              <a:ext uri="{FF2B5EF4-FFF2-40B4-BE49-F238E27FC236}">
                <a16:creationId xmlns:a16="http://schemas.microsoft.com/office/drawing/2014/main" id="{EBBA77CA-54E2-46B0-A76F-7801A823536B}"/>
              </a:ext>
            </a:extLst>
          </p:cNvPr>
          <p:cNvSpPr txBox="1"/>
          <p:nvPr/>
        </p:nvSpPr>
        <p:spPr bwMode="auto">
          <a:xfrm>
            <a:off x="11161304" y="5135092"/>
            <a:ext cx="456631" cy="2130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1200"/>
              <a:t>N6</a:t>
            </a:r>
          </a:p>
        </p:txBody>
      </p:sp>
      <p:sp>
        <p:nvSpPr>
          <p:cNvPr id="43" name="Freeform: Shape 42">
            <a:extLst>
              <a:ext uri="{FF2B5EF4-FFF2-40B4-BE49-F238E27FC236}">
                <a16:creationId xmlns:a16="http://schemas.microsoft.com/office/drawing/2014/main" id="{A9D37290-CB5B-464A-9CAA-96B87996741E}"/>
              </a:ext>
            </a:extLst>
          </p:cNvPr>
          <p:cNvSpPr/>
          <p:nvPr/>
        </p:nvSpPr>
        <p:spPr bwMode="auto">
          <a:xfrm>
            <a:off x="10127931" y="4620672"/>
            <a:ext cx="1071656" cy="1863948"/>
          </a:xfrm>
          <a:custGeom>
            <a:avLst/>
            <a:gdLst>
              <a:gd name="connsiteX0" fmla="*/ 25254 w 1071656"/>
              <a:gd name="connsiteY0" fmla="*/ 1810608 h 1863948"/>
              <a:gd name="connsiteX1" fmla="*/ 101454 w 1071656"/>
              <a:gd name="connsiteY1" fmla="*/ 1345788 h 1863948"/>
              <a:gd name="connsiteX2" fmla="*/ 2394 w 1071656"/>
              <a:gd name="connsiteY2" fmla="*/ 591408 h 1863948"/>
              <a:gd name="connsiteX3" fmla="*/ 223374 w 1071656"/>
              <a:gd name="connsiteY3" fmla="*/ 73248 h 1863948"/>
              <a:gd name="connsiteX4" fmla="*/ 893934 w 1071656"/>
              <a:gd name="connsiteY4" fmla="*/ 58008 h 1863948"/>
              <a:gd name="connsiteX5" fmla="*/ 1069194 w 1071656"/>
              <a:gd name="connsiteY5" fmla="*/ 583788 h 1863948"/>
              <a:gd name="connsiteX6" fmla="*/ 992994 w 1071656"/>
              <a:gd name="connsiteY6" fmla="*/ 1444848 h 1863948"/>
              <a:gd name="connsiteX7" fmla="*/ 939654 w 1071656"/>
              <a:gd name="connsiteY7" fmla="*/ 1863948 h 186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656" h="1863948">
                <a:moveTo>
                  <a:pt x="25254" y="1810608"/>
                </a:moveTo>
                <a:cubicBezTo>
                  <a:pt x="65259" y="1679798"/>
                  <a:pt x="105264" y="1548988"/>
                  <a:pt x="101454" y="1345788"/>
                </a:cubicBezTo>
                <a:cubicBezTo>
                  <a:pt x="97644" y="1142588"/>
                  <a:pt x="-17926" y="803498"/>
                  <a:pt x="2394" y="591408"/>
                </a:cubicBezTo>
                <a:cubicBezTo>
                  <a:pt x="22714" y="379318"/>
                  <a:pt x="74784" y="162148"/>
                  <a:pt x="223374" y="73248"/>
                </a:cubicBezTo>
                <a:cubicBezTo>
                  <a:pt x="371964" y="-15652"/>
                  <a:pt x="752964" y="-27082"/>
                  <a:pt x="893934" y="58008"/>
                </a:cubicBezTo>
                <a:cubicBezTo>
                  <a:pt x="1034904" y="143098"/>
                  <a:pt x="1052684" y="352648"/>
                  <a:pt x="1069194" y="583788"/>
                </a:cubicBezTo>
                <a:cubicBezTo>
                  <a:pt x="1085704" y="814928"/>
                  <a:pt x="1014584" y="1231488"/>
                  <a:pt x="992994" y="1444848"/>
                </a:cubicBezTo>
                <a:cubicBezTo>
                  <a:pt x="971404" y="1658208"/>
                  <a:pt x="955529" y="1761078"/>
                  <a:pt x="939654" y="1863948"/>
                </a:cubicBezTo>
              </a:path>
            </a:pathLst>
          </a:custGeom>
          <a:noFill/>
          <a:ln w="25400" cap="flat" cmpd="sng" algn="ctr">
            <a:solidFill>
              <a:srgbClr val="C00000"/>
            </a:solidFill>
            <a:prstDash val="solid"/>
            <a:round/>
            <a:headEnd type="none" w="med" len="med"/>
            <a:tailEnd type="none" w="med" len="med"/>
          </a:ln>
          <a:effectLst/>
        </p:spPr>
        <p:txBody>
          <a:bodyPr rtlCol="0" anchor="ctr"/>
          <a:lstStyle/>
          <a:p>
            <a:pPr marL="0" indent="0" algn="ctr">
              <a:buNone/>
            </a:pPr>
            <a:endParaRPr lang="sv-SE"/>
          </a:p>
        </p:txBody>
      </p:sp>
      <p:sp>
        <p:nvSpPr>
          <p:cNvPr id="44" name="Freeform: Shape 43">
            <a:extLst>
              <a:ext uri="{FF2B5EF4-FFF2-40B4-BE49-F238E27FC236}">
                <a16:creationId xmlns:a16="http://schemas.microsoft.com/office/drawing/2014/main" id="{2B350927-50A0-4430-9FD1-02568BF24C0A}"/>
              </a:ext>
            </a:extLst>
          </p:cNvPr>
          <p:cNvSpPr/>
          <p:nvPr/>
        </p:nvSpPr>
        <p:spPr bwMode="auto">
          <a:xfrm>
            <a:off x="9932205" y="4503420"/>
            <a:ext cx="183466" cy="1935480"/>
          </a:xfrm>
          <a:custGeom>
            <a:avLst/>
            <a:gdLst>
              <a:gd name="connsiteX0" fmla="*/ 45720 w 183466"/>
              <a:gd name="connsiteY0" fmla="*/ 1935480 h 1935480"/>
              <a:gd name="connsiteX1" fmla="*/ 182880 w 183466"/>
              <a:gd name="connsiteY1" fmla="*/ 1455420 h 1935480"/>
              <a:gd name="connsiteX2" fmla="*/ 91440 w 183466"/>
              <a:gd name="connsiteY2" fmla="*/ 601980 h 1935480"/>
              <a:gd name="connsiteX3" fmla="*/ 0 w 183466"/>
              <a:gd name="connsiteY3" fmla="*/ 0 h 1935480"/>
            </a:gdLst>
            <a:ahLst/>
            <a:cxnLst>
              <a:cxn ang="0">
                <a:pos x="connsiteX0" y="connsiteY0"/>
              </a:cxn>
              <a:cxn ang="0">
                <a:pos x="connsiteX1" y="connsiteY1"/>
              </a:cxn>
              <a:cxn ang="0">
                <a:pos x="connsiteX2" y="connsiteY2"/>
              </a:cxn>
              <a:cxn ang="0">
                <a:pos x="connsiteX3" y="connsiteY3"/>
              </a:cxn>
            </a:cxnLst>
            <a:rect l="l" t="t" r="r" b="b"/>
            <a:pathLst>
              <a:path w="183466" h="1935480">
                <a:moveTo>
                  <a:pt x="45720" y="1935480"/>
                </a:moveTo>
                <a:cubicBezTo>
                  <a:pt x="110490" y="1806575"/>
                  <a:pt x="175260" y="1677670"/>
                  <a:pt x="182880" y="1455420"/>
                </a:cubicBezTo>
                <a:cubicBezTo>
                  <a:pt x="190500" y="1233170"/>
                  <a:pt x="121920" y="844550"/>
                  <a:pt x="91440" y="601980"/>
                </a:cubicBezTo>
                <a:cubicBezTo>
                  <a:pt x="60960" y="359410"/>
                  <a:pt x="30480" y="179705"/>
                  <a:pt x="0" y="0"/>
                </a:cubicBezTo>
              </a:path>
            </a:pathLst>
          </a:custGeom>
          <a:noFill/>
          <a:ln w="25400" cap="flat" cmpd="sng" algn="ctr">
            <a:solidFill>
              <a:srgbClr val="C00000"/>
            </a:solidFill>
            <a:prstDash val="solid"/>
            <a:round/>
            <a:headEnd type="none" w="med" len="med"/>
            <a:tailEnd type="none" w="med" len="med"/>
          </a:ln>
          <a:effectLst/>
        </p:spPr>
        <p:txBody>
          <a:bodyPr rtlCol="0" anchor="ctr"/>
          <a:lstStyle/>
          <a:p>
            <a:pPr marL="0" indent="0" algn="ctr">
              <a:buNone/>
            </a:pPr>
            <a:endParaRPr lang="sv-SE"/>
          </a:p>
        </p:txBody>
      </p:sp>
      <p:sp>
        <p:nvSpPr>
          <p:cNvPr id="45" name="Rectangle 44">
            <a:extLst>
              <a:ext uri="{FF2B5EF4-FFF2-40B4-BE49-F238E27FC236}">
                <a16:creationId xmlns:a16="http://schemas.microsoft.com/office/drawing/2014/main" id="{FB5D4B18-D0CF-402A-B548-3503A829C9EF}"/>
              </a:ext>
            </a:extLst>
          </p:cNvPr>
          <p:cNvSpPr/>
          <p:nvPr/>
        </p:nvSpPr>
        <p:spPr bwMode="auto">
          <a:xfrm>
            <a:off x="9824116" y="4366625"/>
            <a:ext cx="183466" cy="14683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endParaRPr kumimoji="0" lang="sv-SE" sz="1400" b="0" i="0" u="none" strike="noStrike" cap="none" normalizeH="0" baseline="0">
              <a:ln>
                <a:noFill/>
              </a:ln>
              <a:effectLst/>
              <a:latin typeface="+mn-lt"/>
            </a:endParaRPr>
          </a:p>
        </p:txBody>
      </p:sp>
      <p:sp>
        <p:nvSpPr>
          <p:cNvPr id="46" name="TextBox 45">
            <a:extLst>
              <a:ext uri="{FF2B5EF4-FFF2-40B4-BE49-F238E27FC236}">
                <a16:creationId xmlns:a16="http://schemas.microsoft.com/office/drawing/2014/main" id="{E6A8EFF0-360C-4860-ABE2-437D9365C1D1}"/>
              </a:ext>
            </a:extLst>
          </p:cNvPr>
          <p:cNvSpPr txBox="1"/>
          <p:nvPr/>
        </p:nvSpPr>
        <p:spPr bwMode="auto">
          <a:xfrm>
            <a:off x="9726600" y="5172098"/>
            <a:ext cx="456631" cy="2130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1200"/>
              <a:t>N6</a:t>
            </a:r>
          </a:p>
        </p:txBody>
      </p:sp>
      <p:sp>
        <p:nvSpPr>
          <p:cNvPr id="48" name="TextBox 47">
            <a:extLst>
              <a:ext uri="{FF2B5EF4-FFF2-40B4-BE49-F238E27FC236}">
                <a16:creationId xmlns:a16="http://schemas.microsoft.com/office/drawing/2014/main" id="{6EDF1329-1DE1-4D04-AC8F-B669B9D0EF63}"/>
              </a:ext>
            </a:extLst>
          </p:cNvPr>
          <p:cNvSpPr txBox="1"/>
          <p:nvPr/>
        </p:nvSpPr>
        <p:spPr bwMode="auto">
          <a:xfrm>
            <a:off x="8870530" y="964497"/>
            <a:ext cx="1050050" cy="7788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2000"/>
              <a:t>1. ”local switch”</a:t>
            </a:r>
          </a:p>
        </p:txBody>
      </p:sp>
      <p:sp>
        <p:nvSpPr>
          <p:cNvPr id="49" name="TextBox 48">
            <a:extLst>
              <a:ext uri="{FF2B5EF4-FFF2-40B4-BE49-F238E27FC236}">
                <a16:creationId xmlns:a16="http://schemas.microsoft.com/office/drawing/2014/main" id="{65535821-9794-4B36-8193-98C6FBFE5740}"/>
              </a:ext>
            </a:extLst>
          </p:cNvPr>
          <p:cNvSpPr txBox="1"/>
          <p:nvPr/>
        </p:nvSpPr>
        <p:spPr bwMode="auto">
          <a:xfrm>
            <a:off x="8870530" y="2963450"/>
            <a:ext cx="1050050" cy="7788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2000"/>
              <a:t>2. N19</a:t>
            </a:r>
          </a:p>
        </p:txBody>
      </p:sp>
      <p:sp>
        <p:nvSpPr>
          <p:cNvPr id="50" name="TextBox 49">
            <a:extLst>
              <a:ext uri="{FF2B5EF4-FFF2-40B4-BE49-F238E27FC236}">
                <a16:creationId xmlns:a16="http://schemas.microsoft.com/office/drawing/2014/main" id="{BE635231-282B-4053-923A-4F7DCBA1F1B6}"/>
              </a:ext>
            </a:extLst>
          </p:cNvPr>
          <p:cNvSpPr txBox="1"/>
          <p:nvPr/>
        </p:nvSpPr>
        <p:spPr bwMode="auto">
          <a:xfrm>
            <a:off x="8870530" y="5232460"/>
            <a:ext cx="1050050" cy="77883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sv-SE" sz="2000"/>
              <a:t>3. N6</a:t>
            </a:r>
          </a:p>
        </p:txBody>
      </p:sp>
      <p:cxnSp>
        <p:nvCxnSpPr>
          <p:cNvPr id="52" name="Straight Connector 51">
            <a:extLst>
              <a:ext uri="{FF2B5EF4-FFF2-40B4-BE49-F238E27FC236}">
                <a16:creationId xmlns:a16="http://schemas.microsoft.com/office/drawing/2014/main" id="{5C8CB9B0-9E5F-49AA-8BDD-79BC2675ECEF}"/>
              </a:ext>
            </a:extLst>
          </p:cNvPr>
          <p:cNvCxnSpPr/>
          <p:nvPr/>
        </p:nvCxnSpPr>
        <p:spPr bwMode="auto">
          <a:xfrm>
            <a:off x="8840424" y="2228837"/>
            <a:ext cx="3199129"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3" name="Straight Connector 52">
            <a:extLst>
              <a:ext uri="{FF2B5EF4-FFF2-40B4-BE49-F238E27FC236}">
                <a16:creationId xmlns:a16="http://schemas.microsoft.com/office/drawing/2014/main" id="{B0CB6211-DAE7-4B29-A7E9-386CF1973AF0}"/>
              </a:ext>
            </a:extLst>
          </p:cNvPr>
          <p:cNvCxnSpPr/>
          <p:nvPr/>
        </p:nvCxnSpPr>
        <p:spPr bwMode="auto">
          <a:xfrm>
            <a:off x="8855496" y="4158121"/>
            <a:ext cx="3199129"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5" name="Straight Connector 54">
            <a:extLst>
              <a:ext uri="{FF2B5EF4-FFF2-40B4-BE49-F238E27FC236}">
                <a16:creationId xmlns:a16="http://schemas.microsoft.com/office/drawing/2014/main" id="{D2BBE12B-FDF6-49AF-A2D3-22AAA228CAA6}"/>
              </a:ext>
            </a:extLst>
          </p:cNvPr>
          <p:cNvCxnSpPr/>
          <p:nvPr/>
        </p:nvCxnSpPr>
        <p:spPr bwMode="auto">
          <a:xfrm>
            <a:off x="8732018" y="633050"/>
            <a:ext cx="0" cy="595125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30" name="Rectangle 29">
            <a:extLst>
              <a:ext uri="{FF2B5EF4-FFF2-40B4-BE49-F238E27FC236}">
                <a16:creationId xmlns:a16="http://schemas.microsoft.com/office/drawing/2014/main" id="{220782AA-2BB9-45D9-AF4D-9427F1F31196}"/>
              </a:ext>
            </a:extLst>
          </p:cNvPr>
          <p:cNvSpPr/>
          <p:nvPr/>
        </p:nvSpPr>
        <p:spPr bwMode="auto">
          <a:xfrm>
            <a:off x="9852404" y="6325354"/>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A</a:t>
            </a:r>
          </a:p>
        </p:txBody>
      </p:sp>
      <p:sp>
        <p:nvSpPr>
          <p:cNvPr id="31" name="Rectangle 30">
            <a:extLst>
              <a:ext uri="{FF2B5EF4-FFF2-40B4-BE49-F238E27FC236}">
                <a16:creationId xmlns:a16="http://schemas.microsoft.com/office/drawing/2014/main" id="{FCEDE4DE-9395-4ACD-9CF7-B32E2EC42EC5}"/>
              </a:ext>
            </a:extLst>
          </p:cNvPr>
          <p:cNvSpPr/>
          <p:nvPr/>
        </p:nvSpPr>
        <p:spPr bwMode="auto">
          <a:xfrm>
            <a:off x="10806997" y="6325354"/>
            <a:ext cx="542610" cy="289798"/>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sv-SE" sz="1400" b="0" i="0" u="none" strike="noStrike" cap="none" normalizeH="0" baseline="0">
                <a:ln>
                  <a:noFill/>
                </a:ln>
                <a:effectLst/>
                <a:latin typeface="+mn-lt"/>
              </a:rPr>
              <a:t>UE B</a:t>
            </a:r>
          </a:p>
        </p:txBody>
      </p:sp>
    </p:spTree>
    <p:extLst>
      <p:ext uri="{BB962C8B-B14F-4D97-AF65-F5344CB8AC3E}">
        <p14:creationId xmlns:p14="http://schemas.microsoft.com/office/powerpoint/2010/main" val="18236173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D8C5C0E-84E0-4BDF-A640-EDC25216C4B3}"/>
              </a:ext>
            </a:extLst>
          </p:cNvPr>
          <p:cNvSpPr>
            <a:spLocks noGrp="1"/>
          </p:cNvSpPr>
          <p:nvPr>
            <p:ph sz="quarter" idx="3"/>
          </p:nvPr>
        </p:nvSpPr>
        <p:spPr>
          <a:xfrm>
            <a:off x="475736" y="4769428"/>
            <a:ext cx="5359901" cy="1612321"/>
          </a:xfrm>
        </p:spPr>
        <p:txBody>
          <a:bodyPr/>
          <a:lstStyle/>
          <a:p>
            <a:pPr>
              <a:spcBef>
                <a:spcPts val="300"/>
              </a:spcBef>
            </a:pPr>
            <a:r>
              <a:rPr lang="sv-SE" sz="1400" dirty="0"/>
              <a:t>”Isolated” (standalone) Non-Public (private) Network</a:t>
            </a:r>
          </a:p>
          <a:p>
            <a:pPr>
              <a:spcBef>
                <a:spcPts val="300"/>
              </a:spcBef>
            </a:pPr>
            <a:r>
              <a:rPr lang="en-US" sz="1400" dirty="0"/>
              <a:t>Solution – PLMN ID + NID,  </a:t>
            </a:r>
          </a:p>
          <a:p>
            <a:pPr lvl="1">
              <a:spcBef>
                <a:spcPts val="300"/>
              </a:spcBef>
            </a:pPr>
            <a:r>
              <a:rPr lang="en-US" sz="1400" dirty="0"/>
              <a:t>PLMN ID, “</a:t>
            </a:r>
            <a:r>
              <a:rPr lang="en-US" sz="1400" u="sng" dirty="0"/>
              <a:t>any” allowed</a:t>
            </a:r>
            <a:r>
              <a:rPr lang="en-US" sz="1400" dirty="0"/>
              <a:t> e.g. MCC= 999, MNC-varying</a:t>
            </a:r>
            <a:endParaRPr lang="en-US" sz="1400" u="sng" dirty="0"/>
          </a:p>
          <a:p>
            <a:pPr lvl="1">
              <a:spcBef>
                <a:spcPts val="300"/>
              </a:spcBef>
            </a:pPr>
            <a:r>
              <a:rPr lang="en-US" sz="1400" dirty="0"/>
              <a:t>New (SNPN) selection, NID seen as PLMN ID extension</a:t>
            </a:r>
          </a:p>
          <a:p>
            <a:pPr lvl="2">
              <a:spcBef>
                <a:spcPts val="300"/>
              </a:spcBef>
            </a:pPr>
            <a:r>
              <a:rPr lang="en-US" sz="1400" dirty="0"/>
              <a:t>NID extension not added to EPS IW, N3GPP procedures</a:t>
            </a:r>
          </a:p>
          <a:p>
            <a:pPr lvl="1">
              <a:spcBef>
                <a:spcPts val="300"/>
              </a:spcBef>
            </a:pPr>
            <a:r>
              <a:rPr lang="sv-SE" sz="1400" dirty="0"/>
              <a:t>In SNPN access mode the UE does not look for ”PLMN”</a:t>
            </a:r>
          </a:p>
        </p:txBody>
      </p:sp>
      <p:pic>
        <p:nvPicPr>
          <p:cNvPr id="6" name="Content Placeholder 5">
            <a:extLst>
              <a:ext uri="{FF2B5EF4-FFF2-40B4-BE49-F238E27FC236}">
                <a16:creationId xmlns:a16="http://schemas.microsoft.com/office/drawing/2014/main" id="{9BD39A2D-1B7B-499A-886D-3389B1796653}"/>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1563623" y="1546327"/>
            <a:ext cx="8510257" cy="3151733"/>
          </a:xfrm>
        </p:spPr>
      </p:pic>
      <p:sp>
        <p:nvSpPr>
          <p:cNvPr id="2" name="Title 1">
            <a:extLst>
              <a:ext uri="{FF2B5EF4-FFF2-40B4-BE49-F238E27FC236}">
                <a16:creationId xmlns:a16="http://schemas.microsoft.com/office/drawing/2014/main" id="{402A4059-2C90-4DEF-8BB2-FD79CEFEB17A}"/>
              </a:ext>
            </a:extLst>
          </p:cNvPr>
          <p:cNvSpPr>
            <a:spLocks noGrp="1"/>
          </p:cNvSpPr>
          <p:nvPr>
            <p:ph type="title"/>
          </p:nvPr>
        </p:nvSpPr>
        <p:spPr>
          <a:xfrm>
            <a:off x="479424" y="476250"/>
            <a:ext cx="11438007" cy="913638"/>
          </a:xfrm>
        </p:spPr>
        <p:txBody>
          <a:bodyPr/>
          <a:lstStyle/>
          <a:p>
            <a:r>
              <a:rPr lang="sv-SE"/>
              <a:t>IoT – 5G LAN, NPN and URLLC</a:t>
            </a:r>
            <a:r>
              <a:rPr lang="sv-SE" sz="2800"/>
              <a:t> </a:t>
            </a:r>
            <a:br>
              <a:rPr lang="sv-SE" sz="2800"/>
            </a:br>
            <a:r>
              <a:rPr lang="en-US" sz="2800" err="1"/>
              <a:t>Vertical_LAN</a:t>
            </a:r>
            <a:r>
              <a:rPr lang="en-US" sz="2800"/>
              <a:t> - Non-Public Network (NPN), SNPN and PNI NPN deployment scenarios</a:t>
            </a:r>
          </a:p>
        </p:txBody>
      </p:sp>
      <p:sp>
        <p:nvSpPr>
          <p:cNvPr id="8" name="Content Placeholder 6">
            <a:extLst>
              <a:ext uri="{FF2B5EF4-FFF2-40B4-BE49-F238E27FC236}">
                <a16:creationId xmlns:a16="http://schemas.microsoft.com/office/drawing/2014/main" id="{84AA065D-185E-4BBF-A677-D859B713C296}"/>
              </a:ext>
            </a:extLst>
          </p:cNvPr>
          <p:cNvSpPr txBox="1">
            <a:spLocks/>
          </p:cNvSpPr>
          <p:nvPr/>
        </p:nvSpPr>
        <p:spPr bwMode="auto">
          <a:xfrm>
            <a:off x="5705875" y="4769431"/>
            <a:ext cx="6211557" cy="1857400"/>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182563" indent="-182563">
              <a:buFont typeface="Arial" panose="020B0604020202020204" pitchFamily="34" charset="0"/>
              <a:buChar char="•"/>
            </a:pPr>
            <a:r>
              <a:rPr lang="sv-SE" sz="1400"/>
              <a:t>NPN deployed using resources commonly with public network</a:t>
            </a:r>
          </a:p>
          <a:p>
            <a:pPr marL="182563" indent="-182563">
              <a:buFont typeface="Arial" panose="020B0604020202020204" pitchFamily="34" charset="0"/>
              <a:buChar char="•"/>
            </a:pPr>
            <a:r>
              <a:rPr lang="sv-SE" sz="1400"/>
              <a:t>5G-ACIA discussed different levels of sharing e.g. RAN, RAN+CP, RAN+CP+UP</a:t>
            </a:r>
          </a:p>
          <a:p>
            <a:pPr marL="182563" indent="-182563">
              <a:buFont typeface="Arial" panose="020B0604020202020204" pitchFamily="34" charset="0"/>
              <a:buChar char="•"/>
            </a:pPr>
            <a:r>
              <a:rPr lang="en-US" sz="1400"/>
              <a:t>Solution – PLMN ID + CAG ID</a:t>
            </a:r>
            <a:endParaRPr lang="en-US" sz="1400">
              <a:highlight>
                <a:srgbClr val="FFFF00"/>
              </a:highlight>
            </a:endParaRPr>
          </a:p>
          <a:p>
            <a:pPr marL="539750" lvl="1" indent="-169863">
              <a:buFont typeface="Arial" panose="020B0604020202020204" pitchFamily="34" charset="0"/>
              <a:buChar char="•"/>
            </a:pPr>
            <a:r>
              <a:rPr lang="en-US" sz="1400"/>
              <a:t>CAG ID used for access control and impact cell re/selection </a:t>
            </a:r>
          </a:p>
          <a:p>
            <a:pPr marL="539750" lvl="1" indent="-169863">
              <a:buFont typeface="Arial" panose="020B0604020202020204" pitchFamily="34" charset="0"/>
              <a:buChar char="•"/>
            </a:pPr>
            <a:r>
              <a:rPr lang="en-US" sz="1400"/>
              <a:t>details on any impact to PLMN selection for CT1</a:t>
            </a:r>
          </a:p>
          <a:p>
            <a:pPr marL="539750" lvl="1" indent="-169863">
              <a:buFont typeface="Arial" panose="020B0604020202020204" pitchFamily="34" charset="0"/>
              <a:buChar char="•"/>
            </a:pPr>
            <a:r>
              <a:rPr lang="en-US" sz="1400"/>
              <a:t>Allowed CAG list added to Mobility Restrictions</a:t>
            </a:r>
          </a:p>
          <a:p>
            <a:pPr marL="539750" lvl="1" indent="-169863">
              <a:buFont typeface="Arial" panose="020B0604020202020204" pitchFamily="34" charset="0"/>
              <a:buChar char="•"/>
            </a:pPr>
            <a:r>
              <a:rPr lang="en-US" sz="1400"/>
              <a:t>NPN as a Network Slice described in informative annex</a:t>
            </a:r>
          </a:p>
          <a:p>
            <a:pPr>
              <a:buFont typeface="Arial" panose="020B0604020202020204" pitchFamily="34" charset="0"/>
              <a:buChar char="•"/>
            </a:pPr>
            <a:endParaRPr lang="sv-SE" sz="1400"/>
          </a:p>
        </p:txBody>
      </p:sp>
      <p:sp>
        <p:nvSpPr>
          <p:cNvPr id="9" name="TextBox 8">
            <a:extLst>
              <a:ext uri="{FF2B5EF4-FFF2-40B4-BE49-F238E27FC236}">
                <a16:creationId xmlns:a16="http://schemas.microsoft.com/office/drawing/2014/main" id="{169DBAC4-2C08-4975-AD64-00D1AF61F32D}"/>
              </a:ext>
            </a:extLst>
          </p:cNvPr>
          <p:cNvSpPr txBox="1"/>
          <p:nvPr/>
        </p:nvSpPr>
        <p:spPr bwMode="auto">
          <a:xfrm>
            <a:off x="9992638" y="4063300"/>
            <a:ext cx="1130967" cy="770022"/>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sv-SE" sz="1400"/>
              <a:t>Picture from </a:t>
            </a:r>
          </a:p>
          <a:p>
            <a:pPr marL="0" indent="0" algn="l">
              <a:buClr>
                <a:schemeClr val="tx1"/>
              </a:buClr>
              <a:buNone/>
            </a:pPr>
            <a:r>
              <a:rPr lang="sv-SE" sz="1400">
                <a:hlinkClick r:id="rId4"/>
              </a:rPr>
              <a:t>5G-ACIA whitepaper</a:t>
            </a:r>
            <a:endParaRPr lang="sv-SE" sz="1400"/>
          </a:p>
        </p:txBody>
      </p:sp>
    </p:spTree>
    <p:extLst>
      <p:ext uri="{BB962C8B-B14F-4D97-AF65-F5344CB8AC3E}">
        <p14:creationId xmlns:p14="http://schemas.microsoft.com/office/powerpoint/2010/main" val="34053398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A7FA4AE4-F653-4AED-A927-F8C530AE5295}"/>
              </a:ext>
            </a:extLst>
          </p:cNvPr>
          <p:cNvSpPr/>
          <p:nvPr/>
        </p:nvSpPr>
        <p:spPr bwMode="auto">
          <a:xfrm>
            <a:off x="6361249" y="4870175"/>
            <a:ext cx="1459823" cy="1563756"/>
          </a:xfrm>
          <a:prstGeom prst="rect">
            <a:avLst/>
          </a:prstGeom>
          <a:no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 name="Title 1">
            <a:extLst>
              <a:ext uri="{FF2B5EF4-FFF2-40B4-BE49-F238E27FC236}">
                <a16:creationId xmlns:a16="http://schemas.microsoft.com/office/drawing/2014/main" id="{E337BB79-7200-4B96-BA53-0A8946B2435B}"/>
              </a:ext>
            </a:extLst>
          </p:cNvPr>
          <p:cNvSpPr>
            <a:spLocks noGrp="1"/>
          </p:cNvSpPr>
          <p:nvPr>
            <p:ph type="title"/>
          </p:nvPr>
        </p:nvSpPr>
        <p:spPr>
          <a:xfrm>
            <a:off x="479424" y="476250"/>
            <a:ext cx="10485916" cy="1081088"/>
          </a:xfrm>
        </p:spPr>
        <p:txBody>
          <a:bodyPr/>
          <a:lstStyle/>
          <a:p>
            <a:r>
              <a:rPr lang="sv-SE"/>
              <a:t>IoT – 5G LAN, NPN and URLLC</a:t>
            </a:r>
            <a:r>
              <a:rPr lang="sv-SE" sz="2800"/>
              <a:t> </a:t>
            </a:r>
            <a:br>
              <a:rPr lang="sv-SE" sz="2800"/>
            </a:br>
            <a:r>
              <a:rPr lang="en-US" sz="2800"/>
              <a:t>Private networks – different models serving different needs</a:t>
            </a:r>
          </a:p>
        </p:txBody>
      </p:sp>
      <p:sp>
        <p:nvSpPr>
          <p:cNvPr id="5" name="TextBox 4">
            <a:extLst>
              <a:ext uri="{FF2B5EF4-FFF2-40B4-BE49-F238E27FC236}">
                <a16:creationId xmlns:a16="http://schemas.microsoft.com/office/drawing/2014/main" id="{FCF018C6-8C94-4311-B057-C2CC07ACEE90}"/>
              </a:ext>
            </a:extLst>
          </p:cNvPr>
          <p:cNvSpPr txBox="1"/>
          <p:nvPr/>
        </p:nvSpPr>
        <p:spPr bwMode="auto">
          <a:xfrm>
            <a:off x="479424" y="1509095"/>
            <a:ext cx="11374645" cy="991756"/>
          </a:xfrm>
          <a:prstGeom prst="rect">
            <a:avLst/>
          </a:prstGeom>
          <a:noFill/>
          <a:ln w="19050">
            <a:solidFill>
              <a:schemeClr val="tx1"/>
            </a:solid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en-US" sz="2000" b="1"/>
              <a:t>Private 5G Networks </a:t>
            </a:r>
            <a:r>
              <a:rPr lang="en-US" sz="2000"/>
              <a:t>(Services). Offerings providing enterprises, utilities etc</a:t>
            </a:r>
            <a:r>
              <a:rPr lang="en-US"/>
              <a:t>. a customized network experience/service, with specific characteristics/SLAs, security, exposed APIs,  self-management beyond what is feasible with services based on the regular public network as it is.</a:t>
            </a:r>
            <a:endParaRPr lang="en-US" sz="2000"/>
          </a:p>
        </p:txBody>
      </p:sp>
      <p:sp>
        <p:nvSpPr>
          <p:cNvPr id="6" name="TextBox 5">
            <a:extLst>
              <a:ext uri="{FF2B5EF4-FFF2-40B4-BE49-F238E27FC236}">
                <a16:creationId xmlns:a16="http://schemas.microsoft.com/office/drawing/2014/main" id="{4BC16702-D5E3-494D-8F91-B0004A84AB07}"/>
              </a:ext>
            </a:extLst>
          </p:cNvPr>
          <p:cNvSpPr txBox="1"/>
          <p:nvPr/>
        </p:nvSpPr>
        <p:spPr bwMode="auto">
          <a:xfrm>
            <a:off x="3846883" y="2640565"/>
            <a:ext cx="4565918" cy="519872"/>
          </a:xfrm>
          <a:prstGeom prst="rect">
            <a:avLst/>
          </a:prstGeom>
          <a:noFill/>
          <a:ln w="12700">
            <a:noFill/>
            <a:miter lim="800000"/>
            <a:headEnd/>
            <a:tailEnd/>
          </a:ln>
        </p:spPr>
        <p:txBody>
          <a:bodyPr vert="horz" wrap="none" lIns="72000" tIns="36000" rIns="73152" bIns="36576" numCol="1" rtlCol="0" anchor="ctr" anchorCtr="0" compatLnSpc="1">
            <a:prstTxWarp prst="textNoShape">
              <a:avLst/>
            </a:prstTxWarp>
            <a:noAutofit/>
          </a:bodyPr>
          <a:lstStyle/>
          <a:p>
            <a:pPr marL="0" indent="0" algn="ctr">
              <a:buClr>
                <a:schemeClr val="tx1"/>
              </a:buClr>
              <a:buNone/>
            </a:pPr>
            <a:r>
              <a:rPr lang="en-US" sz="2000"/>
              <a:t>Different variants:</a:t>
            </a:r>
          </a:p>
        </p:txBody>
      </p:sp>
      <p:sp>
        <p:nvSpPr>
          <p:cNvPr id="7" name="TextBox 6">
            <a:extLst>
              <a:ext uri="{FF2B5EF4-FFF2-40B4-BE49-F238E27FC236}">
                <a16:creationId xmlns:a16="http://schemas.microsoft.com/office/drawing/2014/main" id="{378C70EB-6507-4F91-AE72-8BB89E35BC48}"/>
              </a:ext>
            </a:extLst>
          </p:cNvPr>
          <p:cNvSpPr txBox="1"/>
          <p:nvPr/>
        </p:nvSpPr>
        <p:spPr bwMode="auto">
          <a:xfrm>
            <a:off x="468044" y="3300152"/>
            <a:ext cx="3655253" cy="3209474"/>
          </a:xfrm>
          <a:prstGeom prst="rect">
            <a:avLst/>
          </a:prstGeom>
          <a:solidFill>
            <a:schemeClr val="bg1"/>
          </a:solidFill>
          <a:ln w="19050">
            <a:solidFill>
              <a:schemeClr val="tx1"/>
            </a:solid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en-US" sz="1800" b="1"/>
              <a:t>Stand-alone Private 5G Network (3GPP </a:t>
            </a:r>
            <a:r>
              <a:rPr lang="en-US" b="1"/>
              <a:t>term: </a:t>
            </a:r>
            <a:r>
              <a:rPr lang="en-US" sz="1800" b="1"/>
              <a:t>S-NPN) </a:t>
            </a:r>
            <a:r>
              <a:rPr lang="en-US" sz="1800"/>
              <a:t> </a:t>
            </a:r>
            <a:br>
              <a:rPr lang="en-US" sz="1800"/>
            </a:br>
            <a:r>
              <a:rPr lang="en-US" sz="1600"/>
              <a:t>Isolated network at the customer site. Slicing to isolate and customize per use case</a:t>
            </a:r>
            <a:endParaRPr lang="en-US" sz="1800"/>
          </a:p>
        </p:txBody>
      </p:sp>
      <p:sp>
        <p:nvSpPr>
          <p:cNvPr id="10" name="TextBox 9">
            <a:extLst>
              <a:ext uri="{FF2B5EF4-FFF2-40B4-BE49-F238E27FC236}">
                <a16:creationId xmlns:a16="http://schemas.microsoft.com/office/drawing/2014/main" id="{FCD16038-6760-4A04-82CE-E4F56611BA84}"/>
              </a:ext>
            </a:extLst>
          </p:cNvPr>
          <p:cNvSpPr txBox="1"/>
          <p:nvPr/>
        </p:nvSpPr>
        <p:spPr bwMode="auto">
          <a:xfrm>
            <a:off x="4364058" y="3317221"/>
            <a:ext cx="3655253" cy="3209474"/>
          </a:xfrm>
          <a:prstGeom prst="rect">
            <a:avLst/>
          </a:prstGeom>
          <a:noFill/>
          <a:ln w="19050">
            <a:solidFill>
              <a:schemeClr val="tx1"/>
            </a:solid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en-US" sz="1800" b="1"/>
              <a:t>Hybrid Private 5G Network </a:t>
            </a:r>
            <a:br>
              <a:rPr lang="en-US" sz="1800" b="1"/>
            </a:br>
            <a:r>
              <a:rPr lang="en-US" sz="1800" b="1"/>
              <a:t>(3GPP term: PNI-NPN)</a:t>
            </a:r>
          </a:p>
          <a:p>
            <a:pPr marL="0" indent="0" algn="l">
              <a:buClr>
                <a:schemeClr val="tx1"/>
              </a:buClr>
              <a:buNone/>
            </a:pPr>
            <a:r>
              <a:rPr lang="en-US" sz="1600"/>
              <a:t>On-site plus infrastructure also used for public services. Slicing to isolate and customize per customer and use case,</a:t>
            </a:r>
            <a:endParaRPr lang="en-US" sz="1400"/>
          </a:p>
        </p:txBody>
      </p:sp>
      <p:sp>
        <p:nvSpPr>
          <p:cNvPr id="11" name="Rectangle 10">
            <a:extLst>
              <a:ext uri="{FF2B5EF4-FFF2-40B4-BE49-F238E27FC236}">
                <a16:creationId xmlns:a16="http://schemas.microsoft.com/office/drawing/2014/main" id="{0C686724-BBAE-4D71-816A-5386366A57BE}"/>
              </a:ext>
            </a:extLst>
          </p:cNvPr>
          <p:cNvSpPr/>
          <p:nvPr/>
        </p:nvSpPr>
        <p:spPr bwMode="auto">
          <a:xfrm>
            <a:off x="775252" y="4744279"/>
            <a:ext cx="2408493" cy="1563756"/>
          </a:xfrm>
          <a:prstGeom prst="rect">
            <a:avLst/>
          </a:prstGeom>
          <a:no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2" name="TextBox 11">
            <a:extLst>
              <a:ext uri="{FF2B5EF4-FFF2-40B4-BE49-F238E27FC236}">
                <a16:creationId xmlns:a16="http://schemas.microsoft.com/office/drawing/2014/main" id="{D5A98974-550F-4115-A3F3-44DAF5310F41}"/>
              </a:ext>
            </a:extLst>
          </p:cNvPr>
          <p:cNvSpPr txBox="1"/>
          <p:nvPr/>
        </p:nvSpPr>
        <p:spPr bwMode="auto">
          <a:xfrm>
            <a:off x="810940" y="4765362"/>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200"/>
              <a:t>On prem</a:t>
            </a:r>
          </a:p>
        </p:txBody>
      </p:sp>
      <p:sp>
        <p:nvSpPr>
          <p:cNvPr id="13" name="Subtitle 7">
            <a:extLst>
              <a:ext uri="{FF2B5EF4-FFF2-40B4-BE49-F238E27FC236}">
                <a16:creationId xmlns:a16="http://schemas.microsoft.com/office/drawing/2014/main" id="{4AF60A83-E143-49FF-A26A-2A775C88D91B}"/>
              </a:ext>
            </a:extLst>
          </p:cNvPr>
          <p:cNvSpPr txBox="1">
            <a:spLocks noChangeAspect="1"/>
          </p:cNvSpPr>
          <p:nvPr/>
        </p:nvSpPr>
        <p:spPr>
          <a:xfrm>
            <a:off x="1491582" y="5025096"/>
            <a:ext cx="392786" cy="1120924"/>
          </a:xfrm>
          <a:prstGeom prst="rect">
            <a:avLst/>
          </a:prstGeom>
          <a:solidFill>
            <a:schemeClr val="bg1"/>
          </a:solidFill>
          <a:ln w="19050">
            <a:solidFill>
              <a:schemeClr val="accent2"/>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24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B</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a:ea typeface="+mn-ea"/>
              <a:cs typeface="+mn-cs"/>
            </a:endParaRP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grpSp>
        <p:nvGrpSpPr>
          <p:cNvPr id="14" name="Picture Placeholder 35">
            <a:extLst>
              <a:ext uri="{FF2B5EF4-FFF2-40B4-BE49-F238E27FC236}">
                <a16:creationId xmlns:a16="http://schemas.microsoft.com/office/drawing/2014/main" id="{B9F89EE6-E19C-45C0-854C-6AAB0CB7F730}"/>
              </a:ext>
            </a:extLst>
          </p:cNvPr>
          <p:cNvGrpSpPr>
            <a:grpSpLocks noChangeAspect="1"/>
          </p:cNvGrpSpPr>
          <p:nvPr/>
        </p:nvGrpSpPr>
        <p:grpSpPr>
          <a:xfrm>
            <a:off x="943548" y="5190837"/>
            <a:ext cx="368522" cy="280077"/>
            <a:chOff x="472157" y="583425"/>
            <a:chExt cx="810863" cy="616257"/>
          </a:xfrm>
          <a:solidFill>
            <a:schemeClr val="accent2"/>
          </a:solidFill>
        </p:grpSpPr>
        <p:sp>
          <p:nvSpPr>
            <p:cNvPr id="15" name="Freeform 64">
              <a:extLst>
                <a:ext uri="{FF2B5EF4-FFF2-40B4-BE49-F238E27FC236}">
                  <a16:creationId xmlns:a16="http://schemas.microsoft.com/office/drawing/2014/main" id="{D9609D42-7BBE-402A-875B-17499E095DB8}"/>
                </a:ext>
              </a:extLst>
            </p:cNvPr>
            <p:cNvSpPr/>
            <p:nvPr/>
          </p:nvSpPr>
          <p:spPr>
            <a:xfrm>
              <a:off x="472157" y="884346"/>
              <a:ext cx="810863" cy="315336"/>
            </a:xfrm>
            <a:custGeom>
              <a:avLst/>
              <a:gdLst>
                <a:gd name="connsiteX0" fmla="*/ 527061 w 810863"/>
                <a:gd name="connsiteY0" fmla="*/ 48652 h 315335"/>
                <a:gd name="connsiteX1" fmla="*/ 301821 w 810863"/>
                <a:gd name="connsiteY1" fmla="*/ 48652 h 315335"/>
                <a:gd name="connsiteX2" fmla="*/ 301821 w 810863"/>
                <a:gd name="connsiteY2" fmla="*/ 0 h 315335"/>
                <a:gd name="connsiteX3" fmla="*/ 0 w 810863"/>
                <a:gd name="connsiteY3" fmla="*/ 0 h 315335"/>
                <a:gd name="connsiteX4" fmla="*/ 0 w 810863"/>
                <a:gd name="connsiteY4" fmla="*/ 170281 h 315335"/>
                <a:gd name="connsiteX5" fmla="*/ 45048 w 810863"/>
                <a:gd name="connsiteY5" fmla="*/ 170281 h 315335"/>
                <a:gd name="connsiteX6" fmla="*/ 45048 w 810863"/>
                <a:gd name="connsiteY6" fmla="*/ 260377 h 315335"/>
                <a:gd name="connsiteX7" fmla="*/ 139647 w 810863"/>
                <a:gd name="connsiteY7" fmla="*/ 355879 h 315335"/>
                <a:gd name="connsiteX8" fmla="*/ 139649 w 810863"/>
                <a:gd name="connsiteY8" fmla="*/ 355879 h 315335"/>
                <a:gd name="connsiteX9" fmla="*/ 301821 w 810863"/>
                <a:gd name="connsiteY9" fmla="*/ 355879 h 315335"/>
                <a:gd name="connsiteX10" fmla="*/ 396567 w 810863"/>
                <a:gd name="connsiteY10" fmla="*/ 258736 h 315335"/>
                <a:gd name="connsiteX11" fmla="*/ 396422 w 810863"/>
                <a:gd name="connsiteY11" fmla="*/ 254521 h 315335"/>
                <a:gd name="connsiteX12" fmla="*/ 445325 w 810863"/>
                <a:gd name="connsiteY12" fmla="*/ 195759 h 315335"/>
                <a:gd name="connsiteX13" fmla="*/ 504087 w 810863"/>
                <a:gd name="connsiteY13" fmla="*/ 244662 h 315335"/>
                <a:gd name="connsiteX14" fmla="*/ 504087 w 810863"/>
                <a:gd name="connsiteY14" fmla="*/ 254521 h 315335"/>
                <a:gd name="connsiteX15" fmla="*/ 602291 w 810863"/>
                <a:gd name="connsiteY15" fmla="*/ 355879 h 315335"/>
                <a:gd name="connsiteX16" fmla="*/ 757256 w 810863"/>
                <a:gd name="connsiteY16" fmla="*/ 355879 h 315335"/>
                <a:gd name="connsiteX17" fmla="*/ 855461 w 810863"/>
                <a:gd name="connsiteY17" fmla="*/ 256323 h 315335"/>
                <a:gd name="connsiteX18" fmla="*/ 855461 w 810863"/>
                <a:gd name="connsiteY18" fmla="*/ 48652 h 315335"/>
                <a:gd name="connsiteX19" fmla="*/ 45048 w 810863"/>
                <a:gd name="connsiteY19" fmla="*/ 45048 h 315335"/>
                <a:gd name="connsiteX20" fmla="*/ 254971 w 810863"/>
                <a:gd name="connsiteY20" fmla="*/ 45048 h 315335"/>
                <a:gd name="connsiteX21" fmla="*/ 254971 w 810863"/>
                <a:gd name="connsiteY21" fmla="*/ 125233 h 315335"/>
                <a:gd name="connsiteX22" fmla="*/ 45048 w 810863"/>
                <a:gd name="connsiteY22" fmla="*/ 125233 h 315335"/>
                <a:gd name="connsiteX23" fmla="*/ 810863 w 810863"/>
                <a:gd name="connsiteY23" fmla="*/ 255422 h 315335"/>
                <a:gd name="connsiteX24" fmla="*/ 757707 w 810863"/>
                <a:gd name="connsiteY24" fmla="*/ 309930 h 315335"/>
                <a:gd name="connsiteX25" fmla="*/ 602742 w 810863"/>
                <a:gd name="connsiteY25" fmla="*/ 309930 h 315335"/>
                <a:gd name="connsiteX26" fmla="*/ 549585 w 810863"/>
                <a:gd name="connsiteY26" fmla="*/ 253620 h 315335"/>
                <a:gd name="connsiteX27" fmla="*/ 457383 w 810863"/>
                <a:gd name="connsiteY27" fmla="*/ 148062 h 315335"/>
                <a:gd name="connsiteX28" fmla="*/ 351825 w 810863"/>
                <a:gd name="connsiteY28" fmla="*/ 240264 h 315335"/>
                <a:gd name="connsiteX29" fmla="*/ 351825 w 810863"/>
                <a:gd name="connsiteY29" fmla="*/ 253620 h 315335"/>
                <a:gd name="connsiteX30" fmla="*/ 305691 w 810863"/>
                <a:gd name="connsiteY30" fmla="*/ 309712 h 315335"/>
                <a:gd name="connsiteX31" fmla="*/ 302272 w 810863"/>
                <a:gd name="connsiteY31" fmla="*/ 309930 h 315335"/>
                <a:gd name="connsiteX32" fmla="*/ 140099 w 810863"/>
                <a:gd name="connsiteY32" fmla="*/ 309930 h 315335"/>
                <a:gd name="connsiteX33" fmla="*/ 90546 w 810863"/>
                <a:gd name="connsiteY33" fmla="*/ 259480 h 315335"/>
                <a:gd name="connsiteX34" fmla="*/ 90546 w 810863"/>
                <a:gd name="connsiteY34" fmla="*/ 259476 h 315335"/>
                <a:gd name="connsiteX35" fmla="*/ 90546 w 810863"/>
                <a:gd name="connsiteY35" fmla="*/ 169380 h 315335"/>
                <a:gd name="connsiteX36" fmla="*/ 300019 w 810863"/>
                <a:gd name="connsiteY36" fmla="*/ 169380 h 315335"/>
                <a:gd name="connsiteX37" fmla="*/ 300019 w 810863"/>
                <a:gd name="connsiteY37" fmla="*/ 92799 h 315335"/>
                <a:gd name="connsiteX38" fmla="*/ 810863 w 810863"/>
                <a:gd name="connsiteY38" fmla="*/ 92799 h 3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10863" h="315335">
                  <a:moveTo>
                    <a:pt x="527061" y="48652"/>
                  </a:moveTo>
                  <a:lnTo>
                    <a:pt x="301821" y="48652"/>
                  </a:lnTo>
                  <a:lnTo>
                    <a:pt x="301821" y="0"/>
                  </a:lnTo>
                  <a:lnTo>
                    <a:pt x="0" y="0"/>
                  </a:lnTo>
                  <a:lnTo>
                    <a:pt x="0" y="170281"/>
                  </a:lnTo>
                  <a:lnTo>
                    <a:pt x="45048" y="170281"/>
                  </a:lnTo>
                  <a:lnTo>
                    <a:pt x="45048" y="260377"/>
                  </a:lnTo>
                  <a:cubicBezTo>
                    <a:pt x="44799" y="312872"/>
                    <a:pt x="87152" y="355630"/>
                    <a:pt x="139647" y="355879"/>
                  </a:cubicBezTo>
                  <a:cubicBezTo>
                    <a:pt x="139647" y="355879"/>
                    <a:pt x="139648" y="355879"/>
                    <a:pt x="139649" y="355879"/>
                  </a:cubicBezTo>
                  <a:lnTo>
                    <a:pt x="301821" y="355879"/>
                  </a:lnTo>
                  <a:cubicBezTo>
                    <a:pt x="354810" y="355217"/>
                    <a:pt x="397229" y="311724"/>
                    <a:pt x="396567" y="258736"/>
                  </a:cubicBezTo>
                  <a:cubicBezTo>
                    <a:pt x="396550" y="257330"/>
                    <a:pt x="396501" y="255925"/>
                    <a:pt x="396422" y="254521"/>
                  </a:cubicBezTo>
                  <a:cubicBezTo>
                    <a:pt x="393699" y="224790"/>
                    <a:pt x="415594" y="198482"/>
                    <a:pt x="445325" y="195759"/>
                  </a:cubicBezTo>
                  <a:cubicBezTo>
                    <a:pt x="475055" y="193037"/>
                    <a:pt x="501364" y="214931"/>
                    <a:pt x="504087" y="244662"/>
                  </a:cubicBezTo>
                  <a:cubicBezTo>
                    <a:pt x="504387" y="247941"/>
                    <a:pt x="504387" y="251241"/>
                    <a:pt x="504087" y="254521"/>
                  </a:cubicBezTo>
                  <a:cubicBezTo>
                    <a:pt x="503334" y="309582"/>
                    <a:pt x="547234" y="354892"/>
                    <a:pt x="602291" y="355879"/>
                  </a:cubicBezTo>
                  <a:lnTo>
                    <a:pt x="757256" y="355879"/>
                  </a:lnTo>
                  <a:cubicBezTo>
                    <a:pt x="811815" y="355383"/>
                    <a:pt x="855711" y="310883"/>
                    <a:pt x="855461" y="256323"/>
                  </a:cubicBezTo>
                  <a:lnTo>
                    <a:pt x="855461" y="48652"/>
                  </a:lnTo>
                  <a:close/>
                  <a:moveTo>
                    <a:pt x="45048" y="45048"/>
                  </a:moveTo>
                  <a:lnTo>
                    <a:pt x="254971" y="45048"/>
                  </a:lnTo>
                  <a:lnTo>
                    <a:pt x="254971" y="125233"/>
                  </a:lnTo>
                  <a:lnTo>
                    <a:pt x="45048" y="125233"/>
                  </a:lnTo>
                  <a:close/>
                  <a:moveTo>
                    <a:pt x="810863" y="255422"/>
                  </a:moveTo>
                  <a:cubicBezTo>
                    <a:pt x="811115" y="285104"/>
                    <a:pt x="787386" y="309436"/>
                    <a:pt x="757707" y="309930"/>
                  </a:cubicBezTo>
                  <a:lnTo>
                    <a:pt x="602742" y="309930"/>
                  </a:lnTo>
                  <a:cubicBezTo>
                    <a:pt x="572671" y="308711"/>
                    <a:pt x="549071" y="283711"/>
                    <a:pt x="549585" y="253620"/>
                  </a:cubicBezTo>
                  <a:cubicBezTo>
                    <a:pt x="553273" y="199010"/>
                    <a:pt x="511993" y="151750"/>
                    <a:pt x="457383" y="148062"/>
                  </a:cubicBezTo>
                  <a:cubicBezTo>
                    <a:pt x="402773" y="144374"/>
                    <a:pt x="355513" y="185654"/>
                    <a:pt x="351825" y="240264"/>
                  </a:cubicBezTo>
                  <a:cubicBezTo>
                    <a:pt x="351524" y="244711"/>
                    <a:pt x="351524" y="249173"/>
                    <a:pt x="351825" y="253620"/>
                  </a:cubicBezTo>
                  <a:cubicBezTo>
                    <a:pt x="354574" y="281849"/>
                    <a:pt x="333920" y="306962"/>
                    <a:pt x="305691" y="309712"/>
                  </a:cubicBezTo>
                  <a:cubicBezTo>
                    <a:pt x="304554" y="309823"/>
                    <a:pt x="303414" y="309895"/>
                    <a:pt x="302272" y="309930"/>
                  </a:cubicBezTo>
                  <a:lnTo>
                    <a:pt x="140099" y="309930"/>
                  </a:lnTo>
                  <a:cubicBezTo>
                    <a:pt x="112484" y="309682"/>
                    <a:pt x="90299" y="287095"/>
                    <a:pt x="90546" y="259480"/>
                  </a:cubicBezTo>
                  <a:cubicBezTo>
                    <a:pt x="90546" y="259479"/>
                    <a:pt x="90546" y="259478"/>
                    <a:pt x="90546" y="259476"/>
                  </a:cubicBezTo>
                  <a:lnTo>
                    <a:pt x="90546" y="169380"/>
                  </a:lnTo>
                  <a:lnTo>
                    <a:pt x="300019" y="169380"/>
                  </a:lnTo>
                  <a:lnTo>
                    <a:pt x="300019" y="92799"/>
                  </a:lnTo>
                  <a:lnTo>
                    <a:pt x="810863" y="92799"/>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6" name="Freeform 65">
              <a:extLst>
                <a:ext uri="{FF2B5EF4-FFF2-40B4-BE49-F238E27FC236}">
                  <a16:creationId xmlns:a16="http://schemas.microsoft.com/office/drawing/2014/main" id="{8406F5E3-CD6E-43D6-9F7D-44B0F9184E70}"/>
                </a:ext>
              </a:extLst>
            </p:cNvPr>
            <p:cNvSpPr/>
            <p:nvPr/>
          </p:nvSpPr>
          <p:spPr>
            <a:xfrm>
              <a:off x="900113" y="583425"/>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7" name="Freeform 66">
              <a:extLst>
                <a:ext uri="{FF2B5EF4-FFF2-40B4-BE49-F238E27FC236}">
                  <a16:creationId xmlns:a16="http://schemas.microsoft.com/office/drawing/2014/main" id="{53929554-3863-459C-AC08-336EA1FA2BD9}"/>
                </a:ext>
              </a:extLst>
            </p:cNvPr>
            <p:cNvSpPr/>
            <p:nvPr/>
          </p:nvSpPr>
          <p:spPr>
            <a:xfrm>
              <a:off x="900113" y="763617"/>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8" name="Freeform 67">
              <a:extLst>
                <a:ext uri="{FF2B5EF4-FFF2-40B4-BE49-F238E27FC236}">
                  <a16:creationId xmlns:a16="http://schemas.microsoft.com/office/drawing/2014/main" id="{6C0B1EDD-6A33-406C-A67F-0387DA0B4222}"/>
                </a:ext>
              </a:extLst>
            </p:cNvPr>
            <p:cNvSpPr/>
            <p:nvPr/>
          </p:nvSpPr>
          <p:spPr>
            <a:xfrm>
              <a:off x="900113" y="673521"/>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grpSp>
        <p:nvGrpSpPr>
          <p:cNvPr id="19" name="Picture Placeholder 29">
            <a:extLst>
              <a:ext uri="{FF2B5EF4-FFF2-40B4-BE49-F238E27FC236}">
                <a16:creationId xmlns:a16="http://schemas.microsoft.com/office/drawing/2014/main" id="{32C2A6D2-E04E-4B21-A0ED-086313AF4C4F}"/>
              </a:ext>
            </a:extLst>
          </p:cNvPr>
          <p:cNvGrpSpPr>
            <a:grpSpLocks noChangeAspect="1"/>
          </p:cNvGrpSpPr>
          <p:nvPr/>
        </p:nvGrpSpPr>
        <p:grpSpPr>
          <a:xfrm>
            <a:off x="946180" y="5710051"/>
            <a:ext cx="291263" cy="337745"/>
            <a:chOff x="465850" y="392964"/>
            <a:chExt cx="855911" cy="992504"/>
          </a:xfrm>
          <a:solidFill>
            <a:schemeClr val="accent3"/>
          </a:solidFill>
        </p:grpSpPr>
        <p:sp>
          <p:nvSpPr>
            <p:cNvPr id="20" name="Freeform 2">
              <a:extLst>
                <a:ext uri="{FF2B5EF4-FFF2-40B4-BE49-F238E27FC236}">
                  <a16:creationId xmlns:a16="http://schemas.microsoft.com/office/drawing/2014/main" id="{BE2D7E19-4A5C-4C78-B374-ED5B6DB0DCD7}"/>
                </a:ext>
              </a:extLst>
            </p:cNvPr>
            <p:cNvSpPr/>
            <p:nvPr/>
          </p:nvSpPr>
          <p:spPr>
            <a:xfrm>
              <a:off x="555496" y="1136848"/>
              <a:ext cx="180192" cy="180455"/>
            </a:xfrm>
            <a:custGeom>
              <a:avLst/>
              <a:gdLst>
                <a:gd name="connsiteX0" fmla="*/ 0 w 180191"/>
                <a:gd name="connsiteY0" fmla="*/ 90228 h 180455"/>
                <a:gd name="connsiteX1" fmla="*/ 90096 w 180191"/>
                <a:gd name="connsiteY1" fmla="*/ 180455 h 180455"/>
                <a:gd name="connsiteX2" fmla="*/ 180192 w 180191"/>
                <a:gd name="connsiteY2" fmla="*/ 90228 h 180455"/>
                <a:gd name="connsiteX3" fmla="*/ 90096 w 180191"/>
                <a:gd name="connsiteY3" fmla="*/ 0 h 180455"/>
                <a:gd name="connsiteX4" fmla="*/ 0 w 180191"/>
                <a:gd name="connsiteY4" fmla="*/ 90228 h 180455"/>
                <a:gd name="connsiteX5" fmla="*/ 135144 w 180191"/>
                <a:gd name="connsiteY5" fmla="*/ 90228 h 180455"/>
                <a:gd name="connsiteX6" fmla="*/ 90096 w 180191"/>
                <a:gd name="connsiteY6" fmla="*/ 135341 h 180455"/>
                <a:gd name="connsiteX7" fmla="*/ 45048 w 180191"/>
                <a:gd name="connsiteY7" fmla="*/ 90228 h 180455"/>
                <a:gd name="connsiteX8" fmla="*/ 90096 w 180191"/>
                <a:gd name="connsiteY8" fmla="*/ 45114 h 180455"/>
                <a:gd name="connsiteX9" fmla="*/ 135144 w 180191"/>
                <a:gd name="connsiteY9" fmla="*/ 90228 h 18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191" h="180455">
                  <a:moveTo>
                    <a:pt x="0" y="90228"/>
                  </a:moveTo>
                  <a:cubicBezTo>
                    <a:pt x="0" y="140059"/>
                    <a:pt x="40337" y="180455"/>
                    <a:pt x="90096" y="180455"/>
                  </a:cubicBezTo>
                  <a:cubicBezTo>
                    <a:pt x="139855" y="180455"/>
                    <a:pt x="180192" y="140059"/>
                    <a:pt x="180192" y="90228"/>
                  </a:cubicBezTo>
                  <a:cubicBezTo>
                    <a:pt x="180192" y="40396"/>
                    <a:pt x="139855" y="0"/>
                    <a:pt x="90096" y="0"/>
                  </a:cubicBezTo>
                  <a:cubicBezTo>
                    <a:pt x="40337" y="0"/>
                    <a:pt x="0" y="40396"/>
                    <a:pt x="0" y="90228"/>
                  </a:cubicBezTo>
                  <a:close/>
                  <a:moveTo>
                    <a:pt x="135144" y="90228"/>
                  </a:moveTo>
                  <a:cubicBezTo>
                    <a:pt x="135144" y="115143"/>
                    <a:pt x="114975" y="135341"/>
                    <a:pt x="90096" y="135341"/>
                  </a:cubicBezTo>
                  <a:cubicBezTo>
                    <a:pt x="65217" y="135341"/>
                    <a:pt x="45048" y="115143"/>
                    <a:pt x="45048" y="90228"/>
                  </a:cubicBezTo>
                  <a:cubicBezTo>
                    <a:pt x="45048" y="65312"/>
                    <a:pt x="65217" y="45114"/>
                    <a:pt x="90096" y="45114"/>
                  </a:cubicBezTo>
                  <a:cubicBezTo>
                    <a:pt x="114975" y="45114"/>
                    <a:pt x="135144" y="65312"/>
                    <a:pt x="135144" y="90228"/>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21" name="Freeform 3">
              <a:extLst>
                <a:ext uri="{FF2B5EF4-FFF2-40B4-BE49-F238E27FC236}">
                  <a16:creationId xmlns:a16="http://schemas.microsoft.com/office/drawing/2014/main" id="{30F25B7F-66D8-46DC-859F-6765B05EDD02}"/>
                </a:ext>
              </a:extLst>
            </p:cNvPr>
            <p:cNvSpPr/>
            <p:nvPr/>
          </p:nvSpPr>
          <p:spPr>
            <a:xfrm>
              <a:off x="915879" y="1136848"/>
              <a:ext cx="180192" cy="180455"/>
            </a:xfrm>
            <a:custGeom>
              <a:avLst/>
              <a:gdLst>
                <a:gd name="connsiteX0" fmla="*/ 90096 w 180191"/>
                <a:gd name="connsiteY0" fmla="*/ 180455 h 180455"/>
                <a:gd name="connsiteX1" fmla="*/ 180192 w 180191"/>
                <a:gd name="connsiteY1" fmla="*/ 90228 h 180455"/>
                <a:gd name="connsiteX2" fmla="*/ 90096 w 180191"/>
                <a:gd name="connsiteY2" fmla="*/ 0 h 180455"/>
                <a:gd name="connsiteX3" fmla="*/ 0 w 180191"/>
                <a:gd name="connsiteY3" fmla="*/ 90228 h 180455"/>
                <a:gd name="connsiteX4" fmla="*/ 90096 w 180191"/>
                <a:gd name="connsiteY4" fmla="*/ 180455 h 180455"/>
                <a:gd name="connsiteX5" fmla="*/ 90096 w 180191"/>
                <a:gd name="connsiteY5" fmla="*/ 45114 h 180455"/>
                <a:gd name="connsiteX6" fmla="*/ 135144 w 180191"/>
                <a:gd name="connsiteY6" fmla="*/ 90228 h 180455"/>
                <a:gd name="connsiteX7" fmla="*/ 90096 w 180191"/>
                <a:gd name="connsiteY7" fmla="*/ 135341 h 180455"/>
                <a:gd name="connsiteX8" fmla="*/ 45048 w 180191"/>
                <a:gd name="connsiteY8" fmla="*/ 90228 h 180455"/>
                <a:gd name="connsiteX9" fmla="*/ 90096 w 180191"/>
                <a:gd name="connsiteY9" fmla="*/ 45114 h 18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191" h="180455">
                  <a:moveTo>
                    <a:pt x="90096" y="180455"/>
                  </a:moveTo>
                  <a:cubicBezTo>
                    <a:pt x="139855" y="180455"/>
                    <a:pt x="180192" y="140059"/>
                    <a:pt x="180192" y="90228"/>
                  </a:cubicBezTo>
                  <a:cubicBezTo>
                    <a:pt x="180192" y="40396"/>
                    <a:pt x="139855" y="0"/>
                    <a:pt x="90096" y="0"/>
                  </a:cubicBezTo>
                  <a:cubicBezTo>
                    <a:pt x="40337" y="0"/>
                    <a:pt x="0" y="40396"/>
                    <a:pt x="0" y="90228"/>
                  </a:cubicBezTo>
                  <a:cubicBezTo>
                    <a:pt x="0" y="140059"/>
                    <a:pt x="40337" y="180455"/>
                    <a:pt x="90096" y="180455"/>
                  </a:cubicBezTo>
                  <a:close/>
                  <a:moveTo>
                    <a:pt x="90096" y="45114"/>
                  </a:moveTo>
                  <a:cubicBezTo>
                    <a:pt x="114975" y="45114"/>
                    <a:pt x="135144" y="65312"/>
                    <a:pt x="135144" y="90228"/>
                  </a:cubicBezTo>
                  <a:cubicBezTo>
                    <a:pt x="135144" y="115143"/>
                    <a:pt x="114975" y="135341"/>
                    <a:pt x="90096" y="135341"/>
                  </a:cubicBezTo>
                  <a:cubicBezTo>
                    <a:pt x="65217" y="135341"/>
                    <a:pt x="45048" y="115143"/>
                    <a:pt x="45048" y="90228"/>
                  </a:cubicBezTo>
                  <a:cubicBezTo>
                    <a:pt x="45048" y="65312"/>
                    <a:pt x="65217" y="45114"/>
                    <a:pt x="90096" y="45114"/>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22" name="Freeform 4">
              <a:extLst>
                <a:ext uri="{FF2B5EF4-FFF2-40B4-BE49-F238E27FC236}">
                  <a16:creationId xmlns:a16="http://schemas.microsoft.com/office/drawing/2014/main" id="{0EB1BAC4-BC0B-4B03-89FB-3DF6A1B4B567}"/>
                </a:ext>
              </a:extLst>
            </p:cNvPr>
            <p:cNvSpPr/>
            <p:nvPr/>
          </p:nvSpPr>
          <p:spPr>
            <a:xfrm>
              <a:off x="465850" y="392964"/>
              <a:ext cx="855911" cy="992504"/>
            </a:xfrm>
            <a:custGeom>
              <a:avLst/>
              <a:gdLst>
                <a:gd name="connsiteX0" fmla="*/ 757256 w 855911"/>
                <a:gd name="connsiteY0" fmla="*/ 239512 h 992504"/>
                <a:gd name="connsiteX1" fmla="*/ 686531 w 855911"/>
                <a:gd name="connsiteY1" fmla="*/ 258008 h 992504"/>
                <a:gd name="connsiteX2" fmla="*/ 591480 w 855911"/>
                <a:gd name="connsiteY2" fmla="*/ 142517 h 992504"/>
                <a:gd name="connsiteX3" fmla="*/ 570256 w 855911"/>
                <a:gd name="connsiteY3" fmla="*/ 16698 h 992504"/>
                <a:gd name="connsiteX4" fmla="*/ 444622 w 855911"/>
                <a:gd name="connsiteY4" fmla="*/ 37953 h 992504"/>
                <a:gd name="connsiteX5" fmla="*/ 427956 w 855911"/>
                <a:gd name="connsiteY5" fmla="*/ 90636 h 992504"/>
                <a:gd name="connsiteX6" fmla="*/ 437866 w 855911"/>
                <a:gd name="connsiteY6" fmla="*/ 130787 h 992504"/>
                <a:gd name="connsiteX7" fmla="*/ 254070 w 855911"/>
                <a:gd name="connsiteY7" fmla="*/ 287332 h 992504"/>
                <a:gd name="connsiteX8" fmla="*/ 202716 w 855911"/>
                <a:gd name="connsiteY8" fmla="*/ 271091 h 992504"/>
                <a:gd name="connsiteX9" fmla="*/ 112620 w 855911"/>
                <a:gd name="connsiteY9" fmla="*/ 361319 h 992504"/>
                <a:gd name="connsiteX10" fmla="*/ 202716 w 855911"/>
                <a:gd name="connsiteY10" fmla="*/ 451547 h 992504"/>
                <a:gd name="connsiteX11" fmla="*/ 222086 w 855911"/>
                <a:gd name="connsiteY11" fmla="*/ 449291 h 992504"/>
                <a:gd name="connsiteX12" fmla="*/ 326598 w 855911"/>
                <a:gd name="connsiteY12" fmla="*/ 654559 h 992504"/>
                <a:gd name="connsiteX13" fmla="*/ 180192 w 855911"/>
                <a:gd name="connsiteY13" fmla="*/ 654559 h 992504"/>
                <a:gd name="connsiteX14" fmla="*/ 0 w 855911"/>
                <a:gd name="connsiteY14" fmla="*/ 835014 h 992504"/>
                <a:gd name="connsiteX15" fmla="*/ 180192 w 855911"/>
                <a:gd name="connsiteY15" fmla="*/ 1015469 h 992504"/>
                <a:gd name="connsiteX16" fmla="*/ 540576 w 855911"/>
                <a:gd name="connsiteY16" fmla="*/ 1015469 h 992504"/>
                <a:gd name="connsiteX17" fmla="*/ 720767 w 855911"/>
                <a:gd name="connsiteY17" fmla="*/ 835014 h 992504"/>
                <a:gd name="connsiteX18" fmla="*/ 540576 w 855911"/>
                <a:gd name="connsiteY18" fmla="*/ 654559 h 992504"/>
                <a:gd name="connsiteX19" fmla="*/ 378403 w 855911"/>
                <a:gd name="connsiteY19" fmla="*/ 654559 h 992504"/>
                <a:gd name="connsiteX20" fmla="*/ 263080 w 855911"/>
                <a:gd name="connsiteY20" fmla="*/ 428990 h 992504"/>
                <a:gd name="connsiteX21" fmla="*/ 293713 w 855911"/>
                <a:gd name="connsiteY21" fmla="*/ 361770 h 992504"/>
                <a:gd name="connsiteX22" fmla="*/ 284253 w 855911"/>
                <a:gd name="connsiteY22" fmla="*/ 322521 h 992504"/>
                <a:gd name="connsiteX23" fmla="*/ 467147 w 855911"/>
                <a:gd name="connsiteY23" fmla="*/ 165074 h 992504"/>
                <a:gd name="connsiteX24" fmla="*/ 557243 w 855911"/>
                <a:gd name="connsiteY24" fmla="*/ 171390 h 992504"/>
                <a:gd name="connsiteX25" fmla="*/ 653195 w 855911"/>
                <a:gd name="connsiteY25" fmla="*/ 288235 h 992504"/>
                <a:gd name="connsiteX26" fmla="*/ 678422 w 855911"/>
                <a:gd name="connsiteY26" fmla="*/ 460568 h 992504"/>
                <a:gd name="connsiteX27" fmla="*/ 704550 w 855911"/>
                <a:gd name="connsiteY27" fmla="*/ 475457 h 992504"/>
                <a:gd name="connsiteX28" fmla="*/ 722569 w 855911"/>
                <a:gd name="connsiteY28" fmla="*/ 433952 h 992504"/>
                <a:gd name="connsiteX29" fmla="*/ 682573 w 855911"/>
                <a:gd name="connsiteY29" fmla="*/ 331102 h 992504"/>
                <a:gd name="connsiteX30" fmla="*/ 785273 w 855911"/>
                <a:gd name="connsiteY30" fmla="*/ 291047 h 992504"/>
                <a:gd name="connsiteX31" fmla="*/ 827081 w 855911"/>
                <a:gd name="connsiteY31" fmla="*/ 335604 h 992504"/>
                <a:gd name="connsiteX32" fmla="*/ 868975 w 855911"/>
                <a:gd name="connsiteY32" fmla="*/ 319814 h 992504"/>
                <a:gd name="connsiteX33" fmla="*/ 757256 w 855911"/>
                <a:gd name="connsiteY33" fmla="*/ 239512 h 992504"/>
                <a:gd name="connsiteX34" fmla="*/ 675719 w 855911"/>
                <a:gd name="connsiteY34" fmla="*/ 835014 h 992504"/>
                <a:gd name="connsiteX35" fmla="*/ 540576 w 855911"/>
                <a:gd name="connsiteY35" fmla="*/ 970356 h 992504"/>
                <a:gd name="connsiteX36" fmla="*/ 180192 w 855911"/>
                <a:gd name="connsiteY36" fmla="*/ 970356 h 992504"/>
                <a:gd name="connsiteX37" fmla="*/ 45048 w 855911"/>
                <a:gd name="connsiteY37" fmla="*/ 835014 h 992504"/>
                <a:gd name="connsiteX38" fmla="*/ 180192 w 855911"/>
                <a:gd name="connsiteY38" fmla="*/ 699673 h 992504"/>
                <a:gd name="connsiteX39" fmla="*/ 540576 w 855911"/>
                <a:gd name="connsiteY39" fmla="*/ 699673 h 992504"/>
                <a:gd name="connsiteX40" fmla="*/ 675719 w 855911"/>
                <a:gd name="connsiteY40" fmla="*/ 835014 h 992504"/>
                <a:gd name="connsiteX41" fmla="*/ 158569 w 855911"/>
                <a:gd name="connsiteY41" fmla="*/ 361319 h 992504"/>
                <a:gd name="connsiteX42" fmla="*/ 203617 w 855911"/>
                <a:gd name="connsiteY42" fmla="*/ 316205 h 992504"/>
                <a:gd name="connsiteX43" fmla="*/ 248665 w 855911"/>
                <a:gd name="connsiteY43" fmla="*/ 361319 h 992504"/>
                <a:gd name="connsiteX44" fmla="*/ 203617 w 855911"/>
                <a:gd name="connsiteY44" fmla="*/ 406433 h 992504"/>
                <a:gd name="connsiteX45" fmla="*/ 158569 w 855911"/>
                <a:gd name="connsiteY45" fmla="*/ 361319 h 992504"/>
                <a:gd name="connsiteX46" fmla="*/ 473905 w 855911"/>
                <a:gd name="connsiteY46" fmla="*/ 90636 h 992504"/>
                <a:gd name="connsiteX47" fmla="*/ 518953 w 855911"/>
                <a:gd name="connsiteY47" fmla="*/ 45522 h 992504"/>
                <a:gd name="connsiteX48" fmla="*/ 564000 w 855911"/>
                <a:gd name="connsiteY48" fmla="*/ 90636 h 992504"/>
                <a:gd name="connsiteX49" fmla="*/ 518953 w 855911"/>
                <a:gd name="connsiteY49" fmla="*/ 135750 h 992504"/>
                <a:gd name="connsiteX50" fmla="*/ 473013 w 855911"/>
                <a:gd name="connsiteY50" fmla="*/ 91547 h 992504"/>
                <a:gd name="connsiteX51" fmla="*/ 473004 w 855911"/>
                <a:gd name="connsiteY51" fmla="*/ 90636 h 99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5911" h="992504">
                  <a:moveTo>
                    <a:pt x="757256" y="239512"/>
                  </a:moveTo>
                  <a:cubicBezTo>
                    <a:pt x="732345" y="238269"/>
                    <a:pt x="707655" y="244726"/>
                    <a:pt x="686531" y="258008"/>
                  </a:cubicBezTo>
                  <a:lnTo>
                    <a:pt x="591480" y="142517"/>
                  </a:lnTo>
                  <a:cubicBezTo>
                    <a:pt x="620312" y="101904"/>
                    <a:pt x="610810" y="45573"/>
                    <a:pt x="570256" y="16698"/>
                  </a:cubicBezTo>
                  <a:cubicBezTo>
                    <a:pt x="529703" y="-12176"/>
                    <a:pt x="473454" y="-2660"/>
                    <a:pt x="444622" y="37953"/>
                  </a:cubicBezTo>
                  <a:cubicBezTo>
                    <a:pt x="433701" y="53336"/>
                    <a:pt x="427872" y="71761"/>
                    <a:pt x="427956" y="90636"/>
                  </a:cubicBezTo>
                  <a:cubicBezTo>
                    <a:pt x="427973" y="104625"/>
                    <a:pt x="431374" y="118401"/>
                    <a:pt x="437866" y="130787"/>
                  </a:cubicBezTo>
                  <a:lnTo>
                    <a:pt x="254070" y="287332"/>
                  </a:lnTo>
                  <a:cubicBezTo>
                    <a:pt x="238932" y="276954"/>
                    <a:pt x="221061" y="271302"/>
                    <a:pt x="202716" y="271091"/>
                  </a:cubicBezTo>
                  <a:cubicBezTo>
                    <a:pt x="152957" y="271091"/>
                    <a:pt x="112620" y="311488"/>
                    <a:pt x="112620" y="361319"/>
                  </a:cubicBezTo>
                  <a:cubicBezTo>
                    <a:pt x="112620" y="411150"/>
                    <a:pt x="152957" y="451547"/>
                    <a:pt x="202716" y="451547"/>
                  </a:cubicBezTo>
                  <a:cubicBezTo>
                    <a:pt x="209235" y="451499"/>
                    <a:pt x="215730" y="450743"/>
                    <a:pt x="222086" y="449291"/>
                  </a:cubicBezTo>
                  <a:lnTo>
                    <a:pt x="326598" y="654559"/>
                  </a:lnTo>
                  <a:lnTo>
                    <a:pt x="180192" y="654559"/>
                  </a:lnTo>
                  <a:cubicBezTo>
                    <a:pt x="80675" y="654559"/>
                    <a:pt x="0" y="735351"/>
                    <a:pt x="0" y="835014"/>
                  </a:cubicBezTo>
                  <a:cubicBezTo>
                    <a:pt x="0" y="934677"/>
                    <a:pt x="80675" y="1015469"/>
                    <a:pt x="180192" y="1015469"/>
                  </a:cubicBezTo>
                  <a:lnTo>
                    <a:pt x="540576" y="1015469"/>
                  </a:lnTo>
                  <a:cubicBezTo>
                    <a:pt x="640093" y="1015469"/>
                    <a:pt x="720767" y="934677"/>
                    <a:pt x="720767" y="835014"/>
                  </a:cubicBezTo>
                  <a:cubicBezTo>
                    <a:pt x="720767" y="735351"/>
                    <a:pt x="640093" y="654559"/>
                    <a:pt x="540576" y="654559"/>
                  </a:cubicBezTo>
                  <a:lnTo>
                    <a:pt x="378403" y="654559"/>
                  </a:lnTo>
                  <a:lnTo>
                    <a:pt x="263080" y="428990"/>
                  </a:lnTo>
                  <a:cubicBezTo>
                    <a:pt x="282404" y="411989"/>
                    <a:pt x="293551" y="387528"/>
                    <a:pt x="293713" y="361770"/>
                  </a:cubicBezTo>
                  <a:cubicBezTo>
                    <a:pt x="293560" y="348139"/>
                    <a:pt x="290326" y="334721"/>
                    <a:pt x="284253" y="322521"/>
                  </a:cubicBezTo>
                  <a:lnTo>
                    <a:pt x="467147" y="165074"/>
                  </a:lnTo>
                  <a:cubicBezTo>
                    <a:pt x="493881" y="183190"/>
                    <a:pt x="528250" y="185600"/>
                    <a:pt x="557243" y="171390"/>
                  </a:cubicBezTo>
                  <a:lnTo>
                    <a:pt x="653195" y="288235"/>
                  </a:lnTo>
                  <a:cubicBezTo>
                    <a:pt x="612642" y="342800"/>
                    <a:pt x="623937" y="419956"/>
                    <a:pt x="678422" y="460568"/>
                  </a:cubicBezTo>
                  <a:cubicBezTo>
                    <a:pt x="686491" y="466583"/>
                    <a:pt x="695266" y="471583"/>
                    <a:pt x="704550" y="475457"/>
                  </a:cubicBezTo>
                  <a:lnTo>
                    <a:pt x="722569" y="433952"/>
                  </a:lnTo>
                  <a:cubicBezTo>
                    <a:pt x="683165" y="416612"/>
                    <a:pt x="665257" y="370564"/>
                    <a:pt x="682573" y="331102"/>
                  </a:cubicBezTo>
                  <a:cubicBezTo>
                    <a:pt x="699888" y="291639"/>
                    <a:pt x="745868" y="273706"/>
                    <a:pt x="785273" y="291047"/>
                  </a:cubicBezTo>
                  <a:cubicBezTo>
                    <a:pt x="804680" y="299587"/>
                    <a:pt x="819776" y="315676"/>
                    <a:pt x="827081" y="335604"/>
                  </a:cubicBezTo>
                  <a:lnTo>
                    <a:pt x="868975" y="319814"/>
                  </a:lnTo>
                  <a:cubicBezTo>
                    <a:pt x="851658" y="272670"/>
                    <a:pt x="807398" y="240856"/>
                    <a:pt x="757256" y="239512"/>
                  </a:cubicBezTo>
                  <a:close/>
                  <a:moveTo>
                    <a:pt x="675719" y="835014"/>
                  </a:moveTo>
                  <a:cubicBezTo>
                    <a:pt x="675719" y="909761"/>
                    <a:pt x="615213" y="970356"/>
                    <a:pt x="540576" y="970356"/>
                  </a:cubicBezTo>
                  <a:lnTo>
                    <a:pt x="180192" y="970356"/>
                  </a:lnTo>
                  <a:cubicBezTo>
                    <a:pt x="105554" y="970356"/>
                    <a:pt x="45048" y="909761"/>
                    <a:pt x="45048" y="835014"/>
                  </a:cubicBezTo>
                  <a:cubicBezTo>
                    <a:pt x="45048" y="760267"/>
                    <a:pt x="105554" y="699673"/>
                    <a:pt x="180192" y="699673"/>
                  </a:cubicBezTo>
                  <a:lnTo>
                    <a:pt x="540576" y="699673"/>
                  </a:lnTo>
                  <a:cubicBezTo>
                    <a:pt x="615213" y="699673"/>
                    <a:pt x="675719" y="760267"/>
                    <a:pt x="675719" y="835014"/>
                  </a:cubicBezTo>
                  <a:close/>
                  <a:moveTo>
                    <a:pt x="158569" y="361319"/>
                  </a:moveTo>
                  <a:cubicBezTo>
                    <a:pt x="158569" y="336403"/>
                    <a:pt x="178737" y="316205"/>
                    <a:pt x="203617" y="316205"/>
                  </a:cubicBezTo>
                  <a:cubicBezTo>
                    <a:pt x="228496" y="316205"/>
                    <a:pt x="248665" y="336403"/>
                    <a:pt x="248665" y="361319"/>
                  </a:cubicBezTo>
                  <a:cubicBezTo>
                    <a:pt x="248665" y="386235"/>
                    <a:pt x="228496" y="406433"/>
                    <a:pt x="203617" y="406433"/>
                  </a:cubicBezTo>
                  <a:cubicBezTo>
                    <a:pt x="178737" y="406433"/>
                    <a:pt x="158569" y="386235"/>
                    <a:pt x="158569" y="361319"/>
                  </a:cubicBezTo>
                  <a:close/>
                  <a:moveTo>
                    <a:pt x="473905" y="90636"/>
                  </a:moveTo>
                  <a:cubicBezTo>
                    <a:pt x="473905" y="65720"/>
                    <a:pt x="494073" y="45522"/>
                    <a:pt x="518953" y="45522"/>
                  </a:cubicBezTo>
                  <a:cubicBezTo>
                    <a:pt x="543832" y="45522"/>
                    <a:pt x="564000" y="65720"/>
                    <a:pt x="564000" y="90636"/>
                  </a:cubicBezTo>
                  <a:cubicBezTo>
                    <a:pt x="564000" y="115552"/>
                    <a:pt x="543832" y="135750"/>
                    <a:pt x="518953" y="135750"/>
                  </a:cubicBezTo>
                  <a:cubicBezTo>
                    <a:pt x="494078" y="136248"/>
                    <a:pt x="473510" y="116458"/>
                    <a:pt x="473013" y="91547"/>
                  </a:cubicBezTo>
                  <a:cubicBezTo>
                    <a:pt x="473007" y="91244"/>
                    <a:pt x="473004" y="90940"/>
                    <a:pt x="473004" y="90636"/>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sp>
        <p:nvSpPr>
          <p:cNvPr id="24" name="Rectangle 23">
            <a:extLst>
              <a:ext uri="{FF2B5EF4-FFF2-40B4-BE49-F238E27FC236}">
                <a16:creationId xmlns:a16="http://schemas.microsoft.com/office/drawing/2014/main" id="{EFD5E5EE-9BA2-4F83-B8F9-5730FDD034AF}"/>
              </a:ext>
            </a:extLst>
          </p:cNvPr>
          <p:cNvSpPr/>
          <p:nvPr/>
        </p:nvSpPr>
        <p:spPr bwMode="auto">
          <a:xfrm>
            <a:off x="1835425" y="5025096"/>
            <a:ext cx="1146313" cy="516383"/>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3" name="Subtitle 7">
            <a:extLst>
              <a:ext uri="{FF2B5EF4-FFF2-40B4-BE49-F238E27FC236}">
                <a16:creationId xmlns:a16="http://schemas.microsoft.com/office/drawing/2014/main" id="{D5E0659E-0BA7-4FD1-9B82-909AF0F2C389}"/>
              </a:ext>
            </a:extLst>
          </p:cNvPr>
          <p:cNvSpPr txBox="1">
            <a:spLocks noChangeAspect="1"/>
          </p:cNvSpPr>
          <p:nvPr/>
        </p:nvSpPr>
        <p:spPr>
          <a:xfrm>
            <a:off x="2185361" y="5078391"/>
            <a:ext cx="220621" cy="362210"/>
          </a:xfrm>
          <a:prstGeom prst="rect">
            <a:avLst/>
          </a:prstGeom>
          <a:solidFill>
            <a:schemeClr val="accent2"/>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4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25" name="Rectangle 24">
            <a:extLst>
              <a:ext uri="{FF2B5EF4-FFF2-40B4-BE49-F238E27FC236}">
                <a16:creationId xmlns:a16="http://schemas.microsoft.com/office/drawing/2014/main" id="{60E24F63-7F42-49FC-BC9D-52ECBDA3E27E}"/>
              </a:ext>
            </a:extLst>
          </p:cNvPr>
          <p:cNvSpPr/>
          <p:nvPr/>
        </p:nvSpPr>
        <p:spPr bwMode="auto">
          <a:xfrm>
            <a:off x="1842763" y="5585797"/>
            <a:ext cx="1146313" cy="516383"/>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6" name="Subtitle 7">
            <a:extLst>
              <a:ext uri="{FF2B5EF4-FFF2-40B4-BE49-F238E27FC236}">
                <a16:creationId xmlns:a16="http://schemas.microsoft.com/office/drawing/2014/main" id="{7855AA43-CC31-4D45-AC26-E86664541E3E}"/>
              </a:ext>
            </a:extLst>
          </p:cNvPr>
          <p:cNvSpPr txBox="1">
            <a:spLocks noChangeAspect="1"/>
          </p:cNvSpPr>
          <p:nvPr/>
        </p:nvSpPr>
        <p:spPr>
          <a:xfrm>
            <a:off x="2185363" y="5668110"/>
            <a:ext cx="220621" cy="362210"/>
          </a:xfrm>
          <a:prstGeom prst="rect">
            <a:avLst/>
          </a:prstGeom>
          <a:solidFill>
            <a:schemeClr val="accent3"/>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4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65" name="Rectangle 64">
            <a:extLst>
              <a:ext uri="{FF2B5EF4-FFF2-40B4-BE49-F238E27FC236}">
                <a16:creationId xmlns:a16="http://schemas.microsoft.com/office/drawing/2014/main" id="{C5078743-C0F5-4667-86D4-3B2BE03BA857}"/>
              </a:ext>
            </a:extLst>
          </p:cNvPr>
          <p:cNvSpPr/>
          <p:nvPr/>
        </p:nvSpPr>
        <p:spPr bwMode="auto">
          <a:xfrm>
            <a:off x="4499112" y="4870175"/>
            <a:ext cx="1719897" cy="1563756"/>
          </a:xfrm>
          <a:prstGeom prst="rect">
            <a:avLst/>
          </a:prstGeom>
          <a:no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66" name="TextBox 65">
            <a:extLst>
              <a:ext uri="{FF2B5EF4-FFF2-40B4-BE49-F238E27FC236}">
                <a16:creationId xmlns:a16="http://schemas.microsoft.com/office/drawing/2014/main" id="{97D4F471-0C27-497C-8587-4836D0B13E7B}"/>
              </a:ext>
            </a:extLst>
          </p:cNvPr>
          <p:cNvSpPr txBox="1"/>
          <p:nvPr/>
        </p:nvSpPr>
        <p:spPr bwMode="auto">
          <a:xfrm>
            <a:off x="4504103" y="4877720"/>
            <a:ext cx="914400" cy="33359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200"/>
              <a:t>On prem</a:t>
            </a:r>
          </a:p>
        </p:txBody>
      </p:sp>
      <p:sp>
        <p:nvSpPr>
          <p:cNvPr id="67" name="Subtitle 7">
            <a:extLst>
              <a:ext uri="{FF2B5EF4-FFF2-40B4-BE49-F238E27FC236}">
                <a16:creationId xmlns:a16="http://schemas.microsoft.com/office/drawing/2014/main" id="{9D1FD655-61AD-40F5-B719-26A3867A0259}"/>
              </a:ext>
            </a:extLst>
          </p:cNvPr>
          <p:cNvSpPr txBox="1">
            <a:spLocks noChangeAspect="1"/>
          </p:cNvSpPr>
          <p:nvPr/>
        </p:nvSpPr>
        <p:spPr>
          <a:xfrm>
            <a:off x="5215442" y="4996665"/>
            <a:ext cx="392786" cy="1364610"/>
          </a:xfrm>
          <a:prstGeom prst="rect">
            <a:avLst/>
          </a:prstGeom>
          <a:solidFill>
            <a:schemeClr val="bg1"/>
          </a:solidFill>
          <a:ln w="19050">
            <a:solidFill>
              <a:schemeClr val="accent2"/>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24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B</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a:ea typeface="+mn-ea"/>
              <a:cs typeface="+mn-cs"/>
            </a:endParaRP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grpSp>
        <p:nvGrpSpPr>
          <p:cNvPr id="68" name="Picture Placeholder 35">
            <a:extLst>
              <a:ext uri="{FF2B5EF4-FFF2-40B4-BE49-F238E27FC236}">
                <a16:creationId xmlns:a16="http://schemas.microsoft.com/office/drawing/2014/main" id="{2F955722-1864-4507-963C-EE1421949644}"/>
              </a:ext>
            </a:extLst>
          </p:cNvPr>
          <p:cNvGrpSpPr>
            <a:grpSpLocks noChangeAspect="1"/>
          </p:cNvGrpSpPr>
          <p:nvPr/>
        </p:nvGrpSpPr>
        <p:grpSpPr>
          <a:xfrm>
            <a:off x="4634560" y="5539149"/>
            <a:ext cx="331650" cy="252054"/>
            <a:chOff x="472157" y="583425"/>
            <a:chExt cx="810863" cy="616257"/>
          </a:xfrm>
          <a:solidFill>
            <a:schemeClr val="accent2"/>
          </a:solidFill>
        </p:grpSpPr>
        <p:sp>
          <p:nvSpPr>
            <p:cNvPr id="69" name="Freeform 64">
              <a:extLst>
                <a:ext uri="{FF2B5EF4-FFF2-40B4-BE49-F238E27FC236}">
                  <a16:creationId xmlns:a16="http://schemas.microsoft.com/office/drawing/2014/main" id="{033F5457-2C1A-4FD9-A975-94D42C004AE7}"/>
                </a:ext>
              </a:extLst>
            </p:cNvPr>
            <p:cNvSpPr/>
            <p:nvPr/>
          </p:nvSpPr>
          <p:spPr>
            <a:xfrm>
              <a:off x="472157" y="884346"/>
              <a:ext cx="810863" cy="315336"/>
            </a:xfrm>
            <a:custGeom>
              <a:avLst/>
              <a:gdLst>
                <a:gd name="connsiteX0" fmla="*/ 527061 w 810863"/>
                <a:gd name="connsiteY0" fmla="*/ 48652 h 315335"/>
                <a:gd name="connsiteX1" fmla="*/ 301821 w 810863"/>
                <a:gd name="connsiteY1" fmla="*/ 48652 h 315335"/>
                <a:gd name="connsiteX2" fmla="*/ 301821 w 810863"/>
                <a:gd name="connsiteY2" fmla="*/ 0 h 315335"/>
                <a:gd name="connsiteX3" fmla="*/ 0 w 810863"/>
                <a:gd name="connsiteY3" fmla="*/ 0 h 315335"/>
                <a:gd name="connsiteX4" fmla="*/ 0 w 810863"/>
                <a:gd name="connsiteY4" fmla="*/ 170281 h 315335"/>
                <a:gd name="connsiteX5" fmla="*/ 45048 w 810863"/>
                <a:gd name="connsiteY5" fmla="*/ 170281 h 315335"/>
                <a:gd name="connsiteX6" fmla="*/ 45048 w 810863"/>
                <a:gd name="connsiteY6" fmla="*/ 260377 h 315335"/>
                <a:gd name="connsiteX7" fmla="*/ 139647 w 810863"/>
                <a:gd name="connsiteY7" fmla="*/ 355879 h 315335"/>
                <a:gd name="connsiteX8" fmla="*/ 139649 w 810863"/>
                <a:gd name="connsiteY8" fmla="*/ 355879 h 315335"/>
                <a:gd name="connsiteX9" fmla="*/ 301821 w 810863"/>
                <a:gd name="connsiteY9" fmla="*/ 355879 h 315335"/>
                <a:gd name="connsiteX10" fmla="*/ 396567 w 810863"/>
                <a:gd name="connsiteY10" fmla="*/ 258736 h 315335"/>
                <a:gd name="connsiteX11" fmla="*/ 396422 w 810863"/>
                <a:gd name="connsiteY11" fmla="*/ 254521 h 315335"/>
                <a:gd name="connsiteX12" fmla="*/ 445325 w 810863"/>
                <a:gd name="connsiteY12" fmla="*/ 195759 h 315335"/>
                <a:gd name="connsiteX13" fmla="*/ 504087 w 810863"/>
                <a:gd name="connsiteY13" fmla="*/ 244662 h 315335"/>
                <a:gd name="connsiteX14" fmla="*/ 504087 w 810863"/>
                <a:gd name="connsiteY14" fmla="*/ 254521 h 315335"/>
                <a:gd name="connsiteX15" fmla="*/ 602291 w 810863"/>
                <a:gd name="connsiteY15" fmla="*/ 355879 h 315335"/>
                <a:gd name="connsiteX16" fmla="*/ 757256 w 810863"/>
                <a:gd name="connsiteY16" fmla="*/ 355879 h 315335"/>
                <a:gd name="connsiteX17" fmla="*/ 855461 w 810863"/>
                <a:gd name="connsiteY17" fmla="*/ 256323 h 315335"/>
                <a:gd name="connsiteX18" fmla="*/ 855461 w 810863"/>
                <a:gd name="connsiteY18" fmla="*/ 48652 h 315335"/>
                <a:gd name="connsiteX19" fmla="*/ 45048 w 810863"/>
                <a:gd name="connsiteY19" fmla="*/ 45048 h 315335"/>
                <a:gd name="connsiteX20" fmla="*/ 254971 w 810863"/>
                <a:gd name="connsiteY20" fmla="*/ 45048 h 315335"/>
                <a:gd name="connsiteX21" fmla="*/ 254971 w 810863"/>
                <a:gd name="connsiteY21" fmla="*/ 125233 h 315335"/>
                <a:gd name="connsiteX22" fmla="*/ 45048 w 810863"/>
                <a:gd name="connsiteY22" fmla="*/ 125233 h 315335"/>
                <a:gd name="connsiteX23" fmla="*/ 810863 w 810863"/>
                <a:gd name="connsiteY23" fmla="*/ 255422 h 315335"/>
                <a:gd name="connsiteX24" fmla="*/ 757707 w 810863"/>
                <a:gd name="connsiteY24" fmla="*/ 309930 h 315335"/>
                <a:gd name="connsiteX25" fmla="*/ 602742 w 810863"/>
                <a:gd name="connsiteY25" fmla="*/ 309930 h 315335"/>
                <a:gd name="connsiteX26" fmla="*/ 549585 w 810863"/>
                <a:gd name="connsiteY26" fmla="*/ 253620 h 315335"/>
                <a:gd name="connsiteX27" fmla="*/ 457383 w 810863"/>
                <a:gd name="connsiteY27" fmla="*/ 148062 h 315335"/>
                <a:gd name="connsiteX28" fmla="*/ 351825 w 810863"/>
                <a:gd name="connsiteY28" fmla="*/ 240264 h 315335"/>
                <a:gd name="connsiteX29" fmla="*/ 351825 w 810863"/>
                <a:gd name="connsiteY29" fmla="*/ 253620 h 315335"/>
                <a:gd name="connsiteX30" fmla="*/ 305691 w 810863"/>
                <a:gd name="connsiteY30" fmla="*/ 309712 h 315335"/>
                <a:gd name="connsiteX31" fmla="*/ 302272 w 810863"/>
                <a:gd name="connsiteY31" fmla="*/ 309930 h 315335"/>
                <a:gd name="connsiteX32" fmla="*/ 140099 w 810863"/>
                <a:gd name="connsiteY32" fmla="*/ 309930 h 315335"/>
                <a:gd name="connsiteX33" fmla="*/ 90546 w 810863"/>
                <a:gd name="connsiteY33" fmla="*/ 259480 h 315335"/>
                <a:gd name="connsiteX34" fmla="*/ 90546 w 810863"/>
                <a:gd name="connsiteY34" fmla="*/ 259476 h 315335"/>
                <a:gd name="connsiteX35" fmla="*/ 90546 w 810863"/>
                <a:gd name="connsiteY35" fmla="*/ 169380 h 315335"/>
                <a:gd name="connsiteX36" fmla="*/ 300019 w 810863"/>
                <a:gd name="connsiteY36" fmla="*/ 169380 h 315335"/>
                <a:gd name="connsiteX37" fmla="*/ 300019 w 810863"/>
                <a:gd name="connsiteY37" fmla="*/ 92799 h 315335"/>
                <a:gd name="connsiteX38" fmla="*/ 810863 w 810863"/>
                <a:gd name="connsiteY38" fmla="*/ 92799 h 3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10863" h="315335">
                  <a:moveTo>
                    <a:pt x="527061" y="48652"/>
                  </a:moveTo>
                  <a:lnTo>
                    <a:pt x="301821" y="48652"/>
                  </a:lnTo>
                  <a:lnTo>
                    <a:pt x="301821" y="0"/>
                  </a:lnTo>
                  <a:lnTo>
                    <a:pt x="0" y="0"/>
                  </a:lnTo>
                  <a:lnTo>
                    <a:pt x="0" y="170281"/>
                  </a:lnTo>
                  <a:lnTo>
                    <a:pt x="45048" y="170281"/>
                  </a:lnTo>
                  <a:lnTo>
                    <a:pt x="45048" y="260377"/>
                  </a:lnTo>
                  <a:cubicBezTo>
                    <a:pt x="44799" y="312872"/>
                    <a:pt x="87152" y="355630"/>
                    <a:pt x="139647" y="355879"/>
                  </a:cubicBezTo>
                  <a:cubicBezTo>
                    <a:pt x="139647" y="355879"/>
                    <a:pt x="139648" y="355879"/>
                    <a:pt x="139649" y="355879"/>
                  </a:cubicBezTo>
                  <a:lnTo>
                    <a:pt x="301821" y="355879"/>
                  </a:lnTo>
                  <a:cubicBezTo>
                    <a:pt x="354810" y="355217"/>
                    <a:pt x="397229" y="311724"/>
                    <a:pt x="396567" y="258736"/>
                  </a:cubicBezTo>
                  <a:cubicBezTo>
                    <a:pt x="396550" y="257330"/>
                    <a:pt x="396501" y="255925"/>
                    <a:pt x="396422" y="254521"/>
                  </a:cubicBezTo>
                  <a:cubicBezTo>
                    <a:pt x="393699" y="224790"/>
                    <a:pt x="415594" y="198482"/>
                    <a:pt x="445325" y="195759"/>
                  </a:cubicBezTo>
                  <a:cubicBezTo>
                    <a:pt x="475055" y="193037"/>
                    <a:pt x="501364" y="214931"/>
                    <a:pt x="504087" y="244662"/>
                  </a:cubicBezTo>
                  <a:cubicBezTo>
                    <a:pt x="504387" y="247941"/>
                    <a:pt x="504387" y="251241"/>
                    <a:pt x="504087" y="254521"/>
                  </a:cubicBezTo>
                  <a:cubicBezTo>
                    <a:pt x="503334" y="309582"/>
                    <a:pt x="547234" y="354892"/>
                    <a:pt x="602291" y="355879"/>
                  </a:cubicBezTo>
                  <a:lnTo>
                    <a:pt x="757256" y="355879"/>
                  </a:lnTo>
                  <a:cubicBezTo>
                    <a:pt x="811815" y="355383"/>
                    <a:pt x="855711" y="310883"/>
                    <a:pt x="855461" y="256323"/>
                  </a:cubicBezTo>
                  <a:lnTo>
                    <a:pt x="855461" y="48652"/>
                  </a:lnTo>
                  <a:close/>
                  <a:moveTo>
                    <a:pt x="45048" y="45048"/>
                  </a:moveTo>
                  <a:lnTo>
                    <a:pt x="254971" y="45048"/>
                  </a:lnTo>
                  <a:lnTo>
                    <a:pt x="254971" y="125233"/>
                  </a:lnTo>
                  <a:lnTo>
                    <a:pt x="45048" y="125233"/>
                  </a:lnTo>
                  <a:close/>
                  <a:moveTo>
                    <a:pt x="810863" y="255422"/>
                  </a:moveTo>
                  <a:cubicBezTo>
                    <a:pt x="811115" y="285104"/>
                    <a:pt x="787386" y="309436"/>
                    <a:pt x="757707" y="309930"/>
                  </a:cubicBezTo>
                  <a:lnTo>
                    <a:pt x="602742" y="309930"/>
                  </a:lnTo>
                  <a:cubicBezTo>
                    <a:pt x="572671" y="308711"/>
                    <a:pt x="549071" y="283711"/>
                    <a:pt x="549585" y="253620"/>
                  </a:cubicBezTo>
                  <a:cubicBezTo>
                    <a:pt x="553273" y="199010"/>
                    <a:pt x="511993" y="151750"/>
                    <a:pt x="457383" y="148062"/>
                  </a:cubicBezTo>
                  <a:cubicBezTo>
                    <a:pt x="402773" y="144374"/>
                    <a:pt x="355513" y="185654"/>
                    <a:pt x="351825" y="240264"/>
                  </a:cubicBezTo>
                  <a:cubicBezTo>
                    <a:pt x="351524" y="244711"/>
                    <a:pt x="351524" y="249173"/>
                    <a:pt x="351825" y="253620"/>
                  </a:cubicBezTo>
                  <a:cubicBezTo>
                    <a:pt x="354574" y="281849"/>
                    <a:pt x="333920" y="306962"/>
                    <a:pt x="305691" y="309712"/>
                  </a:cubicBezTo>
                  <a:cubicBezTo>
                    <a:pt x="304554" y="309823"/>
                    <a:pt x="303414" y="309895"/>
                    <a:pt x="302272" y="309930"/>
                  </a:cubicBezTo>
                  <a:lnTo>
                    <a:pt x="140099" y="309930"/>
                  </a:lnTo>
                  <a:cubicBezTo>
                    <a:pt x="112484" y="309682"/>
                    <a:pt x="90299" y="287095"/>
                    <a:pt x="90546" y="259480"/>
                  </a:cubicBezTo>
                  <a:cubicBezTo>
                    <a:pt x="90546" y="259479"/>
                    <a:pt x="90546" y="259478"/>
                    <a:pt x="90546" y="259476"/>
                  </a:cubicBezTo>
                  <a:lnTo>
                    <a:pt x="90546" y="169380"/>
                  </a:lnTo>
                  <a:lnTo>
                    <a:pt x="300019" y="169380"/>
                  </a:lnTo>
                  <a:lnTo>
                    <a:pt x="300019" y="92799"/>
                  </a:lnTo>
                  <a:lnTo>
                    <a:pt x="810863" y="92799"/>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70" name="Freeform 65">
              <a:extLst>
                <a:ext uri="{FF2B5EF4-FFF2-40B4-BE49-F238E27FC236}">
                  <a16:creationId xmlns:a16="http://schemas.microsoft.com/office/drawing/2014/main" id="{EC4EF54B-71A8-4061-8951-DE9C3F0DA55A}"/>
                </a:ext>
              </a:extLst>
            </p:cNvPr>
            <p:cNvSpPr/>
            <p:nvPr/>
          </p:nvSpPr>
          <p:spPr>
            <a:xfrm>
              <a:off x="900113" y="583425"/>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71" name="Freeform 66">
              <a:extLst>
                <a:ext uri="{FF2B5EF4-FFF2-40B4-BE49-F238E27FC236}">
                  <a16:creationId xmlns:a16="http://schemas.microsoft.com/office/drawing/2014/main" id="{0E01A7BF-CBB1-4009-B030-7AB39126C71C}"/>
                </a:ext>
              </a:extLst>
            </p:cNvPr>
            <p:cNvSpPr/>
            <p:nvPr/>
          </p:nvSpPr>
          <p:spPr>
            <a:xfrm>
              <a:off x="900113" y="763617"/>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72" name="Freeform 67">
              <a:extLst>
                <a:ext uri="{FF2B5EF4-FFF2-40B4-BE49-F238E27FC236}">
                  <a16:creationId xmlns:a16="http://schemas.microsoft.com/office/drawing/2014/main" id="{978756E0-2919-4529-8D90-F073C8739F70}"/>
                </a:ext>
              </a:extLst>
            </p:cNvPr>
            <p:cNvSpPr/>
            <p:nvPr/>
          </p:nvSpPr>
          <p:spPr>
            <a:xfrm>
              <a:off x="900113" y="673521"/>
              <a:ext cx="45048" cy="45048"/>
            </a:xfrm>
            <a:custGeom>
              <a:avLst/>
              <a:gdLst>
                <a:gd name="connsiteX0" fmla="*/ 0 w 45047"/>
                <a:gd name="connsiteY0" fmla="*/ 0 h 45047"/>
                <a:gd name="connsiteX1" fmla="*/ 45048 w 45047"/>
                <a:gd name="connsiteY1" fmla="*/ 0 h 45047"/>
                <a:gd name="connsiteX2" fmla="*/ 45048 w 45047"/>
                <a:gd name="connsiteY2" fmla="*/ 45498 h 45047"/>
                <a:gd name="connsiteX3" fmla="*/ 0 w 45047"/>
                <a:gd name="connsiteY3" fmla="*/ 45498 h 45047"/>
              </a:gdLst>
              <a:ahLst/>
              <a:cxnLst>
                <a:cxn ang="0">
                  <a:pos x="connsiteX0" y="connsiteY0"/>
                </a:cxn>
                <a:cxn ang="0">
                  <a:pos x="connsiteX1" y="connsiteY1"/>
                </a:cxn>
                <a:cxn ang="0">
                  <a:pos x="connsiteX2" y="connsiteY2"/>
                </a:cxn>
                <a:cxn ang="0">
                  <a:pos x="connsiteX3" y="connsiteY3"/>
                </a:cxn>
              </a:cxnLst>
              <a:rect l="l" t="t" r="r" b="b"/>
              <a:pathLst>
                <a:path w="45047" h="45047">
                  <a:moveTo>
                    <a:pt x="0" y="0"/>
                  </a:moveTo>
                  <a:lnTo>
                    <a:pt x="45048" y="0"/>
                  </a:lnTo>
                  <a:lnTo>
                    <a:pt x="45048" y="45498"/>
                  </a:lnTo>
                  <a:lnTo>
                    <a:pt x="0" y="45498"/>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grpSp>
        <p:nvGrpSpPr>
          <p:cNvPr id="73" name="Picture Placeholder 29">
            <a:extLst>
              <a:ext uri="{FF2B5EF4-FFF2-40B4-BE49-F238E27FC236}">
                <a16:creationId xmlns:a16="http://schemas.microsoft.com/office/drawing/2014/main" id="{7E13E959-D85E-4A1F-B092-C6DDFF3E4420}"/>
              </a:ext>
            </a:extLst>
          </p:cNvPr>
          <p:cNvGrpSpPr>
            <a:grpSpLocks noChangeAspect="1"/>
          </p:cNvGrpSpPr>
          <p:nvPr/>
        </p:nvGrpSpPr>
        <p:grpSpPr>
          <a:xfrm>
            <a:off x="4703170" y="5968065"/>
            <a:ext cx="263039" cy="305017"/>
            <a:chOff x="465850" y="392964"/>
            <a:chExt cx="855911" cy="992504"/>
          </a:xfrm>
          <a:solidFill>
            <a:schemeClr val="accent3"/>
          </a:solidFill>
        </p:grpSpPr>
        <p:sp>
          <p:nvSpPr>
            <p:cNvPr id="74" name="Freeform 2">
              <a:extLst>
                <a:ext uri="{FF2B5EF4-FFF2-40B4-BE49-F238E27FC236}">
                  <a16:creationId xmlns:a16="http://schemas.microsoft.com/office/drawing/2014/main" id="{0F9BA7F4-52B7-47C3-A07E-5DFC5E964E57}"/>
                </a:ext>
              </a:extLst>
            </p:cNvPr>
            <p:cNvSpPr/>
            <p:nvPr/>
          </p:nvSpPr>
          <p:spPr>
            <a:xfrm>
              <a:off x="555496" y="1136848"/>
              <a:ext cx="180192" cy="180455"/>
            </a:xfrm>
            <a:custGeom>
              <a:avLst/>
              <a:gdLst>
                <a:gd name="connsiteX0" fmla="*/ 0 w 180191"/>
                <a:gd name="connsiteY0" fmla="*/ 90228 h 180455"/>
                <a:gd name="connsiteX1" fmla="*/ 90096 w 180191"/>
                <a:gd name="connsiteY1" fmla="*/ 180455 h 180455"/>
                <a:gd name="connsiteX2" fmla="*/ 180192 w 180191"/>
                <a:gd name="connsiteY2" fmla="*/ 90228 h 180455"/>
                <a:gd name="connsiteX3" fmla="*/ 90096 w 180191"/>
                <a:gd name="connsiteY3" fmla="*/ 0 h 180455"/>
                <a:gd name="connsiteX4" fmla="*/ 0 w 180191"/>
                <a:gd name="connsiteY4" fmla="*/ 90228 h 180455"/>
                <a:gd name="connsiteX5" fmla="*/ 135144 w 180191"/>
                <a:gd name="connsiteY5" fmla="*/ 90228 h 180455"/>
                <a:gd name="connsiteX6" fmla="*/ 90096 w 180191"/>
                <a:gd name="connsiteY6" fmla="*/ 135341 h 180455"/>
                <a:gd name="connsiteX7" fmla="*/ 45048 w 180191"/>
                <a:gd name="connsiteY7" fmla="*/ 90228 h 180455"/>
                <a:gd name="connsiteX8" fmla="*/ 90096 w 180191"/>
                <a:gd name="connsiteY8" fmla="*/ 45114 h 180455"/>
                <a:gd name="connsiteX9" fmla="*/ 135144 w 180191"/>
                <a:gd name="connsiteY9" fmla="*/ 90228 h 18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191" h="180455">
                  <a:moveTo>
                    <a:pt x="0" y="90228"/>
                  </a:moveTo>
                  <a:cubicBezTo>
                    <a:pt x="0" y="140059"/>
                    <a:pt x="40337" y="180455"/>
                    <a:pt x="90096" y="180455"/>
                  </a:cubicBezTo>
                  <a:cubicBezTo>
                    <a:pt x="139855" y="180455"/>
                    <a:pt x="180192" y="140059"/>
                    <a:pt x="180192" y="90228"/>
                  </a:cubicBezTo>
                  <a:cubicBezTo>
                    <a:pt x="180192" y="40396"/>
                    <a:pt x="139855" y="0"/>
                    <a:pt x="90096" y="0"/>
                  </a:cubicBezTo>
                  <a:cubicBezTo>
                    <a:pt x="40337" y="0"/>
                    <a:pt x="0" y="40396"/>
                    <a:pt x="0" y="90228"/>
                  </a:cubicBezTo>
                  <a:close/>
                  <a:moveTo>
                    <a:pt x="135144" y="90228"/>
                  </a:moveTo>
                  <a:cubicBezTo>
                    <a:pt x="135144" y="115143"/>
                    <a:pt x="114975" y="135341"/>
                    <a:pt x="90096" y="135341"/>
                  </a:cubicBezTo>
                  <a:cubicBezTo>
                    <a:pt x="65217" y="135341"/>
                    <a:pt x="45048" y="115143"/>
                    <a:pt x="45048" y="90228"/>
                  </a:cubicBezTo>
                  <a:cubicBezTo>
                    <a:pt x="45048" y="65312"/>
                    <a:pt x="65217" y="45114"/>
                    <a:pt x="90096" y="45114"/>
                  </a:cubicBezTo>
                  <a:cubicBezTo>
                    <a:pt x="114975" y="45114"/>
                    <a:pt x="135144" y="65312"/>
                    <a:pt x="135144" y="90228"/>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75" name="Freeform 3">
              <a:extLst>
                <a:ext uri="{FF2B5EF4-FFF2-40B4-BE49-F238E27FC236}">
                  <a16:creationId xmlns:a16="http://schemas.microsoft.com/office/drawing/2014/main" id="{7B19DBDC-7AE0-4A3D-9579-A5E7513BE88E}"/>
                </a:ext>
              </a:extLst>
            </p:cNvPr>
            <p:cNvSpPr/>
            <p:nvPr/>
          </p:nvSpPr>
          <p:spPr>
            <a:xfrm>
              <a:off x="915879" y="1136848"/>
              <a:ext cx="180192" cy="180455"/>
            </a:xfrm>
            <a:custGeom>
              <a:avLst/>
              <a:gdLst>
                <a:gd name="connsiteX0" fmla="*/ 90096 w 180191"/>
                <a:gd name="connsiteY0" fmla="*/ 180455 h 180455"/>
                <a:gd name="connsiteX1" fmla="*/ 180192 w 180191"/>
                <a:gd name="connsiteY1" fmla="*/ 90228 h 180455"/>
                <a:gd name="connsiteX2" fmla="*/ 90096 w 180191"/>
                <a:gd name="connsiteY2" fmla="*/ 0 h 180455"/>
                <a:gd name="connsiteX3" fmla="*/ 0 w 180191"/>
                <a:gd name="connsiteY3" fmla="*/ 90228 h 180455"/>
                <a:gd name="connsiteX4" fmla="*/ 90096 w 180191"/>
                <a:gd name="connsiteY4" fmla="*/ 180455 h 180455"/>
                <a:gd name="connsiteX5" fmla="*/ 90096 w 180191"/>
                <a:gd name="connsiteY5" fmla="*/ 45114 h 180455"/>
                <a:gd name="connsiteX6" fmla="*/ 135144 w 180191"/>
                <a:gd name="connsiteY6" fmla="*/ 90228 h 180455"/>
                <a:gd name="connsiteX7" fmla="*/ 90096 w 180191"/>
                <a:gd name="connsiteY7" fmla="*/ 135341 h 180455"/>
                <a:gd name="connsiteX8" fmla="*/ 45048 w 180191"/>
                <a:gd name="connsiteY8" fmla="*/ 90228 h 180455"/>
                <a:gd name="connsiteX9" fmla="*/ 90096 w 180191"/>
                <a:gd name="connsiteY9" fmla="*/ 45114 h 18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191" h="180455">
                  <a:moveTo>
                    <a:pt x="90096" y="180455"/>
                  </a:moveTo>
                  <a:cubicBezTo>
                    <a:pt x="139855" y="180455"/>
                    <a:pt x="180192" y="140059"/>
                    <a:pt x="180192" y="90228"/>
                  </a:cubicBezTo>
                  <a:cubicBezTo>
                    <a:pt x="180192" y="40396"/>
                    <a:pt x="139855" y="0"/>
                    <a:pt x="90096" y="0"/>
                  </a:cubicBezTo>
                  <a:cubicBezTo>
                    <a:pt x="40337" y="0"/>
                    <a:pt x="0" y="40396"/>
                    <a:pt x="0" y="90228"/>
                  </a:cubicBezTo>
                  <a:cubicBezTo>
                    <a:pt x="0" y="140059"/>
                    <a:pt x="40337" y="180455"/>
                    <a:pt x="90096" y="180455"/>
                  </a:cubicBezTo>
                  <a:close/>
                  <a:moveTo>
                    <a:pt x="90096" y="45114"/>
                  </a:moveTo>
                  <a:cubicBezTo>
                    <a:pt x="114975" y="45114"/>
                    <a:pt x="135144" y="65312"/>
                    <a:pt x="135144" y="90228"/>
                  </a:cubicBezTo>
                  <a:cubicBezTo>
                    <a:pt x="135144" y="115143"/>
                    <a:pt x="114975" y="135341"/>
                    <a:pt x="90096" y="135341"/>
                  </a:cubicBezTo>
                  <a:cubicBezTo>
                    <a:pt x="65217" y="135341"/>
                    <a:pt x="45048" y="115143"/>
                    <a:pt x="45048" y="90228"/>
                  </a:cubicBezTo>
                  <a:cubicBezTo>
                    <a:pt x="45048" y="65312"/>
                    <a:pt x="65217" y="45114"/>
                    <a:pt x="90096" y="45114"/>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76" name="Freeform 4">
              <a:extLst>
                <a:ext uri="{FF2B5EF4-FFF2-40B4-BE49-F238E27FC236}">
                  <a16:creationId xmlns:a16="http://schemas.microsoft.com/office/drawing/2014/main" id="{8B0B392F-029D-484E-8714-BD7D02624700}"/>
                </a:ext>
              </a:extLst>
            </p:cNvPr>
            <p:cNvSpPr/>
            <p:nvPr/>
          </p:nvSpPr>
          <p:spPr>
            <a:xfrm>
              <a:off x="465850" y="392964"/>
              <a:ext cx="855911" cy="992504"/>
            </a:xfrm>
            <a:custGeom>
              <a:avLst/>
              <a:gdLst>
                <a:gd name="connsiteX0" fmla="*/ 757256 w 855911"/>
                <a:gd name="connsiteY0" fmla="*/ 239512 h 992504"/>
                <a:gd name="connsiteX1" fmla="*/ 686531 w 855911"/>
                <a:gd name="connsiteY1" fmla="*/ 258008 h 992504"/>
                <a:gd name="connsiteX2" fmla="*/ 591480 w 855911"/>
                <a:gd name="connsiteY2" fmla="*/ 142517 h 992504"/>
                <a:gd name="connsiteX3" fmla="*/ 570256 w 855911"/>
                <a:gd name="connsiteY3" fmla="*/ 16698 h 992504"/>
                <a:gd name="connsiteX4" fmla="*/ 444622 w 855911"/>
                <a:gd name="connsiteY4" fmla="*/ 37953 h 992504"/>
                <a:gd name="connsiteX5" fmla="*/ 427956 w 855911"/>
                <a:gd name="connsiteY5" fmla="*/ 90636 h 992504"/>
                <a:gd name="connsiteX6" fmla="*/ 437866 w 855911"/>
                <a:gd name="connsiteY6" fmla="*/ 130787 h 992504"/>
                <a:gd name="connsiteX7" fmla="*/ 254070 w 855911"/>
                <a:gd name="connsiteY7" fmla="*/ 287332 h 992504"/>
                <a:gd name="connsiteX8" fmla="*/ 202716 w 855911"/>
                <a:gd name="connsiteY8" fmla="*/ 271091 h 992504"/>
                <a:gd name="connsiteX9" fmla="*/ 112620 w 855911"/>
                <a:gd name="connsiteY9" fmla="*/ 361319 h 992504"/>
                <a:gd name="connsiteX10" fmla="*/ 202716 w 855911"/>
                <a:gd name="connsiteY10" fmla="*/ 451547 h 992504"/>
                <a:gd name="connsiteX11" fmla="*/ 222086 w 855911"/>
                <a:gd name="connsiteY11" fmla="*/ 449291 h 992504"/>
                <a:gd name="connsiteX12" fmla="*/ 326598 w 855911"/>
                <a:gd name="connsiteY12" fmla="*/ 654559 h 992504"/>
                <a:gd name="connsiteX13" fmla="*/ 180192 w 855911"/>
                <a:gd name="connsiteY13" fmla="*/ 654559 h 992504"/>
                <a:gd name="connsiteX14" fmla="*/ 0 w 855911"/>
                <a:gd name="connsiteY14" fmla="*/ 835014 h 992504"/>
                <a:gd name="connsiteX15" fmla="*/ 180192 w 855911"/>
                <a:gd name="connsiteY15" fmla="*/ 1015469 h 992504"/>
                <a:gd name="connsiteX16" fmla="*/ 540576 w 855911"/>
                <a:gd name="connsiteY16" fmla="*/ 1015469 h 992504"/>
                <a:gd name="connsiteX17" fmla="*/ 720767 w 855911"/>
                <a:gd name="connsiteY17" fmla="*/ 835014 h 992504"/>
                <a:gd name="connsiteX18" fmla="*/ 540576 w 855911"/>
                <a:gd name="connsiteY18" fmla="*/ 654559 h 992504"/>
                <a:gd name="connsiteX19" fmla="*/ 378403 w 855911"/>
                <a:gd name="connsiteY19" fmla="*/ 654559 h 992504"/>
                <a:gd name="connsiteX20" fmla="*/ 263080 w 855911"/>
                <a:gd name="connsiteY20" fmla="*/ 428990 h 992504"/>
                <a:gd name="connsiteX21" fmla="*/ 293713 w 855911"/>
                <a:gd name="connsiteY21" fmla="*/ 361770 h 992504"/>
                <a:gd name="connsiteX22" fmla="*/ 284253 w 855911"/>
                <a:gd name="connsiteY22" fmla="*/ 322521 h 992504"/>
                <a:gd name="connsiteX23" fmla="*/ 467147 w 855911"/>
                <a:gd name="connsiteY23" fmla="*/ 165074 h 992504"/>
                <a:gd name="connsiteX24" fmla="*/ 557243 w 855911"/>
                <a:gd name="connsiteY24" fmla="*/ 171390 h 992504"/>
                <a:gd name="connsiteX25" fmla="*/ 653195 w 855911"/>
                <a:gd name="connsiteY25" fmla="*/ 288235 h 992504"/>
                <a:gd name="connsiteX26" fmla="*/ 678422 w 855911"/>
                <a:gd name="connsiteY26" fmla="*/ 460568 h 992504"/>
                <a:gd name="connsiteX27" fmla="*/ 704550 w 855911"/>
                <a:gd name="connsiteY27" fmla="*/ 475457 h 992504"/>
                <a:gd name="connsiteX28" fmla="*/ 722569 w 855911"/>
                <a:gd name="connsiteY28" fmla="*/ 433952 h 992504"/>
                <a:gd name="connsiteX29" fmla="*/ 682573 w 855911"/>
                <a:gd name="connsiteY29" fmla="*/ 331102 h 992504"/>
                <a:gd name="connsiteX30" fmla="*/ 785273 w 855911"/>
                <a:gd name="connsiteY30" fmla="*/ 291047 h 992504"/>
                <a:gd name="connsiteX31" fmla="*/ 827081 w 855911"/>
                <a:gd name="connsiteY31" fmla="*/ 335604 h 992504"/>
                <a:gd name="connsiteX32" fmla="*/ 868975 w 855911"/>
                <a:gd name="connsiteY32" fmla="*/ 319814 h 992504"/>
                <a:gd name="connsiteX33" fmla="*/ 757256 w 855911"/>
                <a:gd name="connsiteY33" fmla="*/ 239512 h 992504"/>
                <a:gd name="connsiteX34" fmla="*/ 675719 w 855911"/>
                <a:gd name="connsiteY34" fmla="*/ 835014 h 992504"/>
                <a:gd name="connsiteX35" fmla="*/ 540576 w 855911"/>
                <a:gd name="connsiteY35" fmla="*/ 970356 h 992504"/>
                <a:gd name="connsiteX36" fmla="*/ 180192 w 855911"/>
                <a:gd name="connsiteY36" fmla="*/ 970356 h 992504"/>
                <a:gd name="connsiteX37" fmla="*/ 45048 w 855911"/>
                <a:gd name="connsiteY37" fmla="*/ 835014 h 992504"/>
                <a:gd name="connsiteX38" fmla="*/ 180192 w 855911"/>
                <a:gd name="connsiteY38" fmla="*/ 699673 h 992504"/>
                <a:gd name="connsiteX39" fmla="*/ 540576 w 855911"/>
                <a:gd name="connsiteY39" fmla="*/ 699673 h 992504"/>
                <a:gd name="connsiteX40" fmla="*/ 675719 w 855911"/>
                <a:gd name="connsiteY40" fmla="*/ 835014 h 992504"/>
                <a:gd name="connsiteX41" fmla="*/ 158569 w 855911"/>
                <a:gd name="connsiteY41" fmla="*/ 361319 h 992504"/>
                <a:gd name="connsiteX42" fmla="*/ 203617 w 855911"/>
                <a:gd name="connsiteY42" fmla="*/ 316205 h 992504"/>
                <a:gd name="connsiteX43" fmla="*/ 248665 w 855911"/>
                <a:gd name="connsiteY43" fmla="*/ 361319 h 992504"/>
                <a:gd name="connsiteX44" fmla="*/ 203617 w 855911"/>
                <a:gd name="connsiteY44" fmla="*/ 406433 h 992504"/>
                <a:gd name="connsiteX45" fmla="*/ 158569 w 855911"/>
                <a:gd name="connsiteY45" fmla="*/ 361319 h 992504"/>
                <a:gd name="connsiteX46" fmla="*/ 473905 w 855911"/>
                <a:gd name="connsiteY46" fmla="*/ 90636 h 992504"/>
                <a:gd name="connsiteX47" fmla="*/ 518953 w 855911"/>
                <a:gd name="connsiteY47" fmla="*/ 45522 h 992504"/>
                <a:gd name="connsiteX48" fmla="*/ 564000 w 855911"/>
                <a:gd name="connsiteY48" fmla="*/ 90636 h 992504"/>
                <a:gd name="connsiteX49" fmla="*/ 518953 w 855911"/>
                <a:gd name="connsiteY49" fmla="*/ 135750 h 992504"/>
                <a:gd name="connsiteX50" fmla="*/ 473013 w 855911"/>
                <a:gd name="connsiteY50" fmla="*/ 91547 h 992504"/>
                <a:gd name="connsiteX51" fmla="*/ 473004 w 855911"/>
                <a:gd name="connsiteY51" fmla="*/ 90636 h 99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5911" h="992504">
                  <a:moveTo>
                    <a:pt x="757256" y="239512"/>
                  </a:moveTo>
                  <a:cubicBezTo>
                    <a:pt x="732345" y="238269"/>
                    <a:pt x="707655" y="244726"/>
                    <a:pt x="686531" y="258008"/>
                  </a:cubicBezTo>
                  <a:lnTo>
                    <a:pt x="591480" y="142517"/>
                  </a:lnTo>
                  <a:cubicBezTo>
                    <a:pt x="620312" y="101904"/>
                    <a:pt x="610810" y="45573"/>
                    <a:pt x="570256" y="16698"/>
                  </a:cubicBezTo>
                  <a:cubicBezTo>
                    <a:pt x="529703" y="-12176"/>
                    <a:pt x="473454" y="-2660"/>
                    <a:pt x="444622" y="37953"/>
                  </a:cubicBezTo>
                  <a:cubicBezTo>
                    <a:pt x="433701" y="53336"/>
                    <a:pt x="427872" y="71761"/>
                    <a:pt x="427956" y="90636"/>
                  </a:cubicBezTo>
                  <a:cubicBezTo>
                    <a:pt x="427973" y="104625"/>
                    <a:pt x="431374" y="118401"/>
                    <a:pt x="437866" y="130787"/>
                  </a:cubicBezTo>
                  <a:lnTo>
                    <a:pt x="254070" y="287332"/>
                  </a:lnTo>
                  <a:cubicBezTo>
                    <a:pt x="238932" y="276954"/>
                    <a:pt x="221061" y="271302"/>
                    <a:pt x="202716" y="271091"/>
                  </a:cubicBezTo>
                  <a:cubicBezTo>
                    <a:pt x="152957" y="271091"/>
                    <a:pt x="112620" y="311488"/>
                    <a:pt x="112620" y="361319"/>
                  </a:cubicBezTo>
                  <a:cubicBezTo>
                    <a:pt x="112620" y="411150"/>
                    <a:pt x="152957" y="451547"/>
                    <a:pt x="202716" y="451547"/>
                  </a:cubicBezTo>
                  <a:cubicBezTo>
                    <a:pt x="209235" y="451499"/>
                    <a:pt x="215730" y="450743"/>
                    <a:pt x="222086" y="449291"/>
                  </a:cubicBezTo>
                  <a:lnTo>
                    <a:pt x="326598" y="654559"/>
                  </a:lnTo>
                  <a:lnTo>
                    <a:pt x="180192" y="654559"/>
                  </a:lnTo>
                  <a:cubicBezTo>
                    <a:pt x="80675" y="654559"/>
                    <a:pt x="0" y="735351"/>
                    <a:pt x="0" y="835014"/>
                  </a:cubicBezTo>
                  <a:cubicBezTo>
                    <a:pt x="0" y="934677"/>
                    <a:pt x="80675" y="1015469"/>
                    <a:pt x="180192" y="1015469"/>
                  </a:cubicBezTo>
                  <a:lnTo>
                    <a:pt x="540576" y="1015469"/>
                  </a:lnTo>
                  <a:cubicBezTo>
                    <a:pt x="640093" y="1015469"/>
                    <a:pt x="720767" y="934677"/>
                    <a:pt x="720767" y="835014"/>
                  </a:cubicBezTo>
                  <a:cubicBezTo>
                    <a:pt x="720767" y="735351"/>
                    <a:pt x="640093" y="654559"/>
                    <a:pt x="540576" y="654559"/>
                  </a:cubicBezTo>
                  <a:lnTo>
                    <a:pt x="378403" y="654559"/>
                  </a:lnTo>
                  <a:lnTo>
                    <a:pt x="263080" y="428990"/>
                  </a:lnTo>
                  <a:cubicBezTo>
                    <a:pt x="282404" y="411989"/>
                    <a:pt x="293551" y="387528"/>
                    <a:pt x="293713" y="361770"/>
                  </a:cubicBezTo>
                  <a:cubicBezTo>
                    <a:pt x="293560" y="348139"/>
                    <a:pt x="290326" y="334721"/>
                    <a:pt x="284253" y="322521"/>
                  </a:cubicBezTo>
                  <a:lnTo>
                    <a:pt x="467147" y="165074"/>
                  </a:lnTo>
                  <a:cubicBezTo>
                    <a:pt x="493881" y="183190"/>
                    <a:pt x="528250" y="185600"/>
                    <a:pt x="557243" y="171390"/>
                  </a:cubicBezTo>
                  <a:lnTo>
                    <a:pt x="653195" y="288235"/>
                  </a:lnTo>
                  <a:cubicBezTo>
                    <a:pt x="612642" y="342800"/>
                    <a:pt x="623937" y="419956"/>
                    <a:pt x="678422" y="460568"/>
                  </a:cubicBezTo>
                  <a:cubicBezTo>
                    <a:pt x="686491" y="466583"/>
                    <a:pt x="695266" y="471583"/>
                    <a:pt x="704550" y="475457"/>
                  </a:cubicBezTo>
                  <a:lnTo>
                    <a:pt x="722569" y="433952"/>
                  </a:lnTo>
                  <a:cubicBezTo>
                    <a:pt x="683165" y="416612"/>
                    <a:pt x="665257" y="370564"/>
                    <a:pt x="682573" y="331102"/>
                  </a:cubicBezTo>
                  <a:cubicBezTo>
                    <a:pt x="699888" y="291639"/>
                    <a:pt x="745868" y="273706"/>
                    <a:pt x="785273" y="291047"/>
                  </a:cubicBezTo>
                  <a:cubicBezTo>
                    <a:pt x="804680" y="299587"/>
                    <a:pt x="819776" y="315676"/>
                    <a:pt x="827081" y="335604"/>
                  </a:cubicBezTo>
                  <a:lnTo>
                    <a:pt x="868975" y="319814"/>
                  </a:lnTo>
                  <a:cubicBezTo>
                    <a:pt x="851658" y="272670"/>
                    <a:pt x="807398" y="240856"/>
                    <a:pt x="757256" y="239512"/>
                  </a:cubicBezTo>
                  <a:close/>
                  <a:moveTo>
                    <a:pt x="675719" y="835014"/>
                  </a:moveTo>
                  <a:cubicBezTo>
                    <a:pt x="675719" y="909761"/>
                    <a:pt x="615213" y="970356"/>
                    <a:pt x="540576" y="970356"/>
                  </a:cubicBezTo>
                  <a:lnTo>
                    <a:pt x="180192" y="970356"/>
                  </a:lnTo>
                  <a:cubicBezTo>
                    <a:pt x="105554" y="970356"/>
                    <a:pt x="45048" y="909761"/>
                    <a:pt x="45048" y="835014"/>
                  </a:cubicBezTo>
                  <a:cubicBezTo>
                    <a:pt x="45048" y="760267"/>
                    <a:pt x="105554" y="699673"/>
                    <a:pt x="180192" y="699673"/>
                  </a:cubicBezTo>
                  <a:lnTo>
                    <a:pt x="540576" y="699673"/>
                  </a:lnTo>
                  <a:cubicBezTo>
                    <a:pt x="615213" y="699673"/>
                    <a:pt x="675719" y="760267"/>
                    <a:pt x="675719" y="835014"/>
                  </a:cubicBezTo>
                  <a:close/>
                  <a:moveTo>
                    <a:pt x="158569" y="361319"/>
                  </a:moveTo>
                  <a:cubicBezTo>
                    <a:pt x="158569" y="336403"/>
                    <a:pt x="178737" y="316205"/>
                    <a:pt x="203617" y="316205"/>
                  </a:cubicBezTo>
                  <a:cubicBezTo>
                    <a:pt x="228496" y="316205"/>
                    <a:pt x="248665" y="336403"/>
                    <a:pt x="248665" y="361319"/>
                  </a:cubicBezTo>
                  <a:cubicBezTo>
                    <a:pt x="248665" y="386235"/>
                    <a:pt x="228496" y="406433"/>
                    <a:pt x="203617" y="406433"/>
                  </a:cubicBezTo>
                  <a:cubicBezTo>
                    <a:pt x="178737" y="406433"/>
                    <a:pt x="158569" y="386235"/>
                    <a:pt x="158569" y="361319"/>
                  </a:cubicBezTo>
                  <a:close/>
                  <a:moveTo>
                    <a:pt x="473905" y="90636"/>
                  </a:moveTo>
                  <a:cubicBezTo>
                    <a:pt x="473905" y="65720"/>
                    <a:pt x="494073" y="45522"/>
                    <a:pt x="518953" y="45522"/>
                  </a:cubicBezTo>
                  <a:cubicBezTo>
                    <a:pt x="543832" y="45522"/>
                    <a:pt x="564000" y="65720"/>
                    <a:pt x="564000" y="90636"/>
                  </a:cubicBezTo>
                  <a:cubicBezTo>
                    <a:pt x="564000" y="115552"/>
                    <a:pt x="543832" y="135750"/>
                    <a:pt x="518953" y="135750"/>
                  </a:cubicBezTo>
                  <a:cubicBezTo>
                    <a:pt x="494078" y="136248"/>
                    <a:pt x="473510" y="116458"/>
                    <a:pt x="473013" y="91547"/>
                  </a:cubicBezTo>
                  <a:cubicBezTo>
                    <a:pt x="473007" y="91244"/>
                    <a:pt x="473004" y="90940"/>
                    <a:pt x="473004" y="90636"/>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sp>
        <p:nvSpPr>
          <p:cNvPr id="77" name="Rectangle 76">
            <a:extLst>
              <a:ext uri="{FF2B5EF4-FFF2-40B4-BE49-F238E27FC236}">
                <a16:creationId xmlns:a16="http://schemas.microsoft.com/office/drawing/2014/main" id="{89F1A960-0C88-4A7A-B7EF-09271D371666}"/>
              </a:ext>
            </a:extLst>
          </p:cNvPr>
          <p:cNvSpPr/>
          <p:nvPr/>
        </p:nvSpPr>
        <p:spPr bwMode="auto">
          <a:xfrm>
            <a:off x="5559285" y="5562711"/>
            <a:ext cx="1852742" cy="355287"/>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79" name="Rectangle 78">
            <a:extLst>
              <a:ext uri="{FF2B5EF4-FFF2-40B4-BE49-F238E27FC236}">
                <a16:creationId xmlns:a16="http://schemas.microsoft.com/office/drawing/2014/main" id="{629CDCF0-7347-4003-8F0C-90DDE8790FB1}"/>
              </a:ext>
            </a:extLst>
          </p:cNvPr>
          <p:cNvSpPr/>
          <p:nvPr/>
        </p:nvSpPr>
        <p:spPr bwMode="auto">
          <a:xfrm>
            <a:off x="5566623" y="5958927"/>
            <a:ext cx="563219" cy="355287"/>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97" name="Subtitle 7">
            <a:extLst>
              <a:ext uri="{FF2B5EF4-FFF2-40B4-BE49-F238E27FC236}">
                <a16:creationId xmlns:a16="http://schemas.microsoft.com/office/drawing/2014/main" id="{6F839CE8-8210-4166-8A2C-BCF514872ED9}"/>
              </a:ext>
            </a:extLst>
          </p:cNvPr>
          <p:cNvSpPr txBox="1">
            <a:spLocks noChangeAspect="1"/>
          </p:cNvSpPr>
          <p:nvPr/>
        </p:nvSpPr>
        <p:spPr>
          <a:xfrm>
            <a:off x="5692264" y="6005597"/>
            <a:ext cx="148245" cy="243385"/>
          </a:xfrm>
          <a:prstGeom prst="rect">
            <a:avLst/>
          </a:prstGeom>
          <a:solidFill>
            <a:schemeClr val="accent3"/>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99" name="Rectangle 98">
            <a:extLst>
              <a:ext uri="{FF2B5EF4-FFF2-40B4-BE49-F238E27FC236}">
                <a16:creationId xmlns:a16="http://schemas.microsoft.com/office/drawing/2014/main" id="{3F42CA12-D817-4BCA-9E14-53D8E231B73F}"/>
              </a:ext>
            </a:extLst>
          </p:cNvPr>
          <p:cNvSpPr/>
          <p:nvPr/>
        </p:nvSpPr>
        <p:spPr bwMode="auto">
          <a:xfrm>
            <a:off x="5559285" y="5165125"/>
            <a:ext cx="1852742" cy="359467"/>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01" name="TextBox 100">
            <a:extLst>
              <a:ext uri="{FF2B5EF4-FFF2-40B4-BE49-F238E27FC236}">
                <a16:creationId xmlns:a16="http://schemas.microsoft.com/office/drawing/2014/main" id="{0E84A489-658C-41AB-BDB0-026394DB5230}"/>
              </a:ext>
            </a:extLst>
          </p:cNvPr>
          <p:cNvSpPr txBox="1"/>
          <p:nvPr/>
        </p:nvSpPr>
        <p:spPr bwMode="auto">
          <a:xfrm>
            <a:off x="6283541" y="4832404"/>
            <a:ext cx="362537"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100"/>
              <a:t>Public network </a:t>
            </a:r>
            <a:r>
              <a:rPr lang="en-US" sz="1100" err="1"/>
              <a:t>infrastr</a:t>
            </a:r>
            <a:r>
              <a:rPr lang="en-US" sz="1100"/>
              <a:t>.</a:t>
            </a:r>
          </a:p>
        </p:txBody>
      </p:sp>
      <p:grpSp>
        <p:nvGrpSpPr>
          <p:cNvPr id="102" name="Picture Placeholder 63">
            <a:extLst>
              <a:ext uri="{FF2B5EF4-FFF2-40B4-BE49-F238E27FC236}">
                <a16:creationId xmlns:a16="http://schemas.microsoft.com/office/drawing/2014/main" id="{5E1E95DC-1FE9-4650-AE1B-079FB7493B7E}"/>
              </a:ext>
            </a:extLst>
          </p:cNvPr>
          <p:cNvGrpSpPr>
            <a:grpSpLocks noChangeAspect="1"/>
          </p:cNvGrpSpPr>
          <p:nvPr/>
        </p:nvGrpSpPr>
        <p:grpSpPr>
          <a:xfrm>
            <a:off x="4924519" y="5184757"/>
            <a:ext cx="185368" cy="296589"/>
            <a:chOff x="674873" y="539729"/>
            <a:chExt cx="450480" cy="720767"/>
          </a:xfrm>
          <a:solidFill>
            <a:schemeClr val="accent1"/>
          </a:solidFill>
        </p:grpSpPr>
        <p:sp>
          <p:nvSpPr>
            <p:cNvPr id="103" name="Freeform 21">
              <a:extLst>
                <a:ext uri="{FF2B5EF4-FFF2-40B4-BE49-F238E27FC236}">
                  <a16:creationId xmlns:a16="http://schemas.microsoft.com/office/drawing/2014/main" id="{3A89D227-9915-4CFE-AE6C-7C2243D020D8}"/>
                </a:ext>
              </a:extLst>
            </p:cNvPr>
            <p:cNvSpPr/>
            <p:nvPr/>
          </p:nvSpPr>
          <p:spPr>
            <a:xfrm>
              <a:off x="674873" y="539729"/>
              <a:ext cx="450480" cy="720767"/>
            </a:xfrm>
            <a:custGeom>
              <a:avLst/>
              <a:gdLst>
                <a:gd name="connsiteX0" fmla="*/ 382908 w 450479"/>
                <a:gd name="connsiteY0" fmla="*/ 720767 h 720767"/>
                <a:gd name="connsiteX1" fmla="*/ 67572 w 450479"/>
                <a:gd name="connsiteY1" fmla="*/ 720767 h 720767"/>
                <a:gd name="connsiteX2" fmla="*/ 0 w 450479"/>
                <a:gd name="connsiteY2" fmla="*/ 653195 h 720767"/>
                <a:gd name="connsiteX3" fmla="*/ 0 w 450479"/>
                <a:gd name="connsiteY3" fmla="*/ 67572 h 720767"/>
                <a:gd name="connsiteX4" fmla="*/ 67572 w 450479"/>
                <a:gd name="connsiteY4" fmla="*/ 0 h 720767"/>
                <a:gd name="connsiteX5" fmla="*/ 382908 w 450479"/>
                <a:gd name="connsiteY5" fmla="*/ 0 h 720767"/>
                <a:gd name="connsiteX6" fmla="*/ 450480 w 450479"/>
                <a:gd name="connsiteY6" fmla="*/ 67572 h 720767"/>
                <a:gd name="connsiteX7" fmla="*/ 450480 w 450479"/>
                <a:gd name="connsiteY7" fmla="*/ 653195 h 720767"/>
                <a:gd name="connsiteX8" fmla="*/ 382908 w 450479"/>
                <a:gd name="connsiteY8" fmla="*/ 720767 h 720767"/>
                <a:gd name="connsiteX9" fmla="*/ 67572 w 450479"/>
                <a:gd name="connsiteY9" fmla="*/ 45048 h 720767"/>
                <a:gd name="connsiteX10" fmla="*/ 45048 w 450479"/>
                <a:gd name="connsiteY10" fmla="*/ 67572 h 720767"/>
                <a:gd name="connsiteX11" fmla="*/ 45048 w 450479"/>
                <a:gd name="connsiteY11" fmla="*/ 653195 h 720767"/>
                <a:gd name="connsiteX12" fmla="*/ 67572 w 450479"/>
                <a:gd name="connsiteY12" fmla="*/ 675719 h 720767"/>
                <a:gd name="connsiteX13" fmla="*/ 382908 w 450479"/>
                <a:gd name="connsiteY13" fmla="*/ 675719 h 720767"/>
                <a:gd name="connsiteX14" fmla="*/ 405432 w 450479"/>
                <a:gd name="connsiteY14" fmla="*/ 653195 h 720767"/>
                <a:gd name="connsiteX15" fmla="*/ 405432 w 450479"/>
                <a:gd name="connsiteY15" fmla="*/ 67572 h 720767"/>
                <a:gd name="connsiteX16" fmla="*/ 382908 w 450479"/>
                <a:gd name="connsiteY16" fmla="*/ 45048 h 72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479" h="720767">
                  <a:moveTo>
                    <a:pt x="382908" y="720767"/>
                  </a:moveTo>
                  <a:lnTo>
                    <a:pt x="67572" y="720767"/>
                  </a:lnTo>
                  <a:cubicBezTo>
                    <a:pt x="30253" y="720767"/>
                    <a:pt x="0" y="690514"/>
                    <a:pt x="0" y="653195"/>
                  </a:cubicBezTo>
                  <a:lnTo>
                    <a:pt x="0" y="67572"/>
                  </a:lnTo>
                  <a:cubicBezTo>
                    <a:pt x="0" y="30253"/>
                    <a:pt x="30253" y="0"/>
                    <a:pt x="67572" y="0"/>
                  </a:cubicBezTo>
                  <a:lnTo>
                    <a:pt x="382908" y="0"/>
                  </a:lnTo>
                  <a:cubicBezTo>
                    <a:pt x="420227" y="0"/>
                    <a:pt x="450480" y="30253"/>
                    <a:pt x="450480" y="67572"/>
                  </a:cubicBezTo>
                  <a:lnTo>
                    <a:pt x="450480" y="653195"/>
                  </a:lnTo>
                  <a:cubicBezTo>
                    <a:pt x="450480" y="690514"/>
                    <a:pt x="420227" y="720767"/>
                    <a:pt x="382908" y="720767"/>
                  </a:cubicBezTo>
                  <a:close/>
                  <a:moveTo>
                    <a:pt x="67572" y="45048"/>
                  </a:moveTo>
                  <a:cubicBezTo>
                    <a:pt x="55132" y="45048"/>
                    <a:pt x="45048" y="55132"/>
                    <a:pt x="45048" y="67572"/>
                  </a:cubicBezTo>
                  <a:lnTo>
                    <a:pt x="45048" y="653195"/>
                  </a:lnTo>
                  <a:cubicBezTo>
                    <a:pt x="45048" y="665635"/>
                    <a:pt x="55132" y="675719"/>
                    <a:pt x="67572" y="675719"/>
                  </a:cubicBezTo>
                  <a:lnTo>
                    <a:pt x="382908" y="675719"/>
                  </a:lnTo>
                  <a:cubicBezTo>
                    <a:pt x="395347" y="675719"/>
                    <a:pt x="405432" y="665635"/>
                    <a:pt x="405432" y="653195"/>
                  </a:cubicBezTo>
                  <a:lnTo>
                    <a:pt x="405432" y="67572"/>
                  </a:lnTo>
                  <a:cubicBezTo>
                    <a:pt x="405432" y="55132"/>
                    <a:pt x="395347" y="45048"/>
                    <a:pt x="382908" y="45048"/>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04" name="Freeform 22">
              <a:extLst>
                <a:ext uri="{FF2B5EF4-FFF2-40B4-BE49-F238E27FC236}">
                  <a16:creationId xmlns:a16="http://schemas.microsoft.com/office/drawing/2014/main" id="{B68EA3D9-BCF3-4321-8E65-D22FF868D554}"/>
                </a:ext>
              </a:extLst>
            </p:cNvPr>
            <p:cNvSpPr/>
            <p:nvPr/>
          </p:nvSpPr>
          <p:spPr>
            <a:xfrm>
              <a:off x="866327" y="1091566"/>
              <a:ext cx="45048" cy="45048"/>
            </a:xfrm>
            <a:custGeom>
              <a:avLst/>
              <a:gdLst>
                <a:gd name="connsiteX0" fmla="*/ 67572 w 45047"/>
                <a:gd name="connsiteY0" fmla="*/ 33786 h 45047"/>
                <a:gd name="connsiteX1" fmla="*/ 33786 w 45047"/>
                <a:gd name="connsiteY1" fmla="*/ 67572 h 45047"/>
                <a:gd name="connsiteX2" fmla="*/ 0 w 45047"/>
                <a:gd name="connsiteY2" fmla="*/ 33786 h 45047"/>
                <a:gd name="connsiteX3" fmla="*/ 33786 w 45047"/>
                <a:gd name="connsiteY3" fmla="*/ 0 h 45047"/>
                <a:gd name="connsiteX4" fmla="*/ 67572 w 45047"/>
                <a:gd name="connsiteY4" fmla="*/ 33786 h 4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47" h="45047">
                  <a:moveTo>
                    <a:pt x="67572" y="33786"/>
                  </a:moveTo>
                  <a:cubicBezTo>
                    <a:pt x="67572" y="52445"/>
                    <a:pt x="52445" y="67572"/>
                    <a:pt x="33786" y="67572"/>
                  </a:cubicBezTo>
                  <a:cubicBezTo>
                    <a:pt x="15127" y="67572"/>
                    <a:pt x="0" y="52445"/>
                    <a:pt x="0" y="33786"/>
                  </a:cubicBezTo>
                  <a:cubicBezTo>
                    <a:pt x="0" y="15127"/>
                    <a:pt x="15127" y="0"/>
                    <a:pt x="33786" y="0"/>
                  </a:cubicBezTo>
                  <a:cubicBezTo>
                    <a:pt x="52445" y="0"/>
                    <a:pt x="67572" y="15127"/>
                    <a:pt x="67572" y="33786"/>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05" name="Freeform 23">
              <a:extLst>
                <a:ext uri="{FF2B5EF4-FFF2-40B4-BE49-F238E27FC236}">
                  <a16:creationId xmlns:a16="http://schemas.microsoft.com/office/drawing/2014/main" id="{1985D350-511C-4ECD-B54D-915C3EF12EF0}"/>
                </a:ext>
              </a:extLst>
            </p:cNvPr>
            <p:cNvSpPr/>
            <p:nvPr/>
          </p:nvSpPr>
          <p:spPr>
            <a:xfrm>
              <a:off x="967684" y="810017"/>
              <a:ext cx="45048" cy="180192"/>
            </a:xfrm>
            <a:custGeom>
              <a:avLst/>
              <a:gdLst>
                <a:gd name="connsiteX0" fmla="*/ 0 w 45047"/>
                <a:gd name="connsiteY0" fmla="*/ 0 h 180191"/>
                <a:gd name="connsiteX1" fmla="*/ 45048 w 45047"/>
                <a:gd name="connsiteY1" fmla="*/ 0 h 180191"/>
                <a:gd name="connsiteX2" fmla="*/ 45048 w 45047"/>
                <a:gd name="connsiteY2" fmla="*/ 180192 h 180191"/>
                <a:gd name="connsiteX3" fmla="*/ 0 w 45047"/>
                <a:gd name="connsiteY3" fmla="*/ 180192 h 180191"/>
              </a:gdLst>
              <a:ahLst/>
              <a:cxnLst>
                <a:cxn ang="0">
                  <a:pos x="connsiteX0" y="connsiteY0"/>
                </a:cxn>
                <a:cxn ang="0">
                  <a:pos x="connsiteX1" y="connsiteY1"/>
                </a:cxn>
                <a:cxn ang="0">
                  <a:pos x="connsiteX2" y="connsiteY2"/>
                </a:cxn>
                <a:cxn ang="0">
                  <a:pos x="connsiteX3" y="connsiteY3"/>
                </a:cxn>
              </a:cxnLst>
              <a:rect l="l" t="t" r="r" b="b"/>
              <a:pathLst>
                <a:path w="45047" h="180191">
                  <a:moveTo>
                    <a:pt x="0" y="0"/>
                  </a:moveTo>
                  <a:lnTo>
                    <a:pt x="45048" y="0"/>
                  </a:lnTo>
                  <a:lnTo>
                    <a:pt x="45048" y="180192"/>
                  </a:lnTo>
                  <a:lnTo>
                    <a:pt x="0" y="180192"/>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06" name="Freeform 24">
              <a:extLst>
                <a:ext uri="{FF2B5EF4-FFF2-40B4-BE49-F238E27FC236}">
                  <a16:creationId xmlns:a16="http://schemas.microsoft.com/office/drawing/2014/main" id="{096BCB70-F3FD-4A13-BAD1-624311B4E972}"/>
                </a:ext>
              </a:extLst>
            </p:cNvPr>
            <p:cNvSpPr/>
            <p:nvPr/>
          </p:nvSpPr>
          <p:spPr>
            <a:xfrm>
              <a:off x="877589" y="855515"/>
              <a:ext cx="45048" cy="135144"/>
            </a:xfrm>
            <a:custGeom>
              <a:avLst/>
              <a:gdLst>
                <a:gd name="connsiteX0" fmla="*/ 0 w 45047"/>
                <a:gd name="connsiteY0" fmla="*/ 0 h 135143"/>
                <a:gd name="connsiteX1" fmla="*/ 45048 w 45047"/>
                <a:gd name="connsiteY1" fmla="*/ 0 h 135143"/>
                <a:gd name="connsiteX2" fmla="*/ 45048 w 45047"/>
                <a:gd name="connsiteY2" fmla="*/ 135144 h 135143"/>
                <a:gd name="connsiteX3" fmla="*/ 0 w 45047"/>
                <a:gd name="connsiteY3" fmla="*/ 135144 h 135143"/>
              </a:gdLst>
              <a:ahLst/>
              <a:cxnLst>
                <a:cxn ang="0">
                  <a:pos x="connsiteX0" y="connsiteY0"/>
                </a:cxn>
                <a:cxn ang="0">
                  <a:pos x="connsiteX1" y="connsiteY1"/>
                </a:cxn>
                <a:cxn ang="0">
                  <a:pos x="connsiteX2" y="connsiteY2"/>
                </a:cxn>
                <a:cxn ang="0">
                  <a:pos x="connsiteX3" y="connsiteY3"/>
                </a:cxn>
              </a:cxnLst>
              <a:rect l="l" t="t" r="r" b="b"/>
              <a:pathLst>
                <a:path w="45047" h="135143">
                  <a:moveTo>
                    <a:pt x="0" y="0"/>
                  </a:moveTo>
                  <a:lnTo>
                    <a:pt x="45048" y="0"/>
                  </a:lnTo>
                  <a:lnTo>
                    <a:pt x="45048" y="135144"/>
                  </a:lnTo>
                  <a:lnTo>
                    <a:pt x="0" y="135144"/>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07" name="Freeform 25">
              <a:extLst>
                <a:ext uri="{FF2B5EF4-FFF2-40B4-BE49-F238E27FC236}">
                  <a16:creationId xmlns:a16="http://schemas.microsoft.com/office/drawing/2014/main" id="{25E12E47-5F41-415A-98B6-2CE0BAF5C1C4}"/>
                </a:ext>
              </a:extLst>
            </p:cNvPr>
            <p:cNvSpPr/>
            <p:nvPr/>
          </p:nvSpPr>
          <p:spPr>
            <a:xfrm>
              <a:off x="787493" y="899662"/>
              <a:ext cx="45048" cy="90096"/>
            </a:xfrm>
            <a:custGeom>
              <a:avLst/>
              <a:gdLst>
                <a:gd name="connsiteX0" fmla="*/ 0 w 45047"/>
                <a:gd name="connsiteY0" fmla="*/ 0 h 90095"/>
                <a:gd name="connsiteX1" fmla="*/ 45048 w 45047"/>
                <a:gd name="connsiteY1" fmla="*/ 0 h 90095"/>
                <a:gd name="connsiteX2" fmla="*/ 45048 w 45047"/>
                <a:gd name="connsiteY2" fmla="*/ 91447 h 90095"/>
                <a:gd name="connsiteX3" fmla="*/ 0 w 45047"/>
                <a:gd name="connsiteY3" fmla="*/ 91447 h 90095"/>
              </a:gdLst>
              <a:ahLst/>
              <a:cxnLst>
                <a:cxn ang="0">
                  <a:pos x="connsiteX0" y="connsiteY0"/>
                </a:cxn>
                <a:cxn ang="0">
                  <a:pos x="connsiteX1" y="connsiteY1"/>
                </a:cxn>
                <a:cxn ang="0">
                  <a:pos x="connsiteX2" y="connsiteY2"/>
                </a:cxn>
                <a:cxn ang="0">
                  <a:pos x="connsiteX3" y="connsiteY3"/>
                </a:cxn>
              </a:cxnLst>
              <a:rect l="l" t="t" r="r" b="b"/>
              <a:pathLst>
                <a:path w="45047" h="90095">
                  <a:moveTo>
                    <a:pt x="0" y="0"/>
                  </a:moveTo>
                  <a:lnTo>
                    <a:pt x="45048" y="0"/>
                  </a:lnTo>
                  <a:lnTo>
                    <a:pt x="45048" y="91447"/>
                  </a:lnTo>
                  <a:lnTo>
                    <a:pt x="0" y="91447"/>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sp>
        <p:nvSpPr>
          <p:cNvPr id="108" name="Subtitle 7">
            <a:extLst>
              <a:ext uri="{FF2B5EF4-FFF2-40B4-BE49-F238E27FC236}">
                <a16:creationId xmlns:a16="http://schemas.microsoft.com/office/drawing/2014/main" id="{316C2CDF-F244-4725-BF2A-1DC2B5284B56}"/>
              </a:ext>
            </a:extLst>
          </p:cNvPr>
          <p:cNvSpPr txBox="1">
            <a:spLocks noChangeAspect="1"/>
          </p:cNvSpPr>
          <p:nvPr/>
        </p:nvSpPr>
        <p:spPr>
          <a:xfrm>
            <a:off x="7070486" y="5204287"/>
            <a:ext cx="175875" cy="288747"/>
          </a:xfrm>
          <a:prstGeom prst="rect">
            <a:avLst/>
          </a:prstGeom>
          <a:solidFill>
            <a:schemeClr val="accent1"/>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2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111" name="Subtitle 7">
            <a:extLst>
              <a:ext uri="{FF2B5EF4-FFF2-40B4-BE49-F238E27FC236}">
                <a16:creationId xmlns:a16="http://schemas.microsoft.com/office/drawing/2014/main" id="{63ADF760-2A2B-43B7-A789-B6F15B09B401}"/>
              </a:ext>
            </a:extLst>
          </p:cNvPr>
          <p:cNvSpPr txBox="1">
            <a:spLocks noChangeAspect="1"/>
          </p:cNvSpPr>
          <p:nvPr/>
        </p:nvSpPr>
        <p:spPr>
          <a:xfrm>
            <a:off x="5844664" y="5621285"/>
            <a:ext cx="148245" cy="243385"/>
          </a:xfrm>
          <a:prstGeom prst="rect">
            <a:avLst/>
          </a:prstGeom>
          <a:solidFill>
            <a:schemeClr val="accent2"/>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112" name="Subtitle 7">
            <a:extLst>
              <a:ext uri="{FF2B5EF4-FFF2-40B4-BE49-F238E27FC236}">
                <a16:creationId xmlns:a16="http://schemas.microsoft.com/office/drawing/2014/main" id="{735C4E4D-6019-450B-90D5-CA09B5EC2452}"/>
              </a:ext>
            </a:extLst>
          </p:cNvPr>
          <p:cNvSpPr txBox="1">
            <a:spLocks noChangeAspect="1"/>
          </p:cNvSpPr>
          <p:nvPr/>
        </p:nvSpPr>
        <p:spPr>
          <a:xfrm>
            <a:off x="7136752" y="5614661"/>
            <a:ext cx="148245" cy="243385"/>
          </a:xfrm>
          <a:prstGeom prst="rect">
            <a:avLst/>
          </a:prstGeom>
          <a:solidFill>
            <a:schemeClr val="accent2"/>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78" name="TextBox 77">
            <a:extLst>
              <a:ext uri="{FF2B5EF4-FFF2-40B4-BE49-F238E27FC236}">
                <a16:creationId xmlns:a16="http://schemas.microsoft.com/office/drawing/2014/main" id="{683697D0-093C-47ED-BC4A-A0E140E3C355}"/>
              </a:ext>
            </a:extLst>
          </p:cNvPr>
          <p:cNvSpPr txBox="1"/>
          <p:nvPr/>
        </p:nvSpPr>
        <p:spPr bwMode="auto">
          <a:xfrm>
            <a:off x="8252369" y="3300151"/>
            <a:ext cx="3655253" cy="3229349"/>
          </a:xfrm>
          <a:prstGeom prst="rect">
            <a:avLst/>
          </a:prstGeom>
          <a:noFill/>
          <a:ln w="19050">
            <a:solidFill>
              <a:schemeClr val="tx1"/>
            </a:solid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en-US" sz="1800" b="1"/>
              <a:t>Private 5G Network using public infrastructure</a:t>
            </a:r>
            <a:r>
              <a:rPr lang="en-US" sz="1800"/>
              <a:t> </a:t>
            </a:r>
            <a:br>
              <a:rPr lang="en-US" sz="1800"/>
            </a:br>
            <a:r>
              <a:rPr lang="en-US" sz="1600"/>
              <a:t>Served off infrastructure shared with public services. Slicing to isolate and customize per customer and  use case</a:t>
            </a:r>
            <a:endParaRPr lang="en-US" sz="1800"/>
          </a:p>
        </p:txBody>
      </p:sp>
      <p:sp>
        <p:nvSpPr>
          <p:cNvPr id="80" name="Rectangle 79">
            <a:extLst>
              <a:ext uri="{FF2B5EF4-FFF2-40B4-BE49-F238E27FC236}">
                <a16:creationId xmlns:a16="http://schemas.microsoft.com/office/drawing/2014/main" id="{51019A25-50AC-4585-B5B6-EC477D2CB291}"/>
              </a:ext>
            </a:extLst>
          </p:cNvPr>
          <p:cNvSpPr/>
          <p:nvPr/>
        </p:nvSpPr>
        <p:spPr bwMode="auto">
          <a:xfrm>
            <a:off x="8956823" y="4744278"/>
            <a:ext cx="2263136" cy="1637471"/>
          </a:xfrm>
          <a:prstGeom prst="rect">
            <a:avLst/>
          </a:prstGeom>
          <a:noFill/>
          <a:ln w="12700" cap="flat" cmpd="sng" algn="ctr">
            <a:solidFill>
              <a:schemeClr val="tx1"/>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81" name="TextBox 80">
            <a:extLst>
              <a:ext uri="{FF2B5EF4-FFF2-40B4-BE49-F238E27FC236}">
                <a16:creationId xmlns:a16="http://schemas.microsoft.com/office/drawing/2014/main" id="{84E5A595-44E0-4BFF-AC4D-D8BD145AB17C}"/>
              </a:ext>
            </a:extLst>
          </p:cNvPr>
          <p:cNvSpPr txBox="1"/>
          <p:nvPr/>
        </p:nvSpPr>
        <p:spPr bwMode="auto">
          <a:xfrm>
            <a:off x="9427960" y="4747087"/>
            <a:ext cx="362537"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100"/>
              <a:t>Public network infrastructure</a:t>
            </a:r>
          </a:p>
        </p:txBody>
      </p:sp>
      <p:sp>
        <p:nvSpPr>
          <p:cNvPr id="82" name="Subtitle 7">
            <a:extLst>
              <a:ext uri="{FF2B5EF4-FFF2-40B4-BE49-F238E27FC236}">
                <a16:creationId xmlns:a16="http://schemas.microsoft.com/office/drawing/2014/main" id="{BDFC0B7F-A053-445C-895D-DF1DBDB83265}"/>
              </a:ext>
            </a:extLst>
          </p:cNvPr>
          <p:cNvSpPr txBox="1">
            <a:spLocks noChangeAspect="1"/>
          </p:cNvSpPr>
          <p:nvPr/>
        </p:nvSpPr>
        <p:spPr>
          <a:xfrm>
            <a:off x="9119914" y="5025095"/>
            <a:ext cx="392786" cy="1282940"/>
          </a:xfrm>
          <a:prstGeom prst="rect">
            <a:avLst/>
          </a:prstGeom>
          <a:solidFill>
            <a:schemeClr val="bg1"/>
          </a:solidFill>
          <a:ln w="19050">
            <a:solidFill>
              <a:schemeClr val="accent2"/>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24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B</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a:ea typeface="+mn-ea"/>
              <a:cs typeface="+mn-cs"/>
            </a:endParaRP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2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83" name="Rectangle 82">
            <a:extLst>
              <a:ext uri="{FF2B5EF4-FFF2-40B4-BE49-F238E27FC236}">
                <a16:creationId xmlns:a16="http://schemas.microsoft.com/office/drawing/2014/main" id="{D0F5570F-C2EB-4351-B94C-59CD4E146030}"/>
              </a:ext>
            </a:extLst>
          </p:cNvPr>
          <p:cNvSpPr/>
          <p:nvPr/>
        </p:nvSpPr>
        <p:spPr bwMode="auto">
          <a:xfrm>
            <a:off x="9463757" y="5025097"/>
            <a:ext cx="1501583" cy="420094"/>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84" name="Subtitle 7">
            <a:extLst>
              <a:ext uri="{FF2B5EF4-FFF2-40B4-BE49-F238E27FC236}">
                <a16:creationId xmlns:a16="http://schemas.microsoft.com/office/drawing/2014/main" id="{CFF81D7B-BF42-4919-9EEC-2DBB898AC1BE}"/>
              </a:ext>
            </a:extLst>
          </p:cNvPr>
          <p:cNvSpPr txBox="1">
            <a:spLocks noChangeAspect="1"/>
          </p:cNvSpPr>
          <p:nvPr/>
        </p:nvSpPr>
        <p:spPr>
          <a:xfrm>
            <a:off x="10217879" y="5078391"/>
            <a:ext cx="175875" cy="288747"/>
          </a:xfrm>
          <a:prstGeom prst="rect">
            <a:avLst/>
          </a:prstGeom>
          <a:solidFill>
            <a:schemeClr val="accent1"/>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105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2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85" name="Rectangle 84">
            <a:extLst>
              <a:ext uri="{FF2B5EF4-FFF2-40B4-BE49-F238E27FC236}">
                <a16:creationId xmlns:a16="http://schemas.microsoft.com/office/drawing/2014/main" id="{35AB5AC8-A929-481E-A426-EEDF811DC9DC}"/>
              </a:ext>
            </a:extLst>
          </p:cNvPr>
          <p:cNvSpPr/>
          <p:nvPr/>
        </p:nvSpPr>
        <p:spPr bwMode="auto">
          <a:xfrm>
            <a:off x="9471095" y="5498485"/>
            <a:ext cx="1501583" cy="726223"/>
          </a:xfrm>
          <a:prstGeom prst="rect">
            <a:avLst/>
          </a:prstGeom>
          <a:solidFill>
            <a:schemeClr val="bg2">
              <a:lumMod val="5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a:ln>
                <a:noFill/>
              </a:ln>
              <a:solidFill>
                <a:schemeClr val="bg1"/>
              </a:solidFill>
              <a:effectLst/>
              <a:latin typeface="+mn-lt"/>
            </a:endParaRPr>
          </a:p>
        </p:txBody>
      </p:sp>
      <p:grpSp>
        <p:nvGrpSpPr>
          <p:cNvPr id="86" name="Picture Placeholder 63">
            <a:extLst>
              <a:ext uri="{FF2B5EF4-FFF2-40B4-BE49-F238E27FC236}">
                <a16:creationId xmlns:a16="http://schemas.microsoft.com/office/drawing/2014/main" id="{DCB00761-FD86-48A6-8BC7-D402C9AC7FAA}"/>
              </a:ext>
            </a:extLst>
          </p:cNvPr>
          <p:cNvGrpSpPr>
            <a:grpSpLocks noChangeAspect="1"/>
          </p:cNvGrpSpPr>
          <p:nvPr/>
        </p:nvGrpSpPr>
        <p:grpSpPr>
          <a:xfrm>
            <a:off x="8573055" y="5031226"/>
            <a:ext cx="223166" cy="357066"/>
            <a:chOff x="674873" y="539729"/>
            <a:chExt cx="450480" cy="720767"/>
          </a:xfrm>
          <a:solidFill>
            <a:schemeClr val="accent1"/>
          </a:solidFill>
        </p:grpSpPr>
        <p:sp>
          <p:nvSpPr>
            <p:cNvPr id="87" name="Freeform 21">
              <a:extLst>
                <a:ext uri="{FF2B5EF4-FFF2-40B4-BE49-F238E27FC236}">
                  <a16:creationId xmlns:a16="http://schemas.microsoft.com/office/drawing/2014/main" id="{77BC8F17-7E05-4B7B-B04D-4AADD39F9CFF}"/>
                </a:ext>
              </a:extLst>
            </p:cNvPr>
            <p:cNvSpPr/>
            <p:nvPr/>
          </p:nvSpPr>
          <p:spPr>
            <a:xfrm>
              <a:off x="674873" y="539729"/>
              <a:ext cx="450480" cy="720767"/>
            </a:xfrm>
            <a:custGeom>
              <a:avLst/>
              <a:gdLst>
                <a:gd name="connsiteX0" fmla="*/ 382908 w 450479"/>
                <a:gd name="connsiteY0" fmla="*/ 720767 h 720767"/>
                <a:gd name="connsiteX1" fmla="*/ 67572 w 450479"/>
                <a:gd name="connsiteY1" fmla="*/ 720767 h 720767"/>
                <a:gd name="connsiteX2" fmla="*/ 0 w 450479"/>
                <a:gd name="connsiteY2" fmla="*/ 653195 h 720767"/>
                <a:gd name="connsiteX3" fmla="*/ 0 w 450479"/>
                <a:gd name="connsiteY3" fmla="*/ 67572 h 720767"/>
                <a:gd name="connsiteX4" fmla="*/ 67572 w 450479"/>
                <a:gd name="connsiteY4" fmla="*/ 0 h 720767"/>
                <a:gd name="connsiteX5" fmla="*/ 382908 w 450479"/>
                <a:gd name="connsiteY5" fmla="*/ 0 h 720767"/>
                <a:gd name="connsiteX6" fmla="*/ 450480 w 450479"/>
                <a:gd name="connsiteY6" fmla="*/ 67572 h 720767"/>
                <a:gd name="connsiteX7" fmla="*/ 450480 w 450479"/>
                <a:gd name="connsiteY7" fmla="*/ 653195 h 720767"/>
                <a:gd name="connsiteX8" fmla="*/ 382908 w 450479"/>
                <a:gd name="connsiteY8" fmla="*/ 720767 h 720767"/>
                <a:gd name="connsiteX9" fmla="*/ 67572 w 450479"/>
                <a:gd name="connsiteY9" fmla="*/ 45048 h 720767"/>
                <a:gd name="connsiteX10" fmla="*/ 45048 w 450479"/>
                <a:gd name="connsiteY10" fmla="*/ 67572 h 720767"/>
                <a:gd name="connsiteX11" fmla="*/ 45048 w 450479"/>
                <a:gd name="connsiteY11" fmla="*/ 653195 h 720767"/>
                <a:gd name="connsiteX12" fmla="*/ 67572 w 450479"/>
                <a:gd name="connsiteY12" fmla="*/ 675719 h 720767"/>
                <a:gd name="connsiteX13" fmla="*/ 382908 w 450479"/>
                <a:gd name="connsiteY13" fmla="*/ 675719 h 720767"/>
                <a:gd name="connsiteX14" fmla="*/ 405432 w 450479"/>
                <a:gd name="connsiteY14" fmla="*/ 653195 h 720767"/>
                <a:gd name="connsiteX15" fmla="*/ 405432 w 450479"/>
                <a:gd name="connsiteY15" fmla="*/ 67572 h 720767"/>
                <a:gd name="connsiteX16" fmla="*/ 382908 w 450479"/>
                <a:gd name="connsiteY16" fmla="*/ 45048 h 72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479" h="720767">
                  <a:moveTo>
                    <a:pt x="382908" y="720767"/>
                  </a:moveTo>
                  <a:lnTo>
                    <a:pt x="67572" y="720767"/>
                  </a:lnTo>
                  <a:cubicBezTo>
                    <a:pt x="30253" y="720767"/>
                    <a:pt x="0" y="690514"/>
                    <a:pt x="0" y="653195"/>
                  </a:cubicBezTo>
                  <a:lnTo>
                    <a:pt x="0" y="67572"/>
                  </a:lnTo>
                  <a:cubicBezTo>
                    <a:pt x="0" y="30253"/>
                    <a:pt x="30253" y="0"/>
                    <a:pt x="67572" y="0"/>
                  </a:cubicBezTo>
                  <a:lnTo>
                    <a:pt x="382908" y="0"/>
                  </a:lnTo>
                  <a:cubicBezTo>
                    <a:pt x="420227" y="0"/>
                    <a:pt x="450480" y="30253"/>
                    <a:pt x="450480" y="67572"/>
                  </a:cubicBezTo>
                  <a:lnTo>
                    <a:pt x="450480" y="653195"/>
                  </a:lnTo>
                  <a:cubicBezTo>
                    <a:pt x="450480" y="690514"/>
                    <a:pt x="420227" y="720767"/>
                    <a:pt x="382908" y="720767"/>
                  </a:cubicBezTo>
                  <a:close/>
                  <a:moveTo>
                    <a:pt x="67572" y="45048"/>
                  </a:moveTo>
                  <a:cubicBezTo>
                    <a:pt x="55132" y="45048"/>
                    <a:pt x="45048" y="55132"/>
                    <a:pt x="45048" y="67572"/>
                  </a:cubicBezTo>
                  <a:lnTo>
                    <a:pt x="45048" y="653195"/>
                  </a:lnTo>
                  <a:cubicBezTo>
                    <a:pt x="45048" y="665635"/>
                    <a:pt x="55132" y="675719"/>
                    <a:pt x="67572" y="675719"/>
                  </a:cubicBezTo>
                  <a:lnTo>
                    <a:pt x="382908" y="675719"/>
                  </a:lnTo>
                  <a:cubicBezTo>
                    <a:pt x="395347" y="675719"/>
                    <a:pt x="405432" y="665635"/>
                    <a:pt x="405432" y="653195"/>
                  </a:cubicBezTo>
                  <a:lnTo>
                    <a:pt x="405432" y="67572"/>
                  </a:lnTo>
                  <a:cubicBezTo>
                    <a:pt x="405432" y="55132"/>
                    <a:pt x="395347" y="45048"/>
                    <a:pt x="382908" y="45048"/>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88" name="Freeform 22">
              <a:extLst>
                <a:ext uri="{FF2B5EF4-FFF2-40B4-BE49-F238E27FC236}">
                  <a16:creationId xmlns:a16="http://schemas.microsoft.com/office/drawing/2014/main" id="{3011CA29-167B-4F52-A554-DAC52F07BE1C}"/>
                </a:ext>
              </a:extLst>
            </p:cNvPr>
            <p:cNvSpPr/>
            <p:nvPr/>
          </p:nvSpPr>
          <p:spPr>
            <a:xfrm>
              <a:off x="866327" y="1091566"/>
              <a:ext cx="45048" cy="45048"/>
            </a:xfrm>
            <a:custGeom>
              <a:avLst/>
              <a:gdLst>
                <a:gd name="connsiteX0" fmla="*/ 67572 w 45047"/>
                <a:gd name="connsiteY0" fmla="*/ 33786 h 45047"/>
                <a:gd name="connsiteX1" fmla="*/ 33786 w 45047"/>
                <a:gd name="connsiteY1" fmla="*/ 67572 h 45047"/>
                <a:gd name="connsiteX2" fmla="*/ 0 w 45047"/>
                <a:gd name="connsiteY2" fmla="*/ 33786 h 45047"/>
                <a:gd name="connsiteX3" fmla="*/ 33786 w 45047"/>
                <a:gd name="connsiteY3" fmla="*/ 0 h 45047"/>
                <a:gd name="connsiteX4" fmla="*/ 67572 w 45047"/>
                <a:gd name="connsiteY4" fmla="*/ 33786 h 4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47" h="45047">
                  <a:moveTo>
                    <a:pt x="67572" y="33786"/>
                  </a:moveTo>
                  <a:cubicBezTo>
                    <a:pt x="67572" y="52445"/>
                    <a:pt x="52445" y="67572"/>
                    <a:pt x="33786" y="67572"/>
                  </a:cubicBezTo>
                  <a:cubicBezTo>
                    <a:pt x="15127" y="67572"/>
                    <a:pt x="0" y="52445"/>
                    <a:pt x="0" y="33786"/>
                  </a:cubicBezTo>
                  <a:cubicBezTo>
                    <a:pt x="0" y="15127"/>
                    <a:pt x="15127" y="0"/>
                    <a:pt x="33786" y="0"/>
                  </a:cubicBezTo>
                  <a:cubicBezTo>
                    <a:pt x="52445" y="0"/>
                    <a:pt x="67572" y="15127"/>
                    <a:pt x="67572" y="33786"/>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89" name="Freeform 23">
              <a:extLst>
                <a:ext uri="{FF2B5EF4-FFF2-40B4-BE49-F238E27FC236}">
                  <a16:creationId xmlns:a16="http://schemas.microsoft.com/office/drawing/2014/main" id="{1B2E80C1-D889-4441-A2A2-CD29C9D35D63}"/>
                </a:ext>
              </a:extLst>
            </p:cNvPr>
            <p:cNvSpPr/>
            <p:nvPr/>
          </p:nvSpPr>
          <p:spPr>
            <a:xfrm>
              <a:off x="967684" y="810017"/>
              <a:ext cx="45048" cy="180192"/>
            </a:xfrm>
            <a:custGeom>
              <a:avLst/>
              <a:gdLst>
                <a:gd name="connsiteX0" fmla="*/ 0 w 45047"/>
                <a:gd name="connsiteY0" fmla="*/ 0 h 180191"/>
                <a:gd name="connsiteX1" fmla="*/ 45048 w 45047"/>
                <a:gd name="connsiteY1" fmla="*/ 0 h 180191"/>
                <a:gd name="connsiteX2" fmla="*/ 45048 w 45047"/>
                <a:gd name="connsiteY2" fmla="*/ 180192 h 180191"/>
                <a:gd name="connsiteX3" fmla="*/ 0 w 45047"/>
                <a:gd name="connsiteY3" fmla="*/ 180192 h 180191"/>
              </a:gdLst>
              <a:ahLst/>
              <a:cxnLst>
                <a:cxn ang="0">
                  <a:pos x="connsiteX0" y="connsiteY0"/>
                </a:cxn>
                <a:cxn ang="0">
                  <a:pos x="connsiteX1" y="connsiteY1"/>
                </a:cxn>
                <a:cxn ang="0">
                  <a:pos x="connsiteX2" y="connsiteY2"/>
                </a:cxn>
                <a:cxn ang="0">
                  <a:pos x="connsiteX3" y="connsiteY3"/>
                </a:cxn>
              </a:cxnLst>
              <a:rect l="l" t="t" r="r" b="b"/>
              <a:pathLst>
                <a:path w="45047" h="180191">
                  <a:moveTo>
                    <a:pt x="0" y="0"/>
                  </a:moveTo>
                  <a:lnTo>
                    <a:pt x="45048" y="0"/>
                  </a:lnTo>
                  <a:lnTo>
                    <a:pt x="45048" y="180192"/>
                  </a:lnTo>
                  <a:lnTo>
                    <a:pt x="0" y="180192"/>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0" name="Freeform 24">
              <a:extLst>
                <a:ext uri="{FF2B5EF4-FFF2-40B4-BE49-F238E27FC236}">
                  <a16:creationId xmlns:a16="http://schemas.microsoft.com/office/drawing/2014/main" id="{38050A63-5AB3-4360-85A1-6246231FB534}"/>
                </a:ext>
              </a:extLst>
            </p:cNvPr>
            <p:cNvSpPr/>
            <p:nvPr/>
          </p:nvSpPr>
          <p:spPr>
            <a:xfrm>
              <a:off x="877589" y="855515"/>
              <a:ext cx="45048" cy="135144"/>
            </a:xfrm>
            <a:custGeom>
              <a:avLst/>
              <a:gdLst>
                <a:gd name="connsiteX0" fmla="*/ 0 w 45047"/>
                <a:gd name="connsiteY0" fmla="*/ 0 h 135143"/>
                <a:gd name="connsiteX1" fmla="*/ 45048 w 45047"/>
                <a:gd name="connsiteY1" fmla="*/ 0 h 135143"/>
                <a:gd name="connsiteX2" fmla="*/ 45048 w 45047"/>
                <a:gd name="connsiteY2" fmla="*/ 135144 h 135143"/>
                <a:gd name="connsiteX3" fmla="*/ 0 w 45047"/>
                <a:gd name="connsiteY3" fmla="*/ 135144 h 135143"/>
              </a:gdLst>
              <a:ahLst/>
              <a:cxnLst>
                <a:cxn ang="0">
                  <a:pos x="connsiteX0" y="connsiteY0"/>
                </a:cxn>
                <a:cxn ang="0">
                  <a:pos x="connsiteX1" y="connsiteY1"/>
                </a:cxn>
                <a:cxn ang="0">
                  <a:pos x="connsiteX2" y="connsiteY2"/>
                </a:cxn>
                <a:cxn ang="0">
                  <a:pos x="connsiteX3" y="connsiteY3"/>
                </a:cxn>
              </a:cxnLst>
              <a:rect l="l" t="t" r="r" b="b"/>
              <a:pathLst>
                <a:path w="45047" h="135143">
                  <a:moveTo>
                    <a:pt x="0" y="0"/>
                  </a:moveTo>
                  <a:lnTo>
                    <a:pt x="45048" y="0"/>
                  </a:lnTo>
                  <a:lnTo>
                    <a:pt x="45048" y="135144"/>
                  </a:lnTo>
                  <a:lnTo>
                    <a:pt x="0" y="135144"/>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1" name="Freeform 25">
              <a:extLst>
                <a:ext uri="{FF2B5EF4-FFF2-40B4-BE49-F238E27FC236}">
                  <a16:creationId xmlns:a16="http://schemas.microsoft.com/office/drawing/2014/main" id="{54E5529C-AB48-43F8-A4B8-EF431A1BC633}"/>
                </a:ext>
              </a:extLst>
            </p:cNvPr>
            <p:cNvSpPr/>
            <p:nvPr/>
          </p:nvSpPr>
          <p:spPr>
            <a:xfrm>
              <a:off x="787493" y="899662"/>
              <a:ext cx="45048" cy="90096"/>
            </a:xfrm>
            <a:custGeom>
              <a:avLst/>
              <a:gdLst>
                <a:gd name="connsiteX0" fmla="*/ 0 w 45047"/>
                <a:gd name="connsiteY0" fmla="*/ 0 h 90095"/>
                <a:gd name="connsiteX1" fmla="*/ 45048 w 45047"/>
                <a:gd name="connsiteY1" fmla="*/ 0 h 90095"/>
                <a:gd name="connsiteX2" fmla="*/ 45048 w 45047"/>
                <a:gd name="connsiteY2" fmla="*/ 91447 h 90095"/>
                <a:gd name="connsiteX3" fmla="*/ 0 w 45047"/>
                <a:gd name="connsiteY3" fmla="*/ 91447 h 90095"/>
              </a:gdLst>
              <a:ahLst/>
              <a:cxnLst>
                <a:cxn ang="0">
                  <a:pos x="connsiteX0" y="connsiteY0"/>
                </a:cxn>
                <a:cxn ang="0">
                  <a:pos x="connsiteX1" y="connsiteY1"/>
                </a:cxn>
                <a:cxn ang="0">
                  <a:pos x="connsiteX2" y="connsiteY2"/>
                </a:cxn>
                <a:cxn ang="0">
                  <a:pos x="connsiteX3" y="connsiteY3"/>
                </a:cxn>
              </a:cxnLst>
              <a:rect l="l" t="t" r="r" b="b"/>
              <a:pathLst>
                <a:path w="45047" h="90095">
                  <a:moveTo>
                    <a:pt x="0" y="0"/>
                  </a:moveTo>
                  <a:lnTo>
                    <a:pt x="45048" y="0"/>
                  </a:lnTo>
                  <a:lnTo>
                    <a:pt x="45048" y="91447"/>
                  </a:lnTo>
                  <a:lnTo>
                    <a:pt x="0" y="91447"/>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grpSp>
        <p:nvGrpSpPr>
          <p:cNvPr id="92" name="Picture Placeholder 29">
            <a:extLst>
              <a:ext uri="{FF2B5EF4-FFF2-40B4-BE49-F238E27FC236}">
                <a16:creationId xmlns:a16="http://schemas.microsoft.com/office/drawing/2014/main" id="{4A37261F-96F9-4310-956B-137D3F8651E4}"/>
              </a:ext>
            </a:extLst>
          </p:cNvPr>
          <p:cNvGrpSpPr>
            <a:grpSpLocks noChangeAspect="1"/>
          </p:cNvGrpSpPr>
          <p:nvPr/>
        </p:nvGrpSpPr>
        <p:grpSpPr>
          <a:xfrm>
            <a:off x="8462691" y="5713971"/>
            <a:ext cx="420870" cy="347077"/>
            <a:chOff x="382061" y="484953"/>
            <a:chExt cx="1036103" cy="854456"/>
          </a:xfrm>
          <a:solidFill>
            <a:schemeClr val="accent5"/>
          </a:solidFill>
        </p:grpSpPr>
        <p:sp>
          <p:nvSpPr>
            <p:cNvPr id="93" name="Freeform 83">
              <a:extLst>
                <a:ext uri="{FF2B5EF4-FFF2-40B4-BE49-F238E27FC236}">
                  <a16:creationId xmlns:a16="http://schemas.microsoft.com/office/drawing/2014/main" id="{7C2ABF73-3BC3-48A1-8462-B69232DAE092}"/>
                </a:ext>
              </a:extLst>
            </p:cNvPr>
            <p:cNvSpPr/>
            <p:nvPr/>
          </p:nvSpPr>
          <p:spPr>
            <a:xfrm>
              <a:off x="382061" y="1294295"/>
              <a:ext cx="1036103" cy="45114"/>
            </a:xfrm>
            <a:custGeom>
              <a:avLst/>
              <a:gdLst>
                <a:gd name="connsiteX0" fmla="*/ 0 w 1036103"/>
                <a:gd name="connsiteY0" fmla="*/ 0 h 45113"/>
                <a:gd name="connsiteX1" fmla="*/ 1036103 w 1036103"/>
                <a:gd name="connsiteY1" fmla="*/ 0 h 45113"/>
                <a:gd name="connsiteX2" fmla="*/ 1036103 w 1036103"/>
                <a:gd name="connsiteY2" fmla="*/ 45114 h 45113"/>
                <a:gd name="connsiteX3" fmla="*/ 0 w 1036103"/>
                <a:gd name="connsiteY3" fmla="*/ 45114 h 45113"/>
              </a:gdLst>
              <a:ahLst/>
              <a:cxnLst>
                <a:cxn ang="0">
                  <a:pos x="connsiteX0" y="connsiteY0"/>
                </a:cxn>
                <a:cxn ang="0">
                  <a:pos x="connsiteX1" y="connsiteY1"/>
                </a:cxn>
                <a:cxn ang="0">
                  <a:pos x="connsiteX2" y="connsiteY2"/>
                </a:cxn>
                <a:cxn ang="0">
                  <a:pos x="connsiteX3" y="connsiteY3"/>
                </a:cxn>
              </a:cxnLst>
              <a:rect l="l" t="t" r="r" b="b"/>
              <a:pathLst>
                <a:path w="1036103" h="45113">
                  <a:moveTo>
                    <a:pt x="0" y="0"/>
                  </a:moveTo>
                  <a:lnTo>
                    <a:pt x="1036103" y="0"/>
                  </a:lnTo>
                  <a:lnTo>
                    <a:pt x="1036103" y="45114"/>
                  </a:lnTo>
                  <a:lnTo>
                    <a:pt x="0" y="45114"/>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4" name="Freeform 84">
              <a:extLst>
                <a:ext uri="{FF2B5EF4-FFF2-40B4-BE49-F238E27FC236}">
                  <a16:creationId xmlns:a16="http://schemas.microsoft.com/office/drawing/2014/main" id="{901E52FC-F972-47F4-9CDC-9E5C6F6940E5}"/>
                </a:ext>
              </a:extLst>
            </p:cNvPr>
            <p:cNvSpPr/>
            <p:nvPr/>
          </p:nvSpPr>
          <p:spPr>
            <a:xfrm>
              <a:off x="382061" y="776389"/>
              <a:ext cx="810863" cy="451138"/>
            </a:xfrm>
            <a:custGeom>
              <a:avLst/>
              <a:gdLst>
                <a:gd name="connsiteX0" fmla="*/ 809061 w 810863"/>
                <a:gd name="connsiteY0" fmla="*/ 388430 h 451138"/>
                <a:gd name="connsiteX1" fmla="*/ 768068 w 810863"/>
                <a:gd name="connsiteY1" fmla="*/ 217449 h 451138"/>
                <a:gd name="connsiteX2" fmla="*/ 677972 w 810863"/>
                <a:gd name="connsiteY2" fmla="*/ 105566 h 451138"/>
                <a:gd name="connsiteX3" fmla="*/ 461742 w 810863"/>
                <a:gd name="connsiteY3" fmla="*/ 0 h 451138"/>
                <a:gd name="connsiteX4" fmla="*/ 2703 w 810863"/>
                <a:gd name="connsiteY4" fmla="*/ 0 h 451138"/>
                <a:gd name="connsiteX5" fmla="*/ 2703 w 810863"/>
                <a:gd name="connsiteY5" fmla="*/ 45114 h 451138"/>
                <a:gd name="connsiteX6" fmla="*/ 247764 w 810863"/>
                <a:gd name="connsiteY6" fmla="*/ 45114 h 451138"/>
                <a:gd name="connsiteX7" fmla="*/ 247764 w 810863"/>
                <a:gd name="connsiteY7" fmla="*/ 208877 h 451138"/>
                <a:gd name="connsiteX8" fmla="*/ 228844 w 810863"/>
                <a:gd name="connsiteY8" fmla="*/ 225569 h 451138"/>
                <a:gd name="connsiteX9" fmla="*/ 2703 w 810863"/>
                <a:gd name="connsiteY9" fmla="*/ 225569 h 451138"/>
                <a:gd name="connsiteX10" fmla="*/ 2703 w 810863"/>
                <a:gd name="connsiteY10" fmla="*/ 270683 h 451138"/>
                <a:gd name="connsiteX11" fmla="*/ 230646 w 810863"/>
                <a:gd name="connsiteY11" fmla="*/ 270683 h 451138"/>
                <a:gd name="connsiteX12" fmla="*/ 292812 w 810863"/>
                <a:gd name="connsiteY12" fmla="*/ 208877 h 451138"/>
                <a:gd name="connsiteX13" fmla="*/ 292812 w 810863"/>
                <a:gd name="connsiteY13" fmla="*/ 45114 h 451138"/>
                <a:gd name="connsiteX14" fmla="*/ 407684 w 810863"/>
                <a:gd name="connsiteY14" fmla="*/ 45114 h 451138"/>
                <a:gd name="connsiteX15" fmla="*/ 407684 w 810863"/>
                <a:gd name="connsiteY15" fmla="*/ 208426 h 451138"/>
                <a:gd name="connsiteX16" fmla="*/ 470301 w 810863"/>
                <a:gd name="connsiteY16" fmla="*/ 270232 h 451138"/>
                <a:gd name="connsiteX17" fmla="*/ 750499 w 810863"/>
                <a:gd name="connsiteY17" fmla="*/ 270232 h 451138"/>
                <a:gd name="connsiteX18" fmla="*/ 768068 w 810863"/>
                <a:gd name="connsiteY18" fmla="*/ 369933 h 451138"/>
                <a:gd name="connsiteX19" fmla="*/ 691486 w 810863"/>
                <a:gd name="connsiteY19" fmla="*/ 405122 h 451138"/>
                <a:gd name="connsiteX20" fmla="*/ 0 w 810863"/>
                <a:gd name="connsiteY20" fmla="*/ 405122 h 451138"/>
                <a:gd name="connsiteX21" fmla="*/ 0 w 810863"/>
                <a:gd name="connsiteY21" fmla="*/ 450236 h 451138"/>
                <a:gd name="connsiteX22" fmla="*/ 691486 w 810863"/>
                <a:gd name="connsiteY22" fmla="*/ 450236 h 451138"/>
                <a:gd name="connsiteX23" fmla="*/ 809061 w 810863"/>
                <a:gd name="connsiteY23" fmla="*/ 388430 h 451138"/>
                <a:gd name="connsiteX24" fmla="*/ 452732 w 810863"/>
                <a:gd name="connsiteY24" fmla="*/ 207975 h 451138"/>
                <a:gd name="connsiteX25" fmla="*/ 452732 w 810863"/>
                <a:gd name="connsiteY25" fmla="*/ 45114 h 451138"/>
                <a:gd name="connsiteX26" fmla="*/ 462192 w 810863"/>
                <a:gd name="connsiteY26" fmla="*/ 45114 h 451138"/>
                <a:gd name="connsiteX27" fmla="*/ 642384 w 810863"/>
                <a:gd name="connsiteY27" fmla="*/ 135341 h 451138"/>
                <a:gd name="connsiteX28" fmla="*/ 715812 w 810863"/>
                <a:gd name="connsiteY28" fmla="*/ 225569 h 451138"/>
                <a:gd name="connsiteX29" fmla="*/ 470301 w 810863"/>
                <a:gd name="connsiteY29" fmla="*/ 225569 h 451138"/>
                <a:gd name="connsiteX30" fmla="*/ 452732 w 810863"/>
                <a:gd name="connsiteY30" fmla="*/ 208426 h 45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0863" h="451138">
                  <a:moveTo>
                    <a:pt x="809061" y="388430"/>
                  </a:moveTo>
                  <a:cubicBezTo>
                    <a:pt x="828476" y="328247"/>
                    <a:pt x="812651" y="262243"/>
                    <a:pt x="768068" y="217449"/>
                  </a:cubicBezTo>
                  <a:lnTo>
                    <a:pt x="677972" y="105566"/>
                  </a:lnTo>
                  <a:cubicBezTo>
                    <a:pt x="624433" y="40842"/>
                    <a:pt x="545633" y="2371"/>
                    <a:pt x="461742" y="0"/>
                  </a:cubicBezTo>
                  <a:lnTo>
                    <a:pt x="2703" y="0"/>
                  </a:lnTo>
                  <a:lnTo>
                    <a:pt x="2703" y="45114"/>
                  </a:lnTo>
                  <a:lnTo>
                    <a:pt x="247764" y="45114"/>
                  </a:lnTo>
                  <a:lnTo>
                    <a:pt x="247764" y="208877"/>
                  </a:lnTo>
                  <a:cubicBezTo>
                    <a:pt x="247042" y="218669"/>
                    <a:pt x="238635" y="226087"/>
                    <a:pt x="228844" y="225569"/>
                  </a:cubicBezTo>
                  <a:lnTo>
                    <a:pt x="2703" y="225569"/>
                  </a:lnTo>
                  <a:lnTo>
                    <a:pt x="2703" y="270683"/>
                  </a:lnTo>
                  <a:lnTo>
                    <a:pt x="230646" y="270683"/>
                  </a:lnTo>
                  <a:cubicBezTo>
                    <a:pt x="264605" y="270205"/>
                    <a:pt x="292087" y="242881"/>
                    <a:pt x="292812" y="208877"/>
                  </a:cubicBezTo>
                  <a:lnTo>
                    <a:pt x="292812" y="45114"/>
                  </a:lnTo>
                  <a:lnTo>
                    <a:pt x="407684" y="45114"/>
                  </a:lnTo>
                  <a:lnTo>
                    <a:pt x="407684" y="208426"/>
                  </a:lnTo>
                  <a:cubicBezTo>
                    <a:pt x="408177" y="242706"/>
                    <a:pt x="436067" y="270235"/>
                    <a:pt x="470301" y="270232"/>
                  </a:cubicBezTo>
                  <a:lnTo>
                    <a:pt x="750499" y="270232"/>
                  </a:lnTo>
                  <a:cubicBezTo>
                    <a:pt x="772033" y="298699"/>
                    <a:pt x="778571" y="335804"/>
                    <a:pt x="768068" y="369933"/>
                  </a:cubicBezTo>
                  <a:cubicBezTo>
                    <a:pt x="751466" y="395487"/>
                    <a:pt x="721656" y="409184"/>
                    <a:pt x="691486" y="405122"/>
                  </a:cubicBezTo>
                  <a:lnTo>
                    <a:pt x="0" y="405122"/>
                  </a:lnTo>
                  <a:lnTo>
                    <a:pt x="0" y="450236"/>
                  </a:lnTo>
                  <a:lnTo>
                    <a:pt x="691486" y="450236"/>
                  </a:lnTo>
                  <a:cubicBezTo>
                    <a:pt x="739729" y="456291"/>
                    <a:pt x="786636" y="431633"/>
                    <a:pt x="809061" y="388430"/>
                  </a:cubicBezTo>
                  <a:close/>
                  <a:moveTo>
                    <a:pt x="452732" y="207975"/>
                  </a:moveTo>
                  <a:lnTo>
                    <a:pt x="452732" y="45114"/>
                  </a:lnTo>
                  <a:lnTo>
                    <a:pt x="462192" y="45114"/>
                  </a:lnTo>
                  <a:cubicBezTo>
                    <a:pt x="532306" y="48273"/>
                    <a:pt x="597792" y="81064"/>
                    <a:pt x="642384" y="135341"/>
                  </a:cubicBezTo>
                  <a:lnTo>
                    <a:pt x="715812" y="225569"/>
                  </a:lnTo>
                  <a:lnTo>
                    <a:pt x="470301" y="225569"/>
                  </a:lnTo>
                  <a:cubicBezTo>
                    <a:pt x="460771" y="225572"/>
                    <a:pt x="452976" y="217966"/>
                    <a:pt x="452732" y="208426"/>
                  </a:cubicBez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5" name="Freeform 85">
              <a:extLst>
                <a:ext uri="{FF2B5EF4-FFF2-40B4-BE49-F238E27FC236}">
                  <a16:creationId xmlns:a16="http://schemas.microsoft.com/office/drawing/2014/main" id="{78EDA691-F0B2-4AA3-A218-2907B82DE5FC}"/>
                </a:ext>
              </a:extLst>
            </p:cNvPr>
            <p:cNvSpPr/>
            <p:nvPr/>
          </p:nvSpPr>
          <p:spPr>
            <a:xfrm>
              <a:off x="835243" y="484953"/>
              <a:ext cx="45048" cy="45114"/>
            </a:xfrm>
            <a:custGeom>
              <a:avLst/>
              <a:gdLst>
                <a:gd name="connsiteX0" fmla="*/ 0 w 45047"/>
                <a:gd name="connsiteY0" fmla="*/ 0 h 45113"/>
                <a:gd name="connsiteX1" fmla="*/ 45048 w 45047"/>
                <a:gd name="connsiteY1" fmla="*/ 0 h 45113"/>
                <a:gd name="connsiteX2" fmla="*/ 45048 w 45047"/>
                <a:gd name="connsiteY2" fmla="*/ 45565 h 45113"/>
                <a:gd name="connsiteX3" fmla="*/ 0 w 45047"/>
                <a:gd name="connsiteY3" fmla="*/ 45565 h 45113"/>
              </a:gdLst>
              <a:ahLst/>
              <a:cxnLst>
                <a:cxn ang="0">
                  <a:pos x="connsiteX0" y="connsiteY0"/>
                </a:cxn>
                <a:cxn ang="0">
                  <a:pos x="connsiteX1" y="connsiteY1"/>
                </a:cxn>
                <a:cxn ang="0">
                  <a:pos x="connsiteX2" y="connsiteY2"/>
                </a:cxn>
                <a:cxn ang="0">
                  <a:pos x="connsiteX3" y="connsiteY3"/>
                </a:cxn>
              </a:cxnLst>
              <a:rect l="l" t="t" r="r" b="b"/>
              <a:pathLst>
                <a:path w="45047" h="45113">
                  <a:moveTo>
                    <a:pt x="0" y="0"/>
                  </a:moveTo>
                  <a:lnTo>
                    <a:pt x="45048" y="0"/>
                  </a:lnTo>
                  <a:lnTo>
                    <a:pt x="45048" y="45565"/>
                  </a:lnTo>
                  <a:lnTo>
                    <a:pt x="0" y="45565"/>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6" name="Freeform 86">
              <a:extLst>
                <a:ext uri="{FF2B5EF4-FFF2-40B4-BE49-F238E27FC236}">
                  <a16:creationId xmlns:a16="http://schemas.microsoft.com/office/drawing/2014/main" id="{DC00F8E6-D2F7-4F0D-A472-3CB0BDB15C04}"/>
                </a:ext>
              </a:extLst>
            </p:cNvPr>
            <p:cNvSpPr/>
            <p:nvPr/>
          </p:nvSpPr>
          <p:spPr>
            <a:xfrm>
              <a:off x="835243" y="665409"/>
              <a:ext cx="45048" cy="45114"/>
            </a:xfrm>
            <a:custGeom>
              <a:avLst/>
              <a:gdLst>
                <a:gd name="connsiteX0" fmla="*/ 0 w 45047"/>
                <a:gd name="connsiteY0" fmla="*/ 0 h 45113"/>
                <a:gd name="connsiteX1" fmla="*/ 45048 w 45047"/>
                <a:gd name="connsiteY1" fmla="*/ 0 h 45113"/>
                <a:gd name="connsiteX2" fmla="*/ 45048 w 45047"/>
                <a:gd name="connsiteY2" fmla="*/ 45565 h 45113"/>
                <a:gd name="connsiteX3" fmla="*/ 0 w 45047"/>
                <a:gd name="connsiteY3" fmla="*/ 45565 h 45113"/>
              </a:gdLst>
              <a:ahLst/>
              <a:cxnLst>
                <a:cxn ang="0">
                  <a:pos x="connsiteX0" y="connsiteY0"/>
                </a:cxn>
                <a:cxn ang="0">
                  <a:pos x="connsiteX1" y="connsiteY1"/>
                </a:cxn>
                <a:cxn ang="0">
                  <a:pos x="connsiteX2" y="connsiteY2"/>
                </a:cxn>
                <a:cxn ang="0">
                  <a:pos x="connsiteX3" y="connsiteY3"/>
                </a:cxn>
              </a:cxnLst>
              <a:rect l="l" t="t" r="r" b="b"/>
              <a:pathLst>
                <a:path w="45047" h="45113">
                  <a:moveTo>
                    <a:pt x="0" y="0"/>
                  </a:moveTo>
                  <a:lnTo>
                    <a:pt x="45048" y="0"/>
                  </a:lnTo>
                  <a:lnTo>
                    <a:pt x="45048" y="45565"/>
                  </a:lnTo>
                  <a:lnTo>
                    <a:pt x="0" y="45565"/>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98" name="Freeform 87">
              <a:extLst>
                <a:ext uri="{FF2B5EF4-FFF2-40B4-BE49-F238E27FC236}">
                  <a16:creationId xmlns:a16="http://schemas.microsoft.com/office/drawing/2014/main" id="{3334518C-4E15-4660-8ED0-DB58F1389D5F}"/>
                </a:ext>
              </a:extLst>
            </p:cNvPr>
            <p:cNvSpPr/>
            <p:nvPr/>
          </p:nvSpPr>
          <p:spPr>
            <a:xfrm>
              <a:off x="835243" y="575181"/>
              <a:ext cx="45048" cy="45114"/>
            </a:xfrm>
            <a:custGeom>
              <a:avLst/>
              <a:gdLst>
                <a:gd name="connsiteX0" fmla="*/ 0 w 45047"/>
                <a:gd name="connsiteY0" fmla="*/ 0 h 45113"/>
                <a:gd name="connsiteX1" fmla="*/ 45048 w 45047"/>
                <a:gd name="connsiteY1" fmla="*/ 0 h 45113"/>
                <a:gd name="connsiteX2" fmla="*/ 45048 w 45047"/>
                <a:gd name="connsiteY2" fmla="*/ 45565 h 45113"/>
                <a:gd name="connsiteX3" fmla="*/ 0 w 45047"/>
                <a:gd name="connsiteY3" fmla="*/ 45565 h 45113"/>
              </a:gdLst>
              <a:ahLst/>
              <a:cxnLst>
                <a:cxn ang="0">
                  <a:pos x="connsiteX0" y="connsiteY0"/>
                </a:cxn>
                <a:cxn ang="0">
                  <a:pos x="connsiteX1" y="connsiteY1"/>
                </a:cxn>
                <a:cxn ang="0">
                  <a:pos x="connsiteX2" y="connsiteY2"/>
                </a:cxn>
                <a:cxn ang="0">
                  <a:pos x="connsiteX3" y="connsiteY3"/>
                </a:cxn>
              </a:cxnLst>
              <a:rect l="l" t="t" r="r" b="b"/>
              <a:pathLst>
                <a:path w="45047" h="45113">
                  <a:moveTo>
                    <a:pt x="0" y="0"/>
                  </a:moveTo>
                  <a:lnTo>
                    <a:pt x="45048" y="0"/>
                  </a:lnTo>
                  <a:lnTo>
                    <a:pt x="45048" y="45565"/>
                  </a:lnTo>
                  <a:lnTo>
                    <a:pt x="0" y="45565"/>
                  </a:lnTo>
                  <a:close/>
                </a:path>
              </a:pathLst>
            </a:custGeom>
            <a:grpFill/>
            <a:ln w="44847" cap="flat">
              <a:noFill/>
              <a:prstDash val="solid"/>
              <a:miter/>
            </a:ln>
          </p:spPr>
          <p:txBody>
            <a:bodyPr rtlCol="0" anchor="ctr"/>
            <a:lstStyle/>
            <a:p>
              <a:pPr marL="180000" marR="0" lvl="0" indent="-180000"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000" cap="none" spc="-30" normalizeH="0" baseline="0" noProof="0">
                <a:ln>
                  <a:noFill/>
                </a:ln>
                <a:solidFill>
                  <a:srgbClr val="181818"/>
                </a:solidFill>
                <a:effectLst/>
                <a:uLnTx/>
                <a:uFillTx/>
                <a:latin typeface="Ericsson Hilda"/>
                <a:ea typeface="+mn-ea"/>
                <a:cs typeface="+mn-cs"/>
              </a:endParaRPr>
            </a:p>
          </p:txBody>
        </p:sp>
      </p:grpSp>
      <p:sp>
        <p:nvSpPr>
          <p:cNvPr id="109" name="Rectangle 108">
            <a:extLst>
              <a:ext uri="{FF2B5EF4-FFF2-40B4-BE49-F238E27FC236}">
                <a16:creationId xmlns:a16="http://schemas.microsoft.com/office/drawing/2014/main" id="{FAEE9B9D-D619-4B95-9C4A-CAE604B6E7C2}"/>
              </a:ext>
            </a:extLst>
          </p:cNvPr>
          <p:cNvSpPr/>
          <p:nvPr/>
        </p:nvSpPr>
        <p:spPr bwMode="auto">
          <a:xfrm>
            <a:off x="9512781" y="5532793"/>
            <a:ext cx="1321616" cy="313492"/>
          </a:xfrm>
          <a:prstGeom prst="rect">
            <a:avLst/>
          </a:prstGeom>
          <a:solidFill>
            <a:schemeClr val="accent2"/>
          </a:solidFill>
          <a:ln w="1270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10" name="Subtitle 7">
            <a:extLst>
              <a:ext uri="{FF2B5EF4-FFF2-40B4-BE49-F238E27FC236}">
                <a16:creationId xmlns:a16="http://schemas.microsoft.com/office/drawing/2014/main" id="{A978C15E-5FFB-4EA5-B411-4BFEF1CD0B27}"/>
              </a:ext>
            </a:extLst>
          </p:cNvPr>
          <p:cNvSpPr txBox="1">
            <a:spLocks noChangeAspect="1"/>
          </p:cNvSpPr>
          <p:nvPr/>
        </p:nvSpPr>
        <p:spPr>
          <a:xfrm>
            <a:off x="9939590" y="5583965"/>
            <a:ext cx="138690" cy="227697"/>
          </a:xfrm>
          <a:prstGeom prst="rect">
            <a:avLst/>
          </a:prstGeom>
          <a:solidFill>
            <a:schemeClr val="accent2"/>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
        <p:nvSpPr>
          <p:cNvPr id="114" name="Rectangle 113">
            <a:extLst>
              <a:ext uri="{FF2B5EF4-FFF2-40B4-BE49-F238E27FC236}">
                <a16:creationId xmlns:a16="http://schemas.microsoft.com/office/drawing/2014/main" id="{E9377459-28E1-4EC6-B894-456CF74E2B66}"/>
              </a:ext>
            </a:extLst>
          </p:cNvPr>
          <p:cNvSpPr/>
          <p:nvPr/>
        </p:nvSpPr>
        <p:spPr bwMode="auto">
          <a:xfrm>
            <a:off x="9519409" y="5872789"/>
            <a:ext cx="1321616" cy="301237"/>
          </a:xfrm>
          <a:prstGeom prst="rect">
            <a:avLst/>
          </a:prstGeom>
          <a:solidFill>
            <a:schemeClr val="accent5"/>
          </a:solidFill>
          <a:ln w="12700" cap="flat" cmpd="sng" algn="ctr">
            <a:solidFill>
              <a:schemeClr val="tx1"/>
            </a:solidFill>
            <a:prstDash val="sys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13" name="Subtitle 7">
            <a:extLst>
              <a:ext uri="{FF2B5EF4-FFF2-40B4-BE49-F238E27FC236}">
                <a16:creationId xmlns:a16="http://schemas.microsoft.com/office/drawing/2014/main" id="{5A7FABD5-6654-4C8C-81EC-ECCFC7168128}"/>
              </a:ext>
            </a:extLst>
          </p:cNvPr>
          <p:cNvSpPr txBox="1">
            <a:spLocks noChangeAspect="1"/>
          </p:cNvSpPr>
          <p:nvPr/>
        </p:nvSpPr>
        <p:spPr>
          <a:xfrm>
            <a:off x="10363656" y="5899579"/>
            <a:ext cx="148245" cy="243385"/>
          </a:xfrm>
          <a:prstGeom prst="rect">
            <a:avLst/>
          </a:prstGeom>
          <a:solidFill>
            <a:schemeClr val="accent5"/>
          </a:solidFill>
          <a:ln w="19050">
            <a:solidFill>
              <a:schemeClr val="tx1"/>
            </a:solidFill>
            <a:prstDash val="sysDot"/>
          </a:ln>
        </p:spPr>
        <p:txBody>
          <a:bodyPr lIns="0" tIns="18000" rIns="0" bIns="0"/>
          <a:lstStyle>
            <a:lvl1pPr marL="22860" indent="-22860" algn="l" defTabSz="91440" rtl="0" eaLnBrk="1" latinLnBrk="0" hangingPunct="1">
              <a:lnSpc>
                <a:spcPct val="90000"/>
              </a:lnSpc>
              <a:spcBef>
                <a:spcPts val="100"/>
              </a:spcBef>
              <a:buFont typeface="Arial" panose="020B0604020202020204" pitchFamily="34" charset="0"/>
              <a:buChar char="•"/>
              <a:defRPr sz="280" kern="1200">
                <a:solidFill>
                  <a:schemeClr val="tx1"/>
                </a:solidFill>
                <a:latin typeface="+mn-lt"/>
                <a:ea typeface="+mn-ea"/>
                <a:cs typeface="+mn-cs"/>
              </a:defRPr>
            </a:lvl1pPr>
            <a:lvl2pPr marL="68580" indent="-22860" algn="l" defTabSz="91440" rtl="0" eaLnBrk="1" latinLnBrk="0" hangingPunct="1">
              <a:lnSpc>
                <a:spcPct val="90000"/>
              </a:lnSpc>
              <a:spcBef>
                <a:spcPts val="50"/>
              </a:spcBef>
              <a:buFont typeface="Arial" panose="020B0604020202020204" pitchFamily="34" charset="0"/>
              <a:buChar char="•"/>
              <a:defRPr sz="240" kern="1200">
                <a:solidFill>
                  <a:schemeClr val="tx1"/>
                </a:solidFill>
                <a:latin typeface="+mn-lt"/>
                <a:ea typeface="+mn-ea"/>
                <a:cs typeface="+mn-cs"/>
              </a:defRPr>
            </a:lvl2pPr>
            <a:lvl3pPr marL="114300" indent="-22860" algn="l" defTabSz="91440" rtl="0" eaLnBrk="1" latinLnBrk="0" hangingPunct="1">
              <a:lnSpc>
                <a:spcPct val="90000"/>
              </a:lnSpc>
              <a:spcBef>
                <a:spcPts val="50"/>
              </a:spcBef>
              <a:buFont typeface="Arial" panose="020B0604020202020204" pitchFamily="34" charset="0"/>
              <a:buChar char="•"/>
              <a:defRPr sz="200" kern="1200">
                <a:solidFill>
                  <a:schemeClr val="tx1"/>
                </a:solidFill>
                <a:latin typeface="+mn-lt"/>
                <a:ea typeface="+mn-ea"/>
                <a:cs typeface="+mn-cs"/>
              </a:defRPr>
            </a:lvl3pPr>
            <a:lvl4pPr marL="1600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4pPr>
            <a:lvl5pPr marL="20574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5pPr>
            <a:lvl6pPr marL="25146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6pPr>
            <a:lvl7pPr marL="29718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7pPr>
            <a:lvl8pPr marL="34290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8pPr>
            <a:lvl9pPr marL="388620" indent="-22860" algn="l" defTabSz="91440" rtl="0" eaLnBrk="1" latinLnBrk="0" hangingPunct="1">
              <a:lnSpc>
                <a:spcPct val="90000"/>
              </a:lnSpc>
              <a:spcBef>
                <a:spcPts val="50"/>
              </a:spcBef>
              <a:buFont typeface="Arial" panose="020B0604020202020204" pitchFamily="34" charset="0"/>
              <a:buChar char="•"/>
              <a:defRPr sz="180" kern="1200">
                <a:solidFill>
                  <a:schemeClr val="tx1"/>
                </a:solidFill>
                <a:latin typeface="+mn-lt"/>
                <a:ea typeface="+mn-ea"/>
                <a:cs typeface="+mn-cs"/>
              </a:defRPr>
            </a:lvl9pPr>
          </a:lstStyle>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s</a:t>
            </a:r>
            <a:b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br>
            <a:r>
              <a:rPr kumimoji="0" lang="en-US" sz="600" b="0" i="0" u="none" strike="noStrike" kern="1200" cap="none" spc="-30" normalizeH="0" baseline="0" noProof="0">
                <a:ln>
                  <a:noFill/>
                </a:ln>
                <a:solidFill>
                  <a:srgbClr val="181818"/>
                </a:solidFill>
                <a:effectLst/>
                <a:uLnTx/>
                <a:uFillTx/>
                <a:latin typeface="Ericsson Technical Icons" panose="00000500000000000000" pitchFamily="2" charset="0"/>
                <a:ea typeface="+mn-ea"/>
                <a:cs typeface="+mn-cs"/>
              </a:rPr>
              <a:t>r</a:t>
            </a:r>
          </a:p>
          <a:p>
            <a:pPr marL="0" marR="0" lvl="0" indent="0" algn="ctr" defTabSz="91440" rtl="0" eaLnBrk="1" fontAlgn="base" latinLnBrk="0" hangingPunct="1">
              <a:lnSpc>
                <a:spcPct val="100000"/>
              </a:lnSpc>
              <a:spcBef>
                <a:spcPts val="100"/>
              </a:spcBef>
              <a:spcAft>
                <a:spcPct val="0"/>
              </a:spcAft>
              <a:buClr>
                <a:srgbClr val="181818"/>
              </a:buClr>
              <a:buSzTx/>
              <a:buFont typeface="Arial" panose="020B0604020202020204" pitchFamily="34" charset="0"/>
              <a:buNone/>
              <a:tabLst/>
              <a:defRPr/>
            </a:pPr>
            <a:endParaRPr kumimoji="0" lang="en-US" sz="100" b="0" i="0" u="none" strike="noStrike" kern="1200" cap="none" spc="-30" normalizeH="0" baseline="0" noProof="0">
              <a:ln>
                <a:noFill/>
              </a:ln>
              <a:solidFill>
                <a:srgbClr val="181818"/>
              </a:solidFill>
              <a:effectLst/>
              <a:uLnTx/>
              <a:uFillTx/>
              <a:latin typeface="Ericsson Hilda" pitchFamily="2" charset="0"/>
              <a:ea typeface="+mn-ea"/>
              <a:cs typeface="+mn-cs"/>
            </a:endParaRPr>
          </a:p>
        </p:txBody>
      </p:sp>
    </p:spTree>
    <p:extLst>
      <p:ext uri="{BB962C8B-B14F-4D97-AF65-F5344CB8AC3E}">
        <p14:creationId xmlns:p14="http://schemas.microsoft.com/office/powerpoint/2010/main" val="8283519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4">
            <a:extLst>
              <a:ext uri="{FF2B5EF4-FFF2-40B4-BE49-F238E27FC236}">
                <a16:creationId xmlns:a16="http://schemas.microsoft.com/office/drawing/2014/main" id="{E412B6AF-A76A-A444-AFF4-7CD05E59CA47}"/>
              </a:ext>
            </a:extLst>
          </p:cNvPr>
          <p:cNvSpPr/>
          <p:nvPr/>
        </p:nvSpPr>
        <p:spPr bwMode="auto">
          <a:xfrm>
            <a:off x="501642" y="3752326"/>
            <a:ext cx="11222368" cy="2594343"/>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600" b="0" i="0" u="none" strike="noStrike" kern="1000" cap="none" spc="-30" normalizeH="0" baseline="0" noProof="0">
              <a:ln>
                <a:noFill/>
              </a:ln>
              <a:solidFill>
                <a:srgbClr val="FFFFFF"/>
              </a:solidFill>
              <a:effectLst/>
              <a:uLnTx/>
              <a:uFillTx/>
              <a:latin typeface="Ericsson Hilda"/>
              <a:ea typeface="+mn-ea"/>
              <a:cs typeface="+mn-cs"/>
            </a:endParaRPr>
          </a:p>
        </p:txBody>
      </p:sp>
      <p:cxnSp>
        <p:nvCxnSpPr>
          <p:cNvPr id="137" name="Rak pil 136">
            <a:extLst>
              <a:ext uri="{FF2B5EF4-FFF2-40B4-BE49-F238E27FC236}">
                <a16:creationId xmlns:a16="http://schemas.microsoft.com/office/drawing/2014/main" id="{4C41203E-4B47-DD46-AA88-AF94DC99A610}"/>
              </a:ext>
            </a:extLst>
          </p:cNvPr>
          <p:cNvCxnSpPr>
            <a:cxnSpLocks/>
          </p:cNvCxnSpPr>
          <p:nvPr/>
        </p:nvCxnSpPr>
        <p:spPr bwMode="auto">
          <a:xfrm flipV="1">
            <a:off x="4695016" y="3841131"/>
            <a:ext cx="0" cy="160633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 name="Rectangle 1">
            <a:extLst>
              <a:ext uri="{FF2B5EF4-FFF2-40B4-BE49-F238E27FC236}">
                <a16:creationId xmlns:a16="http://schemas.microsoft.com/office/drawing/2014/main" id="{EC73BF9B-221F-4EDC-AA76-ACF8B3EA3399}"/>
              </a:ext>
            </a:extLst>
          </p:cNvPr>
          <p:cNvSpPr/>
          <p:nvPr/>
        </p:nvSpPr>
        <p:spPr bwMode="auto">
          <a:xfrm>
            <a:off x="4695016" y="3985519"/>
            <a:ext cx="4759038" cy="1446045"/>
          </a:xfrm>
          <a:prstGeom prst="rect">
            <a:avLst/>
          </a:prstGeom>
          <a:gradFill flip="none" rotWithShape="1">
            <a:gsLst>
              <a:gs pos="29000">
                <a:schemeClr val="accent6"/>
              </a:gs>
              <a:gs pos="70000">
                <a:schemeClr val="accent4"/>
              </a:gs>
            </a:gsLst>
            <a:lin ang="2700000" scaled="1"/>
            <a:tileRect/>
          </a:gradFill>
          <a:ln w="127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graphicFrame>
        <p:nvGraphicFramePr>
          <p:cNvPr id="35" name="Tabell 34">
            <a:extLst>
              <a:ext uri="{FF2B5EF4-FFF2-40B4-BE49-F238E27FC236}">
                <a16:creationId xmlns:a16="http://schemas.microsoft.com/office/drawing/2014/main" id="{2067814B-0C6F-E043-8ABA-6EC4B568086F}"/>
              </a:ext>
            </a:extLst>
          </p:cNvPr>
          <p:cNvGraphicFramePr>
            <a:graphicFrameLocks noGrp="1"/>
          </p:cNvGraphicFramePr>
          <p:nvPr>
            <p:extLst>
              <p:ext uri="{D42A27DB-BD31-4B8C-83A1-F6EECF244321}">
                <p14:modId xmlns:p14="http://schemas.microsoft.com/office/powerpoint/2010/main" val="3484463060"/>
              </p:ext>
            </p:extLst>
          </p:nvPr>
        </p:nvGraphicFramePr>
        <p:xfrm>
          <a:off x="4738335" y="4123789"/>
          <a:ext cx="2791458" cy="1273700"/>
        </p:xfrm>
        <a:graphic>
          <a:graphicData uri="http://schemas.openxmlformats.org/drawingml/2006/table">
            <a:tbl>
              <a:tblPr>
                <a:tableStyleId>{2D5ABB26-0587-4C30-8999-92F81FD0307C}</a:tableStyleId>
              </a:tblPr>
              <a:tblGrid>
                <a:gridCol w="310162">
                  <a:extLst>
                    <a:ext uri="{9D8B030D-6E8A-4147-A177-3AD203B41FA5}">
                      <a16:colId xmlns:a16="http://schemas.microsoft.com/office/drawing/2014/main" val="2835339271"/>
                    </a:ext>
                  </a:extLst>
                </a:gridCol>
                <a:gridCol w="310162">
                  <a:extLst>
                    <a:ext uri="{9D8B030D-6E8A-4147-A177-3AD203B41FA5}">
                      <a16:colId xmlns:a16="http://schemas.microsoft.com/office/drawing/2014/main" val="2553643735"/>
                    </a:ext>
                  </a:extLst>
                </a:gridCol>
                <a:gridCol w="310162">
                  <a:extLst>
                    <a:ext uri="{9D8B030D-6E8A-4147-A177-3AD203B41FA5}">
                      <a16:colId xmlns:a16="http://schemas.microsoft.com/office/drawing/2014/main" val="1860967181"/>
                    </a:ext>
                  </a:extLst>
                </a:gridCol>
                <a:gridCol w="310162">
                  <a:extLst>
                    <a:ext uri="{9D8B030D-6E8A-4147-A177-3AD203B41FA5}">
                      <a16:colId xmlns:a16="http://schemas.microsoft.com/office/drawing/2014/main" val="3967806685"/>
                    </a:ext>
                  </a:extLst>
                </a:gridCol>
                <a:gridCol w="310162">
                  <a:extLst>
                    <a:ext uri="{9D8B030D-6E8A-4147-A177-3AD203B41FA5}">
                      <a16:colId xmlns:a16="http://schemas.microsoft.com/office/drawing/2014/main" val="2254330814"/>
                    </a:ext>
                  </a:extLst>
                </a:gridCol>
                <a:gridCol w="310162">
                  <a:extLst>
                    <a:ext uri="{9D8B030D-6E8A-4147-A177-3AD203B41FA5}">
                      <a16:colId xmlns:a16="http://schemas.microsoft.com/office/drawing/2014/main" val="4000503735"/>
                    </a:ext>
                  </a:extLst>
                </a:gridCol>
                <a:gridCol w="310162">
                  <a:extLst>
                    <a:ext uri="{9D8B030D-6E8A-4147-A177-3AD203B41FA5}">
                      <a16:colId xmlns:a16="http://schemas.microsoft.com/office/drawing/2014/main" val="752500995"/>
                    </a:ext>
                  </a:extLst>
                </a:gridCol>
                <a:gridCol w="310162">
                  <a:extLst>
                    <a:ext uri="{9D8B030D-6E8A-4147-A177-3AD203B41FA5}">
                      <a16:colId xmlns:a16="http://schemas.microsoft.com/office/drawing/2014/main" val="4216634551"/>
                    </a:ext>
                  </a:extLst>
                </a:gridCol>
                <a:gridCol w="310162">
                  <a:extLst>
                    <a:ext uri="{9D8B030D-6E8A-4147-A177-3AD203B41FA5}">
                      <a16:colId xmlns:a16="http://schemas.microsoft.com/office/drawing/2014/main" val="1727951879"/>
                    </a:ext>
                  </a:extLst>
                </a:gridCol>
              </a:tblGrid>
              <a:tr h="318425">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40685202"/>
                  </a:ext>
                </a:extLst>
              </a:tr>
              <a:tr h="318425">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4170036"/>
                  </a:ext>
                </a:extLst>
              </a:tr>
              <a:tr h="318425">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89893825"/>
                  </a:ext>
                </a:extLst>
              </a:tr>
              <a:tr h="318425">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GB" sz="110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50869308"/>
                  </a:ext>
                </a:extLst>
              </a:tr>
            </a:tbl>
          </a:graphicData>
        </a:graphic>
      </p:graphicFrame>
      <p:sp>
        <p:nvSpPr>
          <p:cNvPr id="3" name="Title 2">
            <a:extLst>
              <a:ext uri="{FF2B5EF4-FFF2-40B4-BE49-F238E27FC236}">
                <a16:creationId xmlns:a16="http://schemas.microsoft.com/office/drawing/2014/main" id="{EE4457EC-8CCA-40E5-B3A5-CBCB41135986}"/>
              </a:ext>
            </a:extLst>
          </p:cNvPr>
          <p:cNvSpPr>
            <a:spLocks noGrp="1"/>
          </p:cNvSpPr>
          <p:nvPr>
            <p:ph type="title"/>
          </p:nvPr>
        </p:nvSpPr>
        <p:spPr>
          <a:xfrm>
            <a:off x="479424" y="476250"/>
            <a:ext cx="11048322" cy="790411"/>
          </a:xfrm>
        </p:spPr>
        <p:txBody>
          <a:bodyPr/>
          <a:lstStyle/>
          <a:p>
            <a:r>
              <a:rPr lang="sv-SE"/>
              <a:t>IoT – 5G LAN, NPN and URLLC</a:t>
            </a:r>
            <a:br>
              <a:rPr lang="en-US" sz="2800"/>
            </a:br>
            <a:r>
              <a:rPr lang="en-US" sz="2800"/>
              <a:t>Time-Critical Communications – Primarily a NR  feature</a:t>
            </a:r>
          </a:p>
        </p:txBody>
      </p:sp>
      <p:sp>
        <p:nvSpPr>
          <p:cNvPr id="15" name="Rectangle 14">
            <a:extLst>
              <a:ext uri="{FF2B5EF4-FFF2-40B4-BE49-F238E27FC236}">
                <a16:creationId xmlns:a16="http://schemas.microsoft.com/office/drawing/2014/main" id="{2A54787C-8084-404D-86F7-DA23801D10CD}"/>
              </a:ext>
            </a:extLst>
          </p:cNvPr>
          <p:cNvSpPr/>
          <p:nvPr/>
        </p:nvSpPr>
        <p:spPr bwMode="auto">
          <a:xfrm>
            <a:off x="490858" y="1642464"/>
            <a:ext cx="11233152" cy="2062339"/>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200" b="0" i="0" u="none" strike="noStrike" kern="1000" cap="none" spc="-30" normalizeH="0" baseline="0" noProof="0">
              <a:ln>
                <a:noFill/>
              </a:ln>
              <a:solidFill>
                <a:srgbClr val="FFFFFF"/>
              </a:solidFill>
              <a:effectLst/>
              <a:uLnTx/>
              <a:uFillTx/>
              <a:latin typeface="Ericsson Hilda"/>
              <a:ea typeface="+mn-ea"/>
              <a:cs typeface="+mn-cs"/>
            </a:endParaRPr>
          </a:p>
        </p:txBody>
      </p:sp>
      <p:sp>
        <p:nvSpPr>
          <p:cNvPr id="11" name="TextBox 10">
            <a:extLst>
              <a:ext uri="{FF2B5EF4-FFF2-40B4-BE49-F238E27FC236}">
                <a16:creationId xmlns:a16="http://schemas.microsoft.com/office/drawing/2014/main" id="{B21440EB-F1EE-4581-A9BC-078DF581681F}"/>
              </a:ext>
            </a:extLst>
          </p:cNvPr>
          <p:cNvSpPr txBox="1"/>
          <p:nvPr/>
        </p:nvSpPr>
        <p:spPr bwMode="auto">
          <a:xfrm>
            <a:off x="3979495" y="3991384"/>
            <a:ext cx="915770" cy="17551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99,9999%</a:t>
            </a:r>
          </a:p>
        </p:txBody>
      </p:sp>
      <p:sp>
        <p:nvSpPr>
          <p:cNvPr id="12" name="TextBox 11">
            <a:extLst>
              <a:ext uri="{FF2B5EF4-FFF2-40B4-BE49-F238E27FC236}">
                <a16:creationId xmlns:a16="http://schemas.microsoft.com/office/drawing/2014/main" id="{70AED70E-32B1-4857-A47F-05C2F3D0B01B}"/>
              </a:ext>
            </a:extLst>
          </p:cNvPr>
          <p:cNvSpPr txBox="1"/>
          <p:nvPr/>
        </p:nvSpPr>
        <p:spPr bwMode="auto">
          <a:xfrm>
            <a:off x="4066498" y="4332416"/>
            <a:ext cx="915770" cy="17551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99,999%</a:t>
            </a:r>
          </a:p>
        </p:txBody>
      </p:sp>
      <p:sp>
        <p:nvSpPr>
          <p:cNvPr id="16" name="TextBox 15">
            <a:extLst>
              <a:ext uri="{FF2B5EF4-FFF2-40B4-BE49-F238E27FC236}">
                <a16:creationId xmlns:a16="http://schemas.microsoft.com/office/drawing/2014/main" id="{3D68AE46-8E02-4779-BD0A-202DB73FAD8F}"/>
              </a:ext>
            </a:extLst>
          </p:cNvPr>
          <p:cNvSpPr txBox="1"/>
          <p:nvPr/>
        </p:nvSpPr>
        <p:spPr bwMode="auto">
          <a:xfrm>
            <a:off x="4137289" y="6293457"/>
            <a:ext cx="902725" cy="15588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en-US" sz="1050" b="0" i="0" u="none" strike="noStrike" kern="1200" cap="none" spc="0" normalizeH="0" baseline="0" noProof="0">
              <a:ln>
                <a:noFill/>
              </a:ln>
              <a:solidFill>
                <a:srgbClr val="181818"/>
              </a:solidFill>
              <a:effectLst/>
              <a:uLnTx/>
              <a:uFillTx/>
              <a:latin typeface="Ericsson Hilda"/>
              <a:ea typeface="+mn-ea"/>
              <a:cs typeface="+mn-cs"/>
            </a:endParaRPr>
          </a:p>
        </p:txBody>
      </p:sp>
      <p:sp>
        <p:nvSpPr>
          <p:cNvPr id="19" name="TextBox 18">
            <a:extLst>
              <a:ext uri="{FF2B5EF4-FFF2-40B4-BE49-F238E27FC236}">
                <a16:creationId xmlns:a16="http://schemas.microsoft.com/office/drawing/2014/main" id="{A94A5BB3-E98D-44C7-8285-F3ED5CA98FAF}"/>
              </a:ext>
            </a:extLst>
          </p:cNvPr>
          <p:cNvSpPr txBox="1"/>
          <p:nvPr/>
        </p:nvSpPr>
        <p:spPr bwMode="auto">
          <a:xfrm>
            <a:off x="9537365" y="5519220"/>
            <a:ext cx="1593193" cy="26519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ne way RAN latency</a:t>
            </a:r>
          </a:p>
        </p:txBody>
      </p:sp>
      <p:sp>
        <p:nvSpPr>
          <p:cNvPr id="23" name="TextBox 22">
            <a:extLst>
              <a:ext uri="{FF2B5EF4-FFF2-40B4-BE49-F238E27FC236}">
                <a16:creationId xmlns:a16="http://schemas.microsoft.com/office/drawing/2014/main" id="{D9241928-69B2-41F3-A116-C2670C4BBA42}"/>
              </a:ext>
            </a:extLst>
          </p:cNvPr>
          <p:cNvSpPr txBox="1"/>
          <p:nvPr/>
        </p:nvSpPr>
        <p:spPr bwMode="auto">
          <a:xfrm>
            <a:off x="4259323" y="5292800"/>
            <a:ext cx="915770" cy="17551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99%</a:t>
            </a:r>
          </a:p>
        </p:txBody>
      </p:sp>
      <p:sp>
        <p:nvSpPr>
          <p:cNvPr id="24" name="TextBox 23">
            <a:extLst>
              <a:ext uri="{FF2B5EF4-FFF2-40B4-BE49-F238E27FC236}">
                <a16:creationId xmlns:a16="http://schemas.microsoft.com/office/drawing/2014/main" id="{2674DB16-AD26-47CE-8DA4-DBCDA20B14C8}"/>
              </a:ext>
            </a:extLst>
          </p:cNvPr>
          <p:cNvSpPr txBox="1"/>
          <p:nvPr/>
        </p:nvSpPr>
        <p:spPr bwMode="auto">
          <a:xfrm>
            <a:off x="4207737" y="4976682"/>
            <a:ext cx="915770" cy="17551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99,9%</a:t>
            </a:r>
          </a:p>
        </p:txBody>
      </p:sp>
      <p:sp>
        <p:nvSpPr>
          <p:cNvPr id="25" name="TextBox 24">
            <a:extLst>
              <a:ext uri="{FF2B5EF4-FFF2-40B4-BE49-F238E27FC236}">
                <a16:creationId xmlns:a16="http://schemas.microsoft.com/office/drawing/2014/main" id="{A862B67F-4A71-468E-A123-7374B42874DF}"/>
              </a:ext>
            </a:extLst>
          </p:cNvPr>
          <p:cNvSpPr txBox="1"/>
          <p:nvPr/>
        </p:nvSpPr>
        <p:spPr bwMode="auto">
          <a:xfrm>
            <a:off x="4141261" y="4645789"/>
            <a:ext cx="915770" cy="17551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99,99%</a:t>
            </a:r>
          </a:p>
        </p:txBody>
      </p:sp>
      <p:sp>
        <p:nvSpPr>
          <p:cNvPr id="7" name="Oval 6">
            <a:extLst>
              <a:ext uri="{FF2B5EF4-FFF2-40B4-BE49-F238E27FC236}">
                <a16:creationId xmlns:a16="http://schemas.microsoft.com/office/drawing/2014/main" id="{BB9EBB4B-B5D0-4DE9-8879-2E43E782306F}"/>
              </a:ext>
            </a:extLst>
          </p:cNvPr>
          <p:cNvSpPr/>
          <p:nvPr/>
        </p:nvSpPr>
        <p:spPr bwMode="auto">
          <a:xfrm>
            <a:off x="5275706" y="4377279"/>
            <a:ext cx="123724" cy="128417"/>
          </a:xfrm>
          <a:prstGeom prst="ellipse">
            <a:avLst/>
          </a:prstGeom>
          <a:solidFill>
            <a:schemeClr val="accent2"/>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17" name="Oval 16">
            <a:extLst>
              <a:ext uri="{FF2B5EF4-FFF2-40B4-BE49-F238E27FC236}">
                <a16:creationId xmlns:a16="http://schemas.microsoft.com/office/drawing/2014/main" id="{A9F1860D-AB99-4CD9-A31A-5934DDC9D1EB}"/>
              </a:ext>
            </a:extLst>
          </p:cNvPr>
          <p:cNvSpPr/>
          <p:nvPr/>
        </p:nvSpPr>
        <p:spPr bwMode="auto">
          <a:xfrm>
            <a:off x="4655058" y="4366584"/>
            <a:ext cx="123724" cy="128417"/>
          </a:xfrm>
          <a:prstGeom prst="ellipse">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22" name="Oval 21">
            <a:extLst>
              <a:ext uri="{FF2B5EF4-FFF2-40B4-BE49-F238E27FC236}">
                <a16:creationId xmlns:a16="http://schemas.microsoft.com/office/drawing/2014/main" id="{10A88C7C-5273-43F7-B01D-ABEAAF12C4E9}"/>
              </a:ext>
            </a:extLst>
          </p:cNvPr>
          <p:cNvSpPr/>
          <p:nvPr/>
        </p:nvSpPr>
        <p:spPr bwMode="auto">
          <a:xfrm>
            <a:off x="5274224" y="4050517"/>
            <a:ext cx="123724" cy="128417"/>
          </a:xfrm>
          <a:prstGeom prst="ellipse">
            <a:avLst/>
          </a:prstGeom>
          <a:solidFill>
            <a:schemeClr val="accent2"/>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101" name="TextBox 100">
            <a:extLst>
              <a:ext uri="{FF2B5EF4-FFF2-40B4-BE49-F238E27FC236}">
                <a16:creationId xmlns:a16="http://schemas.microsoft.com/office/drawing/2014/main" id="{BB03338E-467F-4BE1-82E2-87B27AFD18CE}"/>
              </a:ext>
            </a:extLst>
          </p:cNvPr>
          <p:cNvSpPr txBox="1"/>
          <p:nvPr/>
        </p:nvSpPr>
        <p:spPr bwMode="auto">
          <a:xfrm>
            <a:off x="4618384" y="5515838"/>
            <a:ext cx="4881569" cy="169216"/>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050" b="0" i="0" u="none" strike="noStrike" kern="1200" cap="none" spc="0" normalizeH="0" baseline="0" noProof="0">
                <a:ln>
                  <a:noFill/>
                </a:ln>
                <a:solidFill>
                  <a:srgbClr val="181818"/>
                </a:solidFill>
                <a:effectLst/>
                <a:uLnTx/>
                <a:uFillTx/>
                <a:latin typeface="Ericsson Hilda"/>
                <a:ea typeface="+mn-ea"/>
                <a:cs typeface="+mn-cs"/>
              </a:rPr>
              <a:t> 1        2        3        4        5        6        7        8       9        10 ........................  .............................                                                  </a:t>
            </a:r>
          </a:p>
        </p:txBody>
      </p:sp>
      <p:sp>
        <p:nvSpPr>
          <p:cNvPr id="103" name="Oval 102">
            <a:extLst>
              <a:ext uri="{FF2B5EF4-FFF2-40B4-BE49-F238E27FC236}">
                <a16:creationId xmlns:a16="http://schemas.microsoft.com/office/drawing/2014/main" id="{D791A02D-0F03-4F92-8675-19F89BDAF019}"/>
              </a:ext>
            </a:extLst>
          </p:cNvPr>
          <p:cNvSpPr/>
          <p:nvPr/>
        </p:nvSpPr>
        <p:spPr bwMode="auto">
          <a:xfrm>
            <a:off x="4644298" y="4061188"/>
            <a:ext cx="123724" cy="128417"/>
          </a:xfrm>
          <a:prstGeom prst="ellipse">
            <a:avLst/>
          </a:prstGeom>
          <a:solidFill>
            <a:schemeClr val="accent2"/>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104" name="Oval 103">
            <a:extLst>
              <a:ext uri="{FF2B5EF4-FFF2-40B4-BE49-F238E27FC236}">
                <a16:creationId xmlns:a16="http://schemas.microsoft.com/office/drawing/2014/main" id="{D739326A-72F8-45BA-B7C6-7F2CE37DCC22}"/>
              </a:ext>
            </a:extLst>
          </p:cNvPr>
          <p:cNvSpPr/>
          <p:nvPr/>
        </p:nvSpPr>
        <p:spPr bwMode="auto">
          <a:xfrm>
            <a:off x="6533862" y="5017240"/>
            <a:ext cx="123724" cy="128417"/>
          </a:xfrm>
          <a:prstGeom prst="ellipse">
            <a:avLst/>
          </a:prstGeom>
          <a:solidFill>
            <a:schemeClr val="accent2"/>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106" name="TextBox 105">
            <a:extLst>
              <a:ext uri="{FF2B5EF4-FFF2-40B4-BE49-F238E27FC236}">
                <a16:creationId xmlns:a16="http://schemas.microsoft.com/office/drawing/2014/main" id="{C72F6A71-2B52-4D0C-8676-E947C2F56D67}"/>
              </a:ext>
            </a:extLst>
          </p:cNvPr>
          <p:cNvSpPr txBox="1"/>
          <p:nvPr/>
        </p:nvSpPr>
        <p:spPr bwMode="auto">
          <a:xfrm rot="16200000">
            <a:off x="3189848" y="4492681"/>
            <a:ext cx="1277212" cy="15903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Reliability</a:t>
            </a:r>
          </a:p>
        </p:txBody>
      </p:sp>
      <p:sp>
        <p:nvSpPr>
          <p:cNvPr id="120" name="Oval 119">
            <a:extLst>
              <a:ext uri="{FF2B5EF4-FFF2-40B4-BE49-F238E27FC236}">
                <a16:creationId xmlns:a16="http://schemas.microsoft.com/office/drawing/2014/main" id="{32F6BD93-8FDA-487C-8E02-6B1A811180B0}"/>
              </a:ext>
            </a:extLst>
          </p:cNvPr>
          <p:cNvSpPr/>
          <p:nvPr/>
        </p:nvSpPr>
        <p:spPr bwMode="auto">
          <a:xfrm>
            <a:off x="5587536" y="4370541"/>
            <a:ext cx="123724" cy="128417"/>
          </a:xfrm>
          <a:prstGeom prst="ellipse">
            <a:avLst/>
          </a:prstGeom>
          <a:solidFill>
            <a:schemeClr val="accent2"/>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200" cap="none" spc="0" normalizeH="0" baseline="0" noProof="0">
              <a:ln>
                <a:noFill/>
              </a:ln>
              <a:solidFill>
                <a:srgbClr val="FFFFFF"/>
              </a:solidFill>
              <a:effectLst/>
              <a:uLnTx/>
              <a:uFillTx/>
              <a:latin typeface="Ericsson Hilda"/>
              <a:ea typeface="+mn-ea"/>
              <a:cs typeface="+mn-cs"/>
            </a:endParaRPr>
          </a:p>
        </p:txBody>
      </p:sp>
      <p:sp>
        <p:nvSpPr>
          <p:cNvPr id="146" name="Right Brace 145">
            <a:extLst>
              <a:ext uri="{FF2B5EF4-FFF2-40B4-BE49-F238E27FC236}">
                <a16:creationId xmlns:a16="http://schemas.microsoft.com/office/drawing/2014/main" id="{93F53503-20E7-4B45-9F19-2788253A92A8}"/>
              </a:ext>
            </a:extLst>
          </p:cNvPr>
          <p:cNvSpPr/>
          <p:nvPr/>
        </p:nvSpPr>
        <p:spPr bwMode="auto">
          <a:xfrm>
            <a:off x="7657512" y="4123789"/>
            <a:ext cx="254729" cy="967654"/>
          </a:xfrm>
          <a:prstGeom prst="rightBrace">
            <a:avLst/>
          </a:prstGeom>
          <a:solidFill>
            <a:srgbClr val="FFFFFF">
              <a:alpha val="0"/>
            </a:srgbClr>
          </a:solidFill>
          <a:ln w="9525" cap="flat" cmpd="sng" algn="ctr">
            <a:solidFill>
              <a:schemeClr val="tx1"/>
            </a:solidFill>
            <a:prstDash val="solid"/>
            <a:round/>
            <a:headEnd type="none" w="med" len="med"/>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1" name="TextBox 150">
            <a:extLst>
              <a:ext uri="{FF2B5EF4-FFF2-40B4-BE49-F238E27FC236}">
                <a16:creationId xmlns:a16="http://schemas.microsoft.com/office/drawing/2014/main" id="{4C3FA270-D195-4A5B-8F1E-2C36EDD9AD78}"/>
              </a:ext>
            </a:extLst>
          </p:cNvPr>
          <p:cNvSpPr txBox="1"/>
          <p:nvPr/>
        </p:nvSpPr>
        <p:spPr bwMode="auto">
          <a:xfrm>
            <a:off x="7926550" y="4446998"/>
            <a:ext cx="1225316" cy="370908"/>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3GPP evaluations </a:t>
            </a:r>
          </a:p>
        </p:txBody>
      </p:sp>
      <p:sp>
        <p:nvSpPr>
          <p:cNvPr id="154" name="Right Brace 153">
            <a:extLst>
              <a:ext uri="{FF2B5EF4-FFF2-40B4-BE49-F238E27FC236}">
                <a16:creationId xmlns:a16="http://schemas.microsoft.com/office/drawing/2014/main" id="{476DAF88-9F2B-44F7-9CFE-793A9916F573}"/>
              </a:ext>
            </a:extLst>
          </p:cNvPr>
          <p:cNvSpPr/>
          <p:nvPr/>
        </p:nvSpPr>
        <p:spPr bwMode="auto">
          <a:xfrm>
            <a:off x="9588893" y="3969617"/>
            <a:ext cx="234973" cy="1418925"/>
          </a:xfrm>
          <a:prstGeom prst="rightBrace">
            <a:avLst/>
          </a:prstGeom>
          <a:solidFill>
            <a:srgbClr val="FFFFFF">
              <a:alpha val="0"/>
            </a:srgbClr>
          </a:solidFill>
          <a:ln w="9525" cap="flat" cmpd="sng" algn="ctr">
            <a:solidFill>
              <a:schemeClr val="tx1"/>
            </a:solidFill>
            <a:prstDash val="solid"/>
            <a:round/>
            <a:headEnd type="none" w="med" len="med"/>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81818"/>
              </a:solidFill>
              <a:effectLst/>
              <a:uLnTx/>
              <a:uFillTx/>
              <a:latin typeface="Ericsson Hilda"/>
              <a:ea typeface="+mn-ea"/>
              <a:cs typeface="+mn-cs"/>
            </a:endParaRPr>
          </a:p>
        </p:txBody>
      </p:sp>
      <p:sp>
        <p:nvSpPr>
          <p:cNvPr id="155" name="TextBox 154">
            <a:extLst>
              <a:ext uri="{FF2B5EF4-FFF2-40B4-BE49-F238E27FC236}">
                <a16:creationId xmlns:a16="http://schemas.microsoft.com/office/drawing/2014/main" id="{56F2106A-548C-4773-830D-3EA8FE1EF79A}"/>
              </a:ext>
            </a:extLst>
          </p:cNvPr>
          <p:cNvSpPr txBox="1"/>
          <p:nvPr/>
        </p:nvSpPr>
        <p:spPr bwMode="auto">
          <a:xfrm>
            <a:off x="9958705" y="4539446"/>
            <a:ext cx="857837" cy="290883"/>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URLLC</a:t>
            </a:r>
          </a:p>
        </p:txBody>
      </p:sp>
      <p:cxnSp>
        <p:nvCxnSpPr>
          <p:cNvPr id="112" name="Straight Arrow Connector 111">
            <a:extLst>
              <a:ext uri="{FF2B5EF4-FFF2-40B4-BE49-F238E27FC236}">
                <a16:creationId xmlns:a16="http://schemas.microsoft.com/office/drawing/2014/main" id="{73ADA2E4-74A0-4639-9000-AC6E16ECCA3A}"/>
              </a:ext>
            </a:extLst>
          </p:cNvPr>
          <p:cNvCxnSpPr>
            <a:cxnSpLocks/>
          </p:cNvCxnSpPr>
          <p:nvPr/>
        </p:nvCxnSpPr>
        <p:spPr bwMode="auto">
          <a:xfrm flipV="1">
            <a:off x="7137843" y="2428867"/>
            <a:ext cx="0" cy="89574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113" name="Straight Arrow Connector 112">
            <a:extLst>
              <a:ext uri="{FF2B5EF4-FFF2-40B4-BE49-F238E27FC236}">
                <a16:creationId xmlns:a16="http://schemas.microsoft.com/office/drawing/2014/main" id="{D230EB5B-D1F9-4FD7-887A-A546634E284B}"/>
              </a:ext>
            </a:extLst>
          </p:cNvPr>
          <p:cNvCxnSpPr>
            <a:cxnSpLocks/>
          </p:cNvCxnSpPr>
          <p:nvPr/>
        </p:nvCxnSpPr>
        <p:spPr bwMode="auto">
          <a:xfrm>
            <a:off x="7146043" y="3310629"/>
            <a:ext cx="1485354"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14" name="TextBox 113">
            <a:extLst>
              <a:ext uri="{FF2B5EF4-FFF2-40B4-BE49-F238E27FC236}">
                <a16:creationId xmlns:a16="http://schemas.microsoft.com/office/drawing/2014/main" id="{4835F1F1-430E-4C09-B02B-9528FBA25B0C}"/>
              </a:ext>
            </a:extLst>
          </p:cNvPr>
          <p:cNvSpPr txBox="1"/>
          <p:nvPr/>
        </p:nvSpPr>
        <p:spPr bwMode="auto">
          <a:xfrm>
            <a:off x="8621467" y="3160670"/>
            <a:ext cx="400003" cy="176243"/>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200" b="0" i="0" u="none" strike="noStrike" kern="1000" cap="none" spc="-30" normalizeH="0" baseline="0" noProof="0">
                <a:ln>
                  <a:noFill/>
                </a:ln>
                <a:solidFill>
                  <a:srgbClr val="181818"/>
                </a:solidFill>
                <a:effectLst/>
                <a:uLnTx/>
                <a:uFillTx/>
                <a:latin typeface="Ericsson Hilda"/>
                <a:ea typeface="+mn-ea"/>
                <a:cs typeface="+mn-cs"/>
              </a:rPr>
              <a:t>Latency</a:t>
            </a:r>
          </a:p>
        </p:txBody>
      </p:sp>
      <p:sp>
        <p:nvSpPr>
          <p:cNvPr id="115" name="TextBox 114">
            <a:extLst>
              <a:ext uri="{FF2B5EF4-FFF2-40B4-BE49-F238E27FC236}">
                <a16:creationId xmlns:a16="http://schemas.microsoft.com/office/drawing/2014/main" id="{6682DC1E-1CA1-4E90-AE67-75DF66D673C2}"/>
              </a:ext>
            </a:extLst>
          </p:cNvPr>
          <p:cNvSpPr txBox="1"/>
          <p:nvPr/>
        </p:nvSpPr>
        <p:spPr bwMode="auto">
          <a:xfrm>
            <a:off x="6877536" y="2136748"/>
            <a:ext cx="555137" cy="176967"/>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050" b="0" i="0" u="none" strike="noStrike" kern="1000" cap="none" spc="-30" normalizeH="0" baseline="0" noProof="0">
                <a:ln>
                  <a:noFill/>
                </a:ln>
                <a:solidFill>
                  <a:srgbClr val="181818"/>
                </a:solidFill>
                <a:effectLst/>
                <a:uLnTx/>
                <a:uFillTx/>
                <a:latin typeface="Ericsson Hilda"/>
                <a:ea typeface="+mn-ea"/>
                <a:cs typeface="+mn-cs"/>
              </a:rPr>
              <a:t>% of packets</a:t>
            </a:r>
          </a:p>
        </p:txBody>
      </p:sp>
      <p:sp>
        <p:nvSpPr>
          <p:cNvPr id="116" name="Freeform: Shape 115">
            <a:extLst>
              <a:ext uri="{FF2B5EF4-FFF2-40B4-BE49-F238E27FC236}">
                <a16:creationId xmlns:a16="http://schemas.microsoft.com/office/drawing/2014/main" id="{CAD922C7-3D9C-481A-B3FE-BD46A5660D35}"/>
              </a:ext>
            </a:extLst>
          </p:cNvPr>
          <p:cNvSpPr/>
          <p:nvPr/>
        </p:nvSpPr>
        <p:spPr bwMode="auto">
          <a:xfrm>
            <a:off x="7296471" y="2537293"/>
            <a:ext cx="998131" cy="774443"/>
          </a:xfrm>
          <a:custGeom>
            <a:avLst/>
            <a:gdLst>
              <a:gd name="connsiteX0" fmla="*/ 0 w 1080415"/>
              <a:gd name="connsiteY0" fmla="*/ 1389311 h 1450271"/>
              <a:gd name="connsiteX1" fmla="*/ 331893 w 1080415"/>
              <a:gd name="connsiteY1" fmla="*/ 319124 h 1450271"/>
              <a:gd name="connsiteX2" fmla="*/ 684106 w 1080415"/>
              <a:gd name="connsiteY2" fmla="*/ 778 h 1450271"/>
              <a:gd name="connsiteX3" fmla="*/ 907626 w 1080415"/>
              <a:gd name="connsiteY3" fmla="*/ 251391 h 1450271"/>
              <a:gd name="connsiteX4" fmla="*/ 1070186 w 1080415"/>
              <a:gd name="connsiteY4" fmla="*/ 894858 h 1450271"/>
              <a:gd name="connsiteX5" fmla="*/ 1049866 w 1080415"/>
              <a:gd name="connsiteY5" fmla="*/ 1450271 h 1450271"/>
              <a:gd name="connsiteX0" fmla="*/ 0 w 1108638"/>
              <a:gd name="connsiteY0" fmla="*/ 1389311 h 1446876"/>
              <a:gd name="connsiteX1" fmla="*/ 331893 w 1108638"/>
              <a:gd name="connsiteY1" fmla="*/ 319124 h 1446876"/>
              <a:gd name="connsiteX2" fmla="*/ 684106 w 1108638"/>
              <a:gd name="connsiteY2" fmla="*/ 778 h 1446876"/>
              <a:gd name="connsiteX3" fmla="*/ 907626 w 1108638"/>
              <a:gd name="connsiteY3" fmla="*/ 251391 h 1446876"/>
              <a:gd name="connsiteX4" fmla="*/ 1070186 w 1108638"/>
              <a:gd name="connsiteY4" fmla="*/ 894858 h 1446876"/>
              <a:gd name="connsiteX5" fmla="*/ 1100802 w 1108638"/>
              <a:gd name="connsiteY5" fmla="*/ 1446876 h 1446876"/>
              <a:gd name="connsiteX0" fmla="*/ 0 w 1100997"/>
              <a:gd name="connsiteY0" fmla="*/ 1389311 h 1446876"/>
              <a:gd name="connsiteX1" fmla="*/ 331893 w 1100997"/>
              <a:gd name="connsiteY1" fmla="*/ 319124 h 1446876"/>
              <a:gd name="connsiteX2" fmla="*/ 684106 w 1100997"/>
              <a:gd name="connsiteY2" fmla="*/ 778 h 1446876"/>
              <a:gd name="connsiteX3" fmla="*/ 907626 w 1100997"/>
              <a:gd name="connsiteY3" fmla="*/ 251391 h 1446876"/>
              <a:gd name="connsiteX4" fmla="*/ 1070186 w 1100997"/>
              <a:gd name="connsiteY4" fmla="*/ 894858 h 1446876"/>
              <a:gd name="connsiteX5" fmla="*/ 1100802 w 1100997"/>
              <a:gd name="connsiteY5" fmla="*/ 1446876 h 1446876"/>
              <a:gd name="connsiteX0" fmla="*/ 0 w 1100997"/>
              <a:gd name="connsiteY0" fmla="*/ 1389311 h 1389311"/>
              <a:gd name="connsiteX1" fmla="*/ 331893 w 1100997"/>
              <a:gd name="connsiteY1" fmla="*/ 319124 h 1389311"/>
              <a:gd name="connsiteX2" fmla="*/ 684106 w 1100997"/>
              <a:gd name="connsiteY2" fmla="*/ 778 h 1389311"/>
              <a:gd name="connsiteX3" fmla="*/ 907626 w 1100997"/>
              <a:gd name="connsiteY3" fmla="*/ 251391 h 1389311"/>
              <a:gd name="connsiteX4" fmla="*/ 1070186 w 1100997"/>
              <a:gd name="connsiteY4" fmla="*/ 894858 h 1389311"/>
              <a:gd name="connsiteX5" fmla="*/ 1100802 w 1100997"/>
              <a:gd name="connsiteY5" fmla="*/ 1370648 h 1389311"/>
              <a:gd name="connsiteX0" fmla="*/ 0 w 1100997"/>
              <a:gd name="connsiteY0" fmla="*/ 1383447 h 1383447"/>
              <a:gd name="connsiteX1" fmla="*/ 331893 w 1100997"/>
              <a:gd name="connsiteY1" fmla="*/ 319124 h 1383447"/>
              <a:gd name="connsiteX2" fmla="*/ 684106 w 1100997"/>
              <a:gd name="connsiteY2" fmla="*/ 778 h 1383447"/>
              <a:gd name="connsiteX3" fmla="*/ 907626 w 1100997"/>
              <a:gd name="connsiteY3" fmla="*/ 251391 h 1383447"/>
              <a:gd name="connsiteX4" fmla="*/ 1070186 w 1100997"/>
              <a:gd name="connsiteY4" fmla="*/ 894858 h 1383447"/>
              <a:gd name="connsiteX5" fmla="*/ 1100802 w 1100997"/>
              <a:gd name="connsiteY5" fmla="*/ 1370648 h 1383447"/>
              <a:gd name="connsiteX0" fmla="*/ 0 w 1102285"/>
              <a:gd name="connsiteY0" fmla="*/ 1383447 h 1383447"/>
              <a:gd name="connsiteX1" fmla="*/ 331893 w 1102285"/>
              <a:gd name="connsiteY1" fmla="*/ 319124 h 1383447"/>
              <a:gd name="connsiteX2" fmla="*/ 684106 w 1102285"/>
              <a:gd name="connsiteY2" fmla="*/ 778 h 1383447"/>
              <a:gd name="connsiteX3" fmla="*/ 907626 w 1102285"/>
              <a:gd name="connsiteY3" fmla="*/ 251391 h 1383447"/>
              <a:gd name="connsiteX4" fmla="*/ 1070186 w 1102285"/>
              <a:gd name="connsiteY4" fmla="*/ 894858 h 1383447"/>
              <a:gd name="connsiteX5" fmla="*/ 1099759 w 1102285"/>
              <a:gd name="connsiteY5" fmla="*/ 1269674 h 1383447"/>
              <a:gd name="connsiteX6" fmla="*/ 1100802 w 1102285"/>
              <a:gd name="connsiteY6" fmla="*/ 1370648 h 1383447"/>
              <a:gd name="connsiteX0" fmla="*/ 0 w 1958366"/>
              <a:gd name="connsiteY0" fmla="*/ 1383447 h 1383841"/>
              <a:gd name="connsiteX1" fmla="*/ 331893 w 1958366"/>
              <a:gd name="connsiteY1" fmla="*/ 319124 h 1383841"/>
              <a:gd name="connsiteX2" fmla="*/ 684106 w 1958366"/>
              <a:gd name="connsiteY2" fmla="*/ 778 h 1383841"/>
              <a:gd name="connsiteX3" fmla="*/ 907626 w 1958366"/>
              <a:gd name="connsiteY3" fmla="*/ 251391 h 1383841"/>
              <a:gd name="connsiteX4" fmla="*/ 1070186 w 1958366"/>
              <a:gd name="connsiteY4" fmla="*/ 894858 h 1383841"/>
              <a:gd name="connsiteX5" fmla="*/ 1099759 w 1958366"/>
              <a:gd name="connsiteY5" fmla="*/ 1269674 h 1383841"/>
              <a:gd name="connsiteX6" fmla="*/ 1958366 w 1958366"/>
              <a:gd name="connsiteY6" fmla="*/ 1383841 h 1383841"/>
              <a:gd name="connsiteX0" fmla="*/ 0 w 1958366"/>
              <a:gd name="connsiteY0" fmla="*/ 1383447 h 1383841"/>
              <a:gd name="connsiteX1" fmla="*/ 331893 w 1958366"/>
              <a:gd name="connsiteY1" fmla="*/ 319124 h 1383841"/>
              <a:gd name="connsiteX2" fmla="*/ 684106 w 1958366"/>
              <a:gd name="connsiteY2" fmla="*/ 778 h 1383841"/>
              <a:gd name="connsiteX3" fmla="*/ 907626 w 1958366"/>
              <a:gd name="connsiteY3" fmla="*/ 251391 h 1383841"/>
              <a:gd name="connsiteX4" fmla="*/ 1070186 w 1958366"/>
              <a:gd name="connsiteY4" fmla="*/ 894858 h 1383841"/>
              <a:gd name="connsiteX5" fmla="*/ 1099759 w 1958366"/>
              <a:gd name="connsiteY5" fmla="*/ 1322447 h 1383841"/>
              <a:gd name="connsiteX6" fmla="*/ 1958366 w 1958366"/>
              <a:gd name="connsiteY6" fmla="*/ 1383841 h 1383841"/>
              <a:gd name="connsiteX0" fmla="*/ 0 w 1958366"/>
              <a:gd name="connsiteY0" fmla="*/ 1383447 h 1383447"/>
              <a:gd name="connsiteX1" fmla="*/ 331893 w 1958366"/>
              <a:gd name="connsiteY1" fmla="*/ 319124 h 1383447"/>
              <a:gd name="connsiteX2" fmla="*/ 684106 w 1958366"/>
              <a:gd name="connsiteY2" fmla="*/ 778 h 1383447"/>
              <a:gd name="connsiteX3" fmla="*/ 907626 w 1958366"/>
              <a:gd name="connsiteY3" fmla="*/ 251391 h 1383447"/>
              <a:gd name="connsiteX4" fmla="*/ 1070186 w 1958366"/>
              <a:gd name="connsiteY4" fmla="*/ 894858 h 1383447"/>
              <a:gd name="connsiteX5" fmla="*/ 1099759 w 1958366"/>
              <a:gd name="connsiteY5" fmla="*/ 1322447 h 1383447"/>
              <a:gd name="connsiteX6" fmla="*/ 1958366 w 1958366"/>
              <a:gd name="connsiteY6" fmla="*/ 1379443 h 138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66" h="1383447">
                <a:moveTo>
                  <a:pt x="0" y="1383447"/>
                </a:moveTo>
                <a:cubicBezTo>
                  <a:pt x="108937" y="964064"/>
                  <a:pt x="217875" y="549569"/>
                  <a:pt x="331893" y="319124"/>
                </a:cubicBezTo>
                <a:cubicBezTo>
                  <a:pt x="445911" y="88679"/>
                  <a:pt x="588151" y="12067"/>
                  <a:pt x="684106" y="778"/>
                </a:cubicBezTo>
                <a:cubicBezTo>
                  <a:pt x="780061" y="-10511"/>
                  <a:pt x="843279" y="102378"/>
                  <a:pt x="907626" y="251391"/>
                </a:cubicBezTo>
                <a:cubicBezTo>
                  <a:pt x="971973" y="400404"/>
                  <a:pt x="1038164" y="725144"/>
                  <a:pt x="1070186" y="894858"/>
                </a:cubicBezTo>
                <a:cubicBezTo>
                  <a:pt x="1102208" y="1064572"/>
                  <a:pt x="1094656" y="1243149"/>
                  <a:pt x="1099759" y="1322447"/>
                </a:cubicBezTo>
                <a:cubicBezTo>
                  <a:pt x="1104862" y="1401745"/>
                  <a:pt x="1958192" y="1362614"/>
                  <a:pt x="1958366" y="1379443"/>
                </a:cubicBezTo>
              </a:path>
            </a:pathLst>
          </a:custGeom>
          <a:noFill/>
          <a:ln w="22225" cap="flat" cmpd="sng" algn="ctr">
            <a:solidFill>
              <a:schemeClr val="accent1"/>
            </a:solidFill>
            <a:prstDash val="solid"/>
            <a:round/>
            <a:headEnd type="none" w="med" len="med"/>
            <a:tailEnd type="none" w="med" len="med"/>
          </a:ln>
          <a:effectLst/>
        </p:spPr>
        <p:txBody>
          <a:bodyPr rtlCol="0" anchor="ctr"/>
          <a:lstStyle/>
          <a:p>
            <a:pPr marL="180000" marR="0" lvl="0" indent="-180000" algn="ctr"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2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18" name="TextBox 117">
            <a:extLst>
              <a:ext uri="{FF2B5EF4-FFF2-40B4-BE49-F238E27FC236}">
                <a16:creationId xmlns:a16="http://schemas.microsoft.com/office/drawing/2014/main" id="{649E665D-2100-47DA-BF58-19E34E5B7A4E}"/>
              </a:ext>
            </a:extLst>
          </p:cNvPr>
          <p:cNvSpPr txBox="1"/>
          <p:nvPr/>
        </p:nvSpPr>
        <p:spPr bwMode="auto">
          <a:xfrm>
            <a:off x="8113614" y="2177145"/>
            <a:ext cx="1881019" cy="257951"/>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spAutoFit/>
          </a:bodyPr>
          <a:lstStyle/>
          <a:p>
            <a:pPr marL="0" marR="0" lvl="0" indent="0" algn="ctr"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200" b="0" i="0" u="none" strike="noStrike" kern="1000" cap="none" spc="-30" normalizeH="0" baseline="0" noProof="0">
                <a:ln>
                  <a:noFill/>
                </a:ln>
                <a:solidFill>
                  <a:srgbClr val="181818"/>
                </a:solidFill>
                <a:effectLst/>
                <a:uLnTx/>
                <a:uFillTx/>
                <a:latin typeface="Ericsson Hilda"/>
                <a:ea typeface="+mn-ea"/>
                <a:cs typeface="+mn-cs"/>
              </a:rPr>
              <a:t>99.9% reliability (likelihood)</a:t>
            </a:r>
          </a:p>
        </p:txBody>
      </p:sp>
      <p:cxnSp>
        <p:nvCxnSpPr>
          <p:cNvPr id="119" name="Straight Connector 118">
            <a:extLst>
              <a:ext uri="{FF2B5EF4-FFF2-40B4-BE49-F238E27FC236}">
                <a16:creationId xmlns:a16="http://schemas.microsoft.com/office/drawing/2014/main" id="{926D328E-9941-46F5-8F11-693E98AC046C}"/>
              </a:ext>
            </a:extLst>
          </p:cNvPr>
          <p:cNvCxnSpPr>
            <a:cxnSpLocks/>
          </p:cNvCxnSpPr>
          <p:nvPr/>
        </p:nvCxnSpPr>
        <p:spPr bwMode="auto">
          <a:xfrm flipH="1">
            <a:off x="7859331" y="2313715"/>
            <a:ext cx="2109" cy="1173511"/>
          </a:xfrm>
          <a:prstGeom prst="line">
            <a:avLst/>
          </a:prstGeom>
          <a:solidFill>
            <a:schemeClr val="accent1"/>
          </a:solidFill>
          <a:ln w="28575" cap="flat" cmpd="sng" algn="ctr">
            <a:solidFill>
              <a:srgbClr val="FF0000"/>
            </a:solidFill>
            <a:prstDash val="dash"/>
            <a:round/>
            <a:headEnd type="none" w="med" len="med"/>
            <a:tailEnd type="none"/>
          </a:ln>
          <a:effectLst/>
        </p:spPr>
      </p:cxnSp>
      <p:cxnSp>
        <p:nvCxnSpPr>
          <p:cNvPr id="123" name="Straight Connector 122">
            <a:extLst>
              <a:ext uri="{FF2B5EF4-FFF2-40B4-BE49-F238E27FC236}">
                <a16:creationId xmlns:a16="http://schemas.microsoft.com/office/drawing/2014/main" id="{534204AF-7E2B-4DEC-BB1B-5B2D380B8293}"/>
              </a:ext>
            </a:extLst>
          </p:cNvPr>
          <p:cNvCxnSpPr>
            <a:cxnSpLocks/>
          </p:cNvCxnSpPr>
          <p:nvPr/>
        </p:nvCxnSpPr>
        <p:spPr bwMode="auto">
          <a:xfrm flipH="1">
            <a:off x="7868487" y="3295217"/>
            <a:ext cx="9156" cy="9427"/>
          </a:xfrm>
          <a:prstGeom prst="line">
            <a:avLst/>
          </a:prstGeom>
          <a:solidFill>
            <a:schemeClr val="accent1"/>
          </a:solidFill>
          <a:ln w="28575" cap="flat" cmpd="sng" algn="ctr">
            <a:solidFill>
              <a:schemeClr val="accent6"/>
            </a:solidFill>
            <a:prstDash val="solid"/>
            <a:round/>
            <a:headEnd type="none" w="med" len="med"/>
            <a:tailEnd type="none"/>
          </a:ln>
          <a:effectLst/>
        </p:spPr>
      </p:cxnSp>
      <p:cxnSp>
        <p:nvCxnSpPr>
          <p:cNvPr id="125" name="Straight Connector 124">
            <a:extLst>
              <a:ext uri="{FF2B5EF4-FFF2-40B4-BE49-F238E27FC236}">
                <a16:creationId xmlns:a16="http://schemas.microsoft.com/office/drawing/2014/main" id="{CDB10AF7-89A8-4D07-8496-B3BEB84023E2}"/>
              </a:ext>
            </a:extLst>
          </p:cNvPr>
          <p:cNvCxnSpPr>
            <a:cxnSpLocks/>
          </p:cNvCxnSpPr>
          <p:nvPr/>
        </p:nvCxnSpPr>
        <p:spPr bwMode="auto">
          <a:xfrm flipH="1">
            <a:off x="7889835" y="3297665"/>
            <a:ext cx="6354" cy="6978"/>
          </a:xfrm>
          <a:prstGeom prst="line">
            <a:avLst/>
          </a:prstGeom>
          <a:solidFill>
            <a:schemeClr val="accent1"/>
          </a:solidFill>
          <a:ln w="28575" cap="flat" cmpd="sng" algn="ctr">
            <a:solidFill>
              <a:schemeClr val="accent6"/>
            </a:solidFill>
            <a:prstDash val="solid"/>
            <a:round/>
            <a:headEnd type="none" w="med" len="med"/>
            <a:tailEnd type="none"/>
          </a:ln>
          <a:effectLst/>
        </p:spPr>
      </p:cxnSp>
      <p:cxnSp>
        <p:nvCxnSpPr>
          <p:cNvPr id="126" name="Straight Arrow Connector 125">
            <a:extLst>
              <a:ext uri="{FF2B5EF4-FFF2-40B4-BE49-F238E27FC236}">
                <a16:creationId xmlns:a16="http://schemas.microsoft.com/office/drawing/2014/main" id="{47CC37E3-D8DB-46D5-9F37-3F78BE58344D}"/>
              </a:ext>
            </a:extLst>
          </p:cNvPr>
          <p:cNvCxnSpPr>
            <a:cxnSpLocks/>
            <a:endCxn id="133" idx="1"/>
          </p:cNvCxnSpPr>
          <p:nvPr/>
        </p:nvCxnSpPr>
        <p:spPr bwMode="auto">
          <a:xfrm flipV="1">
            <a:off x="7934994" y="2850015"/>
            <a:ext cx="488195" cy="421316"/>
          </a:xfrm>
          <a:prstGeom prst="straightConnector1">
            <a:avLst/>
          </a:prstGeom>
          <a:solidFill>
            <a:schemeClr val="accent1"/>
          </a:solidFill>
          <a:ln w="28575" cap="flat" cmpd="sng" algn="ctr">
            <a:solidFill>
              <a:schemeClr val="accent6"/>
            </a:solidFill>
            <a:prstDash val="solid"/>
            <a:round/>
            <a:headEnd type="triangle" w="med" len="med"/>
            <a:tailEnd type="none" w="med" len="med"/>
          </a:ln>
          <a:effectLst/>
        </p:spPr>
      </p:cxnSp>
      <p:sp>
        <p:nvSpPr>
          <p:cNvPr id="133" name="TextBox 132">
            <a:extLst>
              <a:ext uri="{FF2B5EF4-FFF2-40B4-BE49-F238E27FC236}">
                <a16:creationId xmlns:a16="http://schemas.microsoft.com/office/drawing/2014/main" id="{D29C1FBF-EAD1-4CAF-821C-9E4ECC208A5E}"/>
              </a:ext>
            </a:extLst>
          </p:cNvPr>
          <p:cNvSpPr txBox="1"/>
          <p:nvPr/>
        </p:nvSpPr>
        <p:spPr bwMode="auto">
          <a:xfrm>
            <a:off x="8423189" y="2721039"/>
            <a:ext cx="1658202" cy="257951"/>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200" b="0" i="0" u="none" strike="noStrike" kern="1000" cap="none" spc="-30" normalizeH="0" baseline="0" noProof="0">
                <a:ln>
                  <a:noFill/>
                </a:ln>
                <a:solidFill>
                  <a:srgbClr val="181818"/>
                </a:solidFill>
                <a:effectLst/>
                <a:uLnTx/>
                <a:uFillTx/>
                <a:latin typeface="Ericsson Hilda"/>
                <a:ea typeface="+mn-ea"/>
                <a:cs typeface="+mn-cs"/>
              </a:rPr>
              <a:t>0.1% late or lost packets</a:t>
            </a:r>
          </a:p>
        </p:txBody>
      </p:sp>
      <p:sp>
        <p:nvSpPr>
          <p:cNvPr id="99" name="Freeform: Shape 98">
            <a:extLst>
              <a:ext uri="{FF2B5EF4-FFF2-40B4-BE49-F238E27FC236}">
                <a16:creationId xmlns:a16="http://schemas.microsoft.com/office/drawing/2014/main" id="{5D5BB099-B3F5-4666-AEED-574390F96575}"/>
              </a:ext>
            </a:extLst>
          </p:cNvPr>
          <p:cNvSpPr/>
          <p:nvPr/>
        </p:nvSpPr>
        <p:spPr bwMode="auto">
          <a:xfrm>
            <a:off x="3627630" y="2537264"/>
            <a:ext cx="1329015" cy="772501"/>
          </a:xfrm>
          <a:custGeom>
            <a:avLst/>
            <a:gdLst>
              <a:gd name="connsiteX0" fmla="*/ 0 w 2507915"/>
              <a:gd name="connsiteY0" fmla="*/ 1427619 h 1438314"/>
              <a:gd name="connsiteX1" fmla="*/ 358273 w 2507915"/>
              <a:gd name="connsiteY1" fmla="*/ 347451 h 1438314"/>
              <a:gd name="connsiteX2" fmla="*/ 791410 w 2507915"/>
              <a:gd name="connsiteY2" fmla="*/ 31956 h 1438314"/>
              <a:gd name="connsiteX3" fmla="*/ 1256631 w 2507915"/>
              <a:gd name="connsiteY3" fmla="*/ 1010525 h 1438314"/>
              <a:gd name="connsiteX4" fmla="*/ 2507915 w 2507915"/>
              <a:gd name="connsiteY4" fmla="*/ 1438314 h 1438314"/>
              <a:gd name="connsiteX0" fmla="*/ 0 w 2502052"/>
              <a:gd name="connsiteY0" fmla="*/ 1427619 h 1427619"/>
              <a:gd name="connsiteX1" fmla="*/ 358273 w 2502052"/>
              <a:gd name="connsiteY1" fmla="*/ 347451 h 1427619"/>
              <a:gd name="connsiteX2" fmla="*/ 791410 w 2502052"/>
              <a:gd name="connsiteY2" fmla="*/ 31956 h 1427619"/>
              <a:gd name="connsiteX3" fmla="*/ 1256631 w 2502052"/>
              <a:gd name="connsiteY3" fmla="*/ 1010525 h 1427619"/>
              <a:gd name="connsiteX4" fmla="*/ 2502052 w 2502052"/>
              <a:gd name="connsiteY4" fmla="*/ 1367950 h 1427619"/>
              <a:gd name="connsiteX0" fmla="*/ 0 w 2502052"/>
              <a:gd name="connsiteY0" fmla="*/ 1427619 h 1427619"/>
              <a:gd name="connsiteX1" fmla="*/ 358273 w 2502052"/>
              <a:gd name="connsiteY1" fmla="*/ 347451 h 1427619"/>
              <a:gd name="connsiteX2" fmla="*/ 791410 w 2502052"/>
              <a:gd name="connsiteY2" fmla="*/ 31956 h 1427619"/>
              <a:gd name="connsiteX3" fmla="*/ 1256631 w 2502052"/>
              <a:gd name="connsiteY3" fmla="*/ 1010525 h 1427619"/>
              <a:gd name="connsiteX4" fmla="*/ 2502052 w 2502052"/>
              <a:gd name="connsiteY4" fmla="*/ 1367950 h 1427619"/>
              <a:gd name="connsiteX0" fmla="*/ 0 w 2502052"/>
              <a:gd name="connsiteY0" fmla="*/ 1427619 h 1427619"/>
              <a:gd name="connsiteX1" fmla="*/ 358273 w 2502052"/>
              <a:gd name="connsiteY1" fmla="*/ 347451 h 1427619"/>
              <a:gd name="connsiteX2" fmla="*/ 791410 w 2502052"/>
              <a:gd name="connsiteY2" fmla="*/ 31956 h 1427619"/>
              <a:gd name="connsiteX3" fmla="*/ 1256631 w 2502052"/>
              <a:gd name="connsiteY3" fmla="*/ 1010525 h 1427619"/>
              <a:gd name="connsiteX4" fmla="*/ 2502052 w 2502052"/>
              <a:gd name="connsiteY4" fmla="*/ 1379677 h 1427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052" h="1427619">
                <a:moveTo>
                  <a:pt x="0" y="1427619"/>
                </a:moveTo>
                <a:cubicBezTo>
                  <a:pt x="113185" y="1003840"/>
                  <a:pt x="226371" y="580061"/>
                  <a:pt x="358273" y="347451"/>
                </a:cubicBezTo>
                <a:cubicBezTo>
                  <a:pt x="490175" y="114840"/>
                  <a:pt x="641684" y="-78556"/>
                  <a:pt x="791410" y="31956"/>
                </a:cubicBezTo>
                <a:cubicBezTo>
                  <a:pt x="941136" y="142468"/>
                  <a:pt x="970547" y="776132"/>
                  <a:pt x="1256631" y="1010525"/>
                </a:cubicBezTo>
                <a:cubicBezTo>
                  <a:pt x="1542715" y="1244918"/>
                  <a:pt x="2019452" y="1353344"/>
                  <a:pt x="2502052" y="1379677"/>
                </a:cubicBezTo>
              </a:path>
            </a:pathLst>
          </a:custGeom>
          <a:noFill/>
          <a:ln w="22225" cap="flat" cmpd="sng" algn="ctr">
            <a:solidFill>
              <a:schemeClr val="accent1"/>
            </a:solidFill>
            <a:prstDash val="solid"/>
            <a:round/>
            <a:headEnd type="none" w="med" len="med"/>
            <a:tailEnd type="none" w="med" len="med"/>
          </a:ln>
          <a:effectLst/>
        </p:spPr>
        <p:txBody>
          <a:bodyPr rtlCol="0" anchor="ctr"/>
          <a:lstStyle/>
          <a:p>
            <a:pPr marL="180000" marR="0" lvl="0" indent="-180000" algn="ctr"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1050" b="0" i="0" u="none" strike="noStrike" kern="1000" cap="none" spc="-30" normalizeH="0" baseline="0" noProof="0">
              <a:ln>
                <a:noFill/>
              </a:ln>
              <a:solidFill>
                <a:srgbClr val="181818"/>
              </a:solidFill>
              <a:effectLst/>
              <a:uLnTx/>
              <a:uFillTx/>
              <a:latin typeface="Ericsson Hilda"/>
              <a:ea typeface="+mn-ea"/>
              <a:cs typeface="+mn-cs"/>
            </a:endParaRPr>
          </a:p>
        </p:txBody>
      </p:sp>
      <p:sp>
        <p:nvSpPr>
          <p:cNvPr id="108" name="TextBox 107">
            <a:extLst>
              <a:ext uri="{FF2B5EF4-FFF2-40B4-BE49-F238E27FC236}">
                <a16:creationId xmlns:a16="http://schemas.microsoft.com/office/drawing/2014/main" id="{0807F336-0E01-4FD3-8DC6-CE9E63BAAAFE}"/>
              </a:ext>
            </a:extLst>
          </p:cNvPr>
          <p:cNvSpPr txBox="1"/>
          <p:nvPr/>
        </p:nvSpPr>
        <p:spPr bwMode="auto">
          <a:xfrm>
            <a:off x="5085235" y="3181358"/>
            <a:ext cx="457425" cy="179943"/>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200" b="0" i="0" u="none" strike="noStrike" kern="1000" cap="none" spc="-30" normalizeH="0" baseline="0" noProof="0">
                <a:ln>
                  <a:noFill/>
                </a:ln>
                <a:solidFill>
                  <a:srgbClr val="181818"/>
                </a:solidFill>
                <a:effectLst/>
                <a:uLnTx/>
                <a:uFillTx/>
                <a:latin typeface="Ericsson Hilda"/>
                <a:ea typeface="+mn-ea"/>
                <a:cs typeface="+mn-cs"/>
              </a:rPr>
              <a:t>Latency</a:t>
            </a:r>
          </a:p>
        </p:txBody>
      </p:sp>
      <p:cxnSp>
        <p:nvCxnSpPr>
          <p:cNvPr id="109" name="Straight Arrow Connector 108">
            <a:extLst>
              <a:ext uri="{FF2B5EF4-FFF2-40B4-BE49-F238E27FC236}">
                <a16:creationId xmlns:a16="http://schemas.microsoft.com/office/drawing/2014/main" id="{754ABB90-17D6-4444-99BF-F3CB0649203B}"/>
              </a:ext>
            </a:extLst>
          </p:cNvPr>
          <p:cNvCxnSpPr>
            <a:cxnSpLocks/>
          </p:cNvCxnSpPr>
          <p:nvPr/>
        </p:nvCxnSpPr>
        <p:spPr bwMode="auto">
          <a:xfrm flipV="1">
            <a:off x="3504187" y="2424767"/>
            <a:ext cx="0" cy="90394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110" name="Straight Arrow Connector 109">
            <a:extLst>
              <a:ext uri="{FF2B5EF4-FFF2-40B4-BE49-F238E27FC236}">
                <a16:creationId xmlns:a16="http://schemas.microsoft.com/office/drawing/2014/main" id="{84E56E9A-EFCE-4092-A5F5-C1B8CE18541E}"/>
              </a:ext>
            </a:extLst>
          </p:cNvPr>
          <p:cNvCxnSpPr>
            <a:cxnSpLocks/>
          </p:cNvCxnSpPr>
          <p:nvPr/>
        </p:nvCxnSpPr>
        <p:spPr bwMode="auto">
          <a:xfrm>
            <a:off x="3489584" y="3315905"/>
            <a:ext cx="152342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11" name="TextBox 110">
            <a:extLst>
              <a:ext uri="{FF2B5EF4-FFF2-40B4-BE49-F238E27FC236}">
                <a16:creationId xmlns:a16="http://schemas.microsoft.com/office/drawing/2014/main" id="{6623E284-2A0D-498F-BF26-D05D07ED729C}"/>
              </a:ext>
            </a:extLst>
          </p:cNvPr>
          <p:cNvSpPr txBox="1"/>
          <p:nvPr/>
        </p:nvSpPr>
        <p:spPr bwMode="auto">
          <a:xfrm>
            <a:off x="3229156" y="2136748"/>
            <a:ext cx="634820" cy="147026"/>
          </a:xfrm>
          <a:prstGeom prst="rect">
            <a:avLst/>
          </a:prstGeom>
          <a:noFill/>
          <a:ln w="28575">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900" b="0" i="0" u="none" strike="noStrike" kern="1000" cap="none" spc="-30" normalizeH="0" baseline="0" noProof="0">
                <a:ln>
                  <a:noFill/>
                </a:ln>
                <a:solidFill>
                  <a:srgbClr val="181818"/>
                </a:solidFill>
                <a:effectLst/>
                <a:uLnTx/>
                <a:uFillTx/>
                <a:latin typeface="Ericsson Hilda"/>
                <a:ea typeface="+mn-ea"/>
                <a:cs typeface="+mn-cs"/>
              </a:rPr>
              <a:t>% of </a:t>
            </a:r>
            <a:r>
              <a:rPr kumimoji="0" lang="en-US" sz="1050" b="0" i="0" u="none" strike="noStrike" kern="1000" cap="none" spc="-30" normalizeH="0" baseline="0" noProof="0">
                <a:ln>
                  <a:noFill/>
                </a:ln>
                <a:solidFill>
                  <a:srgbClr val="181818"/>
                </a:solidFill>
                <a:effectLst/>
                <a:uLnTx/>
                <a:uFillTx/>
                <a:latin typeface="Ericsson Hilda"/>
                <a:ea typeface="+mn-ea"/>
                <a:cs typeface="+mn-cs"/>
              </a:rPr>
              <a:t>packets</a:t>
            </a:r>
          </a:p>
        </p:txBody>
      </p:sp>
      <p:sp>
        <p:nvSpPr>
          <p:cNvPr id="135" name="TextBox 134">
            <a:extLst>
              <a:ext uri="{FF2B5EF4-FFF2-40B4-BE49-F238E27FC236}">
                <a16:creationId xmlns:a16="http://schemas.microsoft.com/office/drawing/2014/main" id="{B4F9DCFC-2091-48AE-A4F8-EDF67E7D88A7}"/>
              </a:ext>
            </a:extLst>
          </p:cNvPr>
          <p:cNvSpPr txBox="1"/>
          <p:nvPr/>
        </p:nvSpPr>
        <p:spPr bwMode="auto">
          <a:xfrm>
            <a:off x="3598230" y="1785418"/>
            <a:ext cx="616809" cy="275992"/>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600" b="0" i="0" u="none" strike="noStrike" kern="1000" cap="none" spc="-30" normalizeH="0" baseline="0" noProof="0">
                <a:ln>
                  <a:noFill/>
                </a:ln>
                <a:solidFill>
                  <a:srgbClr val="181818"/>
                </a:solidFill>
                <a:effectLst/>
                <a:uLnTx/>
                <a:uFillTx/>
                <a:latin typeface="Ericsson Hilda"/>
                <a:ea typeface="+mn-ea"/>
                <a:cs typeface="+mn-cs"/>
              </a:rPr>
              <a:t>MBB</a:t>
            </a:r>
            <a:endParaRPr kumimoji="0" lang="en-US" sz="1200" b="0" i="0" u="none" strike="noStrike" kern="1000" cap="none" spc="-30" normalizeH="0" baseline="0" noProof="0">
              <a:ln>
                <a:noFill/>
              </a:ln>
              <a:solidFill>
                <a:srgbClr val="181818"/>
              </a:solidFill>
              <a:effectLst/>
              <a:uLnTx/>
              <a:uFillTx/>
              <a:latin typeface="Ericsson Hilda"/>
              <a:ea typeface="+mn-ea"/>
              <a:cs typeface="+mn-cs"/>
            </a:endParaRPr>
          </a:p>
        </p:txBody>
      </p:sp>
      <p:grpSp>
        <p:nvGrpSpPr>
          <p:cNvPr id="37" name="Grupp 36">
            <a:extLst>
              <a:ext uri="{FF2B5EF4-FFF2-40B4-BE49-F238E27FC236}">
                <a16:creationId xmlns:a16="http://schemas.microsoft.com/office/drawing/2014/main" id="{2BD55577-38DF-F849-B34E-863327F8EBD7}"/>
              </a:ext>
            </a:extLst>
          </p:cNvPr>
          <p:cNvGrpSpPr/>
          <p:nvPr/>
        </p:nvGrpSpPr>
        <p:grpSpPr>
          <a:xfrm>
            <a:off x="969516" y="3968347"/>
            <a:ext cx="1880070" cy="1503858"/>
            <a:chOff x="2363502" y="4359794"/>
            <a:chExt cx="1880070" cy="1503858"/>
          </a:xfrm>
        </p:grpSpPr>
        <p:cxnSp>
          <p:nvCxnSpPr>
            <p:cNvPr id="121" name="Straight Connector 12">
              <a:extLst>
                <a:ext uri="{FF2B5EF4-FFF2-40B4-BE49-F238E27FC236}">
                  <a16:creationId xmlns:a16="http://schemas.microsoft.com/office/drawing/2014/main" id="{CE8F9227-C0E8-194A-B477-E2F9C80C6DC7}"/>
                </a:ext>
              </a:extLst>
            </p:cNvPr>
            <p:cNvCxnSpPr>
              <a:cxnSpLocks/>
            </p:cNvCxnSpPr>
            <p:nvPr/>
          </p:nvCxnSpPr>
          <p:spPr>
            <a:xfrm>
              <a:off x="3600838" y="5089730"/>
              <a:ext cx="0" cy="633995"/>
            </a:xfrm>
            <a:prstGeom prst="straightConnector1">
              <a:avLst/>
            </a:prstGeom>
            <a:noFill/>
            <a:ln w="6345" cap="flat">
              <a:solidFill>
                <a:schemeClr val="tx1"/>
              </a:solidFill>
              <a:prstDash val="solid"/>
              <a:miter/>
            </a:ln>
          </p:spPr>
        </p:cxnSp>
        <p:cxnSp>
          <p:nvCxnSpPr>
            <p:cNvPr id="127" name="Straight Connector 12">
              <a:extLst>
                <a:ext uri="{FF2B5EF4-FFF2-40B4-BE49-F238E27FC236}">
                  <a16:creationId xmlns:a16="http://schemas.microsoft.com/office/drawing/2014/main" id="{2959BD65-AB41-8340-BEB0-27F66AF33834}"/>
                </a:ext>
              </a:extLst>
            </p:cNvPr>
            <p:cNvCxnSpPr>
              <a:cxnSpLocks/>
            </p:cNvCxnSpPr>
            <p:nvPr/>
          </p:nvCxnSpPr>
          <p:spPr>
            <a:xfrm>
              <a:off x="2934632" y="5089730"/>
              <a:ext cx="0" cy="633995"/>
            </a:xfrm>
            <a:prstGeom prst="straightConnector1">
              <a:avLst/>
            </a:prstGeom>
            <a:noFill/>
            <a:ln w="6345" cap="flat">
              <a:solidFill>
                <a:schemeClr val="tx1"/>
              </a:solidFill>
              <a:prstDash val="solid"/>
              <a:miter/>
            </a:ln>
          </p:spPr>
        </p:cxnSp>
        <p:sp>
          <p:nvSpPr>
            <p:cNvPr id="153" name="Arrow: Pentagon 16">
              <a:extLst>
                <a:ext uri="{FF2B5EF4-FFF2-40B4-BE49-F238E27FC236}">
                  <a16:creationId xmlns:a16="http://schemas.microsoft.com/office/drawing/2014/main" id="{FE6CA683-4C5C-466F-B921-50176881737B}"/>
                </a:ext>
              </a:extLst>
            </p:cNvPr>
            <p:cNvSpPr/>
            <p:nvPr/>
          </p:nvSpPr>
          <p:spPr>
            <a:xfrm>
              <a:off x="2363502" y="5607827"/>
              <a:ext cx="1880070" cy="231797"/>
            </a:xfrm>
            <a:custGeom>
              <a:avLst/>
              <a:gdLst>
                <a:gd name="f0" fmla="val 10800000"/>
                <a:gd name="f1" fmla="val 5400000"/>
                <a:gd name="f2" fmla="val 180"/>
                <a:gd name="f3" fmla="val w"/>
                <a:gd name="f4" fmla="val h"/>
                <a:gd name="f5" fmla="val ss"/>
                <a:gd name="f6" fmla="val 0"/>
                <a:gd name="f7" fmla="val 50000"/>
                <a:gd name="f8" fmla="+- 0 0 -360"/>
                <a:gd name="f9" fmla="+- 0 0 -180"/>
                <a:gd name="f10" fmla="abs f3"/>
                <a:gd name="f11" fmla="abs f4"/>
                <a:gd name="f12" fmla="abs f5"/>
                <a:gd name="f13" fmla="*/ f8 f0 1"/>
                <a:gd name="f14" fmla="*/ f9 f0 1"/>
                <a:gd name="f15" fmla="?: f10 f3 1"/>
                <a:gd name="f16" fmla="?: f11 f4 1"/>
                <a:gd name="f17" fmla="?: f12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30 0 f6"/>
                <a:gd name="f33" fmla="+- f29 0 f6"/>
                <a:gd name="f34" fmla="*/ f30 f26 1"/>
                <a:gd name="f35" fmla="*/ f29 f26 1"/>
                <a:gd name="f36" fmla="*/ f32 1 2"/>
                <a:gd name="f37" fmla="min f33 f32"/>
                <a:gd name="f38" fmla="+- f6 f36 0"/>
                <a:gd name="f39" fmla="*/ f37 f7 1"/>
                <a:gd name="f40" fmla="*/ f39 1 100000"/>
                <a:gd name="f41" fmla="*/ f38 f26 1"/>
                <a:gd name="f42" fmla="+- f29 0 f40"/>
                <a:gd name="f43" fmla="+- f42 f29 0"/>
                <a:gd name="f44" fmla="*/ f42 1 2"/>
                <a:gd name="f45" fmla="*/ f42 f26 1"/>
                <a:gd name="f46" fmla="*/ f43 1 2"/>
                <a:gd name="f47" fmla="*/ f44 f26 1"/>
                <a:gd name="f48" fmla="*/ f46 f26 1"/>
              </a:gdLst>
              <a:ahLst/>
              <a:cxnLst>
                <a:cxn ang="3cd4">
                  <a:pos x="hc" y="t"/>
                </a:cxn>
                <a:cxn ang="0">
                  <a:pos x="r" y="vc"/>
                </a:cxn>
                <a:cxn ang="cd4">
                  <a:pos x="hc" y="b"/>
                </a:cxn>
                <a:cxn ang="cd2">
                  <a:pos x="l" y="vc"/>
                </a:cxn>
                <a:cxn ang="f24">
                  <a:pos x="f47" y="f31"/>
                </a:cxn>
                <a:cxn ang="f25">
                  <a:pos x="f47" y="f34"/>
                </a:cxn>
              </a:cxnLst>
              <a:rect l="f31" t="f31" r="f48" b="f34"/>
              <a:pathLst>
                <a:path>
                  <a:moveTo>
                    <a:pt x="f31" y="f31"/>
                  </a:moveTo>
                  <a:lnTo>
                    <a:pt x="f45" y="f31"/>
                  </a:lnTo>
                  <a:lnTo>
                    <a:pt x="f35" y="f41"/>
                  </a:lnTo>
                  <a:lnTo>
                    <a:pt x="f45" y="f34"/>
                  </a:lnTo>
                  <a:lnTo>
                    <a:pt x="f31" y="f34"/>
                  </a:lnTo>
                  <a:close/>
                </a:path>
              </a:pathLst>
            </a:custGeom>
            <a:solidFill>
              <a:schemeClr val="accent1"/>
            </a:solidFill>
            <a:ln cap="flat">
              <a:noFill/>
              <a:prstDash val="solid"/>
            </a:ln>
          </p:spPr>
          <p:txBody>
            <a:bodyPr vert="horz" wrap="square" lIns="71999" tIns="35999" rIns="73152" bIns="36576" anchor="t" anchorCtr="0" compatLnSpc="1">
              <a:noAutofit/>
            </a:bodyPr>
            <a:lstStyle/>
            <a:p>
              <a:pPr marL="357192" marR="0" lvl="0" indent="-357192" algn="l" defTabSz="914400" rtl="0" eaLnBrk="1" fontAlgn="auto" latinLnBrk="0" hangingPunct="1">
                <a:lnSpc>
                  <a:spcPct val="100000"/>
                </a:lnSpc>
                <a:spcBef>
                  <a:spcPts val="300"/>
                </a:spcBef>
                <a:spcAft>
                  <a:spcPts val="0"/>
                </a:spcAft>
                <a:buClrTx/>
                <a:buSzPct val="100000"/>
                <a:buFont typeface="Ericsson Hilda" pitchFamily="2"/>
                <a:buChar char="—"/>
                <a:tabLst/>
                <a:defRPr sz="1800" b="0" i="0" u="none" strike="noStrike" kern="0" cap="none" spc="0" baseline="0">
                  <a:solidFill>
                    <a:srgbClr val="000000"/>
                  </a:solidFill>
                  <a:uFillTx/>
                </a:defRPr>
              </a:pPr>
              <a:endParaRPr kumimoji="0" lang="sv-SE" sz="1100" b="0" i="0" u="none" strike="noStrike" kern="1200" cap="none" spc="0" normalizeH="0" baseline="0" noProof="0">
                <a:ln>
                  <a:noFill/>
                </a:ln>
                <a:solidFill>
                  <a:srgbClr val="FFFFFF"/>
                </a:solidFill>
                <a:effectLst/>
                <a:uLnTx/>
                <a:uFillTx/>
                <a:latin typeface="Calibri"/>
                <a:ea typeface="+mn-ea"/>
                <a:cs typeface="+mn-cs"/>
              </a:endParaRPr>
            </a:p>
          </p:txBody>
        </p:sp>
        <p:sp>
          <p:nvSpPr>
            <p:cNvPr id="161" name="TextBox 19">
              <a:extLst>
                <a:ext uri="{FF2B5EF4-FFF2-40B4-BE49-F238E27FC236}">
                  <a16:creationId xmlns:a16="http://schemas.microsoft.com/office/drawing/2014/main" id="{A7A205D0-2A40-42F8-9BE0-89B1A59E05B2}"/>
                </a:ext>
              </a:extLst>
            </p:cNvPr>
            <p:cNvSpPr txBox="1"/>
            <p:nvPr/>
          </p:nvSpPr>
          <p:spPr>
            <a:xfrm>
              <a:off x="2588708" y="5586653"/>
              <a:ext cx="1606003"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sv-SE" sz="1200" b="0" i="0" u="none" strike="noStrike" kern="1200" cap="none" spc="0" normalizeH="0" baseline="0" noProof="0">
                  <a:ln>
                    <a:noFill/>
                  </a:ln>
                  <a:solidFill>
                    <a:srgbClr val="FFFFFF"/>
                  </a:solidFill>
                  <a:effectLst/>
                  <a:uLnTx/>
                  <a:uFillTx/>
                  <a:latin typeface="Ericsson Hilda" pitchFamily="2" charset="0"/>
                  <a:ea typeface="+mn-ea"/>
                  <a:cs typeface="+mn-cs"/>
                </a:rPr>
                <a:t>5G NR URLLC</a:t>
              </a:r>
            </a:p>
          </p:txBody>
        </p:sp>
        <p:sp>
          <p:nvSpPr>
            <p:cNvPr id="166" name="TextBox 24">
              <a:extLst>
                <a:ext uri="{FF2B5EF4-FFF2-40B4-BE49-F238E27FC236}">
                  <a16:creationId xmlns:a16="http://schemas.microsoft.com/office/drawing/2014/main" id="{0C02EA82-F61C-4DDA-A297-648239160B9F}"/>
                </a:ext>
              </a:extLst>
            </p:cNvPr>
            <p:cNvSpPr txBox="1"/>
            <p:nvPr/>
          </p:nvSpPr>
          <p:spPr>
            <a:xfrm>
              <a:off x="2426837" y="5186558"/>
              <a:ext cx="525051" cy="430887"/>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sv-SE" sz="1100" b="0" i="0" u="none" strike="noStrike" kern="1200" cap="none" spc="0" normalizeH="0" baseline="0" noProof="0">
                  <a:ln>
                    <a:noFill/>
                  </a:ln>
                  <a:solidFill>
                    <a:srgbClr val="000000"/>
                  </a:solidFill>
                  <a:effectLst/>
                  <a:uLnTx/>
                  <a:uFillTx/>
                  <a:latin typeface="Ericsson Hilda" pitchFamily="2" charset="0"/>
                  <a:ea typeface="+mn-ea"/>
                  <a:cs typeface="+mn-cs"/>
                </a:rPr>
                <a:t>Rel-15</a:t>
              </a:r>
            </a:p>
          </p:txBody>
        </p:sp>
        <p:sp>
          <p:nvSpPr>
            <p:cNvPr id="167" name="TextBox 25">
              <a:extLst>
                <a:ext uri="{FF2B5EF4-FFF2-40B4-BE49-F238E27FC236}">
                  <a16:creationId xmlns:a16="http://schemas.microsoft.com/office/drawing/2014/main" id="{54726EB3-749B-4056-A698-B4315F67D35E}"/>
                </a:ext>
              </a:extLst>
            </p:cNvPr>
            <p:cNvSpPr txBox="1"/>
            <p:nvPr/>
          </p:nvSpPr>
          <p:spPr>
            <a:xfrm>
              <a:off x="3055990" y="5185755"/>
              <a:ext cx="525051" cy="430887"/>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sv-SE" sz="1100" b="0" i="0" u="none" strike="noStrike" kern="1200" cap="none" spc="0" normalizeH="0" baseline="0" noProof="0">
                  <a:ln>
                    <a:noFill/>
                  </a:ln>
                  <a:solidFill>
                    <a:srgbClr val="000000"/>
                  </a:solidFill>
                  <a:effectLst/>
                  <a:uLnTx/>
                  <a:uFillTx/>
                  <a:latin typeface="Ericsson Hilda" pitchFamily="2" charset="0"/>
                  <a:ea typeface="+mn-ea"/>
                  <a:cs typeface="+mn-cs"/>
                </a:rPr>
                <a:t>Rel-16</a:t>
              </a:r>
            </a:p>
          </p:txBody>
        </p:sp>
        <p:sp>
          <p:nvSpPr>
            <p:cNvPr id="168" name="TextBox 26">
              <a:extLst>
                <a:ext uri="{FF2B5EF4-FFF2-40B4-BE49-F238E27FC236}">
                  <a16:creationId xmlns:a16="http://schemas.microsoft.com/office/drawing/2014/main" id="{7D7E52F5-9E13-4AEF-A7DA-7A3E1C6FA723}"/>
                </a:ext>
              </a:extLst>
            </p:cNvPr>
            <p:cNvSpPr txBox="1"/>
            <p:nvPr/>
          </p:nvSpPr>
          <p:spPr>
            <a:xfrm>
              <a:off x="3670713" y="5175330"/>
              <a:ext cx="525051" cy="430887"/>
            </a:xfrm>
            <a:prstGeom prst="rect">
              <a:avLst/>
            </a:prstGeom>
            <a:noFill/>
            <a:ln cap="flat">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sv-SE" sz="1100" b="0" i="0" u="none" strike="noStrike" kern="1200" cap="none" spc="0" normalizeH="0" baseline="0" noProof="0">
                  <a:ln>
                    <a:noFill/>
                  </a:ln>
                  <a:solidFill>
                    <a:srgbClr val="000000"/>
                  </a:solidFill>
                  <a:effectLst/>
                  <a:uLnTx/>
                  <a:uFillTx/>
                  <a:latin typeface="Ericsson Hilda" pitchFamily="2" charset="0"/>
                  <a:ea typeface="+mn-ea"/>
                  <a:cs typeface="+mn-cs"/>
                </a:rPr>
                <a:t>Rel-17</a:t>
              </a:r>
            </a:p>
          </p:txBody>
        </p:sp>
        <p:pic>
          <p:nvPicPr>
            <p:cNvPr id="177" name="Picture 4" descr="Image result for 3GPP logo">
              <a:extLst>
                <a:ext uri="{FF2B5EF4-FFF2-40B4-BE49-F238E27FC236}">
                  <a16:creationId xmlns:a16="http://schemas.microsoft.com/office/drawing/2014/main" id="{26E944F8-AE7F-4A0B-B978-F748A139CA7D}"/>
                </a:ext>
              </a:extLst>
            </p:cNvPr>
            <p:cNvPicPr>
              <a:picLocks noChangeAspect="1"/>
            </p:cNvPicPr>
            <p:nvPr/>
          </p:nvPicPr>
          <p:blipFill>
            <a:blip r:embed="rId3"/>
            <a:srcRect/>
            <a:stretch>
              <a:fillRect/>
            </a:stretch>
          </p:blipFill>
          <p:spPr>
            <a:xfrm>
              <a:off x="2814443" y="4359794"/>
              <a:ext cx="1071606" cy="628476"/>
            </a:xfrm>
            <a:prstGeom prst="rect">
              <a:avLst/>
            </a:prstGeom>
            <a:noFill/>
            <a:ln cap="flat">
              <a:noFill/>
            </a:ln>
          </p:spPr>
        </p:pic>
      </p:grpSp>
      <p:sp>
        <p:nvSpPr>
          <p:cNvPr id="181" name="TextBox 180">
            <a:extLst>
              <a:ext uri="{FF2B5EF4-FFF2-40B4-BE49-F238E27FC236}">
                <a16:creationId xmlns:a16="http://schemas.microsoft.com/office/drawing/2014/main" id="{65E2E1E2-17DD-41E8-894B-0196923B6834}"/>
              </a:ext>
            </a:extLst>
          </p:cNvPr>
          <p:cNvSpPr txBox="1"/>
          <p:nvPr/>
        </p:nvSpPr>
        <p:spPr bwMode="auto">
          <a:xfrm>
            <a:off x="7052939" y="1667703"/>
            <a:ext cx="2715535" cy="296069"/>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600" b="0" i="0" u="none" strike="noStrike" kern="1000" cap="none" spc="-30" normalizeH="0" baseline="0" noProof="0">
                <a:ln>
                  <a:noFill/>
                </a:ln>
                <a:solidFill>
                  <a:srgbClr val="181818"/>
                </a:solidFill>
                <a:effectLst/>
                <a:uLnTx/>
                <a:uFillTx/>
                <a:latin typeface="Ericsson Hilda"/>
                <a:ea typeface="+mn-ea"/>
                <a:cs typeface="+mn-cs"/>
              </a:rPr>
              <a:t>URLLC (example)</a:t>
            </a:r>
          </a:p>
        </p:txBody>
      </p:sp>
      <p:sp>
        <p:nvSpPr>
          <p:cNvPr id="42" name="TextBox 41">
            <a:extLst>
              <a:ext uri="{FF2B5EF4-FFF2-40B4-BE49-F238E27FC236}">
                <a16:creationId xmlns:a16="http://schemas.microsoft.com/office/drawing/2014/main" id="{DADAE281-2F7F-4B19-9AEC-D26668D1B59F}"/>
              </a:ext>
            </a:extLst>
          </p:cNvPr>
          <p:cNvSpPr txBox="1"/>
          <p:nvPr/>
        </p:nvSpPr>
        <p:spPr bwMode="auto">
          <a:xfrm>
            <a:off x="2187055" y="1312209"/>
            <a:ext cx="8638495" cy="425502"/>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2000" b="0" i="0" u="none" strike="noStrike" kern="1000" cap="none" spc="-30" normalizeH="0" baseline="0" noProof="0">
                <a:ln>
                  <a:noFill/>
                </a:ln>
                <a:solidFill>
                  <a:srgbClr val="181818"/>
                </a:solidFill>
                <a:effectLst/>
                <a:uLnTx/>
                <a:uFillTx/>
                <a:latin typeface="Ericsson Hilda Light"/>
                <a:ea typeface="+mn-ea"/>
                <a:cs typeface="+mn-cs"/>
              </a:rPr>
              <a:t>Data delivery within specific latency bounds with required guarantee levels*</a:t>
            </a:r>
          </a:p>
        </p:txBody>
      </p:sp>
      <p:sp>
        <p:nvSpPr>
          <p:cNvPr id="83" name="TextBox 82">
            <a:extLst>
              <a:ext uri="{FF2B5EF4-FFF2-40B4-BE49-F238E27FC236}">
                <a16:creationId xmlns:a16="http://schemas.microsoft.com/office/drawing/2014/main" id="{9DECF646-8958-479A-94F7-3B650A5EE43F}"/>
              </a:ext>
            </a:extLst>
          </p:cNvPr>
          <p:cNvSpPr txBox="1"/>
          <p:nvPr/>
        </p:nvSpPr>
        <p:spPr bwMode="auto">
          <a:xfrm>
            <a:off x="7715742" y="3453783"/>
            <a:ext cx="694965" cy="182009"/>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050" b="0" i="0" u="none" strike="noStrike" kern="1000" cap="none" spc="-30" normalizeH="0" baseline="0" noProof="0">
                <a:ln>
                  <a:noFill/>
                </a:ln>
                <a:solidFill>
                  <a:srgbClr val="181818"/>
                </a:solidFill>
                <a:effectLst/>
                <a:uLnTx/>
                <a:uFillTx/>
                <a:latin typeface="Ericsson Hilda"/>
                <a:ea typeface="+mn-ea"/>
                <a:cs typeface="+mn-cs"/>
              </a:rPr>
              <a:t>30ms</a:t>
            </a:r>
            <a:endParaRPr kumimoji="0" lang="en-US" sz="1100" b="0" i="0" u="none" strike="noStrike" kern="1000" cap="none" spc="-30" normalizeH="0" baseline="0" noProof="0">
              <a:ln>
                <a:noFill/>
              </a:ln>
              <a:solidFill>
                <a:srgbClr val="181818"/>
              </a:solidFill>
              <a:effectLst/>
              <a:uLnTx/>
              <a:uFillTx/>
              <a:latin typeface="Ericsson Hilda"/>
              <a:ea typeface="+mn-ea"/>
              <a:cs typeface="+mn-cs"/>
            </a:endParaRPr>
          </a:p>
        </p:txBody>
      </p:sp>
      <p:sp>
        <p:nvSpPr>
          <p:cNvPr id="85" name="TextBox 84">
            <a:extLst>
              <a:ext uri="{FF2B5EF4-FFF2-40B4-BE49-F238E27FC236}">
                <a16:creationId xmlns:a16="http://schemas.microsoft.com/office/drawing/2014/main" id="{EF7EC94C-A15A-4C8A-BE53-241511EB8130}"/>
              </a:ext>
            </a:extLst>
          </p:cNvPr>
          <p:cNvSpPr txBox="1"/>
          <p:nvPr/>
        </p:nvSpPr>
        <p:spPr bwMode="auto">
          <a:xfrm>
            <a:off x="5159984" y="2410936"/>
            <a:ext cx="1515663" cy="503869"/>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300"/>
              </a:spcBef>
              <a:spcAft>
                <a:spcPct val="0"/>
              </a:spcAft>
              <a:buClr>
                <a:srgbClr val="181818"/>
              </a:buClr>
              <a:buSzTx/>
              <a:buFont typeface="Ericsson Hilda" panose="00000500000000000000" pitchFamily="2" charset="0"/>
              <a:buNone/>
              <a:tabLst/>
              <a:defRPr/>
            </a:pPr>
            <a:r>
              <a:rPr kumimoji="0" lang="en-US" sz="1200" b="0" i="0" u="none" strike="noStrike" kern="1000" cap="none" spc="-30" normalizeH="0" baseline="0" noProof="0">
                <a:ln>
                  <a:noFill/>
                </a:ln>
                <a:solidFill>
                  <a:srgbClr val="181818"/>
                </a:solidFill>
                <a:effectLst/>
                <a:uLnTx/>
                <a:uFillTx/>
                <a:latin typeface="Ericsson Hilda"/>
                <a:ea typeface="+mn-ea"/>
                <a:cs typeface="+mn-cs"/>
              </a:rPr>
              <a:t>From best effort to bounded latency</a:t>
            </a:r>
          </a:p>
        </p:txBody>
      </p:sp>
      <p:cxnSp>
        <p:nvCxnSpPr>
          <p:cNvPr id="39" name="Rak pil 38">
            <a:extLst>
              <a:ext uri="{FF2B5EF4-FFF2-40B4-BE49-F238E27FC236}">
                <a16:creationId xmlns:a16="http://schemas.microsoft.com/office/drawing/2014/main" id="{980C74C9-F136-C745-A6B0-0FC392CF12E6}"/>
              </a:ext>
            </a:extLst>
          </p:cNvPr>
          <p:cNvCxnSpPr>
            <a:cxnSpLocks/>
          </p:cNvCxnSpPr>
          <p:nvPr/>
        </p:nvCxnSpPr>
        <p:spPr bwMode="auto">
          <a:xfrm>
            <a:off x="5625713" y="3033378"/>
            <a:ext cx="76030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4" name="Rak pil 133">
            <a:extLst>
              <a:ext uri="{FF2B5EF4-FFF2-40B4-BE49-F238E27FC236}">
                <a16:creationId xmlns:a16="http://schemas.microsoft.com/office/drawing/2014/main" id="{E2AB6B60-0A1D-CA44-9139-7EAF14C76C6F}"/>
              </a:ext>
            </a:extLst>
          </p:cNvPr>
          <p:cNvCxnSpPr>
            <a:cxnSpLocks/>
          </p:cNvCxnSpPr>
          <p:nvPr/>
        </p:nvCxnSpPr>
        <p:spPr bwMode="auto">
          <a:xfrm>
            <a:off x="4700066" y="5450192"/>
            <a:ext cx="498246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grpSp>
        <p:nvGrpSpPr>
          <p:cNvPr id="87" name="Grupp 86">
            <a:extLst>
              <a:ext uri="{FF2B5EF4-FFF2-40B4-BE49-F238E27FC236}">
                <a16:creationId xmlns:a16="http://schemas.microsoft.com/office/drawing/2014/main" id="{A9F5E814-42F1-D944-84FF-5C5FCB0BA2DD}"/>
              </a:ext>
            </a:extLst>
          </p:cNvPr>
          <p:cNvGrpSpPr/>
          <p:nvPr/>
        </p:nvGrpSpPr>
        <p:grpSpPr>
          <a:xfrm>
            <a:off x="10353814" y="3920303"/>
            <a:ext cx="1271282" cy="388843"/>
            <a:chOff x="10343250" y="4336322"/>
            <a:chExt cx="1271282" cy="388843"/>
          </a:xfrm>
        </p:grpSpPr>
        <p:sp>
          <p:nvSpPr>
            <p:cNvPr id="117" name="TextBox 116">
              <a:extLst>
                <a:ext uri="{FF2B5EF4-FFF2-40B4-BE49-F238E27FC236}">
                  <a16:creationId xmlns:a16="http://schemas.microsoft.com/office/drawing/2014/main" id="{EBE688A0-F4B2-48BC-9703-ED8252E28394}"/>
                </a:ext>
              </a:extLst>
            </p:cNvPr>
            <p:cNvSpPr txBox="1"/>
            <p:nvPr/>
          </p:nvSpPr>
          <p:spPr bwMode="auto">
            <a:xfrm>
              <a:off x="10513046" y="4336322"/>
              <a:ext cx="1101486" cy="19593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050" b="0" i="0" u="none" strike="noStrike" kern="1200" cap="none" spc="0" normalizeH="0" baseline="0" noProof="0">
                  <a:ln>
                    <a:noFill/>
                  </a:ln>
                  <a:solidFill>
                    <a:srgbClr val="181818"/>
                  </a:solidFill>
                  <a:effectLst/>
                  <a:uLnTx/>
                  <a:uFillTx/>
                  <a:latin typeface="Ericsson Hilda"/>
                  <a:ea typeface="+mn-ea"/>
                  <a:cs typeface="+mn-cs"/>
                </a:rPr>
                <a:t>Rel-15 eval.</a:t>
              </a:r>
            </a:p>
          </p:txBody>
        </p:sp>
        <p:sp>
          <p:nvSpPr>
            <p:cNvPr id="122" name="Oval 121">
              <a:extLst>
                <a:ext uri="{FF2B5EF4-FFF2-40B4-BE49-F238E27FC236}">
                  <a16:creationId xmlns:a16="http://schemas.microsoft.com/office/drawing/2014/main" id="{DD50B83C-F3D3-4303-B699-927D1EEA6DBE}"/>
                </a:ext>
              </a:extLst>
            </p:cNvPr>
            <p:cNvSpPr/>
            <p:nvPr/>
          </p:nvSpPr>
          <p:spPr bwMode="auto">
            <a:xfrm>
              <a:off x="10343250" y="4591783"/>
              <a:ext cx="129600" cy="128417"/>
            </a:xfrm>
            <a:prstGeom prst="ellipse">
              <a:avLst/>
            </a:prstGeom>
            <a:solidFill>
              <a:srgbClr val="00B050"/>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sv-SE" sz="105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24" name="Oval 123">
              <a:extLst>
                <a:ext uri="{FF2B5EF4-FFF2-40B4-BE49-F238E27FC236}">
                  <a16:creationId xmlns:a16="http://schemas.microsoft.com/office/drawing/2014/main" id="{5B09F0C7-FD87-4953-B4CA-3D988F57E0E2}"/>
                </a:ext>
              </a:extLst>
            </p:cNvPr>
            <p:cNvSpPr/>
            <p:nvPr/>
          </p:nvSpPr>
          <p:spPr bwMode="auto">
            <a:xfrm>
              <a:off x="10343450" y="4375848"/>
              <a:ext cx="129600" cy="128417"/>
            </a:xfrm>
            <a:prstGeom prst="ellipse">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sv-SE" sz="105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38" name="TextBox 116">
              <a:extLst>
                <a:ext uri="{FF2B5EF4-FFF2-40B4-BE49-F238E27FC236}">
                  <a16:creationId xmlns:a16="http://schemas.microsoft.com/office/drawing/2014/main" id="{22B6ED0F-FEF2-614C-BDBB-3FFFDBC4BA5A}"/>
                </a:ext>
              </a:extLst>
            </p:cNvPr>
            <p:cNvSpPr txBox="1"/>
            <p:nvPr/>
          </p:nvSpPr>
          <p:spPr bwMode="auto">
            <a:xfrm>
              <a:off x="10513046" y="4529228"/>
              <a:ext cx="1101486" cy="19593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050" b="0" i="0" u="none" strike="noStrike" kern="1200" cap="none" spc="0" normalizeH="0" baseline="0" noProof="0">
                  <a:ln>
                    <a:noFill/>
                  </a:ln>
                  <a:solidFill>
                    <a:srgbClr val="181818"/>
                  </a:solidFill>
                  <a:effectLst/>
                  <a:uLnTx/>
                  <a:uFillTx/>
                  <a:latin typeface="Ericsson Hilda"/>
                  <a:ea typeface="+mn-ea"/>
                  <a:cs typeface="+mn-cs"/>
                </a:rPr>
                <a:t>Rel-16 </a:t>
              </a:r>
              <a:r>
                <a:rPr kumimoji="0" lang="sv-SE" sz="1050" b="0" i="0" u="none" strike="noStrike" kern="1200" cap="none" spc="0" normalizeH="0" baseline="0" noProof="0" err="1">
                  <a:ln>
                    <a:noFill/>
                  </a:ln>
                  <a:solidFill>
                    <a:srgbClr val="181818"/>
                  </a:solidFill>
                  <a:effectLst/>
                  <a:uLnTx/>
                  <a:uFillTx/>
                  <a:latin typeface="Ericsson Hilda"/>
                  <a:ea typeface="+mn-ea"/>
                  <a:cs typeface="+mn-cs"/>
                </a:rPr>
                <a:t>eval</a:t>
              </a:r>
              <a:r>
                <a:rPr kumimoji="0" lang="sv-SE" sz="1050" b="0" i="0" u="none" strike="noStrike" kern="1200" cap="none" spc="0" normalizeH="0" baseline="0" noProof="0">
                  <a:ln>
                    <a:noFill/>
                  </a:ln>
                  <a:solidFill>
                    <a:srgbClr val="181818"/>
                  </a:solidFill>
                  <a:effectLst/>
                  <a:uLnTx/>
                  <a:uFillTx/>
                  <a:latin typeface="Ericsson Hilda"/>
                  <a:ea typeface="+mn-ea"/>
                  <a:cs typeface="+mn-cs"/>
                </a:rPr>
                <a:t>.</a:t>
              </a:r>
            </a:p>
          </p:txBody>
        </p:sp>
      </p:grpSp>
      <p:sp>
        <p:nvSpPr>
          <p:cNvPr id="4" name="TextBox 3">
            <a:extLst>
              <a:ext uri="{FF2B5EF4-FFF2-40B4-BE49-F238E27FC236}">
                <a16:creationId xmlns:a16="http://schemas.microsoft.com/office/drawing/2014/main" id="{AF4DE00F-1709-46FE-9317-E375F8276C50}"/>
              </a:ext>
            </a:extLst>
          </p:cNvPr>
          <p:cNvSpPr txBox="1"/>
          <p:nvPr/>
        </p:nvSpPr>
        <p:spPr bwMode="auto">
          <a:xfrm>
            <a:off x="3979495" y="6342374"/>
            <a:ext cx="8721742" cy="237904"/>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indent="0" algn="l">
              <a:buClr>
                <a:schemeClr val="tx1"/>
              </a:buClr>
              <a:buNone/>
            </a:pPr>
            <a:r>
              <a:rPr lang="en-US" sz="1200"/>
              <a:t>*Reliability: The probability of delivering a message within a specified time duration. [3GPP]</a:t>
            </a:r>
          </a:p>
        </p:txBody>
      </p:sp>
      <p:sp>
        <p:nvSpPr>
          <p:cNvPr id="66" name="Rectangle 65">
            <a:extLst>
              <a:ext uri="{FF2B5EF4-FFF2-40B4-BE49-F238E27FC236}">
                <a16:creationId xmlns:a16="http://schemas.microsoft.com/office/drawing/2014/main" id="{A4BCC22D-07F4-4359-85AE-591B62F24043}"/>
              </a:ext>
            </a:extLst>
          </p:cNvPr>
          <p:cNvSpPr/>
          <p:nvPr/>
        </p:nvSpPr>
        <p:spPr bwMode="auto">
          <a:xfrm>
            <a:off x="501643" y="5901454"/>
            <a:ext cx="11222367" cy="439046"/>
          </a:xfrm>
          <a:prstGeom prst="rect">
            <a:avLst/>
          </a:prstGeom>
          <a:solidFill>
            <a:srgbClr val="002060"/>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indent="0" algn="l">
              <a:buNone/>
            </a:pPr>
            <a:endParaRPr lang="en-US">
              <a:solidFill>
                <a:schemeClr val="bg1"/>
              </a:solidFill>
            </a:endParaRPr>
          </a:p>
        </p:txBody>
      </p:sp>
      <p:sp>
        <p:nvSpPr>
          <p:cNvPr id="5" name="TextBox 4">
            <a:extLst>
              <a:ext uri="{FF2B5EF4-FFF2-40B4-BE49-F238E27FC236}">
                <a16:creationId xmlns:a16="http://schemas.microsoft.com/office/drawing/2014/main" id="{4CC69770-F417-4155-A48C-F636BC18D4B5}"/>
              </a:ext>
            </a:extLst>
          </p:cNvPr>
          <p:cNvSpPr txBox="1"/>
          <p:nvPr/>
        </p:nvSpPr>
        <p:spPr>
          <a:xfrm>
            <a:off x="575476" y="5995028"/>
            <a:ext cx="11375385" cy="256885"/>
          </a:xfrm>
          <a:prstGeom prst="rect">
            <a:avLst/>
          </a:prstGeom>
        </p:spPr>
        <p:txBody>
          <a:bodyPr vert="horz" wrap="square" lIns="72000" tIns="36000" rIns="72000" bIns="36000" rtlCol="0" anchor="t">
            <a:noAutofit/>
          </a:bodyPr>
          <a:lstStyle/>
          <a:p>
            <a:pPr marL="0" indent="0">
              <a:buNone/>
            </a:pPr>
            <a:r>
              <a:rPr lang="en-US" sz="1100" b="1">
                <a:solidFill>
                  <a:schemeClr val="bg1"/>
                </a:solidFill>
              </a:rPr>
              <a:t>NR was standardized for MBB &amp; URLLC from day one. Some URLLC features were specified in a URLLC work item but URLLC is not limited to the URLLC WI-specified features. </a:t>
            </a:r>
          </a:p>
        </p:txBody>
      </p:sp>
    </p:spTree>
    <p:extLst>
      <p:ext uri="{BB962C8B-B14F-4D97-AF65-F5344CB8AC3E}">
        <p14:creationId xmlns:p14="http://schemas.microsoft.com/office/powerpoint/2010/main" val="31691443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C1E33-C46B-42B4-9FE9-164F3F799E2D}"/>
              </a:ext>
            </a:extLst>
          </p:cNvPr>
          <p:cNvSpPr>
            <a:spLocks noGrp="1"/>
          </p:cNvSpPr>
          <p:nvPr>
            <p:ph type="title"/>
          </p:nvPr>
        </p:nvSpPr>
        <p:spPr/>
        <p:txBody>
          <a:bodyPr/>
          <a:lstStyle/>
          <a:p>
            <a:r>
              <a:rPr lang="sv-SE"/>
              <a:t>IoT – 5G LAN, NPN and URLLC</a:t>
            </a:r>
            <a:br>
              <a:rPr lang="sv-SE" sz="2800"/>
            </a:br>
            <a:r>
              <a:rPr lang="sv-SE" sz="2800"/>
              <a:t>GBR QoS flows for Critical IoT </a:t>
            </a:r>
            <a:endParaRPr lang="en-US" sz="2800"/>
          </a:p>
        </p:txBody>
      </p:sp>
      <p:sp>
        <p:nvSpPr>
          <p:cNvPr id="3" name="Content Placeholder 2">
            <a:extLst>
              <a:ext uri="{FF2B5EF4-FFF2-40B4-BE49-F238E27FC236}">
                <a16:creationId xmlns:a16="http://schemas.microsoft.com/office/drawing/2014/main" id="{A0037D97-BE88-4745-83B3-8969E197F6D9}"/>
              </a:ext>
            </a:extLst>
          </p:cNvPr>
          <p:cNvSpPr>
            <a:spLocks noGrp="1"/>
          </p:cNvSpPr>
          <p:nvPr>
            <p:ph sz="quarter" idx="10"/>
          </p:nvPr>
        </p:nvSpPr>
        <p:spPr>
          <a:xfrm>
            <a:off x="479425" y="1844675"/>
            <a:ext cx="5739792" cy="4392612"/>
          </a:xfrm>
        </p:spPr>
        <p:txBody>
          <a:bodyPr/>
          <a:lstStyle/>
          <a:p>
            <a:r>
              <a:rPr lang="en-US"/>
              <a:t>Critical IoT flows that need to transmit packets with latency in the order 1ms to 10ms and to support reliability in the order of 10-5   are assigned delay critical GBR QoS flows. </a:t>
            </a:r>
          </a:p>
          <a:p>
            <a:r>
              <a:rPr lang="en-US"/>
              <a:t>These flows are assigned GBR QoS values of e.g. 5QI = 71, 82 or 85</a:t>
            </a:r>
          </a:p>
          <a:p>
            <a:r>
              <a:rPr lang="en-US"/>
              <a:t>The QoS characteristic Maximum Data Burst Volume defines the largest amount of data the 5G RAN is required to transmit within a period of the Packet Delay Budget (PDB). A packet delayed greater than PDB is counted as lost packet. </a:t>
            </a:r>
          </a:p>
        </p:txBody>
      </p:sp>
      <p:pic>
        <p:nvPicPr>
          <p:cNvPr id="4" name="Picture 3">
            <a:extLst>
              <a:ext uri="{FF2B5EF4-FFF2-40B4-BE49-F238E27FC236}">
                <a16:creationId xmlns:a16="http://schemas.microsoft.com/office/drawing/2014/main" id="{4297E2B5-D14D-4BDC-B295-19B189827BC9}"/>
              </a:ext>
            </a:extLst>
          </p:cNvPr>
          <p:cNvPicPr>
            <a:picLocks noChangeAspect="1"/>
          </p:cNvPicPr>
          <p:nvPr/>
        </p:nvPicPr>
        <p:blipFill>
          <a:blip r:embed="rId2"/>
          <a:stretch>
            <a:fillRect/>
          </a:stretch>
        </p:blipFill>
        <p:spPr>
          <a:xfrm>
            <a:off x="7944873" y="881974"/>
            <a:ext cx="3767702" cy="5903286"/>
          </a:xfrm>
          <a:prstGeom prst="rect">
            <a:avLst/>
          </a:prstGeom>
        </p:spPr>
      </p:pic>
    </p:spTree>
    <p:extLst>
      <p:ext uri="{BB962C8B-B14F-4D97-AF65-F5344CB8AC3E}">
        <p14:creationId xmlns:p14="http://schemas.microsoft.com/office/powerpoint/2010/main" val="36060446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899B05D-1B01-4CE6-A45D-510A26C419BA}"/>
              </a:ext>
            </a:extLst>
          </p:cNvPr>
          <p:cNvSpPr/>
          <p:nvPr/>
        </p:nvSpPr>
        <p:spPr bwMode="auto">
          <a:xfrm>
            <a:off x="6048611" y="2525003"/>
            <a:ext cx="5742021" cy="2974460"/>
          </a:xfrm>
          <a:prstGeom prst="rect">
            <a:avLst/>
          </a:prstGeom>
          <a:solidFill>
            <a:srgbClr val="FFFF00"/>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2" name="Title 1">
            <a:extLst>
              <a:ext uri="{FF2B5EF4-FFF2-40B4-BE49-F238E27FC236}">
                <a16:creationId xmlns:a16="http://schemas.microsoft.com/office/drawing/2014/main" id="{402A4059-2C90-4DEF-8BB2-FD79CEFEB17A}"/>
              </a:ext>
            </a:extLst>
          </p:cNvPr>
          <p:cNvSpPr>
            <a:spLocks noGrp="1"/>
          </p:cNvSpPr>
          <p:nvPr>
            <p:ph type="title"/>
          </p:nvPr>
        </p:nvSpPr>
        <p:spPr>
          <a:xfrm>
            <a:off x="479424" y="476250"/>
            <a:ext cx="10260046" cy="1081088"/>
          </a:xfrm>
        </p:spPr>
        <p:txBody>
          <a:bodyPr/>
          <a:lstStyle/>
          <a:p>
            <a:r>
              <a:rPr lang="sv-SE"/>
              <a:t>IoT – 5G LAN, NPN and URLLC</a:t>
            </a:r>
            <a:br>
              <a:rPr lang="en-US" sz="2800"/>
            </a:br>
            <a:r>
              <a:rPr lang="en-US" sz="2800"/>
              <a:t>Rel-16 URLLC Solutions for User Plane redundancy</a:t>
            </a:r>
          </a:p>
        </p:txBody>
      </p:sp>
      <p:sp>
        <p:nvSpPr>
          <p:cNvPr id="3" name="Content Placeholder 2">
            <a:extLst>
              <a:ext uri="{FF2B5EF4-FFF2-40B4-BE49-F238E27FC236}">
                <a16:creationId xmlns:a16="http://schemas.microsoft.com/office/drawing/2014/main" id="{FAC8223F-8EF3-4A0D-92A2-73391DA384E1}"/>
              </a:ext>
            </a:extLst>
          </p:cNvPr>
          <p:cNvSpPr>
            <a:spLocks noGrp="1"/>
          </p:cNvSpPr>
          <p:nvPr>
            <p:ph sz="quarter" idx="4294967295"/>
          </p:nvPr>
        </p:nvSpPr>
        <p:spPr>
          <a:xfrm>
            <a:off x="4755183" y="1456575"/>
            <a:ext cx="6174597" cy="715963"/>
          </a:xfrm>
          <a:ln>
            <a:noFill/>
          </a:ln>
        </p:spPr>
        <p:style>
          <a:lnRef idx="2">
            <a:schemeClr val="dk1"/>
          </a:lnRef>
          <a:fillRef idx="1">
            <a:schemeClr val="lt1"/>
          </a:fillRef>
          <a:effectRef idx="0">
            <a:schemeClr val="dk1"/>
          </a:effectRef>
          <a:fontRef idx="minor">
            <a:schemeClr val="dk1"/>
          </a:fontRef>
        </p:style>
        <p:txBody>
          <a:bodyPr/>
          <a:lstStyle/>
          <a:p>
            <a:pPr marL="0" indent="0">
              <a:buNone/>
            </a:pPr>
            <a:r>
              <a:rPr lang="en-US" sz="1600"/>
              <a:t>Architecture for the two solutions are as shown here. Another solution simply relies on transport network redundancy between RAN and UPF.</a:t>
            </a:r>
          </a:p>
        </p:txBody>
      </p:sp>
      <p:graphicFrame>
        <p:nvGraphicFramePr>
          <p:cNvPr id="6" name="Object 5">
            <a:extLst>
              <a:ext uri="{FF2B5EF4-FFF2-40B4-BE49-F238E27FC236}">
                <a16:creationId xmlns:a16="http://schemas.microsoft.com/office/drawing/2014/main" id="{53A05783-9578-4012-A62B-0793EE74AED1}"/>
              </a:ext>
            </a:extLst>
          </p:cNvPr>
          <p:cNvGraphicFramePr>
            <a:graphicFrameLocks noChangeAspect="1"/>
          </p:cNvGraphicFramePr>
          <p:nvPr/>
        </p:nvGraphicFramePr>
        <p:xfrm>
          <a:off x="745190" y="2586066"/>
          <a:ext cx="3636754" cy="2397780"/>
        </p:xfrm>
        <a:graphic>
          <a:graphicData uri="http://schemas.openxmlformats.org/presentationml/2006/ole">
            <mc:AlternateContent xmlns:mc="http://schemas.openxmlformats.org/markup-compatibility/2006">
              <mc:Choice xmlns:v="urn:schemas-microsoft-com:vml" Requires="v">
                <p:oleObj spid="_x0000_s8200" name="Picture" r:id="rId4" imgW="3159989" imgH="2073347" progId="Word.Picture.8">
                  <p:embed/>
                </p:oleObj>
              </mc:Choice>
              <mc:Fallback>
                <p:oleObj name="Picture" r:id="rId4" imgW="3159989" imgH="2073347" progId="Word.Picture.8">
                  <p:embed/>
                  <p:pic>
                    <p:nvPicPr>
                      <p:cNvPr id="6" name="Object 5">
                        <a:extLst>
                          <a:ext uri="{FF2B5EF4-FFF2-40B4-BE49-F238E27FC236}">
                            <a16:creationId xmlns:a16="http://schemas.microsoft.com/office/drawing/2014/main" id="{53A05783-9578-4012-A62B-0793EE74AE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5190" y="2586066"/>
                        <a:ext cx="3636754" cy="2397780"/>
                      </a:xfrm>
                      <a:prstGeom prst="rect">
                        <a:avLst/>
                      </a:prstGeom>
                      <a:solidFill>
                        <a:schemeClr val="accent1">
                          <a:lumMod val="40000"/>
                          <a:lumOff val="60000"/>
                        </a:schemeClr>
                      </a:solidFill>
                    </p:spPr>
                  </p:pic>
                </p:oleObj>
              </mc:Fallback>
            </mc:AlternateContent>
          </a:graphicData>
        </a:graphic>
      </p:graphicFrame>
      <p:sp>
        <p:nvSpPr>
          <p:cNvPr id="7" name="TextBox 6">
            <a:extLst>
              <a:ext uri="{FF2B5EF4-FFF2-40B4-BE49-F238E27FC236}">
                <a16:creationId xmlns:a16="http://schemas.microsoft.com/office/drawing/2014/main" id="{02FD64BA-2116-4C7D-8084-ABB845162789}"/>
              </a:ext>
            </a:extLst>
          </p:cNvPr>
          <p:cNvSpPr txBox="1"/>
          <p:nvPr/>
        </p:nvSpPr>
        <p:spPr bwMode="auto">
          <a:xfrm>
            <a:off x="1442372" y="5154346"/>
            <a:ext cx="2265678" cy="418585"/>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1200" cap="none" spc="0" normalizeH="0" baseline="0" noProof="0">
                <a:ln>
                  <a:noFill/>
                </a:ln>
                <a:solidFill>
                  <a:srgbClr val="181818"/>
                </a:solidFill>
                <a:effectLst/>
                <a:uLnTx/>
                <a:uFillTx/>
                <a:latin typeface="Ericsson Hilda"/>
                <a:ea typeface="+mn-ea"/>
                <a:cs typeface="+mn-cs"/>
              </a:rPr>
              <a:t>End to end redundancy with single UE</a:t>
            </a:r>
          </a:p>
          <a:p>
            <a:pPr marL="0" indent="0" fontAlgn="auto">
              <a:spcBef>
                <a:spcPts val="0"/>
              </a:spcBef>
              <a:spcAft>
                <a:spcPts val="0"/>
              </a:spcAft>
              <a:buClr>
                <a:srgbClr val="181818"/>
              </a:buClr>
              <a:buNone/>
              <a:defRPr/>
            </a:pPr>
            <a:r>
              <a:rPr lang="en-US" sz="1200" b="1" kern="1200" spc="0">
                <a:solidFill>
                  <a:srgbClr val="181818"/>
                </a:solidFill>
              </a:rPr>
              <a:t>(targeting TSN deployments)</a:t>
            </a:r>
          </a:p>
        </p:txBody>
      </p:sp>
      <p:graphicFrame>
        <p:nvGraphicFramePr>
          <p:cNvPr id="9" name="Object 8">
            <a:extLst>
              <a:ext uri="{FF2B5EF4-FFF2-40B4-BE49-F238E27FC236}">
                <a16:creationId xmlns:a16="http://schemas.microsoft.com/office/drawing/2014/main" id="{E3518343-476F-4D91-A77B-0EEA8301D909}"/>
              </a:ext>
            </a:extLst>
          </p:cNvPr>
          <p:cNvGraphicFramePr>
            <a:graphicFrameLocks noChangeAspect="1"/>
          </p:cNvGraphicFramePr>
          <p:nvPr/>
        </p:nvGraphicFramePr>
        <p:xfrm>
          <a:off x="6269308" y="2476907"/>
          <a:ext cx="4425950" cy="1339850"/>
        </p:xfrm>
        <a:graphic>
          <a:graphicData uri="http://schemas.openxmlformats.org/presentationml/2006/ole">
            <mc:AlternateContent xmlns:mc="http://schemas.openxmlformats.org/markup-compatibility/2006">
              <mc:Choice xmlns:v="urn:schemas-microsoft-com:vml" Requires="v">
                <p:oleObj spid="_x0000_s8201" name="Visio" r:id="rId6" imgW="4424249" imgH="1338360" progId="Visio.Drawing.11">
                  <p:embed/>
                </p:oleObj>
              </mc:Choice>
              <mc:Fallback>
                <p:oleObj name="Visio" r:id="rId6" imgW="4424249" imgH="1338360" progId="Visio.Drawing.11">
                  <p:embed/>
                  <p:pic>
                    <p:nvPicPr>
                      <p:cNvPr id="9" name="Object 8">
                        <a:extLst>
                          <a:ext uri="{FF2B5EF4-FFF2-40B4-BE49-F238E27FC236}">
                            <a16:creationId xmlns:a16="http://schemas.microsoft.com/office/drawing/2014/main" id="{E3518343-476F-4D91-A77B-0EEA8301D9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9308" y="2476907"/>
                        <a:ext cx="4425950" cy="1339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a:extLst>
              <a:ext uri="{FF2B5EF4-FFF2-40B4-BE49-F238E27FC236}">
                <a16:creationId xmlns:a16="http://schemas.microsoft.com/office/drawing/2014/main" id="{8449CBB2-DBB9-4D7A-9C12-736D54DD7694}"/>
              </a:ext>
            </a:extLst>
          </p:cNvPr>
          <p:cNvSpPr txBox="1"/>
          <p:nvPr/>
        </p:nvSpPr>
        <p:spPr bwMode="auto">
          <a:xfrm>
            <a:off x="6728705" y="5626095"/>
            <a:ext cx="3507155" cy="30818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1200" cap="none" spc="0" normalizeH="0" baseline="0" noProof="0">
                <a:ln>
                  <a:noFill/>
                </a:ln>
                <a:solidFill>
                  <a:srgbClr val="181818"/>
                </a:solidFill>
                <a:effectLst/>
                <a:uLnTx/>
                <a:uFillTx/>
                <a:latin typeface="Ericsson Hilda"/>
                <a:ea typeface="+mn-ea"/>
                <a:cs typeface="+mn-cs"/>
              </a:rPr>
              <a:t>Redundancy between single RAN and UPF  with single UE</a:t>
            </a:r>
          </a:p>
        </p:txBody>
      </p:sp>
      <p:sp>
        <p:nvSpPr>
          <p:cNvPr id="11" name="Rectangle 12">
            <a:extLst>
              <a:ext uri="{FF2B5EF4-FFF2-40B4-BE49-F238E27FC236}">
                <a16:creationId xmlns:a16="http://schemas.microsoft.com/office/drawing/2014/main" id="{F08BFF33-96C1-4DC2-8404-E346DDBEAF01}"/>
              </a:ext>
            </a:extLst>
          </p:cNvPr>
          <p:cNvSpPr>
            <a:spLocks noChangeArrowheads="1"/>
          </p:cNvSpPr>
          <p:nvPr/>
        </p:nvSpPr>
        <p:spPr bwMode="auto">
          <a:xfrm>
            <a:off x="4045803" y="349900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graphicFrame>
        <p:nvGraphicFramePr>
          <p:cNvPr id="12" name="Object 11">
            <a:extLst>
              <a:ext uri="{FF2B5EF4-FFF2-40B4-BE49-F238E27FC236}">
                <a16:creationId xmlns:a16="http://schemas.microsoft.com/office/drawing/2014/main" id="{1747AA6E-A8A7-4329-AC26-9D4C8826C3ED}"/>
              </a:ext>
            </a:extLst>
          </p:cNvPr>
          <p:cNvGraphicFramePr>
            <a:graphicFrameLocks noChangeAspect="1"/>
          </p:cNvGraphicFramePr>
          <p:nvPr/>
        </p:nvGraphicFramePr>
        <p:xfrm>
          <a:off x="6376913" y="4181367"/>
          <a:ext cx="5289550" cy="1270000"/>
        </p:xfrm>
        <a:graphic>
          <a:graphicData uri="http://schemas.openxmlformats.org/presentationml/2006/ole">
            <mc:AlternateContent xmlns:mc="http://schemas.openxmlformats.org/markup-compatibility/2006">
              <mc:Choice xmlns:v="urn:schemas-microsoft-com:vml" Requires="v">
                <p:oleObj spid="_x0000_s8202" name="Visio" r:id="rId8" imgW="5291251" imgH="1266922" progId="Visio.Drawing.11">
                  <p:embed/>
                </p:oleObj>
              </mc:Choice>
              <mc:Fallback>
                <p:oleObj name="Visio" r:id="rId8" imgW="5291251" imgH="1266922" progId="Visio.Drawing.11">
                  <p:embed/>
                  <p:pic>
                    <p:nvPicPr>
                      <p:cNvPr id="12" name="Object 11">
                        <a:extLst>
                          <a:ext uri="{FF2B5EF4-FFF2-40B4-BE49-F238E27FC236}">
                            <a16:creationId xmlns:a16="http://schemas.microsoft.com/office/drawing/2014/main" id="{1747AA6E-A8A7-4329-AC26-9D4C8826C3E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76913" y="4181367"/>
                        <a:ext cx="5289550" cy="1270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7">
            <a:extLst>
              <a:ext uri="{FF2B5EF4-FFF2-40B4-BE49-F238E27FC236}">
                <a16:creationId xmlns:a16="http://schemas.microsoft.com/office/drawing/2014/main" id="{24B71C0B-3AD9-485F-949F-2BF14187E361}"/>
              </a:ext>
            </a:extLst>
          </p:cNvPr>
          <p:cNvSpPr>
            <a:spLocks noChangeArrowheads="1"/>
          </p:cNvSpPr>
          <p:nvPr/>
        </p:nvSpPr>
        <p:spPr bwMode="auto">
          <a:xfrm>
            <a:off x="2563567" y="414186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6" name="TextBox 15">
            <a:extLst>
              <a:ext uri="{FF2B5EF4-FFF2-40B4-BE49-F238E27FC236}">
                <a16:creationId xmlns:a16="http://schemas.microsoft.com/office/drawing/2014/main" id="{F08EDA42-E8DB-4372-9294-28109C7F4F46}"/>
              </a:ext>
            </a:extLst>
          </p:cNvPr>
          <p:cNvSpPr txBox="1"/>
          <p:nvPr/>
        </p:nvSpPr>
        <p:spPr bwMode="auto">
          <a:xfrm>
            <a:off x="5718462" y="3784956"/>
            <a:ext cx="914400" cy="914400"/>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344488" marR="0" lvl="0" indent="-344488" algn="l" defTabSz="914400" rtl="0" eaLnBrk="1" fontAlgn="auto" latinLnBrk="0" hangingPunct="1">
              <a:lnSpc>
                <a:spcPct val="100000"/>
              </a:lnSpc>
              <a:spcBef>
                <a:spcPts val="0"/>
              </a:spcBef>
              <a:spcAft>
                <a:spcPts val="0"/>
              </a:spcAft>
              <a:buClr>
                <a:srgbClr val="181818"/>
              </a:buClr>
              <a:buSzTx/>
              <a:buFont typeface="Ericsson Hilda Light" panose="00000400000000000000" pitchFamily="2" charset="0"/>
              <a:buChar char="—"/>
              <a:tabLst/>
              <a:defRPr/>
            </a:pPr>
            <a:endParaRPr kumimoji="0" lang="en-US" sz="2000" b="0" i="0" u="none" strike="noStrike" kern="1200" cap="none" spc="0" normalizeH="0" baseline="0" noProof="0" err="1">
              <a:ln>
                <a:noFill/>
              </a:ln>
              <a:solidFill>
                <a:srgbClr val="181818"/>
              </a:solidFill>
              <a:effectLst/>
              <a:uLnTx/>
              <a:uFillTx/>
              <a:latin typeface="Ericsson Hilda"/>
              <a:ea typeface="+mn-ea"/>
              <a:cs typeface="+mn-cs"/>
            </a:endParaRPr>
          </a:p>
        </p:txBody>
      </p:sp>
    </p:spTree>
    <p:extLst>
      <p:ext uri="{BB962C8B-B14F-4D97-AF65-F5344CB8AC3E}">
        <p14:creationId xmlns:p14="http://schemas.microsoft.com/office/powerpoint/2010/main" val="15542703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EF4FF37A-6EB3-478A-AFDB-C246EFAFB270}"/>
              </a:ext>
            </a:extLst>
          </p:cNvPr>
          <p:cNvGrpSpPr/>
          <p:nvPr/>
        </p:nvGrpSpPr>
        <p:grpSpPr>
          <a:xfrm>
            <a:off x="1103976" y="1048788"/>
            <a:ext cx="2827151" cy="2464479"/>
            <a:chOff x="1216615" y="2859188"/>
            <a:chExt cx="2827151" cy="2464479"/>
          </a:xfrm>
        </p:grpSpPr>
        <p:sp>
          <p:nvSpPr>
            <p:cNvPr id="53" name="Flowchart: Off-page Connector 52">
              <a:extLst>
                <a:ext uri="{FF2B5EF4-FFF2-40B4-BE49-F238E27FC236}">
                  <a16:creationId xmlns:a16="http://schemas.microsoft.com/office/drawing/2014/main" id="{F2046270-6ACF-4640-808B-D6B69D20484F}"/>
                </a:ext>
              </a:extLst>
            </p:cNvPr>
            <p:cNvSpPr/>
            <p:nvPr/>
          </p:nvSpPr>
          <p:spPr bwMode="auto">
            <a:xfrm rot="10800000">
              <a:off x="1216615" y="2859188"/>
              <a:ext cx="2827151" cy="2464479"/>
            </a:xfrm>
            <a:prstGeom prst="flowChartOffpageConnector">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en-US" sz="2000" b="0" i="0" u="none" strike="noStrike" cap="none" normalizeH="0" baseline="0" err="1">
                <a:ln>
                  <a:noFill/>
                </a:ln>
                <a:solidFill>
                  <a:schemeClr val="bg1"/>
                </a:solidFill>
                <a:effectLst/>
                <a:latin typeface="+mn-lt"/>
              </a:endParaRPr>
            </a:p>
          </p:txBody>
        </p:sp>
        <p:cxnSp>
          <p:nvCxnSpPr>
            <p:cNvPr id="56" name="Straight Connector 55">
              <a:extLst>
                <a:ext uri="{FF2B5EF4-FFF2-40B4-BE49-F238E27FC236}">
                  <a16:creationId xmlns:a16="http://schemas.microsoft.com/office/drawing/2014/main" id="{E06844E6-C69B-43E0-8CC7-BF630894C5B0}"/>
                </a:ext>
              </a:extLst>
            </p:cNvPr>
            <p:cNvCxnSpPr>
              <a:cxnSpLocks/>
              <a:stCxn id="75" idx="1"/>
            </p:cNvCxnSpPr>
            <p:nvPr/>
          </p:nvCxnSpPr>
          <p:spPr bwMode="auto">
            <a:xfrm flipH="1">
              <a:off x="2131018" y="4190395"/>
              <a:ext cx="918520"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57" name="Straight Connector 56">
              <a:extLst>
                <a:ext uri="{FF2B5EF4-FFF2-40B4-BE49-F238E27FC236}">
                  <a16:creationId xmlns:a16="http://schemas.microsoft.com/office/drawing/2014/main" id="{CFA6517F-F86A-47FE-ADA6-79F31111B985}"/>
                </a:ext>
              </a:extLst>
            </p:cNvPr>
            <p:cNvCxnSpPr/>
            <p:nvPr/>
          </p:nvCxnSpPr>
          <p:spPr bwMode="auto">
            <a:xfrm>
              <a:off x="2131017" y="3239146"/>
              <a:ext cx="0" cy="195278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65" name="Straight Connector 64">
              <a:extLst>
                <a:ext uri="{FF2B5EF4-FFF2-40B4-BE49-F238E27FC236}">
                  <a16:creationId xmlns:a16="http://schemas.microsoft.com/office/drawing/2014/main" id="{F2A41716-8D5F-46A5-AEBE-95DCCEA72A07}"/>
                </a:ext>
              </a:extLst>
            </p:cNvPr>
            <p:cNvCxnSpPr/>
            <p:nvPr/>
          </p:nvCxnSpPr>
          <p:spPr bwMode="auto">
            <a:xfrm flipH="1">
              <a:off x="1596325" y="3463873"/>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69" name="Straight Connector 68">
              <a:extLst>
                <a:ext uri="{FF2B5EF4-FFF2-40B4-BE49-F238E27FC236}">
                  <a16:creationId xmlns:a16="http://schemas.microsoft.com/office/drawing/2014/main" id="{87DD2024-66CB-44D7-AA17-52D1BA2810D5}"/>
                </a:ext>
              </a:extLst>
            </p:cNvPr>
            <p:cNvCxnSpPr/>
            <p:nvPr/>
          </p:nvCxnSpPr>
          <p:spPr bwMode="auto">
            <a:xfrm flipH="1">
              <a:off x="1596325" y="3967568"/>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2" name="Straight Connector 71">
              <a:extLst>
                <a:ext uri="{FF2B5EF4-FFF2-40B4-BE49-F238E27FC236}">
                  <a16:creationId xmlns:a16="http://schemas.microsoft.com/office/drawing/2014/main" id="{799D188E-D7C8-456F-8A3B-DBE2B6199ACA}"/>
                </a:ext>
              </a:extLst>
            </p:cNvPr>
            <p:cNvCxnSpPr/>
            <p:nvPr/>
          </p:nvCxnSpPr>
          <p:spPr bwMode="auto">
            <a:xfrm flipH="1">
              <a:off x="1596325" y="4448016"/>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73" name="Straight Connector 72">
              <a:extLst>
                <a:ext uri="{FF2B5EF4-FFF2-40B4-BE49-F238E27FC236}">
                  <a16:creationId xmlns:a16="http://schemas.microsoft.com/office/drawing/2014/main" id="{379AF481-E0C0-496A-AE9F-3000BADCA11B}"/>
                </a:ext>
              </a:extLst>
            </p:cNvPr>
            <p:cNvCxnSpPr/>
            <p:nvPr/>
          </p:nvCxnSpPr>
          <p:spPr bwMode="auto">
            <a:xfrm flipH="1">
              <a:off x="1596325" y="4967209"/>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74" name="TextBox 73">
              <a:extLst>
                <a:ext uri="{FF2B5EF4-FFF2-40B4-BE49-F238E27FC236}">
                  <a16:creationId xmlns:a16="http://schemas.microsoft.com/office/drawing/2014/main" id="{9AC0E804-A50D-4503-B7BA-9F987AD2420B}"/>
                </a:ext>
              </a:extLst>
            </p:cNvPr>
            <p:cNvSpPr txBox="1"/>
            <p:nvPr/>
          </p:nvSpPr>
          <p:spPr bwMode="auto">
            <a:xfrm rot="16200000">
              <a:off x="1216617" y="3998811"/>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a:t>Home LAN</a:t>
              </a:r>
            </a:p>
          </p:txBody>
        </p:sp>
        <p:sp>
          <p:nvSpPr>
            <p:cNvPr id="75" name="TextBox 74">
              <a:extLst>
                <a:ext uri="{FF2B5EF4-FFF2-40B4-BE49-F238E27FC236}">
                  <a16:creationId xmlns:a16="http://schemas.microsoft.com/office/drawing/2014/main" id="{7E347DD9-7609-42DD-A671-CCC82F4F21B5}"/>
                </a:ext>
              </a:extLst>
            </p:cNvPr>
            <p:cNvSpPr txBox="1"/>
            <p:nvPr/>
          </p:nvSpPr>
          <p:spPr bwMode="auto">
            <a:xfrm>
              <a:off x="3049538" y="3722395"/>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G</a:t>
              </a:r>
              <a:endParaRPr lang="en-US" sz="2400"/>
            </a:p>
            <a:p>
              <a:pPr marL="0" lvl="0" indent="0" algn="ctr">
                <a:buClr>
                  <a:srgbClr val="181818"/>
                </a:buClr>
                <a:buNone/>
              </a:pPr>
              <a:r>
                <a:rPr lang="en-US" sz="1200">
                  <a:solidFill>
                    <a:srgbClr val="181818"/>
                  </a:solidFill>
                </a:rPr>
                <a:t>FN-RG</a:t>
              </a:r>
            </a:p>
          </p:txBody>
        </p:sp>
      </p:grpSp>
      <p:sp>
        <p:nvSpPr>
          <p:cNvPr id="58" name="Flowchart: Off-page Connector 57">
            <a:extLst>
              <a:ext uri="{FF2B5EF4-FFF2-40B4-BE49-F238E27FC236}">
                <a16:creationId xmlns:a16="http://schemas.microsoft.com/office/drawing/2014/main" id="{8AE8FCA5-E2B0-4A0F-9C8B-F85308E90D5B}"/>
              </a:ext>
            </a:extLst>
          </p:cNvPr>
          <p:cNvSpPr/>
          <p:nvPr/>
        </p:nvSpPr>
        <p:spPr bwMode="auto">
          <a:xfrm rot="10800000">
            <a:off x="1103976" y="3664499"/>
            <a:ext cx="2827151" cy="2464479"/>
          </a:xfrm>
          <a:prstGeom prst="flowChartOffpageConnector">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en-US" sz="2000" b="0" i="0" u="none" strike="noStrike" cap="none" normalizeH="0" baseline="0" err="1">
              <a:ln>
                <a:noFill/>
              </a:ln>
              <a:solidFill>
                <a:schemeClr val="bg1"/>
              </a:solidFill>
              <a:effectLst/>
              <a:latin typeface="+mn-lt"/>
            </a:endParaRPr>
          </a:p>
        </p:txBody>
      </p:sp>
      <p:sp>
        <p:nvSpPr>
          <p:cNvPr id="2" name="Title 1">
            <a:extLst>
              <a:ext uri="{FF2B5EF4-FFF2-40B4-BE49-F238E27FC236}">
                <a16:creationId xmlns:a16="http://schemas.microsoft.com/office/drawing/2014/main" id="{FB34EBC9-0CBB-4330-BCD0-6805AC0F1D24}"/>
              </a:ext>
            </a:extLst>
          </p:cNvPr>
          <p:cNvSpPr>
            <a:spLocks noGrp="1"/>
          </p:cNvSpPr>
          <p:nvPr>
            <p:ph type="title"/>
          </p:nvPr>
        </p:nvSpPr>
        <p:spPr>
          <a:xfrm>
            <a:off x="479425" y="476250"/>
            <a:ext cx="8353426" cy="1081088"/>
          </a:xfrm>
        </p:spPr>
        <p:txBody>
          <a:bodyPr/>
          <a:lstStyle/>
          <a:p>
            <a:r>
              <a:rPr lang="en-US"/>
              <a:t>5G FMC – Basic Fixed Access Model</a:t>
            </a:r>
          </a:p>
        </p:txBody>
      </p:sp>
      <p:sp>
        <p:nvSpPr>
          <p:cNvPr id="12" name="TextBox 11">
            <a:extLst>
              <a:ext uri="{FF2B5EF4-FFF2-40B4-BE49-F238E27FC236}">
                <a16:creationId xmlns:a16="http://schemas.microsoft.com/office/drawing/2014/main" id="{44AED2E7-B9DA-4EDA-A758-FA4D8CCC796F}"/>
              </a:ext>
            </a:extLst>
          </p:cNvPr>
          <p:cNvSpPr txBox="1"/>
          <p:nvPr/>
        </p:nvSpPr>
        <p:spPr bwMode="auto">
          <a:xfrm>
            <a:off x="4171628" y="3832037"/>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i="1">
                <a:solidFill>
                  <a:schemeClr val="bg1">
                    <a:lumMod val="65000"/>
                  </a:schemeClr>
                </a:solidFill>
              </a:rPr>
              <a:t>PON or DSL</a:t>
            </a:r>
          </a:p>
        </p:txBody>
      </p:sp>
      <p:cxnSp>
        <p:nvCxnSpPr>
          <p:cNvPr id="13" name="Straight Connector 12">
            <a:extLst>
              <a:ext uri="{FF2B5EF4-FFF2-40B4-BE49-F238E27FC236}">
                <a16:creationId xmlns:a16="http://schemas.microsoft.com/office/drawing/2014/main" id="{2EE97302-8E4D-48CD-B7F1-627B6FA3C184}"/>
              </a:ext>
            </a:extLst>
          </p:cNvPr>
          <p:cNvCxnSpPr>
            <a:cxnSpLocks/>
          </p:cNvCxnSpPr>
          <p:nvPr/>
        </p:nvCxnSpPr>
        <p:spPr bwMode="auto">
          <a:xfrm flipV="1">
            <a:off x="6325299" y="4185916"/>
            <a:ext cx="2198769" cy="11704"/>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6" name="TextBox 15">
            <a:extLst>
              <a:ext uri="{FF2B5EF4-FFF2-40B4-BE49-F238E27FC236}">
                <a16:creationId xmlns:a16="http://schemas.microsoft.com/office/drawing/2014/main" id="{A3C95454-6735-4BB9-9740-29901CEE8395}"/>
              </a:ext>
            </a:extLst>
          </p:cNvPr>
          <p:cNvSpPr txBox="1"/>
          <p:nvPr/>
        </p:nvSpPr>
        <p:spPr bwMode="auto">
          <a:xfrm>
            <a:off x="5951165" y="5084294"/>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i="1">
                <a:solidFill>
                  <a:schemeClr val="bg1">
                    <a:lumMod val="65000"/>
                  </a:schemeClr>
                </a:solidFill>
              </a:rPr>
              <a:t>Ethernet</a:t>
            </a:r>
          </a:p>
        </p:txBody>
      </p:sp>
      <p:cxnSp>
        <p:nvCxnSpPr>
          <p:cNvPr id="18" name="Straight Arrow Connector 17">
            <a:extLst>
              <a:ext uri="{FF2B5EF4-FFF2-40B4-BE49-F238E27FC236}">
                <a16:creationId xmlns:a16="http://schemas.microsoft.com/office/drawing/2014/main" id="{AA3CBC96-0B04-4281-A87C-8FFB7013443E}"/>
              </a:ext>
            </a:extLst>
          </p:cNvPr>
          <p:cNvCxnSpPr>
            <a:cxnSpLocks/>
          </p:cNvCxnSpPr>
          <p:nvPr/>
        </p:nvCxnSpPr>
        <p:spPr bwMode="auto">
          <a:xfrm>
            <a:off x="7043796" y="5267004"/>
            <a:ext cx="1179347" cy="0"/>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a:ln>
          <a:effectLst/>
        </p:spPr>
      </p:cxnSp>
      <p:cxnSp>
        <p:nvCxnSpPr>
          <p:cNvPr id="20" name="Straight Arrow Connector 19">
            <a:extLst>
              <a:ext uri="{FF2B5EF4-FFF2-40B4-BE49-F238E27FC236}">
                <a16:creationId xmlns:a16="http://schemas.microsoft.com/office/drawing/2014/main" id="{2EDA57D7-7102-4A8F-9116-9A5E73A6BD00}"/>
              </a:ext>
            </a:extLst>
          </p:cNvPr>
          <p:cNvCxnSpPr/>
          <p:nvPr/>
        </p:nvCxnSpPr>
        <p:spPr bwMode="auto">
          <a:xfrm flipH="1">
            <a:off x="3866644" y="5267004"/>
            <a:ext cx="2084521" cy="0"/>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a:ln>
          <a:effectLst/>
        </p:spPr>
      </p:cxnSp>
      <p:sp>
        <p:nvSpPr>
          <p:cNvPr id="29" name="Cloud 28">
            <a:extLst>
              <a:ext uri="{FF2B5EF4-FFF2-40B4-BE49-F238E27FC236}">
                <a16:creationId xmlns:a16="http://schemas.microsoft.com/office/drawing/2014/main" id="{60E37870-73A3-442F-BD85-1C84F7E2A8BF}"/>
              </a:ext>
            </a:extLst>
          </p:cNvPr>
          <p:cNvSpPr/>
          <p:nvPr/>
        </p:nvSpPr>
        <p:spPr bwMode="auto">
          <a:xfrm>
            <a:off x="10919664" y="3781062"/>
            <a:ext cx="1105546" cy="809705"/>
          </a:xfrm>
          <a:prstGeom prst="cloud">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en-US" sz="2000" b="0" i="0" u="none" strike="noStrike" cap="none" normalizeH="0" baseline="0">
                <a:ln>
                  <a:noFill/>
                </a:ln>
                <a:effectLst/>
                <a:latin typeface="+mn-lt"/>
              </a:rPr>
              <a:t>DN</a:t>
            </a:r>
          </a:p>
        </p:txBody>
      </p:sp>
      <p:cxnSp>
        <p:nvCxnSpPr>
          <p:cNvPr id="31" name="Straight Connector 30">
            <a:extLst>
              <a:ext uri="{FF2B5EF4-FFF2-40B4-BE49-F238E27FC236}">
                <a16:creationId xmlns:a16="http://schemas.microsoft.com/office/drawing/2014/main" id="{276538EE-DE68-402B-8977-F6623611F312}"/>
              </a:ext>
            </a:extLst>
          </p:cNvPr>
          <p:cNvCxnSpPr>
            <a:cxnSpLocks/>
            <a:stCxn id="29" idx="2"/>
          </p:cNvCxnSpPr>
          <p:nvPr/>
        </p:nvCxnSpPr>
        <p:spPr bwMode="auto">
          <a:xfrm flipH="1">
            <a:off x="9005069" y="4185915"/>
            <a:ext cx="1918024" cy="11705"/>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3" name="Straight Arrow Connector 32">
            <a:extLst>
              <a:ext uri="{FF2B5EF4-FFF2-40B4-BE49-F238E27FC236}">
                <a16:creationId xmlns:a16="http://schemas.microsoft.com/office/drawing/2014/main" id="{49C7F734-6290-48EC-BEA4-F74022563B4F}"/>
              </a:ext>
            </a:extLst>
          </p:cNvPr>
          <p:cNvCxnSpPr>
            <a:cxnSpLocks/>
          </p:cNvCxnSpPr>
          <p:nvPr/>
        </p:nvCxnSpPr>
        <p:spPr bwMode="auto">
          <a:xfrm>
            <a:off x="8029301" y="5708707"/>
            <a:ext cx="183397" cy="0"/>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a:ln>
          <a:effectLst/>
        </p:spPr>
      </p:cxnSp>
      <p:sp>
        <p:nvSpPr>
          <p:cNvPr id="34" name="TextBox 33">
            <a:extLst>
              <a:ext uri="{FF2B5EF4-FFF2-40B4-BE49-F238E27FC236}">
                <a16:creationId xmlns:a16="http://schemas.microsoft.com/office/drawing/2014/main" id="{3D23BF7B-237F-4232-BE04-6F63A5913C5B}"/>
              </a:ext>
            </a:extLst>
          </p:cNvPr>
          <p:cNvSpPr txBox="1"/>
          <p:nvPr/>
        </p:nvSpPr>
        <p:spPr bwMode="auto">
          <a:xfrm>
            <a:off x="7185736" y="5521516"/>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i="1">
                <a:solidFill>
                  <a:schemeClr val="bg1">
                    <a:lumMod val="65000"/>
                  </a:schemeClr>
                </a:solidFill>
              </a:rPr>
              <a:t>+VLAN</a:t>
            </a:r>
          </a:p>
        </p:txBody>
      </p:sp>
      <p:cxnSp>
        <p:nvCxnSpPr>
          <p:cNvPr id="36" name="Straight Arrow Connector 35">
            <a:extLst>
              <a:ext uri="{FF2B5EF4-FFF2-40B4-BE49-F238E27FC236}">
                <a16:creationId xmlns:a16="http://schemas.microsoft.com/office/drawing/2014/main" id="{CD25229A-0D7D-48E5-A30E-C1B83D057CB5}"/>
              </a:ext>
            </a:extLst>
          </p:cNvPr>
          <p:cNvCxnSpPr>
            <a:cxnSpLocks/>
          </p:cNvCxnSpPr>
          <p:nvPr/>
        </p:nvCxnSpPr>
        <p:spPr bwMode="auto">
          <a:xfrm flipH="1">
            <a:off x="6408365" y="5708707"/>
            <a:ext cx="818829" cy="0"/>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a:ln>
          <a:effectLst/>
        </p:spPr>
      </p:cxnSp>
      <p:cxnSp>
        <p:nvCxnSpPr>
          <p:cNvPr id="43" name="Straight Connector 42">
            <a:extLst>
              <a:ext uri="{FF2B5EF4-FFF2-40B4-BE49-F238E27FC236}">
                <a16:creationId xmlns:a16="http://schemas.microsoft.com/office/drawing/2014/main" id="{B9BB286B-92B6-448B-95C9-9BB8F598AEE1}"/>
              </a:ext>
            </a:extLst>
          </p:cNvPr>
          <p:cNvCxnSpPr>
            <a:cxnSpLocks/>
          </p:cNvCxnSpPr>
          <p:nvPr/>
        </p:nvCxnSpPr>
        <p:spPr bwMode="auto">
          <a:xfrm flipH="1">
            <a:off x="8621486" y="2685173"/>
            <a:ext cx="383583" cy="971903"/>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2" name="Straight Connector 31">
            <a:extLst>
              <a:ext uri="{FF2B5EF4-FFF2-40B4-BE49-F238E27FC236}">
                <a16:creationId xmlns:a16="http://schemas.microsoft.com/office/drawing/2014/main" id="{87CEA815-E37E-4BD6-AB6F-D68AAD537227}"/>
              </a:ext>
            </a:extLst>
          </p:cNvPr>
          <p:cNvCxnSpPr>
            <a:cxnSpLocks/>
            <a:stCxn id="89" idx="1"/>
          </p:cNvCxnSpPr>
          <p:nvPr/>
        </p:nvCxnSpPr>
        <p:spPr bwMode="auto">
          <a:xfrm flipH="1">
            <a:off x="2099602" y="5033521"/>
            <a:ext cx="885990"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5" name="Straight Connector 34">
            <a:extLst>
              <a:ext uri="{FF2B5EF4-FFF2-40B4-BE49-F238E27FC236}">
                <a16:creationId xmlns:a16="http://schemas.microsoft.com/office/drawing/2014/main" id="{6B953662-DDAA-4417-89E6-88935E7144B4}"/>
              </a:ext>
            </a:extLst>
          </p:cNvPr>
          <p:cNvCxnSpPr/>
          <p:nvPr/>
        </p:nvCxnSpPr>
        <p:spPr bwMode="auto">
          <a:xfrm>
            <a:off x="2061091" y="4032705"/>
            <a:ext cx="0" cy="1952786"/>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8" name="Straight Connector 37">
            <a:extLst>
              <a:ext uri="{FF2B5EF4-FFF2-40B4-BE49-F238E27FC236}">
                <a16:creationId xmlns:a16="http://schemas.microsoft.com/office/drawing/2014/main" id="{B8E83B47-D628-4863-9F12-6A7CFCBF44ED}"/>
              </a:ext>
            </a:extLst>
          </p:cNvPr>
          <p:cNvCxnSpPr/>
          <p:nvPr/>
        </p:nvCxnSpPr>
        <p:spPr bwMode="auto">
          <a:xfrm flipH="1">
            <a:off x="1526399" y="4257432"/>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39" name="Straight Connector 38">
            <a:extLst>
              <a:ext uri="{FF2B5EF4-FFF2-40B4-BE49-F238E27FC236}">
                <a16:creationId xmlns:a16="http://schemas.microsoft.com/office/drawing/2014/main" id="{87F43289-7B09-41D2-9A05-1E43AA75CCF2}"/>
              </a:ext>
            </a:extLst>
          </p:cNvPr>
          <p:cNvCxnSpPr/>
          <p:nvPr/>
        </p:nvCxnSpPr>
        <p:spPr bwMode="auto">
          <a:xfrm flipH="1">
            <a:off x="1526399" y="4761127"/>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2" name="Straight Connector 41">
            <a:extLst>
              <a:ext uri="{FF2B5EF4-FFF2-40B4-BE49-F238E27FC236}">
                <a16:creationId xmlns:a16="http://schemas.microsoft.com/office/drawing/2014/main" id="{A2797C1E-11F3-4B06-98C8-913F7A4D1BD5}"/>
              </a:ext>
            </a:extLst>
          </p:cNvPr>
          <p:cNvCxnSpPr/>
          <p:nvPr/>
        </p:nvCxnSpPr>
        <p:spPr bwMode="auto">
          <a:xfrm flipH="1">
            <a:off x="1526399" y="5241575"/>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4" name="Straight Connector 43">
            <a:extLst>
              <a:ext uri="{FF2B5EF4-FFF2-40B4-BE49-F238E27FC236}">
                <a16:creationId xmlns:a16="http://schemas.microsoft.com/office/drawing/2014/main" id="{94259417-84B8-411D-9CD5-975CE122D8FE}"/>
              </a:ext>
            </a:extLst>
          </p:cNvPr>
          <p:cNvCxnSpPr/>
          <p:nvPr/>
        </p:nvCxnSpPr>
        <p:spPr bwMode="auto">
          <a:xfrm flipH="1">
            <a:off x="1526399" y="5760768"/>
            <a:ext cx="534692"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46" name="TextBox 45">
            <a:extLst>
              <a:ext uri="{FF2B5EF4-FFF2-40B4-BE49-F238E27FC236}">
                <a16:creationId xmlns:a16="http://schemas.microsoft.com/office/drawing/2014/main" id="{E7E7B158-6380-4D77-9DA4-04835C022C77}"/>
              </a:ext>
            </a:extLst>
          </p:cNvPr>
          <p:cNvSpPr txBox="1"/>
          <p:nvPr/>
        </p:nvSpPr>
        <p:spPr bwMode="auto">
          <a:xfrm rot="16200000">
            <a:off x="1146691" y="4792370"/>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a:t>Home LAN</a:t>
            </a:r>
          </a:p>
        </p:txBody>
      </p:sp>
      <p:cxnSp>
        <p:nvCxnSpPr>
          <p:cNvPr id="15" name="Straight Connector 14">
            <a:extLst>
              <a:ext uri="{FF2B5EF4-FFF2-40B4-BE49-F238E27FC236}">
                <a16:creationId xmlns:a16="http://schemas.microsoft.com/office/drawing/2014/main" id="{58610C04-AAA1-4AC9-BB47-84CF3DC54B98}"/>
              </a:ext>
            </a:extLst>
          </p:cNvPr>
          <p:cNvCxnSpPr>
            <a:cxnSpLocks/>
            <a:stCxn id="89" idx="3"/>
          </p:cNvCxnSpPr>
          <p:nvPr/>
        </p:nvCxnSpPr>
        <p:spPr bwMode="auto">
          <a:xfrm flipV="1">
            <a:off x="3561592" y="4443411"/>
            <a:ext cx="2103039" cy="59011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48" name="Straight Connector 47">
            <a:extLst>
              <a:ext uri="{FF2B5EF4-FFF2-40B4-BE49-F238E27FC236}">
                <a16:creationId xmlns:a16="http://schemas.microsoft.com/office/drawing/2014/main" id="{B2160D5C-97A7-43E2-A3EB-7FDDCFBA0074}"/>
              </a:ext>
            </a:extLst>
          </p:cNvPr>
          <p:cNvCxnSpPr>
            <a:cxnSpLocks/>
          </p:cNvCxnSpPr>
          <p:nvPr/>
        </p:nvCxnSpPr>
        <p:spPr bwMode="auto">
          <a:xfrm>
            <a:off x="9375183" y="2685173"/>
            <a:ext cx="383583" cy="100243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1" name="Straight Connector 10">
            <a:extLst>
              <a:ext uri="{FF2B5EF4-FFF2-40B4-BE49-F238E27FC236}">
                <a16:creationId xmlns:a16="http://schemas.microsoft.com/office/drawing/2014/main" id="{6426F30C-208A-49E5-98C5-7BC26A2F00EE}"/>
              </a:ext>
            </a:extLst>
          </p:cNvPr>
          <p:cNvCxnSpPr>
            <a:cxnSpLocks/>
            <a:stCxn id="75" idx="3"/>
          </p:cNvCxnSpPr>
          <p:nvPr/>
        </p:nvCxnSpPr>
        <p:spPr bwMode="auto">
          <a:xfrm>
            <a:off x="3512899" y="2379995"/>
            <a:ext cx="2151732" cy="1514352"/>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59" name="TextBox 58">
            <a:extLst>
              <a:ext uri="{FF2B5EF4-FFF2-40B4-BE49-F238E27FC236}">
                <a16:creationId xmlns:a16="http://schemas.microsoft.com/office/drawing/2014/main" id="{1B933335-902F-46BF-8E25-5CBB8CC2FC1C}"/>
              </a:ext>
            </a:extLst>
          </p:cNvPr>
          <p:cNvSpPr txBox="1"/>
          <p:nvPr/>
        </p:nvSpPr>
        <p:spPr bwMode="auto">
          <a:xfrm>
            <a:off x="5493965" y="1303546"/>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2000" i="1"/>
              <a:t>CPE upgrade decoupled from core network upgrade</a:t>
            </a:r>
          </a:p>
        </p:txBody>
      </p:sp>
      <p:sp>
        <p:nvSpPr>
          <p:cNvPr id="60" name="Rectangle 59">
            <a:extLst>
              <a:ext uri="{FF2B5EF4-FFF2-40B4-BE49-F238E27FC236}">
                <a16:creationId xmlns:a16="http://schemas.microsoft.com/office/drawing/2014/main" id="{B15B86D6-4B7A-44C9-8ACE-FF02D13123AB}"/>
              </a:ext>
            </a:extLst>
          </p:cNvPr>
          <p:cNvSpPr/>
          <p:nvPr/>
        </p:nvSpPr>
        <p:spPr bwMode="auto">
          <a:xfrm>
            <a:off x="8100136" y="3494014"/>
            <a:ext cx="2228852" cy="1390159"/>
          </a:xfrm>
          <a:prstGeom prst="rect">
            <a:avLst/>
          </a:prstGeom>
          <a:noFill/>
          <a:ln w="12700" cap="flat" cmpd="sng" algn="ctr">
            <a:solidFill>
              <a:srgbClr val="242424"/>
            </a:solidFill>
            <a:prstDash val="dash"/>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endParaRPr kumimoji="0" lang="en-US" sz="2000" b="0" i="0" u="none" strike="noStrike" cap="none" normalizeH="0" baseline="0" err="1">
              <a:ln>
                <a:noFill/>
              </a:ln>
              <a:solidFill>
                <a:schemeClr val="bg1"/>
              </a:solidFill>
              <a:effectLst/>
              <a:latin typeface="+mn-lt"/>
            </a:endParaRPr>
          </a:p>
        </p:txBody>
      </p:sp>
      <p:sp>
        <p:nvSpPr>
          <p:cNvPr id="61" name="TextBox 60">
            <a:extLst>
              <a:ext uri="{FF2B5EF4-FFF2-40B4-BE49-F238E27FC236}">
                <a16:creationId xmlns:a16="http://schemas.microsoft.com/office/drawing/2014/main" id="{BD1C7491-4693-4A42-BE64-3C6443221C8F}"/>
              </a:ext>
            </a:extLst>
          </p:cNvPr>
          <p:cNvSpPr txBox="1"/>
          <p:nvPr/>
        </p:nvSpPr>
        <p:spPr bwMode="auto">
          <a:xfrm>
            <a:off x="8822803" y="4831826"/>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i="1">
                <a:solidFill>
                  <a:schemeClr val="bg1">
                    <a:lumMod val="65000"/>
                  </a:schemeClr>
                </a:solidFill>
              </a:rPr>
              <a:t>May be integrated</a:t>
            </a:r>
          </a:p>
        </p:txBody>
      </p:sp>
      <p:sp>
        <p:nvSpPr>
          <p:cNvPr id="71" name="TextBox 70">
            <a:extLst>
              <a:ext uri="{FF2B5EF4-FFF2-40B4-BE49-F238E27FC236}">
                <a16:creationId xmlns:a16="http://schemas.microsoft.com/office/drawing/2014/main" id="{6ECD62F9-723B-462B-9D4A-3D481377A7F9}"/>
              </a:ext>
            </a:extLst>
          </p:cNvPr>
          <p:cNvSpPr txBox="1"/>
          <p:nvPr/>
        </p:nvSpPr>
        <p:spPr bwMode="auto">
          <a:xfrm>
            <a:off x="6626912" y="2816162"/>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200" i="1">
                <a:solidFill>
                  <a:schemeClr val="bg1">
                    <a:lumMod val="65000"/>
                  </a:schemeClr>
                </a:solidFill>
              </a:rPr>
              <a:t>Proxy for FN-RG</a:t>
            </a:r>
          </a:p>
        </p:txBody>
      </p:sp>
      <p:sp>
        <p:nvSpPr>
          <p:cNvPr id="86" name="TextBox 85">
            <a:extLst>
              <a:ext uri="{FF2B5EF4-FFF2-40B4-BE49-F238E27FC236}">
                <a16:creationId xmlns:a16="http://schemas.microsoft.com/office/drawing/2014/main" id="{B3FAA665-6C9C-4B35-B141-B1927FBDEF67}"/>
              </a:ext>
            </a:extLst>
          </p:cNvPr>
          <p:cNvSpPr txBox="1"/>
          <p:nvPr/>
        </p:nvSpPr>
        <p:spPr bwMode="auto">
          <a:xfrm>
            <a:off x="5688523" y="3738113"/>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F</a:t>
            </a:r>
            <a:endParaRPr lang="en-US" sz="2400"/>
          </a:p>
          <a:p>
            <a:pPr marL="0" indent="0" algn="ctr">
              <a:buClr>
                <a:schemeClr val="tx1"/>
              </a:buClr>
              <a:buNone/>
            </a:pPr>
            <a:r>
              <a:rPr lang="en-US" sz="1200"/>
              <a:t>Access</a:t>
            </a:r>
          </a:p>
          <a:p>
            <a:pPr marL="0" indent="0" algn="ctr">
              <a:buClr>
                <a:schemeClr val="tx1"/>
              </a:buClr>
              <a:buNone/>
            </a:pPr>
            <a:r>
              <a:rPr lang="en-US" sz="1200"/>
              <a:t>Node</a:t>
            </a:r>
            <a:br>
              <a:rPr lang="en-US" sz="1200"/>
            </a:br>
            <a:endParaRPr lang="en-US" sz="1200"/>
          </a:p>
        </p:txBody>
      </p:sp>
      <p:sp>
        <p:nvSpPr>
          <p:cNvPr id="87" name="TextBox 86">
            <a:extLst>
              <a:ext uri="{FF2B5EF4-FFF2-40B4-BE49-F238E27FC236}">
                <a16:creationId xmlns:a16="http://schemas.microsoft.com/office/drawing/2014/main" id="{99E75FE7-838A-4228-ADD7-7E97E37EC916}"/>
              </a:ext>
            </a:extLst>
          </p:cNvPr>
          <p:cNvSpPr txBox="1"/>
          <p:nvPr/>
        </p:nvSpPr>
        <p:spPr bwMode="auto">
          <a:xfrm>
            <a:off x="8410589" y="3717914"/>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G</a:t>
            </a:r>
            <a:endParaRPr lang="en-US" sz="2400"/>
          </a:p>
          <a:p>
            <a:pPr marL="0" lvl="0" indent="0" algn="ctr">
              <a:buClr>
                <a:srgbClr val="181818"/>
              </a:buClr>
              <a:buNone/>
            </a:pPr>
            <a:r>
              <a:rPr lang="en-US" sz="1200">
                <a:solidFill>
                  <a:srgbClr val="181818"/>
                </a:solidFill>
              </a:rPr>
              <a:t>AGF</a:t>
            </a:r>
          </a:p>
        </p:txBody>
      </p:sp>
      <p:sp>
        <p:nvSpPr>
          <p:cNvPr id="68" name="Isosceles Triangle 67">
            <a:extLst>
              <a:ext uri="{FF2B5EF4-FFF2-40B4-BE49-F238E27FC236}">
                <a16:creationId xmlns:a16="http://schemas.microsoft.com/office/drawing/2014/main" id="{F1121009-3596-4E34-AFC7-4DF3240CACD5}"/>
              </a:ext>
            </a:extLst>
          </p:cNvPr>
          <p:cNvSpPr/>
          <p:nvPr/>
        </p:nvSpPr>
        <p:spPr bwMode="auto">
          <a:xfrm>
            <a:off x="8503063" y="4279894"/>
            <a:ext cx="457200" cy="295144"/>
          </a:xfrm>
          <a:prstGeom prst="triangl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72000" tIns="36000" rIns="73152" bIns="36576"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en-US" sz="1050" b="0" i="0" u="none" strike="noStrike" cap="none" normalizeH="0" baseline="0">
                <a:ln>
                  <a:noFill/>
                </a:ln>
                <a:effectLst/>
                <a:latin typeface="+mn-lt"/>
              </a:rPr>
              <a:t>NAS</a:t>
            </a:r>
          </a:p>
        </p:txBody>
      </p:sp>
      <p:cxnSp>
        <p:nvCxnSpPr>
          <p:cNvPr id="70" name="Straight Arrow Connector 69">
            <a:extLst>
              <a:ext uri="{FF2B5EF4-FFF2-40B4-BE49-F238E27FC236}">
                <a16:creationId xmlns:a16="http://schemas.microsoft.com/office/drawing/2014/main" id="{2C063E3C-5E01-4A77-A341-7C3DCBDE4B50}"/>
              </a:ext>
            </a:extLst>
          </p:cNvPr>
          <p:cNvCxnSpPr>
            <a:cxnSpLocks/>
          </p:cNvCxnSpPr>
          <p:nvPr/>
        </p:nvCxnSpPr>
        <p:spPr bwMode="auto">
          <a:xfrm>
            <a:off x="7642936" y="3099489"/>
            <a:ext cx="941881" cy="1296196"/>
          </a:xfrm>
          <a:prstGeom prst="straightConnector1">
            <a:avLst/>
          </a:prstGeom>
          <a:solidFill>
            <a:schemeClr val="accent1"/>
          </a:solidFill>
          <a:ln w="12700" cap="flat" cmpd="sng" algn="ctr">
            <a:solidFill>
              <a:schemeClr val="bg1">
                <a:lumMod val="65000"/>
              </a:schemeClr>
            </a:solidFill>
            <a:prstDash val="solid"/>
            <a:round/>
            <a:headEnd type="none" w="med" len="med"/>
            <a:tailEnd type="triangle"/>
          </a:ln>
          <a:effectLst/>
        </p:spPr>
      </p:cxnSp>
      <p:sp>
        <p:nvSpPr>
          <p:cNvPr id="88" name="TextBox 87">
            <a:extLst>
              <a:ext uri="{FF2B5EF4-FFF2-40B4-BE49-F238E27FC236}">
                <a16:creationId xmlns:a16="http://schemas.microsoft.com/office/drawing/2014/main" id="{6A668775-7F33-4D9E-A725-025CDC035A7E}"/>
              </a:ext>
            </a:extLst>
          </p:cNvPr>
          <p:cNvSpPr txBox="1"/>
          <p:nvPr/>
        </p:nvSpPr>
        <p:spPr bwMode="auto">
          <a:xfrm>
            <a:off x="9443789" y="3710770"/>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G</a:t>
            </a:r>
            <a:endParaRPr lang="en-US" sz="2400"/>
          </a:p>
          <a:p>
            <a:pPr marL="0" lvl="0" indent="0" algn="ctr">
              <a:buClr>
                <a:srgbClr val="181818"/>
              </a:buClr>
              <a:buNone/>
            </a:pPr>
            <a:r>
              <a:rPr lang="en-US" sz="1200">
                <a:solidFill>
                  <a:srgbClr val="181818"/>
                </a:solidFill>
              </a:rPr>
              <a:t>UPF</a:t>
            </a:r>
          </a:p>
        </p:txBody>
      </p:sp>
      <p:sp>
        <p:nvSpPr>
          <p:cNvPr id="89" name="TextBox 88">
            <a:extLst>
              <a:ext uri="{FF2B5EF4-FFF2-40B4-BE49-F238E27FC236}">
                <a16:creationId xmlns:a16="http://schemas.microsoft.com/office/drawing/2014/main" id="{A9CC99C1-4963-4B48-B344-D4B99C39AD32}"/>
              </a:ext>
            </a:extLst>
          </p:cNvPr>
          <p:cNvSpPr txBox="1"/>
          <p:nvPr/>
        </p:nvSpPr>
        <p:spPr bwMode="auto">
          <a:xfrm>
            <a:off x="2985592" y="4487742"/>
            <a:ext cx="576000" cy="1091558"/>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a:buClr>
                <a:schemeClr val="tx1"/>
              </a:buClr>
              <a:buNone/>
            </a:pPr>
            <a:r>
              <a:rPr lang="en-US" sz="2400">
                <a:latin typeface="Ericsson Technical Icons" panose="00000500000000000000" pitchFamily="2" charset="0"/>
              </a:rPr>
              <a:t>G</a:t>
            </a:r>
            <a:endParaRPr lang="en-US" sz="2400"/>
          </a:p>
          <a:p>
            <a:pPr marL="0" lvl="0" indent="0" algn="ctr">
              <a:buClr>
                <a:srgbClr val="181818"/>
              </a:buClr>
              <a:buNone/>
            </a:pPr>
            <a:r>
              <a:rPr lang="en-US" sz="1200">
                <a:solidFill>
                  <a:srgbClr val="181818"/>
                </a:solidFill>
              </a:rPr>
              <a:t>5G_RG</a:t>
            </a:r>
          </a:p>
        </p:txBody>
      </p:sp>
      <p:sp>
        <p:nvSpPr>
          <p:cNvPr id="8" name="Flowchart: Card 7">
            <a:extLst>
              <a:ext uri="{FF2B5EF4-FFF2-40B4-BE49-F238E27FC236}">
                <a16:creationId xmlns:a16="http://schemas.microsoft.com/office/drawing/2014/main" id="{E5D0518F-429F-471E-A21A-3B7719BCF08A}"/>
              </a:ext>
            </a:extLst>
          </p:cNvPr>
          <p:cNvSpPr/>
          <p:nvPr/>
        </p:nvSpPr>
        <p:spPr bwMode="auto">
          <a:xfrm>
            <a:off x="3015186" y="5046264"/>
            <a:ext cx="480014" cy="257495"/>
          </a:xfrm>
          <a:prstGeom prst="flowChartPunchedCard">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ts val="300"/>
              </a:spcBef>
              <a:spcAft>
                <a:spcPct val="0"/>
              </a:spcAft>
              <a:buClrTx/>
              <a:buSzTx/>
              <a:buNone/>
              <a:tabLst/>
            </a:pPr>
            <a:r>
              <a:rPr kumimoji="0" lang="en-US" sz="1100" b="0" i="0" u="none" strike="noStrike" cap="none" normalizeH="0" baseline="0">
                <a:ln>
                  <a:noFill/>
                </a:ln>
                <a:effectLst/>
                <a:latin typeface="+mn-lt"/>
              </a:rPr>
              <a:t>UICC</a:t>
            </a:r>
          </a:p>
        </p:txBody>
      </p:sp>
      <p:sp>
        <p:nvSpPr>
          <p:cNvPr id="67" name="Isosceles Triangle 66">
            <a:extLst>
              <a:ext uri="{FF2B5EF4-FFF2-40B4-BE49-F238E27FC236}">
                <a16:creationId xmlns:a16="http://schemas.microsoft.com/office/drawing/2014/main" id="{10F56213-CD75-4374-8EF1-1D6591105A02}"/>
              </a:ext>
            </a:extLst>
          </p:cNvPr>
          <p:cNvSpPr/>
          <p:nvPr/>
        </p:nvSpPr>
        <p:spPr bwMode="auto">
          <a:xfrm>
            <a:off x="3042782" y="5226372"/>
            <a:ext cx="457200" cy="295144"/>
          </a:xfrm>
          <a:prstGeom prst="triangle">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72000" tIns="36000" rIns="73152" bIns="36576"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300"/>
              </a:spcBef>
              <a:spcAft>
                <a:spcPct val="0"/>
              </a:spcAft>
              <a:buClrTx/>
              <a:buSzTx/>
              <a:buNone/>
              <a:tabLst/>
            </a:pPr>
            <a:r>
              <a:rPr kumimoji="0" lang="en-US" sz="1050" b="0" i="0" u="none" strike="noStrike" cap="none" normalizeH="0" baseline="0">
                <a:ln>
                  <a:noFill/>
                </a:ln>
                <a:effectLst/>
                <a:latin typeface="+mn-lt"/>
              </a:rPr>
              <a:t>NAS</a:t>
            </a:r>
          </a:p>
        </p:txBody>
      </p:sp>
      <p:sp>
        <p:nvSpPr>
          <p:cNvPr id="90" name="TextBox 89">
            <a:extLst>
              <a:ext uri="{FF2B5EF4-FFF2-40B4-BE49-F238E27FC236}">
                <a16:creationId xmlns:a16="http://schemas.microsoft.com/office/drawing/2014/main" id="{3252F4FA-0B40-47B8-BF41-20F0D7990033}"/>
              </a:ext>
            </a:extLst>
          </p:cNvPr>
          <p:cNvSpPr txBox="1"/>
          <p:nvPr/>
        </p:nvSpPr>
        <p:spPr bwMode="auto">
          <a:xfrm>
            <a:off x="11250402" y="4735063"/>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fontAlgn="auto">
              <a:spcBef>
                <a:spcPts val="0"/>
              </a:spcBef>
              <a:spcAft>
                <a:spcPts val="0"/>
              </a:spcAft>
              <a:buClr>
                <a:srgbClr val="181818"/>
              </a:buClr>
              <a:buNone/>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indent="0" algn="ctr" fontAlgn="auto">
              <a:spcBef>
                <a:spcPts val="0"/>
              </a:spcBef>
              <a:spcAft>
                <a:spcPts val="0"/>
              </a:spcAft>
              <a:buClr>
                <a:srgbClr val="181818"/>
              </a:buClr>
              <a:buNone/>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a:p>
            <a:pPr marL="0" indent="0" algn="ctr" fontAlgn="auto">
              <a:spcBef>
                <a:spcPts val="0"/>
              </a:spcBef>
              <a:spcAft>
                <a:spcPts val="0"/>
              </a:spcAft>
              <a:buClr>
                <a:srgbClr val="181818"/>
              </a:buClr>
              <a:buNone/>
              <a:defRPr/>
            </a:pPr>
            <a:endParaRPr kumimoji="0" lang="en-US" altLang="en-US" sz="600" b="0" i="0" u="none" strike="noStrike" kern="0" cap="none" spc="0" normalizeH="0" baseline="0" noProof="0">
              <a:ln>
                <a:noFill/>
              </a:ln>
              <a:solidFill>
                <a:srgbClr val="58585A"/>
              </a:solidFill>
              <a:effectLst/>
              <a:uLnTx/>
              <a:uFillTx/>
              <a:latin typeface="Ericsson Hilda"/>
              <a:ea typeface="MS PGothic" charset="-128"/>
              <a:cs typeface="+mn-cs"/>
            </a:endParaRPr>
          </a:p>
          <a:p>
            <a:pPr marL="0" indent="0" algn="ctr" fontAlgn="auto">
              <a:spcBef>
                <a:spcPts val="0"/>
              </a:spcBef>
              <a:spcAft>
                <a:spcPts val="0"/>
              </a:spcAft>
              <a:buClr>
                <a:srgbClr val="181818"/>
              </a:buClr>
              <a:buNone/>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ACS</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cxnSp>
        <p:nvCxnSpPr>
          <p:cNvPr id="41" name="Straight Connector 40">
            <a:extLst>
              <a:ext uri="{FF2B5EF4-FFF2-40B4-BE49-F238E27FC236}">
                <a16:creationId xmlns:a16="http://schemas.microsoft.com/office/drawing/2014/main" id="{D5AF2B88-8A73-4D61-86DB-422539A077ED}"/>
              </a:ext>
            </a:extLst>
          </p:cNvPr>
          <p:cNvCxnSpPr>
            <a:stCxn id="29" idx="1"/>
            <a:endCxn id="90" idx="0"/>
          </p:cNvCxnSpPr>
          <p:nvPr/>
        </p:nvCxnSpPr>
        <p:spPr bwMode="auto">
          <a:xfrm>
            <a:off x="11472437" y="4589905"/>
            <a:ext cx="65965" cy="145158"/>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91" name="TextBox 90">
            <a:extLst>
              <a:ext uri="{FF2B5EF4-FFF2-40B4-BE49-F238E27FC236}">
                <a16:creationId xmlns:a16="http://schemas.microsoft.com/office/drawing/2014/main" id="{3D2ED445-D4B8-40B4-8E9C-A0587BF32FF6}"/>
              </a:ext>
            </a:extLst>
          </p:cNvPr>
          <p:cNvSpPr txBox="1"/>
          <p:nvPr/>
        </p:nvSpPr>
        <p:spPr bwMode="auto">
          <a:xfrm>
            <a:off x="8902126" y="1749946"/>
            <a:ext cx="576000" cy="936000"/>
          </a:xfrm>
          <a:prstGeom prst="rect">
            <a:avLst/>
          </a:prstGeom>
          <a:solidFill>
            <a:schemeClr val="bg1"/>
          </a:solidFill>
          <a:ln w="19050">
            <a:solidFill>
              <a:schemeClr val="tx1"/>
            </a:solidFill>
            <a:prstDash val="solid"/>
            <a:miter lim="800000"/>
            <a:headEnd/>
            <a:tailEnd/>
          </a:ln>
        </p:spPr>
        <p:txBody>
          <a:bodyPr vert="horz" wrap="square" lIns="0" tIns="18000" rIns="0" bIns="0" numCol="1" rtlCol="0" anchor="t" anchorCtr="0" compatLnSpc="1">
            <a:prstTxWarp prst="textNoShape">
              <a:avLst/>
            </a:prstTxWarp>
            <a:noAutofit/>
          </a:bodyPr>
          <a:lstStyle/>
          <a:p>
            <a:pPr marL="0" indent="0" algn="ctr" fontAlgn="auto">
              <a:spcBef>
                <a:spcPts val="0"/>
              </a:spcBef>
              <a:spcAft>
                <a:spcPts val="0"/>
              </a:spcAft>
              <a:buClr>
                <a:srgbClr val="181818"/>
              </a:buClr>
              <a:buNone/>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S</a:t>
            </a:r>
          </a:p>
          <a:p>
            <a:pPr marL="0" indent="0" algn="ctr" fontAlgn="auto">
              <a:spcBef>
                <a:spcPts val="0"/>
              </a:spcBef>
              <a:spcAft>
                <a:spcPts val="0"/>
              </a:spcAft>
              <a:buClr>
                <a:srgbClr val="181818"/>
              </a:buClr>
              <a:buNone/>
              <a:defRPr/>
            </a:pPr>
            <a:r>
              <a:rPr kumimoji="0" lang="en-US" sz="16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D</a:t>
            </a:r>
            <a:endParaRPr kumimoji="0" lang="en-US" sz="1600" b="0" i="0" u="none" strike="noStrike" kern="1200" cap="none" spc="0" normalizeH="0" baseline="0" noProof="0">
              <a:ln>
                <a:noFill/>
              </a:ln>
              <a:solidFill>
                <a:srgbClr val="181818"/>
              </a:solidFill>
              <a:effectLst/>
              <a:uLnTx/>
              <a:uFillTx/>
              <a:latin typeface="Ericsson Hilda"/>
              <a:ea typeface="+mn-ea"/>
              <a:cs typeface="+mn-cs"/>
            </a:endParaRPr>
          </a:p>
          <a:p>
            <a:pPr marL="0" indent="0" algn="ctr" fontAlgn="auto">
              <a:spcBef>
                <a:spcPts val="0"/>
              </a:spcBef>
              <a:spcAft>
                <a:spcPts val="0"/>
              </a:spcAft>
              <a:buClr>
                <a:srgbClr val="181818"/>
              </a:buClr>
              <a:buNone/>
              <a:defRPr/>
            </a:pPr>
            <a:endParaRPr kumimoji="0" lang="en-US" altLang="en-US" sz="600" b="0" i="0" u="none" strike="noStrike" kern="0" cap="none" spc="0" normalizeH="0" baseline="0" noProof="0">
              <a:ln>
                <a:noFill/>
              </a:ln>
              <a:solidFill>
                <a:srgbClr val="58585A"/>
              </a:solidFill>
              <a:effectLst/>
              <a:uLnTx/>
              <a:uFillTx/>
              <a:latin typeface="Ericsson Hilda"/>
              <a:ea typeface="MS PGothic" charset="-128"/>
              <a:cs typeface="+mn-cs"/>
            </a:endParaRPr>
          </a:p>
          <a:p>
            <a:pPr marL="0" indent="0" algn="ctr" fontAlgn="auto">
              <a:spcBef>
                <a:spcPts val="0"/>
              </a:spcBef>
              <a:spcAft>
                <a:spcPts val="0"/>
              </a:spcAft>
              <a:buClr>
                <a:srgbClr val="181818"/>
              </a:buClr>
              <a:buNone/>
              <a:defRPr/>
            </a:pPr>
            <a:r>
              <a:rPr kumimoji="0" lang="en-US" altLang="en-US" sz="1200" b="0" i="0" u="none" strike="noStrike" kern="0" cap="none" spc="0" normalizeH="0" baseline="0" noProof="0">
                <a:ln>
                  <a:noFill/>
                </a:ln>
                <a:solidFill>
                  <a:srgbClr val="58585A"/>
                </a:solidFill>
                <a:effectLst/>
                <a:uLnTx/>
                <a:uFillTx/>
                <a:latin typeface="Ericsson Hilda"/>
                <a:ea typeface="MS PGothic" charset="-128"/>
                <a:cs typeface="+mn-cs"/>
              </a:rPr>
              <a:t>5GC</a:t>
            </a:r>
            <a:endParaRPr kumimoji="0" lang="en-US" sz="12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 name="TextBox 2">
            <a:extLst>
              <a:ext uri="{FF2B5EF4-FFF2-40B4-BE49-F238E27FC236}">
                <a16:creationId xmlns:a16="http://schemas.microsoft.com/office/drawing/2014/main" id="{FA554DA4-E198-40FB-B411-F077849ED205}"/>
              </a:ext>
            </a:extLst>
          </p:cNvPr>
          <p:cNvSpPr txBox="1"/>
          <p:nvPr/>
        </p:nvSpPr>
        <p:spPr bwMode="auto">
          <a:xfrm>
            <a:off x="4403634" y="4457648"/>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a:t>Y4</a:t>
            </a:r>
          </a:p>
        </p:txBody>
      </p:sp>
      <p:sp>
        <p:nvSpPr>
          <p:cNvPr id="51" name="TextBox 50">
            <a:extLst>
              <a:ext uri="{FF2B5EF4-FFF2-40B4-BE49-F238E27FC236}">
                <a16:creationId xmlns:a16="http://schemas.microsoft.com/office/drawing/2014/main" id="{A4FD9167-99F6-4816-90AD-4C5D8B231CC5}"/>
              </a:ext>
            </a:extLst>
          </p:cNvPr>
          <p:cNvSpPr txBox="1"/>
          <p:nvPr/>
        </p:nvSpPr>
        <p:spPr bwMode="auto">
          <a:xfrm>
            <a:off x="10484003" y="3903413"/>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a:t>N6</a:t>
            </a:r>
          </a:p>
        </p:txBody>
      </p:sp>
      <p:sp>
        <p:nvSpPr>
          <p:cNvPr id="54" name="TextBox 53">
            <a:extLst>
              <a:ext uri="{FF2B5EF4-FFF2-40B4-BE49-F238E27FC236}">
                <a16:creationId xmlns:a16="http://schemas.microsoft.com/office/drawing/2014/main" id="{0A2D5EDB-F540-4159-B77C-5BA8095B09E3}"/>
              </a:ext>
            </a:extLst>
          </p:cNvPr>
          <p:cNvSpPr txBox="1"/>
          <p:nvPr/>
        </p:nvSpPr>
        <p:spPr bwMode="auto">
          <a:xfrm>
            <a:off x="4658905" y="2989013"/>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a:t>Y5</a:t>
            </a:r>
          </a:p>
        </p:txBody>
      </p:sp>
      <p:sp>
        <p:nvSpPr>
          <p:cNvPr id="55" name="TextBox 54">
            <a:extLst>
              <a:ext uri="{FF2B5EF4-FFF2-40B4-BE49-F238E27FC236}">
                <a16:creationId xmlns:a16="http://schemas.microsoft.com/office/drawing/2014/main" id="{057B69F8-01E4-470E-8257-F79A85382627}"/>
              </a:ext>
            </a:extLst>
          </p:cNvPr>
          <p:cNvSpPr txBox="1"/>
          <p:nvPr/>
        </p:nvSpPr>
        <p:spPr bwMode="auto">
          <a:xfrm>
            <a:off x="9512659" y="2865731"/>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a:t>N4</a:t>
            </a:r>
          </a:p>
        </p:txBody>
      </p:sp>
      <p:sp>
        <p:nvSpPr>
          <p:cNvPr id="62" name="TextBox 61">
            <a:extLst>
              <a:ext uri="{FF2B5EF4-FFF2-40B4-BE49-F238E27FC236}">
                <a16:creationId xmlns:a16="http://schemas.microsoft.com/office/drawing/2014/main" id="{11DBA89F-997F-4827-BAB4-0B2C6E5CA881}"/>
              </a:ext>
            </a:extLst>
          </p:cNvPr>
          <p:cNvSpPr txBox="1"/>
          <p:nvPr/>
        </p:nvSpPr>
        <p:spPr bwMode="auto">
          <a:xfrm>
            <a:off x="8507850" y="2874438"/>
            <a:ext cx="914400" cy="91440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marL="0" indent="0" algn="l">
              <a:buClr>
                <a:schemeClr val="tx1"/>
              </a:buClr>
              <a:buNone/>
            </a:pPr>
            <a:r>
              <a:rPr lang="en-US" sz="1400"/>
              <a:t>N2</a:t>
            </a:r>
          </a:p>
        </p:txBody>
      </p:sp>
    </p:spTree>
    <p:extLst>
      <p:ext uri="{BB962C8B-B14F-4D97-AF65-F5344CB8AC3E}">
        <p14:creationId xmlns:p14="http://schemas.microsoft.com/office/powerpoint/2010/main" val="2452932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7593DA3-E58F-49A7-92F0-5E32C3C9C116}"/>
              </a:ext>
            </a:extLst>
          </p:cNvPr>
          <p:cNvSpPr>
            <a:spLocks noGrp="1"/>
          </p:cNvSpPr>
          <p:nvPr>
            <p:ph type="title"/>
          </p:nvPr>
        </p:nvSpPr>
        <p:spPr/>
        <p:txBody>
          <a:bodyPr/>
          <a:lstStyle/>
          <a:p>
            <a:r>
              <a:rPr lang="en-US"/>
              <a:t>3GPP 5GC architecture</a:t>
            </a:r>
            <a:br>
              <a:rPr lang="en-US" sz="2800"/>
            </a:br>
            <a:r>
              <a:rPr lang="en-US" sz="2800"/>
              <a:t>Key benefits of 5GC</a:t>
            </a:r>
            <a:endParaRPr lang="en-US"/>
          </a:p>
        </p:txBody>
      </p:sp>
      <p:cxnSp>
        <p:nvCxnSpPr>
          <p:cNvPr id="5" name="Straight Connector 4">
            <a:extLst>
              <a:ext uri="{FF2B5EF4-FFF2-40B4-BE49-F238E27FC236}">
                <a16:creationId xmlns:a16="http://schemas.microsoft.com/office/drawing/2014/main" id="{51B36CB7-C1C1-4611-BF53-7182DCF8698C}"/>
              </a:ext>
            </a:extLst>
          </p:cNvPr>
          <p:cNvCxnSpPr>
            <a:cxnSpLocks/>
            <a:stCxn id="43" idx="3"/>
          </p:cNvCxnSpPr>
          <p:nvPr/>
        </p:nvCxnSpPr>
        <p:spPr bwMode="auto">
          <a:xfrm>
            <a:off x="5925690" y="5276486"/>
            <a:ext cx="3614608" cy="0"/>
          </a:xfrm>
          <a:prstGeom prst="line">
            <a:avLst/>
          </a:prstGeom>
          <a:solidFill>
            <a:schemeClr val="accent1"/>
          </a:solidFill>
          <a:ln w="12700" cap="flat" cmpd="sng" algn="ctr">
            <a:solidFill>
              <a:schemeClr val="bg1"/>
            </a:solidFill>
            <a:prstDash val="solid"/>
            <a:round/>
            <a:headEnd type="none" w="med" len="med"/>
            <a:tailEnd type="none"/>
          </a:ln>
          <a:effectLst/>
        </p:spPr>
      </p:cxnSp>
      <p:sp>
        <p:nvSpPr>
          <p:cNvPr id="8" name="Rounded Rectangle 59">
            <a:extLst>
              <a:ext uri="{FF2B5EF4-FFF2-40B4-BE49-F238E27FC236}">
                <a16:creationId xmlns:a16="http://schemas.microsoft.com/office/drawing/2014/main" id="{969DB009-76ED-4E4A-AE2E-90D4244D8AD1}"/>
              </a:ext>
            </a:extLst>
          </p:cNvPr>
          <p:cNvSpPr>
            <a:spLocks noChangeArrowheads="1"/>
          </p:cNvSpPr>
          <p:nvPr/>
        </p:nvSpPr>
        <p:spPr bwMode="auto">
          <a:xfrm>
            <a:off x="527050" y="1743002"/>
            <a:ext cx="4674416" cy="4610551"/>
          </a:xfrm>
          <a:prstGeom prst="roundRect">
            <a:avLst>
              <a:gd name="adj" fmla="val 0"/>
            </a:avLst>
          </a:prstGeom>
          <a:solidFill>
            <a:schemeClr val="accent1"/>
          </a:solidFill>
          <a:ln w="12700">
            <a:noFill/>
            <a:round/>
            <a:headEnd/>
            <a:tailEnd/>
          </a:ln>
        </p:spPr>
        <p:txBody>
          <a:bodyPr wrap="square" lIns="180000" tIns="133200" rIns="71988" bIns="45718"/>
          <a:lstStyle/>
          <a:p>
            <a:pPr marL="285750" marR="0" lvl="0"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NR standalone (SA) mode</a:t>
            </a:r>
            <a:br>
              <a:rPr kumimoji="0" lang="en-US" sz="1600" b="0" i="0" u="none" strike="noStrike" kern="1200" cap="none" spc="0" normalizeH="0" baseline="0" noProof="0">
                <a:ln>
                  <a:noFill/>
                </a:ln>
                <a:solidFill>
                  <a:srgbClr val="FFFFFF"/>
                </a:solidFill>
                <a:effectLst/>
                <a:uLnTx/>
                <a:uFillTx/>
                <a:latin typeface="Ericsson Hilda"/>
                <a:ea typeface="+mn-ea"/>
                <a:cs typeface="+mn-cs"/>
              </a:rPr>
            </a:b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Improved service capabilities:</a:t>
            </a:r>
          </a:p>
          <a:p>
            <a:pPr marL="742950" marR="0" lvl="1"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One UE can simultaneously connect </a:t>
            </a:r>
            <a:br>
              <a:rPr kumimoji="0" lang="en-US" sz="1600" b="0" i="0" u="none" strike="noStrike" kern="1200" cap="none" spc="0" normalizeH="0" baseline="0" noProof="0">
                <a:ln>
                  <a:noFill/>
                </a:ln>
                <a:solidFill>
                  <a:srgbClr val="FFFFFF"/>
                </a:solidFill>
                <a:effectLst/>
                <a:uLnTx/>
                <a:uFillTx/>
                <a:latin typeface="Ericsson Hilda"/>
                <a:ea typeface="+mn-ea"/>
                <a:cs typeface="+mn-cs"/>
              </a:rPr>
            </a:br>
            <a:r>
              <a:rPr kumimoji="0" lang="en-US" sz="1600" b="0" i="0" u="none" strike="noStrike" kern="1200" cap="none" spc="0" normalizeH="0" baseline="0" noProof="0">
                <a:ln>
                  <a:noFill/>
                </a:ln>
                <a:solidFill>
                  <a:srgbClr val="FFFFFF"/>
                </a:solidFill>
                <a:effectLst/>
                <a:uLnTx/>
                <a:uFillTx/>
                <a:latin typeface="Ericsson Hilda"/>
                <a:ea typeface="+mn-ea"/>
                <a:cs typeface="+mn-cs"/>
              </a:rPr>
              <a:t>to multiple network slices</a:t>
            </a:r>
          </a:p>
          <a:p>
            <a:pPr marL="742950" marR="0" lvl="1"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Mobility on Demand” concept allows for enhanced service differentiation ,e.g. to limit access to certain geo areas for FWA</a:t>
            </a:r>
          </a:p>
          <a:p>
            <a:pPr marL="742950" marR="0" lvl="1"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Improved and simplified </a:t>
            </a:r>
            <a:r>
              <a:rPr kumimoji="0" lang="en-US" sz="1600" b="0" i="0" u="none" strike="noStrike" kern="1200" cap="none" spc="0" normalizeH="0" baseline="0" noProof="0" err="1">
                <a:ln>
                  <a:noFill/>
                </a:ln>
                <a:solidFill>
                  <a:srgbClr val="FFFFFF"/>
                </a:solidFill>
                <a:effectLst/>
                <a:uLnTx/>
                <a:uFillTx/>
                <a:latin typeface="Ericsson Hilda"/>
                <a:ea typeface="+mn-ea"/>
                <a:cs typeface="+mn-cs"/>
              </a:rPr>
              <a:t>QoS</a:t>
            </a: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Enhanced support for distributed cloud since a UE can simultaneously access both local and centralized networks within a single connection </a:t>
            </a:r>
            <a:br>
              <a:rPr kumimoji="0" lang="en-US" sz="1600" b="0" i="0" u="none" strike="noStrike" kern="1200" cap="none" spc="0" normalizeH="0" baseline="0" noProof="0">
                <a:ln>
                  <a:noFill/>
                </a:ln>
                <a:solidFill>
                  <a:srgbClr val="FFFFFF"/>
                </a:solidFill>
                <a:effectLst/>
                <a:uLnTx/>
                <a:uFillTx/>
                <a:latin typeface="Ericsson Hilda"/>
                <a:ea typeface="+mn-ea"/>
                <a:cs typeface="+mn-cs"/>
              </a:rPr>
            </a:b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Support for devices without SIM cards</a:t>
            </a:r>
            <a:br>
              <a:rPr kumimoji="0" lang="en-US" sz="1600" b="0" i="0" u="none" strike="noStrike" kern="1200" cap="none" spc="0" normalizeH="0" baseline="0" noProof="0">
                <a:ln>
                  <a:noFill/>
                </a:ln>
                <a:solidFill>
                  <a:srgbClr val="FFFFFF"/>
                </a:solidFill>
                <a:effectLst/>
                <a:uLnTx/>
                <a:uFillTx/>
                <a:latin typeface="Ericsson Hilda"/>
                <a:ea typeface="+mn-ea"/>
                <a:cs typeface="+mn-cs"/>
              </a:rPr>
            </a:br>
            <a:endParaRPr kumimoji="0" lang="en-US" sz="1600" b="0" i="0" u="none" strike="noStrike" kern="1200" cap="none" spc="0" normalizeH="0" baseline="0" noProof="0">
              <a:ln>
                <a:noFill/>
              </a:ln>
              <a:solidFill>
                <a:srgbClr val="FFFFFF"/>
              </a:solidFill>
              <a:effectLst/>
              <a:uLnTx/>
              <a:uFillTx/>
              <a:latin typeface="Ericsson Hild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 Grande"/>
              <a:buChar char="—"/>
              <a:tabLst/>
              <a:defRPr/>
            </a:pPr>
            <a:r>
              <a:rPr kumimoji="0" lang="en-US" sz="1600" b="0" i="0" u="none" strike="noStrike" kern="1200" cap="none" spc="0" normalizeH="0" baseline="0" noProof="0">
                <a:ln>
                  <a:noFill/>
                </a:ln>
                <a:solidFill>
                  <a:srgbClr val="FFFFFF"/>
                </a:solidFill>
                <a:effectLst/>
                <a:uLnTx/>
                <a:uFillTx/>
                <a:latin typeface="Ericsson Hilda"/>
                <a:ea typeface="+mn-ea"/>
                <a:cs typeface="+mn-cs"/>
              </a:rPr>
              <a:t>Supports strategic ambition to converge 3GPP and non-3GPP access support</a:t>
            </a:r>
          </a:p>
        </p:txBody>
      </p:sp>
      <p:pic>
        <p:nvPicPr>
          <p:cNvPr id="9" name="Graphic 8">
            <a:extLst>
              <a:ext uri="{FF2B5EF4-FFF2-40B4-BE49-F238E27FC236}">
                <a16:creationId xmlns:a16="http://schemas.microsoft.com/office/drawing/2014/main" id="{7751779C-B774-43E2-80C2-D19B532F7D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70683" y="4379259"/>
            <a:ext cx="769552" cy="573392"/>
          </a:xfrm>
          <a:prstGeom prst="rect">
            <a:avLst/>
          </a:prstGeom>
        </p:spPr>
      </p:pic>
      <p:sp>
        <p:nvSpPr>
          <p:cNvPr id="10" name="Rectangle 9">
            <a:extLst>
              <a:ext uri="{FF2B5EF4-FFF2-40B4-BE49-F238E27FC236}">
                <a16:creationId xmlns:a16="http://schemas.microsoft.com/office/drawing/2014/main" id="{B8F06E29-F8D4-4AE7-9971-2A0E4C8AD9EA}"/>
              </a:ext>
            </a:extLst>
          </p:cNvPr>
          <p:cNvSpPr/>
          <p:nvPr/>
        </p:nvSpPr>
        <p:spPr>
          <a:xfrm>
            <a:off x="9291593" y="4985017"/>
            <a:ext cx="2067751" cy="658642"/>
          </a:xfrm>
          <a:prstGeom prst="rect">
            <a:avLst/>
          </a:prstGeom>
        </p:spPr>
        <p:txBody>
          <a:bodyPr wrap="square">
            <a:spAutoFit/>
          </a:body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8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Data network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e.g. operator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Ericsson Hilda Regular"/>
                <a:ea typeface="MS PGothic" pitchFamily="34" charset="-128"/>
                <a:cs typeface="Ericsson Hilda Regular"/>
              </a:rPr>
              <a:t>or Internet)</a:t>
            </a:r>
          </a:p>
        </p:txBody>
      </p:sp>
      <p:sp>
        <p:nvSpPr>
          <p:cNvPr id="27" name="Rectangle 26">
            <a:extLst>
              <a:ext uri="{FF2B5EF4-FFF2-40B4-BE49-F238E27FC236}">
                <a16:creationId xmlns:a16="http://schemas.microsoft.com/office/drawing/2014/main" id="{E4A6DE31-2275-4CA3-AC54-0100E06AF387}"/>
              </a:ext>
            </a:extLst>
          </p:cNvPr>
          <p:cNvSpPr/>
          <p:nvPr/>
        </p:nvSpPr>
        <p:spPr bwMode="auto">
          <a:xfrm>
            <a:off x="5918942" y="3347306"/>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NSSF</a:t>
            </a:r>
          </a:p>
        </p:txBody>
      </p:sp>
      <p:sp>
        <p:nvSpPr>
          <p:cNvPr id="30" name="Rectangle 29">
            <a:extLst>
              <a:ext uri="{FF2B5EF4-FFF2-40B4-BE49-F238E27FC236}">
                <a16:creationId xmlns:a16="http://schemas.microsoft.com/office/drawing/2014/main" id="{9DFCF080-8C89-4CF3-9687-A61CC20F4B43}"/>
              </a:ext>
            </a:extLst>
          </p:cNvPr>
          <p:cNvSpPr/>
          <p:nvPr/>
        </p:nvSpPr>
        <p:spPr bwMode="auto">
          <a:xfrm>
            <a:off x="9958745" y="3347306"/>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AF</a:t>
            </a:r>
          </a:p>
        </p:txBody>
      </p:sp>
      <p:sp>
        <p:nvSpPr>
          <p:cNvPr id="33" name="Rectangle 32">
            <a:extLst>
              <a:ext uri="{FF2B5EF4-FFF2-40B4-BE49-F238E27FC236}">
                <a16:creationId xmlns:a16="http://schemas.microsoft.com/office/drawing/2014/main" id="{355FF1AE-77C1-4FAD-B02E-E8C5C8B69322}"/>
              </a:ext>
            </a:extLst>
          </p:cNvPr>
          <p:cNvSpPr/>
          <p:nvPr/>
        </p:nvSpPr>
        <p:spPr bwMode="auto">
          <a:xfrm>
            <a:off x="7258219" y="3361091"/>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AMF</a:t>
            </a:r>
          </a:p>
        </p:txBody>
      </p:sp>
      <p:sp>
        <p:nvSpPr>
          <p:cNvPr id="36" name="Rectangle 35">
            <a:extLst>
              <a:ext uri="{FF2B5EF4-FFF2-40B4-BE49-F238E27FC236}">
                <a16:creationId xmlns:a16="http://schemas.microsoft.com/office/drawing/2014/main" id="{080D5B1F-4C50-419B-BD1C-23FBF394CB8A}"/>
              </a:ext>
            </a:extLst>
          </p:cNvPr>
          <p:cNvSpPr/>
          <p:nvPr/>
        </p:nvSpPr>
        <p:spPr bwMode="auto">
          <a:xfrm>
            <a:off x="8233413" y="3361091"/>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SMF</a:t>
            </a:r>
          </a:p>
        </p:txBody>
      </p:sp>
      <p:sp>
        <p:nvSpPr>
          <p:cNvPr id="39" name="Rectangle 38">
            <a:extLst>
              <a:ext uri="{FF2B5EF4-FFF2-40B4-BE49-F238E27FC236}">
                <a16:creationId xmlns:a16="http://schemas.microsoft.com/office/drawing/2014/main" id="{580D3CE8-638F-43A9-AEF9-842098604D4D}"/>
              </a:ext>
            </a:extLst>
          </p:cNvPr>
          <p:cNvSpPr/>
          <p:nvPr/>
        </p:nvSpPr>
        <p:spPr bwMode="auto">
          <a:xfrm>
            <a:off x="8230966" y="4900373"/>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UPF</a:t>
            </a:r>
          </a:p>
        </p:txBody>
      </p:sp>
      <p:sp>
        <p:nvSpPr>
          <p:cNvPr id="40" name="Right Arrow 339">
            <a:extLst>
              <a:ext uri="{FF2B5EF4-FFF2-40B4-BE49-F238E27FC236}">
                <a16:creationId xmlns:a16="http://schemas.microsoft.com/office/drawing/2014/main" id="{9D33699F-C7D7-46DC-82A0-2B23DBFF4B4A}"/>
              </a:ext>
            </a:extLst>
          </p:cNvPr>
          <p:cNvSpPr/>
          <p:nvPr/>
        </p:nvSpPr>
        <p:spPr bwMode="auto">
          <a:xfrm>
            <a:off x="8406024" y="5051578"/>
            <a:ext cx="259380" cy="108112"/>
          </a:xfrm>
          <a:prstGeom prst="rightArrow">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1" name="Right Arrow 340">
            <a:extLst>
              <a:ext uri="{FF2B5EF4-FFF2-40B4-BE49-F238E27FC236}">
                <a16:creationId xmlns:a16="http://schemas.microsoft.com/office/drawing/2014/main" id="{6E8C7920-B73B-4B5B-A92C-A64F56BFF761}"/>
              </a:ext>
            </a:extLst>
          </p:cNvPr>
          <p:cNvSpPr/>
          <p:nvPr/>
        </p:nvSpPr>
        <p:spPr bwMode="auto">
          <a:xfrm rot="10800000">
            <a:off x="8406023" y="5176860"/>
            <a:ext cx="259382" cy="108114"/>
          </a:xfrm>
          <a:prstGeom prst="rightArrow">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cxnSp>
        <p:nvCxnSpPr>
          <p:cNvPr id="48" name="Straight Connector 47">
            <a:extLst>
              <a:ext uri="{FF2B5EF4-FFF2-40B4-BE49-F238E27FC236}">
                <a16:creationId xmlns:a16="http://schemas.microsoft.com/office/drawing/2014/main" id="{A9EB9ACE-FE77-43FB-BB42-3FB9E3961729}"/>
              </a:ext>
            </a:extLst>
          </p:cNvPr>
          <p:cNvCxnSpPr/>
          <p:nvPr/>
        </p:nvCxnSpPr>
        <p:spPr bwMode="auto">
          <a:xfrm>
            <a:off x="6226998" y="2849828"/>
            <a:ext cx="4042613" cy="0"/>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49" name="Straight Connector 48">
            <a:extLst>
              <a:ext uri="{FF2B5EF4-FFF2-40B4-BE49-F238E27FC236}">
                <a16:creationId xmlns:a16="http://schemas.microsoft.com/office/drawing/2014/main" id="{38D9377E-DA67-4199-87E1-AC0892DE7856}"/>
              </a:ext>
            </a:extLst>
          </p:cNvPr>
          <p:cNvCxnSpPr>
            <a:cxnSpLocks/>
            <a:stCxn id="27" idx="0"/>
            <a:endCxn id="12" idx="2"/>
          </p:cNvCxnSpPr>
          <p:nvPr/>
        </p:nvCxnSpPr>
        <p:spPr bwMode="auto">
          <a:xfrm flipV="1">
            <a:off x="6226998" y="2446391"/>
            <a:ext cx="0" cy="900915"/>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0" name="Straight Connector 49">
            <a:extLst>
              <a:ext uri="{FF2B5EF4-FFF2-40B4-BE49-F238E27FC236}">
                <a16:creationId xmlns:a16="http://schemas.microsoft.com/office/drawing/2014/main" id="{F8B79830-253B-40B4-B3DF-2C050C245852}"/>
              </a:ext>
            </a:extLst>
          </p:cNvPr>
          <p:cNvCxnSpPr>
            <a:cxnSpLocks/>
            <a:stCxn id="33" idx="0"/>
          </p:cNvCxnSpPr>
          <p:nvPr/>
        </p:nvCxnSpPr>
        <p:spPr bwMode="auto">
          <a:xfrm flipV="1">
            <a:off x="7566275" y="2849829"/>
            <a:ext cx="0" cy="511262"/>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1" name="Straight Connector 50">
            <a:extLst>
              <a:ext uri="{FF2B5EF4-FFF2-40B4-BE49-F238E27FC236}">
                <a16:creationId xmlns:a16="http://schemas.microsoft.com/office/drawing/2014/main" id="{12F7EF51-8A05-4FAC-B961-E59E1E2669D7}"/>
              </a:ext>
            </a:extLst>
          </p:cNvPr>
          <p:cNvCxnSpPr>
            <a:cxnSpLocks/>
            <a:stCxn id="36" idx="0"/>
          </p:cNvCxnSpPr>
          <p:nvPr/>
        </p:nvCxnSpPr>
        <p:spPr bwMode="auto">
          <a:xfrm flipV="1">
            <a:off x="8541469" y="2849829"/>
            <a:ext cx="0" cy="511262"/>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2" name="Straight Connector 51">
            <a:extLst>
              <a:ext uri="{FF2B5EF4-FFF2-40B4-BE49-F238E27FC236}">
                <a16:creationId xmlns:a16="http://schemas.microsoft.com/office/drawing/2014/main" id="{AF16A466-4CA4-46C4-BCDF-DC371661939A}"/>
              </a:ext>
            </a:extLst>
          </p:cNvPr>
          <p:cNvCxnSpPr>
            <a:cxnSpLocks/>
            <a:endCxn id="15" idx="2"/>
          </p:cNvCxnSpPr>
          <p:nvPr/>
        </p:nvCxnSpPr>
        <p:spPr bwMode="auto">
          <a:xfrm flipV="1">
            <a:off x="7213351" y="2450775"/>
            <a:ext cx="0" cy="399054"/>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3" name="Straight Connector 52">
            <a:extLst>
              <a:ext uri="{FF2B5EF4-FFF2-40B4-BE49-F238E27FC236}">
                <a16:creationId xmlns:a16="http://schemas.microsoft.com/office/drawing/2014/main" id="{89902699-95C3-42AE-8F46-445C220AE970}"/>
              </a:ext>
            </a:extLst>
          </p:cNvPr>
          <p:cNvCxnSpPr>
            <a:cxnSpLocks/>
            <a:endCxn id="18" idx="2"/>
          </p:cNvCxnSpPr>
          <p:nvPr/>
        </p:nvCxnSpPr>
        <p:spPr bwMode="auto">
          <a:xfrm flipV="1">
            <a:off x="8188545" y="2450775"/>
            <a:ext cx="0" cy="407520"/>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4" name="Straight Connector 53">
            <a:extLst>
              <a:ext uri="{FF2B5EF4-FFF2-40B4-BE49-F238E27FC236}">
                <a16:creationId xmlns:a16="http://schemas.microsoft.com/office/drawing/2014/main" id="{A113806B-9EE0-403A-92F8-6C4E811C52CE}"/>
              </a:ext>
            </a:extLst>
          </p:cNvPr>
          <p:cNvCxnSpPr>
            <a:cxnSpLocks/>
            <a:endCxn id="21" idx="2"/>
          </p:cNvCxnSpPr>
          <p:nvPr/>
        </p:nvCxnSpPr>
        <p:spPr bwMode="auto">
          <a:xfrm flipV="1">
            <a:off x="9227673" y="2441332"/>
            <a:ext cx="0" cy="408496"/>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6" name="Straight Connector 55">
            <a:extLst>
              <a:ext uri="{FF2B5EF4-FFF2-40B4-BE49-F238E27FC236}">
                <a16:creationId xmlns:a16="http://schemas.microsoft.com/office/drawing/2014/main" id="{3E30A6FA-7212-4D5B-AA88-0300B71B9806}"/>
              </a:ext>
            </a:extLst>
          </p:cNvPr>
          <p:cNvCxnSpPr>
            <a:cxnSpLocks/>
            <a:stCxn id="30" idx="0"/>
          </p:cNvCxnSpPr>
          <p:nvPr/>
        </p:nvCxnSpPr>
        <p:spPr bwMode="auto">
          <a:xfrm flipV="1">
            <a:off x="10266801" y="2105457"/>
            <a:ext cx="2810" cy="1241849"/>
          </a:xfrm>
          <a:prstGeom prst="line">
            <a:avLst/>
          </a:prstGeom>
          <a:solidFill>
            <a:schemeClr val="accent1"/>
          </a:solidFill>
          <a:ln w="25400" cap="flat" cmpd="sng" algn="ctr">
            <a:solidFill>
              <a:schemeClr val="bg1"/>
            </a:solidFill>
            <a:prstDash val="solid"/>
            <a:round/>
            <a:headEnd type="none" w="med" len="med"/>
            <a:tailEnd type="none"/>
          </a:ln>
          <a:effectLst/>
        </p:spPr>
      </p:cxnSp>
      <p:cxnSp>
        <p:nvCxnSpPr>
          <p:cNvPr id="57" name="Straight Connector 56">
            <a:extLst>
              <a:ext uri="{FF2B5EF4-FFF2-40B4-BE49-F238E27FC236}">
                <a16:creationId xmlns:a16="http://schemas.microsoft.com/office/drawing/2014/main" id="{9A521C50-A38C-4A45-829B-5C86E58EACB5}"/>
              </a:ext>
            </a:extLst>
          </p:cNvPr>
          <p:cNvCxnSpPr>
            <a:cxnSpLocks/>
            <a:stCxn id="36" idx="2"/>
            <a:endCxn id="39" idx="0"/>
          </p:cNvCxnSpPr>
          <p:nvPr/>
        </p:nvCxnSpPr>
        <p:spPr bwMode="auto">
          <a:xfrm flipH="1">
            <a:off x="8539022" y="4044635"/>
            <a:ext cx="2447" cy="855738"/>
          </a:xfrm>
          <a:prstGeom prst="line">
            <a:avLst/>
          </a:prstGeom>
          <a:solidFill>
            <a:schemeClr val="accent1"/>
          </a:solidFill>
          <a:ln w="12700" cap="flat" cmpd="sng" algn="ctr">
            <a:solidFill>
              <a:schemeClr val="bg1"/>
            </a:solidFill>
            <a:prstDash val="dash"/>
            <a:round/>
            <a:headEnd type="none" w="med" len="med"/>
            <a:tailEnd type="none"/>
          </a:ln>
          <a:effectLst/>
        </p:spPr>
      </p:cxnSp>
      <p:cxnSp>
        <p:nvCxnSpPr>
          <p:cNvPr id="58" name="Connector: Elbow 57">
            <a:extLst>
              <a:ext uri="{FF2B5EF4-FFF2-40B4-BE49-F238E27FC236}">
                <a16:creationId xmlns:a16="http://schemas.microsoft.com/office/drawing/2014/main" id="{0FCC40EA-7280-49A2-99FF-F39EC6660D5F}"/>
              </a:ext>
            </a:extLst>
          </p:cNvPr>
          <p:cNvCxnSpPr>
            <a:cxnSpLocks/>
          </p:cNvCxnSpPr>
          <p:nvPr/>
        </p:nvCxnSpPr>
        <p:spPr bwMode="auto">
          <a:xfrm rot="5400000" flipH="1" flipV="1">
            <a:off x="6113047" y="3515355"/>
            <a:ext cx="890079" cy="1948641"/>
          </a:xfrm>
          <a:prstGeom prst="bentConnector3">
            <a:avLst>
              <a:gd name="adj1" fmla="val 50000"/>
            </a:avLst>
          </a:prstGeom>
          <a:solidFill>
            <a:schemeClr val="accent1"/>
          </a:solidFill>
          <a:ln w="12700" cap="flat" cmpd="sng" algn="ctr">
            <a:solidFill>
              <a:schemeClr val="bg1"/>
            </a:solidFill>
            <a:prstDash val="dash"/>
            <a:round/>
            <a:headEnd type="none" w="med" len="med"/>
            <a:tailEnd type="none"/>
          </a:ln>
          <a:effectLst/>
        </p:spPr>
      </p:cxnSp>
      <p:cxnSp>
        <p:nvCxnSpPr>
          <p:cNvPr id="59" name="Connector: Elbow 58">
            <a:extLst>
              <a:ext uri="{FF2B5EF4-FFF2-40B4-BE49-F238E27FC236}">
                <a16:creationId xmlns:a16="http://schemas.microsoft.com/office/drawing/2014/main" id="{EB8C71EA-26CD-4067-9242-290FDA41E76F}"/>
              </a:ext>
            </a:extLst>
          </p:cNvPr>
          <p:cNvCxnSpPr>
            <a:cxnSpLocks/>
          </p:cNvCxnSpPr>
          <p:nvPr/>
        </p:nvCxnSpPr>
        <p:spPr bwMode="auto">
          <a:xfrm rot="5400000" flipH="1" flipV="1">
            <a:off x="6621109" y="4250881"/>
            <a:ext cx="1184484" cy="771993"/>
          </a:xfrm>
          <a:prstGeom prst="bentConnector3">
            <a:avLst>
              <a:gd name="adj1" fmla="val 50000"/>
            </a:avLst>
          </a:prstGeom>
          <a:solidFill>
            <a:schemeClr val="accent1"/>
          </a:solidFill>
          <a:ln w="12700" cap="flat" cmpd="sng" algn="ctr">
            <a:solidFill>
              <a:schemeClr val="bg1"/>
            </a:solidFill>
            <a:prstDash val="dash"/>
            <a:round/>
            <a:headEnd type="none" w="med" len="med"/>
            <a:tailEnd type="none"/>
          </a:ln>
          <a:effectLst/>
        </p:spPr>
      </p:cxnSp>
      <p:sp>
        <p:nvSpPr>
          <p:cNvPr id="60" name="Rectangle 59">
            <a:extLst>
              <a:ext uri="{FF2B5EF4-FFF2-40B4-BE49-F238E27FC236}">
                <a16:creationId xmlns:a16="http://schemas.microsoft.com/office/drawing/2014/main" id="{11C3DDC5-7903-41D6-BC61-1D1621B746C5}"/>
              </a:ext>
            </a:extLst>
          </p:cNvPr>
          <p:cNvSpPr/>
          <p:nvPr/>
        </p:nvSpPr>
        <p:spPr>
          <a:xfrm>
            <a:off x="6779812" y="4181358"/>
            <a:ext cx="41549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a:ea typeface="+mn-ea"/>
                <a:cs typeface="+mn-cs"/>
              </a:rPr>
              <a:t>N1</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1" name="Rectangle 60">
            <a:extLst>
              <a:ext uri="{FF2B5EF4-FFF2-40B4-BE49-F238E27FC236}">
                <a16:creationId xmlns:a16="http://schemas.microsoft.com/office/drawing/2014/main" id="{3E87F0BA-E85B-4DD8-ACD0-74E58D195AB5}"/>
              </a:ext>
            </a:extLst>
          </p:cNvPr>
          <p:cNvSpPr/>
          <p:nvPr/>
        </p:nvSpPr>
        <p:spPr>
          <a:xfrm>
            <a:off x="7164938" y="4637524"/>
            <a:ext cx="409804"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a:ea typeface="+mn-ea"/>
                <a:cs typeface="+mn-cs"/>
              </a:rPr>
              <a:t>N2</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2" name="Rectangle 61">
            <a:extLst>
              <a:ext uri="{FF2B5EF4-FFF2-40B4-BE49-F238E27FC236}">
                <a16:creationId xmlns:a16="http://schemas.microsoft.com/office/drawing/2014/main" id="{CB35E8E8-15E8-4664-B52C-4AAA1FE5EDA0}"/>
              </a:ext>
            </a:extLst>
          </p:cNvPr>
          <p:cNvSpPr/>
          <p:nvPr/>
        </p:nvSpPr>
        <p:spPr>
          <a:xfrm>
            <a:off x="7360722" y="5281627"/>
            <a:ext cx="409804"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a:ea typeface="+mn-ea"/>
                <a:cs typeface="+mn-cs"/>
              </a:rPr>
              <a:t>N3</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3" name="Rectangle 62">
            <a:extLst>
              <a:ext uri="{FF2B5EF4-FFF2-40B4-BE49-F238E27FC236}">
                <a16:creationId xmlns:a16="http://schemas.microsoft.com/office/drawing/2014/main" id="{817896C8-C2E0-42EA-84FC-217215ACB0E1}"/>
              </a:ext>
            </a:extLst>
          </p:cNvPr>
          <p:cNvSpPr/>
          <p:nvPr/>
        </p:nvSpPr>
        <p:spPr>
          <a:xfrm>
            <a:off x="9065488" y="5285022"/>
            <a:ext cx="41549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a:ea typeface="+mn-ea"/>
                <a:cs typeface="+mn-cs"/>
              </a:rPr>
              <a:t>N6</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64" name="Rectangle 63">
            <a:extLst>
              <a:ext uri="{FF2B5EF4-FFF2-40B4-BE49-F238E27FC236}">
                <a16:creationId xmlns:a16="http://schemas.microsoft.com/office/drawing/2014/main" id="{E8F9F70F-E7F3-4C85-B072-75CD4CCF88A7}"/>
              </a:ext>
            </a:extLst>
          </p:cNvPr>
          <p:cNvSpPr/>
          <p:nvPr/>
        </p:nvSpPr>
        <p:spPr>
          <a:xfrm>
            <a:off x="8548373" y="4301379"/>
            <a:ext cx="42832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Ericsson Hilda"/>
                <a:ea typeface="+mn-ea"/>
                <a:cs typeface="+mn-cs"/>
              </a:rPr>
              <a:t>N4</a:t>
            </a:r>
            <a:endParaRPr kumimoji="0" lang="en-US" sz="1400" b="0" i="0" u="none" strike="noStrike" kern="1200" cap="none" spc="0" normalizeH="0" baseline="0" noProof="0">
              <a:ln>
                <a:noFill/>
              </a:ln>
              <a:solidFill>
                <a:srgbClr val="181818"/>
              </a:solidFill>
              <a:effectLst/>
              <a:uLnTx/>
              <a:uFillTx/>
              <a:latin typeface="Ericsson Hilda"/>
              <a:ea typeface="+mn-ea"/>
              <a:cs typeface="+mn-cs"/>
            </a:endParaRPr>
          </a:p>
        </p:txBody>
      </p:sp>
      <p:sp>
        <p:nvSpPr>
          <p:cNvPr id="70" name="Rounded Rectangle 284">
            <a:extLst>
              <a:ext uri="{FF2B5EF4-FFF2-40B4-BE49-F238E27FC236}">
                <a16:creationId xmlns:a16="http://schemas.microsoft.com/office/drawing/2014/main" id="{1BCF9233-E0F1-4AA1-B96B-B8C62C1C3609}"/>
              </a:ext>
            </a:extLst>
          </p:cNvPr>
          <p:cNvSpPr/>
          <p:nvPr/>
        </p:nvSpPr>
        <p:spPr bwMode="auto">
          <a:xfrm>
            <a:off x="6100454" y="3657346"/>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1" name="Rounded Rectangle 284">
            <a:extLst>
              <a:ext uri="{FF2B5EF4-FFF2-40B4-BE49-F238E27FC236}">
                <a16:creationId xmlns:a16="http://schemas.microsoft.com/office/drawing/2014/main" id="{38BD6F85-1C29-4986-8FF4-45A18941172F}"/>
              </a:ext>
            </a:extLst>
          </p:cNvPr>
          <p:cNvSpPr/>
          <p:nvPr/>
        </p:nvSpPr>
        <p:spPr bwMode="auto">
          <a:xfrm>
            <a:off x="10156659" y="3670693"/>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9" name="Isosceles Triangle 78">
            <a:extLst>
              <a:ext uri="{FF2B5EF4-FFF2-40B4-BE49-F238E27FC236}">
                <a16:creationId xmlns:a16="http://schemas.microsoft.com/office/drawing/2014/main" id="{149A194E-857E-4D7F-9B96-477D81B03C25}"/>
              </a:ext>
            </a:extLst>
          </p:cNvPr>
          <p:cNvSpPr/>
          <p:nvPr/>
        </p:nvSpPr>
        <p:spPr bwMode="auto">
          <a:xfrm>
            <a:off x="6118914" y="3390058"/>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80" name="Isosceles Triangle 79">
            <a:extLst>
              <a:ext uri="{FF2B5EF4-FFF2-40B4-BE49-F238E27FC236}">
                <a16:creationId xmlns:a16="http://schemas.microsoft.com/office/drawing/2014/main" id="{FBCBBFF5-DC2F-400F-A0A1-ED05911D28AC}"/>
              </a:ext>
            </a:extLst>
          </p:cNvPr>
          <p:cNvSpPr/>
          <p:nvPr/>
        </p:nvSpPr>
        <p:spPr bwMode="auto">
          <a:xfrm>
            <a:off x="7458987" y="3525519"/>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81" name="Isosceles Triangle 80">
            <a:extLst>
              <a:ext uri="{FF2B5EF4-FFF2-40B4-BE49-F238E27FC236}">
                <a16:creationId xmlns:a16="http://schemas.microsoft.com/office/drawing/2014/main" id="{7C90DE00-B3DD-4DE3-987E-6AFCDA245F1A}"/>
              </a:ext>
            </a:extLst>
          </p:cNvPr>
          <p:cNvSpPr/>
          <p:nvPr/>
        </p:nvSpPr>
        <p:spPr bwMode="auto">
          <a:xfrm>
            <a:off x="8434058" y="3519108"/>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82" name="Isosceles Triangle 81">
            <a:extLst>
              <a:ext uri="{FF2B5EF4-FFF2-40B4-BE49-F238E27FC236}">
                <a16:creationId xmlns:a16="http://schemas.microsoft.com/office/drawing/2014/main" id="{3FCE96C1-2C41-405C-8642-A2289C6A5FB6}"/>
              </a:ext>
            </a:extLst>
          </p:cNvPr>
          <p:cNvSpPr/>
          <p:nvPr/>
        </p:nvSpPr>
        <p:spPr bwMode="auto">
          <a:xfrm>
            <a:off x="10175128" y="3401030"/>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2" name="Rectangle 11">
            <a:extLst>
              <a:ext uri="{FF2B5EF4-FFF2-40B4-BE49-F238E27FC236}">
                <a16:creationId xmlns:a16="http://schemas.microsoft.com/office/drawing/2014/main" id="{95823B71-C543-4989-A17B-471AA86198DE}"/>
              </a:ext>
            </a:extLst>
          </p:cNvPr>
          <p:cNvSpPr/>
          <p:nvPr/>
        </p:nvSpPr>
        <p:spPr bwMode="auto">
          <a:xfrm>
            <a:off x="5918942" y="1762847"/>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AUSF</a:t>
            </a:r>
          </a:p>
        </p:txBody>
      </p:sp>
      <p:sp>
        <p:nvSpPr>
          <p:cNvPr id="15" name="Rectangle 14">
            <a:extLst>
              <a:ext uri="{FF2B5EF4-FFF2-40B4-BE49-F238E27FC236}">
                <a16:creationId xmlns:a16="http://schemas.microsoft.com/office/drawing/2014/main" id="{92837B66-F2FD-4CBD-8F62-554D6A5BFA8A}"/>
              </a:ext>
            </a:extLst>
          </p:cNvPr>
          <p:cNvSpPr/>
          <p:nvPr/>
        </p:nvSpPr>
        <p:spPr bwMode="auto">
          <a:xfrm>
            <a:off x="6905295" y="1767231"/>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UDM</a:t>
            </a:r>
          </a:p>
        </p:txBody>
      </p:sp>
      <p:sp>
        <p:nvSpPr>
          <p:cNvPr id="18" name="Rectangle 17">
            <a:extLst>
              <a:ext uri="{FF2B5EF4-FFF2-40B4-BE49-F238E27FC236}">
                <a16:creationId xmlns:a16="http://schemas.microsoft.com/office/drawing/2014/main" id="{2826EFB2-8902-4D2F-B28B-0DE58289F20F}"/>
              </a:ext>
            </a:extLst>
          </p:cNvPr>
          <p:cNvSpPr/>
          <p:nvPr/>
        </p:nvSpPr>
        <p:spPr bwMode="auto">
          <a:xfrm>
            <a:off x="7880489" y="1767231"/>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PCF</a:t>
            </a:r>
          </a:p>
        </p:txBody>
      </p:sp>
      <p:sp>
        <p:nvSpPr>
          <p:cNvPr id="21" name="Rectangle 20">
            <a:extLst>
              <a:ext uri="{FF2B5EF4-FFF2-40B4-BE49-F238E27FC236}">
                <a16:creationId xmlns:a16="http://schemas.microsoft.com/office/drawing/2014/main" id="{542FCDCF-8D62-4A02-A238-9420326A68C6}"/>
              </a:ext>
            </a:extLst>
          </p:cNvPr>
          <p:cNvSpPr/>
          <p:nvPr/>
        </p:nvSpPr>
        <p:spPr bwMode="auto">
          <a:xfrm>
            <a:off x="8919617" y="1757788"/>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NEF</a:t>
            </a:r>
          </a:p>
        </p:txBody>
      </p:sp>
      <p:sp>
        <p:nvSpPr>
          <p:cNvPr id="24" name="Rectangle 23">
            <a:extLst>
              <a:ext uri="{FF2B5EF4-FFF2-40B4-BE49-F238E27FC236}">
                <a16:creationId xmlns:a16="http://schemas.microsoft.com/office/drawing/2014/main" id="{A0083EBD-9CDB-45B9-A1D7-E0D089EEF678}"/>
              </a:ext>
            </a:extLst>
          </p:cNvPr>
          <p:cNvSpPr/>
          <p:nvPr/>
        </p:nvSpPr>
        <p:spPr bwMode="auto">
          <a:xfrm>
            <a:off x="9958745" y="1767231"/>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NRF</a:t>
            </a:r>
          </a:p>
        </p:txBody>
      </p:sp>
      <p:sp>
        <p:nvSpPr>
          <p:cNvPr id="65" name="Rounded Rectangle 284">
            <a:extLst>
              <a:ext uri="{FF2B5EF4-FFF2-40B4-BE49-F238E27FC236}">
                <a16:creationId xmlns:a16="http://schemas.microsoft.com/office/drawing/2014/main" id="{2E780D1A-6B06-4CCE-8A16-D10C73F06011}"/>
              </a:ext>
            </a:extLst>
          </p:cNvPr>
          <p:cNvSpPr/>
          <p:nvPr/>
        </p:nvSpPr>
        <p:spPr bwMode="auto">
          <a:xfrm>
            <a:off x="6098037" y="2063418"/>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66" name="Rounded Rectangle 284">
            <a:extLst>
              <a:ext uri="{FF2B5EF4-FFF2-40B4-BE49-F238E27FC236}">
                <a16:creationId xmlns:a16="http://schemas.microsoft.com/office/drawing/2014/main" id="{6C9409FC-ABC1-420C-8AE8-EB64193C4CD6}"/>
              </a:ext>
            </a:extLst>
          </p:cNvPr>
          <p:cNvSpPr/>
          <p:nvPr/>
        </p:nvSpPr>
        <p:spPr bwMode="auto">
          <a:xfrm>
            <a:off x="7079824" y="2060532"/>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67" name="Rounded Rectangle 284">
            <a:extLst>
              <a:ext uri="{FF2B5EF4-FFF2-40B4-BE49-F238E27FC236}">
                <a16:creationId xmlns:a16="http://schemas.microsoft.com/office/drawing/2014/main" id="{36F4CFD3-7A39-41D8-847E-CE6FE525A9B5}"/>
              </a:ext>
            </a:extLst>
          </p:cNvPr>
          <p:cNvSpPr/>
          <p:nvPr/>
        </p:nvSpPr>
        <p:spPr bwMode="auto">
          <a:xfrm>
            <a:off x="8062424" y="2059054"/>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68" name="Rounded Rectangle 284">
            <a:extLst>
              <a:ext uri="{FF2B5EF4-FFF2-40B4-BE49-F238E27FC236}">
                <a16:creationId xmlns:a16="http://schemas.microsoft.com/office/drawing/2014/main" id="{135746B2-8DAD-4981-89E4-F071E4E5CF4C}"/>
              </a:ext>
            </a:extLst>
          </p:cNvPr>
          <p:cNvSpPr/>
          <p:nvPr/>
        </p:nvSpPr>
        <p:spPr bwMode="auto">
          <a:xfrm>
            <a:off x="9104371" y="2056168"/>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69" name="Rounded Rectangle 284">
            <a:extLst>
              <a:ext uri="{FF2B5EF4-FFF2-40B4-BE49-F238E27FC236}">
                <a16:creationId xmlns:a16="http://schemas.microsoft.com/office/drawing/2014/main" id="{1C6488D7-7762-4BAD-9803-B6F76E60A877}"/>
              </a:ext>
            </a:extLst>
          </p:cNvPr>
          <p:cNvSpPr/>
          <p:nvPr/>
        </p:nvSpPr>
        <p:spPr bwMode="auto">
          <a:xfrm>
            <a:off x="10138891" y="2059054"/>
            <a:ext cx="261440" cy="105426"/>
          </a:xfrm>
          <a:prstGeom prst="roundRect">
            <a:avLst>
              <a:gd name="adj" fmla="val 0"/>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2" name="Isosceles Triangle 71">
            <a:extLst>
              <a:ext uri="{FF2B5EF4-FFF2-40B4-BE49-F238E27FC236}">
                <a16:creationId xmlns:a16="http://schemas.microsoft.com/office/drawing/2014/main" id="{1BB91D06-3C37-4A27-A33D-A81EF70A957E}"/>
              </a:ext>
            </a:extLst>
          </p:cNvPr>
          <p:cNvSpPr/>
          <p:nvPr/>
        </p:nvSpPr>
        <p:spPr bwMode="auto">
          <a:xfrm>
            <a:off x="6116709" y="1802368"/>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3" name="Isosceles Triangle 72">
            <a:extLst>
              <a:ext uri="{FF2B5EF4-FFF2-40B4-BE49-F238E27FC236}">
                <a16:creationId xmlns:a16="http://schemas.microsoft.com/office/drawing/2014/main" id="{614F40C9-2F9A-4813-9B15-404369BD923B}"/>
              </a:ext>
            </a:extLst>
          </p:cNvPr>
          <p:cNvSpPr/>
          <p:nvPr/>
        </p:nvSpPr>
        <p:spPr bwMode="auto">
          <a:xfrm>
            <a:off x="7101549" y="1790024"/>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6" name="Isosceles Triangle 75">
            <a:extLst>
              <a:ext uri="{FF2B5EF4-FFF2-40B4-BE49-F238E27FC236}">
                <a16:creationId xmlns:a16="http://schemas.microsoft.com/office/drawing/2014/main" id="{7C4437A6-E198-4385-9E1B-7FC2FE4A5E87}"/>
              </a:ext>
            </a:extLst>
          </p:cNvPr>
          <p:cNvSpPr/>
          <p:nvPr/>
        </p:nvSpPr>
        <p:spPr bwMode="auto">
          <a:xfrm>
            <a:off x="8081134" y="1792632"/>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7" name="Isosceles Triangle 76">
            <a:extLst>
              <a:ext uri="{FF2B5EF4-FFF2-40B4-BE49-F238E27FC236}">
                <a16:creationId xmlns:a16="http://schemas.microsoft.com/office/drawing/2014/main" id="{AC8A1EE6-2539-47BF-BF38-1E72AB30DA5A}"/>
              </a:ext>
            </a:extLst>
          </p:cNvPr>
          <p:cNvSpPr/>
          <p:nvPr/>
        </p:nvSpPr>
        <p:spPr bwMode="auto">
          <a:xfrm>
            <a:off x="9120262" y="1792111"/>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78" name="Isosceles Triangle 77">
            <a:extLst>
              <a:ext uri="{FF2B5EF4-FFF2-40B4-BE49-F238E27FC236}">
                <a16:creationId xmlns:a16="http://schemas.microsoft.com/office/drawing/2014/main" id="{A0732EE4-CA4B-460E-A0CC-634A5AEC63B5}"/>
              </a:ext>
            </a:extLst>
          </p:cNvPr>
          <p:cNvSpPr/>
          <p:nvPr/>
        </p:nvSpPr>
        <p:spPr bwMode="auto">
          <a:xfrm>
            <a:off x="10162199" y="1792632"/>
            <a:ext cx="214822" cy="215676"/>
          </a:xfrm>
          <a:prstGeom prst="triangle">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43" name="Rectangle 42">
            <a:extLst>
              <a:ext uri="{FF2B5EF4-FFF2-40B4-BE49-F238E27FC236}">
                <a16:creationId xmlns:a16="http://schemas.microsoft.com/office/drawing/2014/main" id="{F90E0E59-8899-432F-AE3A-198B0C441A00}"/>
              </a:ext>
            </a:extLst>
          </p:cNvPr>
          <p:cNvSpPr/>
          <p:nvPr/>
        </p:nvSpPr>
        <p:spPr bwMode="auto">
          <a:xfrm>
            <a:off x="5309578" y="4934714"/>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UE</a:t>
            </a:r>
          </a:p>
        </p:txBody>
      </p:sp>
      <p:pic>
        <p:nvPicPr>
          <p:cNvPr id="44" name="Graphic 43">
            <a:extLst>
              <a:ext uri="{FF2B5EF4-FFF2-40B4-BE49-F238E27FC236}">
                <a16:creationId xmlns:a16="http://schemas.microsoft.com/office/drawing/2014/main" id="{1F128AB4-9E3A-4185-B82A-663486144C7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20279" y="5033575"/>
            <a:ext cx="214822" cy="300750"/>
          </a:xfrm>
          <a:prstGeom prst="rect">
            <a:avLst/>
          </a:prstGeom>
        </p:spPr>
      </p:pic>
      <p:sp>
        <p:nvSpPr>
          <p:cNvPr id="46" name="Rectangle 45">
            <a:extLst>
              <a:ext uri="{FF2B5EF4-FFF2-40B4-BE49-F238E27FC236}">
                <a16:creationId xmlns:a16="http://schemas.microsoft.com/office/drawing/2014/main" id="{B43A460B-C5D9-44F8-9564-139F604CD5E5}"/>
              </a:ext>
            </a:extLst>
          </p:cNvPr>
          <p:cNvSpPr/>
          <p:nvPr/>
        </p:nvSpPr>
        <p:spPr bwMode="auto">
          <a:xfrm>
            <a:off x="6486226" y="4934714"/>
            <a:ext cx="616112" cy="683544"/>
          </a:xfrm>
          <a:prstGeom prst="rect">
            <a:avLst/>
          </a:prstGeom>
          <a:solidFill>
            <a:schemeClr val="bg2">
              <a:lumMod val="10000"/>
            </a:schemeClr>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Ericsson Hilda"/>
                <a:ea typeface="+mn-ea"/>
                <a:cs typeface="+mn-cs"/>
              </a:rPr>
              <a:t>RAN</a:t>
            </a:r>
          </a:p>
        </p:txBody>
      </p:sp>
      <p:pic>
        <p:nvPicPr>
          <p:cNvPr id="47" name="Content Placeholder 11">
            <a:extLst>
              <a:ext uri="{FF2B5EF4-FFF2-40B4-BE49-F238E27FC236}">
                <a16:creationId xmlns:a16="http://schemas.microsoft.com/office/drawing/2014/main" id="{C8553B69-6904-4E6C-B7CE-8BAB34C0306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1731" y="5019642"/>
            <a:ext cx="252088" cy="328614"/>
          </a:xfrm>
          <a:prstGeom prst="rect">
            <a:avLst/>
          </a:prstGeom>
        </p:spPr>
      </p:pic>
      <p:sp>
        <p:nvSpPr>
          <p:cNvPr id="75" name="TextBox 74">
            <a:extLst>
              <a:ext uri="{FF2B5EF4-FFF2-40B4-BE49-F238E27FC236}">
                <a16:creationId xmlns:a16="http://schemas.microsoft.com/office/drawing/2014/main" id="{BE9ABD3D-68D5-4E6B-993C-F4C8EA006A88}"/>
              </a:ext>
            </a:extLst>
          </p:cNvPr>
          <p:cNvSpPr txBox="1"/>
          <p:nvPr/>
        </p:nvSpPr>
        <p:spPr>
          <a:xfrm>
            <a:off x="5293694" y="5871459"/>
            <a:ext cx="6898311" cy="1033788"/>
          </a:xfrm>
          <a:prstGeom prst="rect">
            <a:avLst/>
          </a:prstGeom>
          <a:noFill/>
        </p:spPr>
        <p:txBody>
          <a:bodyPr wrap="square" numCol="2" rtlCol="0">
            <a:noAutofit/>
          </a:bodyPr>
          <a:lstStyle/>
          <a:p>
            <a:pPr marL="0" marR="0" lvl="0" indent="0" algn="l" defTabSz="914400" rtl="0" eaLnBrk="1" fontAlgn="auto" latinLnBrk="0" hangingPunct="0">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AF	Application Function</a:t>
            </a:r>
          </a:p>
          <a:p>
            <a:pPr marL="0" marR="0" lvl="0" indent="0" algn="l" defTabSz="914400" rtl="0" eaLnBrk="1" fontAlgn="auto" latinLnBrk="0" hangingPunct="0">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AMF	Access and Mobility Management Function</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AUSF	Authentication Server Function </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NEF	Network Exposure Function</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NRF	Network Repository Function</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NSSF	Network Slice Selection Function</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PCF	Policy Control Function</a:t>
            </a:r>
          </a:p>
          <a:p>
            <a:pPr marL="0" marR="0" lvl="0" indent="0" algn="l" defTabSz="914400" rtl="0" eaLnBrk="1" fontAlgn="auto" latinLnBrk="0" hangingPunct="0">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SMF	Session Management Function</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UDM	Unified Data Management </a:t>
            </a:r>
          </a:p>
          <a:p>
            <a:pPr marL="0" marR="0" lvl="0" indent="0" algn="l" defTabSz="914400" rtl="0" eaLnBrk="1" fontAlgn="auto" latinLnBrk="0" hangingPunct="1">
              <a:lnSpc>
                <a:spcPct val="100000"/>
              </a:lnSpc>
              <a:spcBef>
                <a:spcPts val="0"/>
              </a:spcBef>
              <a:spcAft>
                <a:spcPts val="0"/>
              </a:spcAft>
              <a:buClrTx/>
              <a:buSzTx/>
              <a:buFontTx/>
              <a:buNone/>
              <a:tabLst>
                <a:tab pos="536575" algn="l"/>
              </a:tabLst>
              <a:defRPr/>
            </a:pPr>
            <a:r>
              <a:rPr kumimoji="0" lang="en-US" sz="1100" b="0" i="0" u="none" strike="noStrike" kern="1200" cap="none" spc="0" normalizeH="0" baseline="0" noProof="0">
                <a:ln>
                  <a:noFill/>
                </a:ln>
                <a:solidFill>
                  <a:srgbClr val="FFFFFF"/>
                </a:solidFill>
                <a:effectLst/>
                <a:uLnTx/>
                <a:uFillTx/>
                <a:latin typeface="Ericsson Hilda"/>
                <a:ea typeface="+mn-ea"/>
                <a:cs typeface="+mn-cs"/>
              </a:rPr>
              <a:t>UPF	User Plane Function</a:t>
            </a:r>
          </a:p>
        </p:txBody>
      </p:sp>
    </p:spTree>
    <p:extLst>
      <p:ext uri="{BB962C8B-B14F-4D97-AF65-F5344CB8AC3E}">
        <p14:creationId xmlns:p14="http://schemas.microsoft.com/office/powerpoint/2010/main" val="39689870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6CD652-DD65-481F-85FE-1074972A917B}"/>
              </a:ext>
            </a:extLst>
          </p:cNvPr>
          <p:cNvSpPr>
            <a:spLocks noGrp="1"/>
          </p:cNvSpPr>
          <p:nvPr>
            <p:ph sz="quarter" idx="3"/>
          </p:nvPr>
        </p:nvSpPr>
        <p:spPr/>
        <p:txBody>
          <a:bodyPr/>
          <a:lstStyle/>
          <a:p>
            <a:pPr lvl="1"/>
            <a:r>
              <a:rPr lang="en-US" sz="1800" dirty="0"/>
              <a:t>5GC Functional areas cont’d</a:t>
            </a:r>
          </a:p>
          <a:p>
            <a:pPr lvl="2"/>
            <a:r>
              <a:rPr lang="en-US" sz="1600" dirty="0"/>
              <a:t>Communication Services</a:t>
            </a:r>
          </a:p>
          <a:p>
            <a:pPr lvl="2"/>
            <a:r>
              <a:rPr lang="en-US" sz="1600" dirty="0"/>
              <a:t>Enhanced Network Analytics</a:t>
            </a:r>
          </a:p>
          <a:p>
            <a:pPr lvl="2"/>
            <a:r>
              <a:rPr lang="sv-SE" sz="1600" dirty="0"/>
              <a:t>IoT – 5G LAN, NPN and URLLC</a:t>
            </a:r>
          </a:p>
          <a:p>
            <a:pPr lvl="2"/>
            <a:r>
              <a:rPr lang="sv-SE" sz="1600" dirty="0"/>
              <a:t>5G FMC</a:t>
            </a:r>
            <a:endParaRPr lang="en-US" sz="1600" dirty="0"/>
          </a:p>
          <a:p>
            <a:pPr lvl="1"/>
            <a:r>
              <a:rPr lang="en-US" sz="1800" b="1" dirty="0"/>
              <a:t>5GC and EPC interworking</a:t>
            </a:r>
          </a:p>
          <a:p>
            <a:pPr lvl="1"/>
            <a:r>
              <a:rPr lang="en-US" sz="1800" dirty="0"/>
              <a:t>5G EPC &amp; Option 3/3a/3x</a:t>
            </a:r>
            <a:endParaRPr lang="en-US" dirty="0"/>
          </a:p>
        </p:txBody>
      </p:sp>
      <p:sp>
        <p:nvSpPr>
          <p:cNvPr id="2" name="Content Placeholder 1">
            <a:extLst>
              <a:ext uri="{FF2B5EF4-FFF2-40B4-BE49-F238E27FC236}">
                <a16:creationId xmlns:a16="http://schemas.microsoft.com/office/drawing/2014/main" id="{2C32CCD6-2C8F-48FC-953A-3E4F36864FCA}"/>
              </a:ext>
            </a:extLst>
          </p:cNvPr>
          <p:cNvSpPr>
            <a:spLocks noGrp="1"/>
          </p:cNvSpPr>
          <p:nvPr>
            <p:ph sz="half" idx="1"/>
          </p:nvPr>
        </p:nvSpPr>
        <p:spPr>
          <a:xfrm>
            <a:off x="479425" y="1844675"/>
            <a:ext cx="5472113" cy="4537076"/>
          </a:xfrm>
        </p:spPr>
        <p:txBody>
          <a:bodyPr/>
          <a:lstStyle/>
          <a:p>
            <a:r>
              <a:rPr lang="en-US" dirty="0"/>
              <a:t>The 5G Core System</a:t>
            </a:r>
          </a:p>
          <a:p>
            <a:r>
              <a:rPr lang="en-US" b="1" dirty="0"/>
              <a:t>Core Network Architecture &amp; Technology</a:t>
            </a:r>
          </a:p>
          <a:p>
            <a:pPr lvl="1"/>
            <a:r>
              <a:rPr lang="en-US" sz="1800" dirty="0"/>
              <a:t>Overall 5G Core Network Architecture</a:t>
            </a:r>
          </a:p>
          <a:p>
            <a:pPr lvl="1"/>
            <a:r>
              <a:rPr lang="en-US" sz="1800" dirty="0"/>
              <a:t>SBA and Service Framework</a:t>
            </a:r>
          </a:p>
          <a:p>
            <a:pPr lvl="1"/>
            <a:r>
              <a:rPr lang="en-US" sz="1800" dirty="0"/>
              <a:t>Network slicing</a:t>
            </a:r>
          </a:p>
          <a:p>
            <a:pPr lvl="1"/>
            <a:r>
              <a:rPr lang="en-US" sz="1800" dirty="0"/>
              <a:t>5GC Functional areas</a:t>
            </a:r>
          </a:p>
          <a:p>
            <a:pPr lvl="2"/>
            <a:r>
              <a:rPr lang="en-US" sz="1600" dirty="0"/>
              <a:t>CP/UP split &amp; UP handling</a:t>
            </a:r>
          </a:p>
          <a:p>
            <a:pPr lvl="2"/>
            <a:r>
              <a:rPr lang="en-US" sz="1600" dirty="0"/>
              <a:t>5GC support for Edge computing</a:t>
            </a:r>
          </a:p>
          <a:p>
            <a:pPr lvl="2"/>
            <a:r>
              <a:rPr lang="en-US" sz="1600" dirty="0"/>
              <a:t>Session Management</a:t>
            </a:r>
          </a:p>
          <a:p>
            <a:pPr lvl="2"/>
            <a:r>
              <a:rPr lang="en-US" sz="1600" dirty="0"/>
              <a:t>Mobility management</a:t>
            </a:r>
          </a:p>
          <a:p>
            <a:pPr lvl="2"/>
            <a:r>
              <a:rPr lang="en-US" sz="1600" dirty="0"/>
              <a:t>Radio access capability signaling</a:t>
            </a:r>
          </a:p>
          <a:p>
            <a:pPr lvl="2"/>
            <a:r>
              <a:rPr lang="en-US" sz="1600" dirty="0"/>
              <a:t>Quality of Service</a:t>
            </a:r>
          </a:p>
          <a:p>
            <a:pPr lvl="2"/>
            <a:r>
              <a:rPr lang="en-US" sz="1600" dirty="0"/>
              <a:t>Identity &amp; Access Management</a:t>
            </a:r>
          </a:p>
          <a:p>
            <a:pPr lvl="2"/>
            <a:r>
              <a:rPr lang="en-US" sz="1600" dirty="0"/>
              <a:t>Policy Management Framework</a:t>
            </a:r>
          </a:p>
          <a:p>
            <a:pPr lvl="2"/>
            <a:r>
              <a:rPr lang="en-US" sz="1600" dirty="0"/>
              <a:t>Subscription Data Management</a:t>
            </a:r>
          </a:p>
          <a:p>
            <a:pPr lvl="2"/>
            <a:r>
              <a:rPr lang="en-US" sz="1600" dirty="0"/>
              <a:t>Charging</a:t>
            </a:r>
          </a:p>
          <a:p>
            <a:pPr lvl="2"/>
            <a:endParaRPr lang="en-US" sz="1800" dirty="0"/>
          </a:p>
        </p:txBody>
      </p:sp>
      <p:sp>
        <p:nvSpPr>
          <p:cNvPr id="4" name="Title 3"/>
          <p:cNvSpPr>
            <a:spLocks noGrp="1"/>
          </p:cNvSpPr>
          <p:nvPr>
            <p:ph type="title"/>
          </p:nvPr>
        </p:nvSpPr>
        <p:spPr/>
        <p:txBody>
          <a:bodyPr/>
          <a:lstStyle/>
          <a:p>
            <a:r>
              <a:rPr lang="en-US">
                <a:latin typeface="Ericsson Hilda Light" panose="020B0604020202020204" charset="0"/>
                <a:cs typeface="Ericsson Hilda Light" panose="020B0604020202020204" charset="0"/>
              </a:rPr>
              <a:t>Outline</a:t>
            </a:r>
          </a:p>
        </p:txBody>
      </p:sp>
    </p:spTree>
    <p:extLst>
      <p:ext uri="{BB962C8B-B14F-4D97-AF65-F5344CB8AC3E}">
        <p14:creationId xmlns:p14="http://schemas.microsoft.com/office/powerpoint/2010/main" val="187308573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B9461072-B7A6-4DAC-A560-7A766441120A}"/>
              </a:ext>
            </a:extLst>
          </p:cNvPr>
          <p:cNvSpPr/>
          <p:nvPr/>
        </p:nvSpPr>
        <p:spPr bwMode="auto">
          <a:xfrm>
            <a:off x="8169127" y="2083215"/>
            <a:ext cx="3947631" cy="3388085"/>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14" name="Oval 20">
            <a:extLst>
              <a:ext uri="{FF2B5EF4-FFF2-40B4-BE49-F238E27FC236}">
                <a16:creationId xmlns:a16="http://schemas.microsoft.com/office/drawing/2014/main" id="{ED3F0D5E-7D52-4104-BD1A-9286C589F660}"/>
              </a:ext>
            </a:extLst>
          </p:cNvPr>
          <p:cNvSpPr>
            <a:spLocks noChangeArrowheads="1"/>
          </p:cNvSpPr>
          <p:nvPr/>
        </p:nvSpPr>
        <p:spPr bwMode="auto">
          <a:xfrm>
            <a:off x="9100340" y="4130910"/>
            <a:ext cx="930275" cy="369887"/>
          </a:xfrm>
          <a:prstGeom prst="ellipse">
            <a:avLst/>
          </a:prstGeom>
          <a:solidFill>
            <a:srgbClr val="FF8C0A"/>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58585A">
                  <a:lumMod val="50000"/>
                </a:srgbClr>
              </a:solidFill>
              <a:effectLst/>
              <a:uLnTx/>
              <a:uFillTx/>
              <a:latin typeface="Arial" charset="0"/>
              <a:cs typeface="Arial" charset="0"/>
            </a:endParaRPr>
          </a:p>
        </p:txBody>
      </p:sp>
      <p:sp>
        <p:nvSpPr>
          <p:cNvPr id="333" name="Rectangle 332">
            <a:extLst>
              <a:ext uri="{FF2B5EF4-FFF2-40B4-BE49-F238E27FC236}">
                <a16:creationId xmlns:a16="http://schemas.microsoft.com/office/drawing/2014/main" id="{090AA79D-4A4B-4572-A357-B1088CEAF0BB}"/>
              </a:ext>
            </a:extLst>
          </p:cNvPr>
          <p:cNvSpPr/>
          <p:nvPr/>
        </p:nvSpPr>
        <p:spPr bwMode="auto">
          <a:xfrm>
            <a:off x="80262" y="2083214"/>
            <a:ext cx="3947631" cy="3388085"/>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332" name="Rectangle 331">
            <a:extLst>
              <a:ext uri="{FF2B5EF4-FFF2-40B4-BE49-F238E27FC236}">
                <a16:creationId xmlns:a16="http://schemas.microsoft.com/office/drawing/2014/main" id="{2AEFF34F-14C1-491E-ACEA-3F69F536C9EA}"/>
              </a:ext>
            </a:extLst>
          </p:cNvPr>
          <p:cNvSpPr/>
          <p:nvPr/>
        </p:nvSpPr>
        <p:spPr bwMode="auto">
          <a:xfrm>
            <a:off x="4113314" y="2083215"/>
            <a:ext cx="3947631" cy="3388085"/>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3" name="Title 2">
            <a:extLst>
              <a:ext uri="{FF2B5EF4-FFF2-40B4-BE49-F238E27FC236}">
                <a16:creationId xmlns:a16="http://schemas.microsoft.com/office/drawing/2014/main" id="{FC5889D8-F370-42EE-BEFE-22EEAAC58C46}"/>
              </a:ext>
            </a:extLst>
          </p:cNvPr>
          <p:cNvSpPr>
            <a:spLocks noGrp="1"/>
          </p:cNvSpPr>
          <p:nvPr>
            <p:ph type="title"/>
          </p:nvPr>
        </p:nvSpPr>
        <p:spPr>
          <a:xfrm>
            <a:off x="524935" y="239714"/>
            <a:ext cx="9992784" cy="1085371"/>
          </a:xfrm>
        </p:spPr>
        <p:txBody>
          <a:bodyPr/>
          <a:lstStyle/>
          <a:p>
            <a:r>
              <a:rPr lang="en-US"/>
              <a:t>5GC and EPC interworking variants</a:t>
            </a:r>
            <a:br>
              <a:rPr lang="en-US">
                <a:solidFill>
                  <a:srgbClr val="181818"/>
                </a:solidFill>
              </a:rPr>
            </a:br>
            <a:r>
              <a:rPr lang="en-US" sz="2800">
                <a:solidFill>
                  <a:srgbClr val="181818"/>
                </a:solidFill>
                <a:latin typeface="Ericsson Hilda"/>
              </a:rPr>
              <a:t>Multiple deployment alternatives</a:t>
            </a:r>
            <a:endParaRPr lang="en-US"/>
          </a:p>
        </p:txBody>
      </p:sp>
      <p:cxnSp>
        <p:nvCxnSpPr>
          <p:cNvPr id="217" name="Straight Connector 32">
            <a:extLst>
              <a:ext uri="{FF2B5EF4-FFF2-40B4-BE49-F238E27FC236}">
                <a16:creationId xmlns:a16="http://schemas.microsoft.com/office/drawing/2014/main" id="{4E3C4914-7D7F-4A66-A8CB-3B37FC424F01}"/>
              </a:ext>
            </a:extLst>
          </p:cNvPr>
          <p:cNvCxnSpPr>
            <a:cxnSpLocks noChangeShapeType="1"/>
            <a:stCxn id="225" idx="1"/>
            <a:endCxn id="226" idx="2"/>
          </p:cNvCxnSpPr>
          <p:nvPr/>
        </p:nvCxnSpPr>
        <p:spPr bwMode="auto">
          <a:xfrm flipV="1">
            <a:off x="949329" y="2766997"/>
            <a:ext cx="2559" cy="1366346"/>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218" name="TextBox 37">
            <a:extLst>
              <a:ext uri="{FF2B5EF4-FFF2-40B4-BE49-F238E27FC236}">
                <a16:creationId xmlns:a16="http://schemas.microsoft.com/office/drawing/2014/main" id="{8A4385E1-74BA-45A0-89D9-52FE083A9DDD}"/>
              </a:ext>
            </a:extLst>
          </p:cNvPr>
          <p:cNvSpPr txBox="1">
            <a:spLocks noChangeArrowheads="1"/>
          </p:cNvSpPr>
          <p:nvPr/>
        </p:nvSpPr>
        <p:spPr bwMode="auto">
          <a:xfrm>
            <a:off x="988079" y="4437081"/>
            <a:ext cx="532518"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LTE</a:t>
            </a:r>
          </a:p>
        </p:txBody>
      </p:sp>
      <p:cxnSp>
        <p:nvCxnSpPr>
          <p:cNvPr id="219" name="Straight Connector 32">
            <a:extLst>
              <a:ext uri="{FF2B5EF4-FFF2-40B4-BE49-F238E27FC236}">
                <a16:creationId xmlns:a16="http://schemas.microsoft.com/office/drawing/2014/main" id="{971787F5-72BA-4806-973B-0AFFE7C4D6DA}"/>
              </a:ext>
            </a:extLst>
          </p:cNvPr>
          <p:cNvCxnSpPr>
            <a:cxnSpLocks noChangeShapeType="1"/>
            <a:stCxn id="221" idx="7"/>
            <a:endCxn id="295" idx="2"/>
          </p:cNvCxnSpPr>
          <p:nvPr/>
        </p:nvCxnSpPr>
        <p:spPr bwMode="auto">
          <a:xfrm flipV="1">
            <a:off x="3187226" y="2766996"/>
            <a:ext cx="11557" cy="1366347"/>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221" name="Oval 20">
            <a:extLst>
              <a:ext uri="{FF2B5EF4-FFF2-40B4-BE49-F238E27FC236}">
                <a16:creationId xmlns:a16="http://schemas.microsoft.com/office/drawing/2014/main" id="{2A89C03E-4DDE-4402-BEC2-C5008834D33A}"/>
              </a:ext>
            </a:extLst>
          </p:cNvPr>
          <p:cNvSpPr>
            <a:spLocks noChangeArrowheads="1"/>
          </p:cNvSpPr>
          <p:nvPr/>
        </p:nvSpPr>
        <p:spPr bwMode="auto">
          <a:xfrm>
            <a:off x="2393187" y="4079174"/>
            <a:ext cx="930275" cy="369887"/>
          </a:xfrm>
          <a:prstGeom prst="ellipse">
            <a:avLst/>
          </a:prstGeom>
          <a:solidFill>
            <a:srgbClr val="FF8C0A"/>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58585A">
                  <a:lumMod val="50000"/>
                </a:srgbClr>
              </a:solidFill>
              <a:effectLst/>
              <a:uLnTx/>
              <a:uFillTx/>
              <a:latin typeface="Arial" charset="0"/>
              <a:cs typeface="Arial" charset="0"/>
            </a:endParaRPr>
          </a:p>
        </p:txBody>
      </p:sp>
      <p:sp>
        <p:nvSpPr>
          <p:cNvPr id="223" name="TextBox 38">
            <a:extLst>
              <a:ext uri="{FF2B5EF4-FFF2-40B4-BE49-F238E27FC236}">
                <a16:creationId xmlns:a16="http://schemas.microsoft.com/office/drawing/2014/main" id="{BF087C6D-C671-431D-A9A4-9247D70C9103}"/>
              </a:ext>
            </a:extLst>
          </p:cNvPr>
          <p:cNvSpPr txBox="1">
            <a:spLocks noChangeArrowheads="1"/>
          </p:cNvSpPr>
          <p:nvPr/>
        </p:nvSpPr>
        <p:spPr bwMode="auto">
          <a:xfrm>
            <a:off x="2620200" y="4449061"/>
            <a:ext cx="457176"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NR</a:t>
            </a:r>
          </a:p>
        </p:txBody>
      </p:sp>
      <p:sp>
        <p:nvSpPr>
          <p:cNvPr id="225" name="Oval 81">
            <a:extLst>
              <a:ext uri="{FF2B5EF4-FFF2-40B4-BE49-F238E27FC236}">
                <a16:creationId xmlns:a16="http://schemas.microsoft.com/office/drawing/2014/main" id="{938DD42C-9CA4-4E22-9085-BBCD8B32DC2F}"/>
              </a:ext>
            </a:extLst>
          </p:cNvPr>
          <p:cNvSpPr>
            <a:spLocks noChangeArrowheads="1"/>
          </p:cNvSpPr>
          <p:nvPr/>
        </p:nvSpPr>
        <p:spPr bwMode="auto">
          <a:xfrm>
            <a:off x="813093" y="4079174"/>
            <a:ext cx="930275" cy="369887"/>
          </a:xfrm>
          <a:prstGeom prst="ellipse">
            <a:avLst/>
          </a:prstGeom>
          <a:solidFill>
            <a:srgbClr val="0FC37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181818">
                  <a:lumMod val="50000"/>
                </a:srgbClr>
              </a:solidFill>
              <a:effectLst/>
              <a:uLnTx/>
              <a:uFillTx/>
              <a:latin typeface="Ericsson Hilda"/>
              <a:cs typeface="Arial" charset="0"/>
            </a:endParaRPr>
          </a:p>
        </p:txBody>
      </p:sp>
      <p:sp>
        <p:nvSpPr>
          <p:cNvPr id="226" name="AutoShape 15" descr="bpct-blend1">
            <a:extLst>
              <a:ext uri="{FF2B5EF4-FFF2-40B4-BE49-F238E27FC236}">
                <a16:creationId xmlns:a16="http://schemas.microsoft.com/office/drawing/2014/main" id="{93EAA5C7-6C39-44B7-8794-E56C18DA9262}"/>
              </a:ext>
            </a:extLst>
          </p:cNvPr>
          <p:cNvSpPr>
            <a:spLocks noChangeArrowheads="1"/>
          </p:cNvSpPr>
          <p:nvPr/>
        </p:nvSpPr>
        <p:spPr bwMode="auto">
          <a:xfrm>
            <a:off x="403381" y="2325104"/>
            <a:ext cx="1097013" cy="441893"/>
          </a:xfrm>
          <a:prstGeom prst="roundRect">
            <a:avLst>
              <a:gd name="adj" fmla="val 0"/>
            </a:avLst>
          </a:prstGeom>
          <a:solidFill>
            <a:srgbClr val="FFFFFF">
              <a:lumMod val="50000"/>
            </a:srgbClr>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altLang="en-US" sz="1600" b="0" i="0" u="none" strike="noStrike" kern="0" cap="none" spc="0" normalizeH="0" baseline="0" noProof="0">
                <a:ln>
                  <a:noFill/>
                </a:ln>
                <a:solidFill>
                  <a:srgbClr val="FFFFFF"/>
                </a:solidFill>
                <a:effectLst/>
                <a:uLnTx/>
                <a:uFillTx/>
                <a:latin typeface="Ericsson Hilda Light"/>
                <a:ea typeface="+mn-ea"/>
                <a:cs typeface="+mn-cs"/>
              </a:rPr>
              <a:t>EPC</a:t>
            </a:r>
          </a:p>
        </p:txBody>
      </p:sp>
      <p:pic>
        <p:nvPicPr>
          <p:cNvPr id="227" name="Content Placeholder 11">
            <a:extLst>
              <a:ext uri="{FF2B5EF4-FFF2-40B4-BE49-F238E27FC236}">
                <a16:creationId xmlns:a16="http://schemas.microsoft.com/office/drawing/2014/main" id="{57705EC9-9DC8-47FC-8A44-9C0F4D27957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419" y="3526144"/>
            <a:ext cx="539158" cy="702834"/>
          </a:xfrm>
          <a:prstGeom prst="rect">
            <a:avLst/>
          </a:prstGeom>
        </p:spPr>
      </p:pic>
      <p:pic>
        <p:nvPicPr>
          <p:cNvPr id="229" name="Content Placeholder 11">
            <a:extLst>
              <a:ext uri="{FF2B5EF4-FFF2-40B4-BE49-F238E27FC236}">
                <a16:creationId xmlns:a16="http://schemas.microsoft.com/office/drawing/2014/main" id="{A491D58D-80A0-4887-A4FA-94AA25D8D81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10066" y="3518670"/>
            <a:ext cx="539158" cy="702834"/>
          </a:xfrm>
          <a:prstGeom prst="rect">
            <a:avLst/>
          </a:prstGeom>
        </p:spPr>
      </p:pic>
      <p:cxnSp>
        <p:nvCxnSpPr>
          <p:cNvPr id="231" name="Straight Connector 65">
            <a:extLst>
              <a:ext uri="{FF2B5EF4-FFF2-40B4-BE49-F238E27FC236}">
                <a16:creationId xmlns:a16="http://schemas.microsoft.com/office/drawing/2014/main" id="{10D64684-993C-4F60-8AD7-1BB9B685AD36}"/>
              </a:ext>
            </a:extLst>
          </p:cNvPr>
          <p:cNvCxnSpPr>
            <a:cxnSpLocks noChangeShapeType="1"/>
          </p:cNvCxnSpPr>
          <p:nvPr/>
        </p:nvCxnSpPr>
        <p:spPr bwMode="auto">
          <a:xfrm flipH="1" flipV="1">
            <a:off x="778273" y="4898829"/>
            <a:ext cx="1012893" cy="10981"/>
          </a:xfrm>
          <a:prstGeom prst="line">
            <a:avLst/>
          </a:prstGeom>
          <a:solidFill>
            <a:srgbClr val="181818"/>
          </a:solidFill>
          <a:ln w="19050">
            <a:solidFill>
              <a:srgbClr val="0FC373"/>
            </a:solidFill>
            <a:round/>
            <a:headEnd type="triangle" w="med" len="sm"/>
            <a:tailEnd type="triangle" w="med" len="sm"/>
          </a:ln>
        </p:spPr>
      </p:cxnSp>
      <p:cxnSp>
        <p:nvCxnSpPr>
          <p:cNvPr id="232" name="Straight Connector 65">
            <a:extLst>
              <a:ext uri="{FF2B5EF4-FFF2-40B4-BE49-F238E27FC236}">
                <a16:creationId xmlns:a16="http://schemas.microsoft.com/office/drawing/2014/main" id="{141C4C3B-3AE8-4D73-8BEA-15482068218A}"/>
              </a:ext>
            </a:extLst>
          </p:cNvPr>
          <p:cNvCxnSpPr>
            <a:cxnSpLocks noChangeShapeType="1"/>
          </p:cNvCxnSpPr>
          <p:nvPr/>
        </p:nvCxnSpPr>
        <p:spPr bwMode="auto">
          <a:xfrm flipH="1">
            <a:off x="2384159" y="5136334"/>
            <a:ext cx="1016542" cy="0"/>
          </a:xfrm>
          <a:prstGeom prst="line">
            <a:avLst/>
          </a:prstGeom>
          <a:solidFill>
            <a:srgbClr val="181818"/>
          </a:solidFill>
          <a:ln w="19050">
            <a:solidFill>
              <a:srgbClr val="FF8C0A"/>
            </a:solidFill>
            <a:round/>
            <a:headEnd type="triangle" w="med" len="sm"/>
            <a:tailEnd type="triangle" w="med" len="sm"/>
          </a:ln>
        </p:spPr>
      </p:cxnSp>
      <p:sp>
        <p:nvSpPr>
          <p:cNvPr id="255" name="TextBox 254">
            <a:extLst>
              <a:ext uri="{FF2B5EF4-FFF2-40B4-BE49-F238E27FC236}">
                <a16:creationId xmlns:a16="http://schemas.microsoft.com/office/drawing/2014/main" id="{32C1668A-8D5B-4304-9F20-EF7C1191137B}"/>
              </a:ext>
            </a:extLst>
          </p:cNvPr>
          <p:cNvSpPr txBox="1"/>
          <p:nvPr/>
        </p:nvSpPr>
        <p:spPr bwMode="auto">
          <a:xfrm>
            <a:off x="261133" y="3050274"/>
            <a:ext cx="643372"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1</a:t>
            </a:r>
          </a:p>
        </p:txBody>
      </p:sp>
      <p:sp>
        <p:nvSpPr>
          <p:cNvPr id="256" name="TextBox 255">
            <a:extLst>
              <a:ext uri="{FF2B5EF4-FFF2-40B4-BE49-F238E27FC236}">
                <a16:creationId xmlns:a16="http://schemas.microsoft.com/office/drawing/2014/main" id="{00F7F29E-F3A9-4189-89FA-15150C9A9D05}"/>
              </a:ext>
            </a:extLst>
          </p:cNvPr>
          <p:cNvSpPr txBox="1"/>
          <p:nvPr/>
        </p:nvSpPr>
        <p:spPr bwMode="auto">
          <a:xfrm>
            <a:off x="3196321" y="3032324"/>
            <a:ext cx="643372"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2</a:t>
            </a:r>
          </a:p>
        </p:txBody>
      </p:sp>
      <p:grpSp>
        <p:nvGrpSpPr>
          <p:cNvPr id="266" name="Group 265">
            <a:extLst>
              <a:ext uri="{FF2B5EF4-FFF2-40B4-BE49-F238E27FC236}">
                <a16:creationId xmlns:a16="http://schemas.microsoft.com/office/drawing/2014/main" id="{BF159CB7-7791-411B-81B6-BCC87906EF26}"/>
              </a:ext>
            </a:extLst>
          </p:cNvPr>
          <p:cNvGrpSpPr/>
          <p:nvPr/>
        </p:nvGrpSpPr>
        <p:grpSpPr>
          <a:xfrm>
            <a:off x="2794349" y="4938470"/>
            <a:ext cx="228402" cy="310748"/>
            <a:chOff x="10129764" y="745508"/>
            <a:chExt cx="228402" cy="310748"/>
          </a:xfrm>
        </p:grpSpPr>
        <p:grpSp>
          <p:nvGrpSpPr>
            <p:cNvPr id="267" name="Group 266">
              <a:extLst>
                <a:ext uri="{FF2B5EF4-FFF2-40B4-BE49-F238E27FC236}">
                  <a16:creationId xmlns:a16="http://schemas.microsoft.com/office/drawing/2014/main" id="{01A8A1FD-1049-4B08-B260-8274FEFE7C0D}"/>
                </a:ext>
              </a:extLst>
            </p:cNvPr>
            <p:cNvGrpSpPr>
              <a:grpSpLocks noChangeAspect="1"/>
            </p:cNvGrpSpPr>
            <p:nvPr/>
          </p:nvGrpSpPr>
          <p:grpSpPr>
            <a:xfrm>
              <a:off x="10129764" y="745508"/>
              <a:ext cx="228402" cy="310748"/>
              <a:chOff x="1373325" y="5272742"/>
              <a:chExt cx="441059" cy="600075"/>
            </a:xfrm>
          </p:grpSpPr>
          <p:sp>
            <p:nvSpPr>
              <p:cNvPr id="269" name="Rectangle 268">
                <a:extLst>
                  <a:ext uri="{FF2B5EF4-FFF2-40B4-BE49-F238E27FC236}">
                    <a16:creationId xmlns:a16="http://schemas.microsoft.com/office/drawing/2014/main" id="{7BB743B5-6234-4C34-B1B0-983A95D269D2}"/>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270" name="Graphic 269">
                <a:extLst>
                  <a:ext uri="{FF2B5EF4-FFF2-40B4-BE49-F238E27FC236}">
                    <a16:creationId xmlns:a16="http://schemas.microsoft.com/office/drawing/2014/main" id="{9B10D07D-31FD-4BBC-95EA-4BC7EA1561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5759" y="5272742"/>
                <a:ext cx="428625" cy="600075"/>
              </a:xfrm>
              <a:prstGeom prst="rect">
                <a:avLst/>
              </a:prstGeom>
            </p:spPr>
          </p:pic>
        </p:grpSp>
        <p:sp>
          <p:nvSpPr>
            <p:cNvPr id="268" name="TextBox 267">
              <a:extLst>
                <a:ext uri="{FF2B5EF4-FFF2-40B4-BE49-F238E27FC236}">
                  <a16:creationId xmlns:a16="http://schemas.microsoft.com/office/drawing/2014/main" id="{C68028DC-C7AC-483A-800D-DAD69060B2D5}"/>
                </a:ext>
              </a:extLst>
            </p:cNvPr>
            <p:cNvSpPr txBox="1"/>
            <p:nvPr/>
          </p:nvSpPr>
          <p:spPr bwMode="auto">
            <a:xfrm>
              <a:off x="10129764" y="760261"/>
              <a:ext cx="157663"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2</a:t>
              </a:r>
            </a:p>
          </p:txBody>
        </p:sp>
      </p:grpSp>
      <p:grpSp>
        <p:nvGrpSpPr>
          <p:cNvPr id="281" name="Group 280">
            <a:extLst>
              <a:ext uri="{FF2B5EF4-FFF2-40B4-BE49-F238E27FC236}">
                <a16:creationId xmlns:a16="http://schemas.microsoft.com/office/drawing/2014/main" id="{61A5F44F-D924-4F2C-8017-DB943D477B22}"/>
              </a:ext>
            </a:extLst>
          </p:cNvPr>
          <p:cNvGrpSpPr/>
          <p:nvPr/>
        </p:nvGrpSpPr>
        <p:grpSpPr>
          <a:xfrm>
            <a:off x="1173737" y="4720461"/>
            <a:ext cx="221963" cy="310748"/>
            <a:chOff x="10129764" y="745508"/>
            <a:chExt cx="221963" cy="310748"/>
          </a:xfrm>
        </p:grpSpPr>
        <p:grpSp>
          <p:nvGrpSpPr>
            <p:cNvPr id="282" name="Group 281">
              <a:extLst>
                <a:ext uri="{FF2B5EF4-FFF2-40B4-BE49-F238E27FC236}">
                  <a16:creationId xmlns:a16="http://schemas.microsoft.com/office/drawing/2014/main" id="{FA968858-6E76-48EC-BC9D-944E0BE779CD}"/>
                </a:ext>
              </a:extLst>
            </p:cNvPr>
            <p:cNvGrpSpPr>
              <a:grpSpLocks noChangeAspect="1"/>
            </p:cNvGrpSpPr>
            <p:nvPr/>
          </p:nvGrpSpPr>
          <p:grpSpPr>
            <a:xfrm>
              <a:off x="10129764" y="745508"/>
              <a:ext cx="221963" cy="310748"/>
              <a:chOff x="1373325" y="5272742"/>
              <a:chExt cx="428625" cy="600075"/>
            </a:xfrm>
          </p:grpSpPr>
          <p:sp>
            <p:nvSpPr>
              <p:cNvPr id="284" name="Rectangle 283">
                <a:extLst>
                  <a:ext uri="{FF2B5EF4-FFF2-40B4-BE49-F238E27FC236}">
                    <a16:creationId xmlns:a16="http://schemas.microsoft.com/office/drawing/2014/main" id="{AD0D1833-440B-4361-B407-5C7ACA5842D8}"/>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285" name="Graphic 284">
                <a:extLst>
                  <a:ext uri="{FF2B5EF4-FFF2-40B4-BE49-F238E27FC236}">
                    <a16:creationId xmlns:a16="http://schemas.microsoft.com/office/drawing/2014/main" id="{814D4A24-2512-453D-B64E-6E9F365445D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283" name="TextBox 282">
              <a:extLst>
                <a:ext uri="{FF2B5EF4-FFF2-40B4-BE49-F238E27FC236}">
                  <a16:creationId xmlns:a16="http://schemas.microsoft.com/office/drawing/2014/main" id="{357D7537-0B6B-43DF-A204-5525CB0D0337}"/>
                </a:ext>
              </a:extLst>
            </p:cNvPr>
            <p:cNvSpPr txBox="1"/>
            <p:nvPr/>
          </p:nvSpPr>
          <p:spPr bwMode="auto">
            <a:xfrm>
              <a:off x="10129764" y="760261"/>
              <a:ext cx="159265"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1</a:t>
              </a:r>
            </a:p>
          </p:txBody>
        </p:sp>
      </p:grpSp>
      <p:sp>
        <p:nvSpPr>
          <p:cNvPr id="295" name="AutoShape 15" descr="bpct-blend1">
            <a:extLst>
              <a:ext uri="{FF2B5EF4-FFF2-40B4-BE49-F238E27FC236}">
                <a16:creationId xmlns:a16="http://schemas.microsoft.com/office/drawing/2014/main" id="{952485E0-F0E8-4693-966C-D8FAA0DA6632}"/>
              </a:ext>
            </a:extLst>
          </p:cNvPr>
          <p:cNvSpPr>
            <a:spLocks noChangeArrowheads="1"/>
          </p:cNvSpPr>
          <p:nvPr/>
        </p:nvSpPr>
        <p:spPr bwMode="auto">
          <a:xfrm>
            <a:off x="2650276" y="2325103"/>
            <a:ext cx="1097013" cy="441893"/>
          </a:xfrm>
          <a:prstGeom prst="roundRect">
            <a:avLst>
              <a:gd name="adj" fmla="val 0"/>
            </a:avLst>
          </a:prstGeom>
          <a:solidFill>
            <a:schemeClr val="accent5"/>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a:buClrTx/>
              <a:buNone/>
            </a:pPr>
            <a:r>
              <a:rPr lang="sv-SE" altLang="en-US" sz="1600" kern="0">
                <a:solidFill>
                  <a:schemeClr val="bg1"/>
                </a:solidFill>
                <a:latin typeface="+mj-lt"/>
              </a:rPr>
              <a:t>5GC</a:t>
            </a:r>
          </a:p>
        </p:txBody>
      </p:sp>
      <p:cxnSp>
        <p:nvCxnSpPr>
          <p:cNvPr id="302" name="Straight Connector 32">
            <a:extLst>
              <a:ext uri="{FF2B5EF4-FFF2-40B4-BE49-F238E27FC236}">
                <a16:creationId xmlns:a16="http://schemas.microsoft.com/office/drawing/2014/main" id="{9AF6A031-FDC2-4C88-B2B2-F9CDBFB76B80}"/>
              </a:ext>
            </a:extLst>
          </p:cNvPr>
          <p:cNvCxnSpPr>
            <a:cxnSpLocks noChangeShapeType="1"/>
            <a:stCxn id="307" idx="1"/>
            <a:endCxn id="308" idx="2"/>
          </p:cNvCxnSpPr>
          <p:nvPr/>
        </p:nvCxnSpPr>
        <p:spPr bwMode="auto">
          <a:xfrm flipV="1">
            <a:off x="4905615" y="2740710"/>
            <a:ext cx="2559" cy="1366346"/>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303" name="TextBox 37">
            <a:extLst>
              <a:ext uri="{FF2B5EF4-FFF2-40B4-BE49-F238E27FC236}">
                <a16:creationId xmlns:a16="http://schemas.microsoft.com/office/drawing/2014/main" id="{4B53EA30-C1B9-4B6E-B887-2452A8FA4952}"/>
              </a:ext>
            </a:extLst>
          </p:cNvPr>
          <p:cNvSpPr txBox="1">
            <a:spLocks noChangeArrowheads="1"/>
          </p:cNvSpPr>
          <p:nvPr/>
        </p:nvSpPr>
        <p:spPr bwMode="auto">
          <a:xfrm>
            <a:off x="4944365" y="4410794"/>
            <a:ext cx="532518"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LTE</a:t>
            </a:r>
          </a:p>
        </p:txBody>
      </p:sp>
      <p:cxnSp>
        <p:nvCxnSpPr>
          <p:cNvPr id="304" name="Straight Connector 32">
            <a:extLst>
              <a:ext uri="{FF2B5EF4-FFF2-40B4-BE49-F238E27FC236}">
                <a16:creationId xmlns:a16="http://schemas.microsoft.com/office/drawing/2014/main" id="{1E3584F6-E762-463A-AF0A-B0A2D1BB46A0}"/>
              </a:ext>
            </a:extLst>
          </p:cNvPr>
          <p:cNvCxnSpPr>
            <a:cxnSpLocks noChangeShapeType="1"/>
            <a:stCxn id="305" idx="7"/>
            <a:endCxn id="326" idx="2"/>
          </p:cNvCxnSpPr>
          <p:nvPr/>
        </p:nvCxnSpPr>
        <p:spPr bwMode="auto">
          <a:xfrm flipV="1">
            <a:off x="7143512" y="2740709"/>
            <a:ext cx="11557" cy="1366347"/>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305" name="Oval 20">
            <a:extLst>
              <a:ext uri="{FF2B5EF4-FFF2-40B4-BE49-F238E27FC236}">
                <a16:creationId xmlns:a16="http://schemas.microsoft.com/office/drawing/2014/main" id="{EB21364E-16D2-4085-880D-00B615C6FA07}"/>
              </a:ext>
            </a:extLst>
          </p:cNvPr>
          <p:cNvSpPr>
            <a:spLocks noChangeArrowheads="1"/>
          </p:cNvSpPr>
          <p:nvPr/>
        </p:nvSpPr>
        <p:spPr bwMode="auto">
          <a:xfrm>
            <a:off x="6349473" y="4052887"/>
            <a:ext cx="930275" cy="369887"/>
          </a:xfrm>
          <a:prstGeom prst="ellipse">
            <a:avLst/>
          </a:prstGeom>
          <a:solidFill>
            <a:srgbClr val="FF8C0A"/>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58585A">
                  <a:lumMod val="50000"/>
                </a:srgbClr>
              </a:solidFill>
              <a:effectLst/>
              <a:uLnTx/>
              <a:uFillTx/>
              <a:latin typeface="Arial" charset="0"/>
              <a:cs typeface="Arial" charset="0"/>
            </a:endParaRPr>
          </a:p>
        </p:txBody>
      </p:sp>
      <p:sp>
        <p:nvSpPr>
          <p:cNvPr id="306" name="TextBox 38">
            <a:extLst>
              <a:ext uri="{FF2B5EF4-FFF2-40B4-BE49-F238E27FC236}">
                <a16:creationId xmlns:a16="http://schemas.microsoft.com/office/drawing/2014/main" id="{181635F8-B54F-45C5-896E-A12CFC898784}"/>
              </a:ext>
            </a:extLst>
          </p:cNvPr>
          <p:cNvSpPr txBox="1">
            <a:spLocks noChangeArrowheads="1"/>
          </p:cNvSpPr>
          <p:nvPr/>
        </p:nvSpPr>
        <p:spPr bwMode="auto">
          <a:xfrm>
            <a:off x="6576486" y="4422774"/>
            <a:ext cx="457176"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NR</a:t>
            </a:r>
          </a:p>
        </p:txBody>
      </p:sp>
      <p:sp>
        <p:nvSpPr>
          <p:cNvPr id="307" name="Oval 81">
            <a:extLst>
              <a:ext uri="{FF2B5EF4-FFF2-40B4-BE49-F238E27FC236}">
                <a16:creationId xmlns:a16="http://schemas.microsoft.com/office/drawing/2014/main" id="{74A209AE-F8BD-4421-B257-426655ED04CA}"/>
              </a:ext>
            </a:extLst>
          </p:cNvPr>
          <p:cNvSpPr>
            <a:spLocks noChangeArrowheads="1"/>
          </p:cNvSpPr>
          <p:nvPr/>
        </p:nvSpPr>
        <p:spPr bwMode="auto">
          <a:xfrm>
            <a:off x="4769379" y="4052887"/>
            <a:ext cx="930275" cy="369887"/>
          </a:xfrm>
          <a:prstGeom prst="ellipse">
            <a:avLst/>
          </a:prstGeom>
          <a:solidFill>
            <a:srgbClr val="0FC37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181818">
                  <a:lumMod val="50000"/>
                </a:srgbClr>
              </a:solidFill>
              <a:effectLst/>
              <a:uLnTx/>
              <a:uFillTx/>
              <a:latin typeface="Ericsson Hilda"/>
              <a:cs typeface="Arial" charset="0"/>
            </a:endParaRPr>
          </a:p>
        </p:txBody>
      </p:sp>
      <p:sp>
        <p:nvSpPr>
          <p:cNvPr id="308" name="AutoShape 15" descr="bpct-blend1">
            <a:extLst>
              <a:ext uri="{FF2B5EF4-FFF2-40B4-BE49-F238E27FC236}">
                <a16:creationId xmlns:a16="http://schemas.microsoft.com/office/drawing/2014/main" id="{E403DDBF-23B2-45FD-BF0D-87699CE1149E}"/>
              </a:ext>
            </a:extLst>
          </p:cNvPr>
          <p:cNvSpPr>
            <a:spLocks noChangeArrowheads="1"/>
          </p:cNvSpPr>
          <p:nvPr/>
        </p:nvSpPr>
        <p:spPr bwMode="auto">
          <a:xfrm>
            <a:off x="4359667" y="2298817"/>
            <a:ext cx="1097013" cy="441893"/>
          </a:xfrm>
          <a:prstGeom prst="roundRect">
            <a:avLst>
              <a:gd name="adj" fmla="val 0"/>
            </a:avLst>
          </a:prstGeom>
          <a:solidFill>
            <a:srgbClr val="FFFFFF">
              <a:lumMod val="50000"/>
            </a:srgbClr>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altLang="en-US" sz="1600" b="0" i="0" u="none" strike="noStrike" kern="0" cap="none" spc="0" normalizeH="0" baseline="0" noProof="0">
                <a:ln>
                  <a:noFill/>
                </a:ln>
                <a:solidFill>
                  <a:srgbClr val="FFFFFF"/>
                </a:solidFill>
                <a:effectLst/>
                <a:uLnTx/>
                <a:uFillTx/>
                <a:latin typeface="Ericsson Hilda Light"/>
                <a:ea typeface="+mn-ea"/>
                <a:cs typeface="+mn-cs"/>
              </a:rPr>
              <a:t>EPC</a:t>
            </a:r>
          </a:p>
        </p:txBody>
      </p:sp>
      <p:pic>
        <p:nvPicPr>
          <p:cNvPr id="309" name="Content Placeholder 11">
            <a:extLst>
              <a:ext uri="{FF2B5EF4-FFF2-40B4-BE49-F238E27FC236}">
                <a16:creationId xmlns:a16="http://schemas.microsoft.com/office/drawing/2014/main" id="{B2D39AA2-DB7D-40B7-825A-EC6E8DF64BC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68705" y="3499857"/>
            <a:ext cx="539158" cy="702834"/>
          </a:xfrm>
          <a:prstGeom prst="rect">
            <a:avLst/>
          </a:prstGeom>
        </p:spPr>
      </p:pic>
      <p:pic>
        <p:nvPicPr>
          <p:cNvPr id="310" name="Content Placeholder 11">
            <a:extLst>
              <a:ext uri="{FF2B5EF4-FFF2-40B4-BE49-F238E27FC236}">
                <a16:creationId xmlns:a16="http://schemas.microsoft.com/office/drawing/2014/main" id="{4F25C2B0-A1F7-4DA4-91C4-B9CD9199BC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352" y="3492383"/>
            <a:ext cx="539158" cy="702834"/>
          </a:xfrm>
          <a:prstGeom prst="rect">
            <a:avLst/>
          </a:prstGeom>
        </p:spPr>
      </p:pic>
      <p:cxnSp>
        <p:nvCxnSpPr>
          <p:cNvPr id="312" name="Straight Connector 65">
            <a:extLst>
              <a:ext uri="{FF2B5EF4-FFF2-40B4-BE49-F238E27FC236}">
                <a16:creationId xmlns:a16="http://schemas.microsoft.com/office/drawing/2014/main" id="{9F8FB372-3BC7-4956-B099-88C4F191ADDA}"/>
              </a:ext>
            </a:extLst>
          </p:cNvPr>
          <p:cNvCxnSpPr>
            <a:cxnSpLocks noChangeShapeType="1"/>
          </p:cNvCxnSpPr>
          <p:nvPr/>
        </p:nvCxnSpPr>
        <p:spPr bwMode="auto">
          <a:xfrm flipH="1" flipV="1">
            <a:off x="4734559" y="4872542"/>
            <a:ext cx="1012893" cy="10981"/>
          </a:xfrm>
          <a:prstGeom prst="line">
            <a:avLst/>
          </a:prstGeom>
          <a:solidFill>
            <a:srgbClr val="181818"/>
          </a:solidFill>
          <a:ln w="19050">
            <a:solidFill>
              <a:srgbClr val="0FC373"/>
            </a:solidFill>
            <a:round/>
            <a:headEnd type="triangle" w="med" len="sm"/>
            <a:tailEnd type="triangle" w="med" len="sm"/>
          </a:ln>
        </p:spPr>
      </p:cxnSp>
      <p:cxnSp>
        <p:nvCxnSpPr>
          <p:cNvPr id="313" name="Straight Connector 65">
            <a:extLst>
              <a:ext uri="{FF2B5EF4-FFF2-40B4-BE49-F238E27FC236}">
                <a16:creationId xmlns:a16="http://schemas.microsoft.com/office/drawing/2014/main" id="{1DB7B6C2-5C8B-4BEE-9A23-63D59E9E18ED}"/>
              </a:ext>
            </a:extLst>
          </p:cNvPr>
          <p:cNvCxnSpPr>
            <a:cxnSpLocks noChangeShapeType="1"/>
          </p:cNvCxnSpPr>
          <p:nvPr/>
        </p:nvCxnSpPr>
        <p:spPr bwMode="auto">
          <a:xfrm flipH="1">
            <a:off x="4734559" y="5110047"/>
            <a:ext cx="2622428" cy="0"/>
          </a:xfrm>
          <a:prstGeom prst="line">
            <a:avLst/>
          </a:prstGeom>
          <a:solidFill>
            <a:srgbClr val="181818"/>
          </a:solidFill>
          <a:ln w="19050">
            <a:solidFill>
              <a:srgbClr val="FF8C0A"/>
            </a:solidFill>
            <a:round/>
            <a:headEnd type="triangle" w="med" len="sm"/>
            <a:tailEnd type="triangle" w="med" len="sm"/>
          </a:ln>
        </p:spPr>
      </p:cxnSp>
      <p:sp>
        <p:nvSpPr>
          <p:cNvPr id="314" name="TextBox 313">
            <a:extLst>
              <a:ext uri="{FF2B5EF4-FFF2-40B4-BE49-F238E27FC236}">
                <a16:creationId xmlns:a16="http://schemas.microsoft.com/office/drawing/2014/main" id="{5C1D85CB-37AD-46F4-8792-5DA2C4EBA536}"/>
              </a:ext>
            </a:extLst>
          </p:cNvPr>
          <p:cNvSpPr txBox="1"/>
          <p:nvPr/>
        </p:nvSpPr>
        <p:spPr bwMode="auto">
          <a:xfrm>
            <a:off x="4217419" y="3023987"/>
            <a:ext cx="643372"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1</a:t>
            </a:r>
          </a:p>
        </p:txBody>
      </p:sp>
      <p:sp>
        <p:nvSpPr>
          <p:cNvPr id="315" name="TextBox 314">
            <a:extLst>
              <a:ext uri="{FF2B5EF4-FFF2-40B4-BE49-F238E27FC236}">
                <a16:creationId xmlns:a16="http://schemas.microsoft.com/office/drawing/2014/main" id="{348D516D-57A5-470A-B96D-353F2EB83E28}"/>
              </a:ext>
            </a:extLst>
          </p:cNvPr>
          <p:cNvSpPr txBox="1"/>
          <p:nvPr/>
        </p:nvSpPr>
        <p:spPr bwMode="auto">
          <a:xfrm>
            <a:off x="7152607" y="3006037"/>
            <a:ext cx="643372"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2</a:t>
            </a:r>
          </a:p>
        </p:txBody>
      </p:sp>
      <p:grpSp>
        <p:nvGrpSpPr>
          <p:cNvPr id="316" name="Group 315">
            <a:extLst>
              <a:ext uri="{FF2B5EF4-FFF2-40B4-BE49-F238E27FC236}">
                <a16:creationId xmlns:a16="http://schemas.microsoft.com/office/drawing/2014/main" id="{EFDCD351-DF04-45EC-BFC0-42732CC1DC66}"/>
              </a:ext>
            </a:extLst>
          </p:cNvPr>
          <p:cNvGrpSpPr/>
          <p:nvPr/>
        </p:nvGrpSpPr>
        <p:grpSpPr>
          <a:xfrm>
            <a:off x="6750635" y="4912183"/>
            <a:ext cx="228402" cy="310748"/>
            <a:chOff x="10129764" y="745508"/>
            <a:chExt cx="228402" cy="310748"/>
          </a:xfrm>
        </p:grpSpPr>
        <p:grpSp>
          <p:nvGrpSpPr>
            <p:cNvPr id="317" name="Group 316">
              <a:extLst>
                <a:ext uri="{FF2B5EF4-FFF2-40B4-BE49-F238E27FC236}">
                  <a16:creationId xmlns:a16="http://schemas.microsoft.com/office/drawing/2014/main" id="{AF7FCA16-9239-4037-8737-310391484E03}"/>
                </a:ext>
              </a:extLst>
            </p:cNvPr>
            <p:cNvGrpSpPr>
              <a:grpSpLocks noChangeAspect="1"/>
            </p:cNvGrpSpPr>
            <p:nvPr/>
          </p:nvGrpSpPr>
          <p:grpSpPr>
            <a:xfrm>
              <a:off x="10129764" y="745508"/>
              <a:ext cx="228402" cy="310748"/>
              <a:chOff x="1373325" y="5272742"/>
              <a:chExt cx="441059" cy="600075"/>
            </a:xfrm>
          </p:grpSpPr>
          <p:sp>
            <p:nvSpPr>
              <p:cNvPr id="319" name="Rectangle 318">
                <a:extLst>
                  <a:ext uri="{FF2B5EF4-FFF2-40B4-BE49-F238E27FC236}">
                    <a16:creationId xmlns:a16="http://schemas.microsoft.com/office/drawing/2014/main" id="{E3D10796-24ED-4EAE-A70F-1B2961A9D05A}"/>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320" name="Graphic 319">
                <a:extLst>
                  <a:ext uri="{FF2B5EF4-FFF2-40B4-BE49-F238E27FC236}">
                    <a16:creationId xmlns:a16="http://schemas.microsoft.com/office/drawing/2014/main" id="{743017CA-5437-45CA-943A-E3E9321200B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5759" y="5272742"/>
                <a:ext cx="428625" cy="600075"/>
              </a:xfrm>
              <a:prstGeom prst="rect">
                <a:avLst/>
              </a:prstGeom>
            </p:spPr>
          </p:pic>
        </p:grpSp>
        <p:sp>
          <p:nvSpPr>
            <p:cNvPr id="318" name="TextBox 317">
              <a:extLst>
                <a:ext uri="{FF2B5EF4-FFF2-40B4-BE49-F238E27FC236}">
                  <a16:creationId xmlns:a16="http://schemas.microsoft.com/office/drawing/2014/main" id="{8128424D-F805-48D3-910D-123ECD3FB65E}"/>
                </a:ext>
              </a:extLst>
            </p:cNvPr>
            <p:cNvSpPr txBox="1"/>
            <p:nvPr/>
          </p:nvSpPr>
          <p:spPr bwMode="auto">
            <a:xfrm>
              <a:off x="10129764" y="760261"/>
              <a:ext cx="157663"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2</a:t>
              </a:r>
            </a:p>
          </p:txBody>
        </p:sp>
      </p:grpSp>
      <p:grpSp>
        <p:nvGrpSpPr>
          <p:cNvPr id="321" name="Group 320">
            <a:extLst>
              <a:ext uri="{FF2B5EF4-FFF2-40B4-BE49-F238E27FC236}">
                <a16:creationId xmlns:a16="http://schemas.microsoft.com/office/drawing/2014/main" id="{139114DA-8FA6-41AB-847B-F487FC42A7D6}"/>
              </a:ext>
            </a:extLst>
          </p:cNvPr>
          <p:cNvGrpSpPr/>
          <p:nvPr/>
        </p:nvGrpSpPr>
        <p:grpSpPr>
          <a:xfrm>
            <a:off x="5130023" y="4694174"/>
            <a:ext cx="221963" cy="310748"/>
            <a:chOff x="10129764" y="745508"/>
            <a:chExt cx="221963" cy="310748"/>
          </a:xfrm>
        </p:grpSpPr>
        <p:grpSp>
          <p:nvGrpSpPr>
            <p:cNvPr id="322" name="Group 321">
              <a:extLst>
                <a:ext uri="{FF2B5EF4-FFF2-40B4-BE49-F238E27FC236}">
                  <a16:creationId xmlns:a16="http://schemas.microsoft.com/office/drawing/2014/main" id="{03CCE445-580E-4C74-8D76-A53D5B3DA155}"/>
                </a:ext>
              </a:extLst>
            </p:cNvPr>
            <p:cNvGrpSpPr>
              <a:grpSpLocks noChangeAspect="1"/>
            </p:cNvGrpSpPr>
            <p:nvPr/>
          </p:nvGrpSpPr>
          <p:grpSpPr>
            <a:xfrm>
              <a:off x="10129764" y="745508"/>
              <a:ext cx="221963" cy="310748"/>
              <a:chOff x="1373325" y="5272742"/>
              <a:chExt cx="428625" cy="600075"/>
            </a:xfrm>
          </p:grpSpPr>
          <p:sp>
            <p:nvSpPr>
              <p:cNvPr id="324" name="Rectangle 323">
                <a:extLst>
                  <a:ext uri="{FF2B5EF4-FFF2-40B4-BE49-F238E27FC236}">
                    <a16:creationId xmlns:a16="http://schemas.microsoft.com/office/drawing/2014/main" id="{8394223F-5F1F-469D-8AC1-DFECECAB82C8}"/>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325" name="Graphic 324">
                <a:extLst>
                  <a:ext uri="{FF2B5EF4-FFF2-40B4-BE49-F238E27FC236}">
                    <a16:creationId xmlns:a16="http://schemas.microsoft.com/office/drawing/2014/main" id="{02E90A90-9452-401D-8BF5-15B7044619D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323" name="TextBox 322">
              <a:extLst>
                <a:ext uri="{FF2B5EF4-FFF2-40B4-BE49-F238E27FC236}">
                  <a16:creationId xmlns:a16="http://schemas.microsoft.com/office/drawing/2014/main" id="{5ECA2D80-98D9-4AAF-A409-8F54B50474B9}"/>
                </a:ext>
              </a:extLst>
            </p:cNvPr>
            <p:cNvSpPr txBox="1"/>
            <p:nvPr/>
          </p:nvSpPr>
          <p:spPr bwMode="auto">
            <a:xfrm>
              <a:off x="10129764" y="760261"/>
              <a:ext cx="159265"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1</a:t>
              </a:r>
            </a:p>
          </p:txBody>
        </p:sp>
      </p:grpSp>
      <p:sp>
        <p:nvSpPr>
          <p:cNvPr id="326" name="AutoShape 15" descr="bpct-blend1">
            <a:extLst>
              <a:ext uri="{FF2B5EF4-FFF2-40B4-BE49-F238E27FC236}">
                <a16:creationId xmlns:a16="http://schemas.microsoft.com/office/drawing/2014/main" id="{7D9C439B-2781-478D-8B99-2086C0337DC8}"/>
              </a:ext>
            </a:extLst>
          </p:cNvPr>
          <p:cNvSpPr>
            <a:spLocks noChangeArrowheads="1"/>
          </p:cNvSpPr>
          <p:nvPr/>
        </p:nvSpPr>
        <p:spPr bwMode="auto">
          <a:xfrm>
            <a:off x="6606562" y="2298816"/>
            <a:ext cx="1097013" cy="441893"/>
          </a:xfrm>
          <a:prstGeom prst="roundRect">
            <a:avLst>
              <a:gd name="adj" fmla="val 0"/>
            </a:avLst>
          </a:prstGeom>
          <a:solidFill>
            <a:schemeClr val="accent5"/>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a:buClrTx/>
              <a:buNone/>
            </a:pPr>
            <a:r>
              <a:rPr lang="sv-SE" altLang="en-US" sz="1600" kern="0">
                <a:solidFill>
                  <a:schemeClr val="bg1"/>
                </a:solidFill>
                <a:latin typeface="+mj-lt"/>
              </a:rPr>
              <a:t>5GC</a:t>
            </a:r>
          </a:p>
        </p:txBody>
      </p:sp>
      <p:cxnSp>
        <p:nvCxnSpPr>
          <p:cNvPr id="327" name="Straight Connector 32">
            <a:extLst>
              <a:ext uri="{FF2B5EF4-FFF2-40B4-BE49-F238E27FC236}">
                <a16:creationId xmlns:a16="http://schemas.microsoft.com/office/drawing/2014/main" id="{7AA0D300-9582-44E4-BA37-16EA4A6138B3}"/>
              </a:ext>
            </a:extLst>
          </p:cNvPr>
          <p:cNvCxnSpPr>
            <a:cxnSpLocks noChangeShapeType="1"/>
            <a:stCxn id="308" idx="3"/>
            <a:endCxn id="326" idx="1"/>
          </p:cNvCxnSpPr>
          <p:nvPr/>
        </p:nvCxnSpPr>
        <p:spPr bwMode="auto">
          <a:xfrm flipV="1">
            <a:off x="5456680" y="2519763"/>
            <a:ext cx="1149882" cy="1"/>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356" name="TextBox 355">
            <a:extLst>
              <a:ext uri="{FF2B5EF4-FFF2-40B4-BE49-F238E27FC236}">
                <a16:creationId xmlns:a16="http://schemas.microsoft.com/office/drawing/2014/main" id="{F9B3E084-C61D-426B-AED4-BB2147321C29}"/>
              </a:ext>
            </a:extLst>
          </p:cNvPr>
          <p:cNvSpPr txBox="1"/>
          <p:nvPr/>
        </p:nvSpPr>
        <p:spPr bwMode="auto">
          <a:xfrm>
            <a:off x="5560481" y="2251896"/>
            <a:ext cx="935119"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Interworking</a:t>
            </a:r>
          </a:p>
        </p:txBody>
      </p:sp>
      <p:cxnSp>
        <p:nvCxnSpPr>
          <p:cNvPr id="85" name="Straight Connector 32">
            <a:extLst>
              <a:ext uri="{FF2B5EF4-FFF2-40B4-BE49-F238E27FC236}">
                <a16:creationId xmlns:a16="http://schemas.microsoft.com/office/drawing/2014/main" id="{38180243-1908-4C41-92B2-7018758FD709}"/>
              </a:ext>
            </a:extLst>
          </p:cNvPr>
          <p:cNvCxnSpPr>
            <a:cxnSpLocks noChangeShapeType="1"/>
            <a:stCxn id="90" idx="1"/>
          </p:cNvCxnSpPr>
          <p:nvPr/>
        </p:nvCxnSpPr>
        <p:spPr bwMode="auto">
          <a:xfrm flipV="1">
            <a:off x="8961428" y="2740709"/>
            <a:ext cx="1252057" cy="1366347"/>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86" name="TextBox 37">
            <a:extLst>
              <a:ext uri="{FF2B5EF4-FFF2-40B4-BE49-F238E27FC236}">
                <a16:creationId xmlns:a16="http://schemas.microsoft.com/office/drawing/2014/main" id="{1CD8893E-B569-4893-8306-56E6F4D81FD9}"/>
              </a:ext>
            </a:extLst>
          </p:cNvPr>
          <p:cNvSpPr txBox="1">
            <a:spLocks noChangeArrowheads="1"/>
          </p:cNvSpPr>
          <p:nvPr/>
        </p:nvSpPr>
        <p:spPr bwMode="auto">
          <a:xfrm>
            <a:off x="9000178" y="4410794"/>
            <a:ext cx="532518"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LTE</a:t>
            </a:r>
          </a:p>
        </p:txBody>
      </p:sp>
      <p:cxnSp>
        <p:nvCxnSpPr>
          <p:cNvPr id="87" name="Straight Connector 32">
            <a:extLst>
              <a:ext uri="{FF2B5EF4-FFF2-40B4-BE49-F238E27FC236}">
                <a16:creationId xmlns:a16="http://schemas.microsoft.com/office/drawing/2014/main" id="{D1C18D43-669A-49A8-9C55-89029EF591AD}"/>
              </a:ext>
            </a:extLst>
          </p:cNvPr>
          <p:cNvCxnSpPr>
            <a:cxnSpLocks noChangeShapeType="1"/>
            <a:stCxn id="88" idx="7"/>
          </p:cNvCxnSpPr>
          <p:nvPr/>
        </p:nvCxnSpPr>
        <p:spPr bwMode="auto">
          <a:xfrm flipH="1" flipV="1">
            <a:off x="10213485" y="2740709"/>
            <a:ext cx="985840" cy="1366347"/>
          </a:xfrm>
          <a:prstGeom prst="line">
            <a:avLst/>
          </a:prstGeom>
          <a:noFill/>
          <a:ln w="28575">
            <a:solidFill>
              <a:srgbClr val="181818">
                <a:lumMod val="50000"/>
                <a:lumOff val="50000"/>
              </a:srgbClr>
            </a:solidFill>
            <a:round/>
            <a:headEnd/>
            <a:tailEnd/>
          </a:ln>
          <a:extLst>
            <a:ext uri="{909E8E84-426E-40DD-AFC4-6F175D3DCCD1}">
              <a14:hiddenFill xmlns:a14="http://schemas.microsoft.com/office/drawing/2010/main">
                <a:noFill/>
              </a14:hiddenFill>
            </a:ext>
          </a:extLst>
        </p:spPr>
      </p:cxnSp>
      <p:sp>
        <p:nvSpPr>
          <p:cNvPr id="88" name="Oval 20">
            <a:extLst>
              <a:ext uri="{FF2B5EF4-FFF2-40B4-BE49-F238E27FC236}">
                <a16:creationId xmlns:a16="http://schemas.microsoft.com/office/drawing/2014/main" id="{96CA70CA-6DCD-40AD-B2F1-3DED1E0DFDC0}"/>
              </a:ext>
            </a:extLst>
          </p:cNvPr>
          <p:cNvSpPr>
            <a:spLocks noChangeArrowheads="1"/>
          </p:cNvSpPr>
          <p:nvPr/>
        </p:nvSpPr>
        <p:spPr bwMode="auto">
          <a:xfrm>
            <a:off x="10405286" y="4052887"/>
            <a:ext cx="930275" cy="369887"/>
          </a:xfrm>
          <a:prstGeom prst="ellipse">
            <a:avLst/>
          </a:prstGeom>
          <a:solidFill>
            <a:srgbClr val="FF8C0A"/>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58585A">
                  <a:lumMod val="50000"/>
                </a:srgbClr>
              </a:solidFill>
              <a:effectLst/>
              <a:uLnTx/>
              <a:uFillTx/>
              <a:latin typeface="Arial" charset="0"/>
              <a:cs typeface="Arial" charset="0"/>
            </a:endParaRPr>
          </a:p>
        </p:txBody>
      </p:sp>
      <p:sp>
        <p:nvSpPr>
          <p:cNvPr id="89" name="TextBox 38">
            <a:extLst>
              <a:ext uri="{FF2B5EF4-FFF2-40B4-BE49-F238E27FC236}">
                <a16:creationId xmlns:a16="http://schemas.microsoft.com/office/drawing/2014/main" id="{AA469639-A619-4E8E-9C1F-89B3E5B5DCB7}"/>
              </a:ext>
            </a:extLst>
          </p:cNvPr>
          <p:cNvSpPr txBox="1">
            <a:spLocks noChangeArrowheads="1"/>
          </p:cNvSpPr>
          <p:nvPr/>
        </p:nvSpPr>
        <p:spPr bwMode="auto">
          <a:xfrm>
            <a:off x="10632299" y="4422774"/>
            <a:ext cx="457176"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rgbClr val="181818">
                    <a:lumMod val="50000"/>
                  </a:srgbClr>
                </a:solidFill>
                <a:effectLst/>
                <a:uLnTx/>
                <a:uFillTx/>
                <a:latin typeface="Ericsson Hilda"/>
                <a:ea typeface="+mn-ea"/>
                <a:cs typeface="+mn-cs"/>
              </a:rPr>
              <a:t>NR</a:t>
            </a:r>
          </a:p>
        </p:txBody>
      </p:sp>
      <p:sp>
        <p:nvSpPr>
          <p:cNvPr id="90" name="Oval 81">
            <a:extLst>
              <a:ext uri="{FF2B5EF4-FFF2-40B4-BE49-F238E27FC236}">
                <a16:creationId xmlns:a16="http://schemas.microsoft.com/office/drawing/2014/main" id="{22C55FDD-CA34-4608-85FE-FB99835A497C}"/>
              </a:ext>
            </a:extLst>
          </p:cNvPr>
          <p:cNvSpPr>
            <a:spLocks noChangeArrowheads="1"/>
          </p:cNvSpPr>
          <p:nvPr/>
        </p:nvSpPr>
        <p:spPr bwMode="auto">
          <a:xfrm>
            <a:off x="8825192" y="4052887"/>
            <a:ext cx="930275" cy="369887"/>
          </a:xfrm>
          <a:prstGeom prst="ellipse">
            <a:avLst/>
          </a:prstGeom>
          <a:solidFill>
            <a:srgbClr val="0FC37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rgbClr val="181818">
                  <a:lumMod val="50000"/>
                </a:srgbClr>
              </a:solidFill>
              <a:effectLst/>
              <a:uLnTx/>
              <a:uFillTx/>
              <a:latin typeface="Ericsson Hilda"/>
              <a:cs typeface="Arial" charset="0"/>
            </a:endParaRPr>
          </a:p>
        </p:txBody>
      </p:sp>
      <p:pic>
        <p:nvPicPr>
          <p:cNvPr id="92" name="Content Placeholder 11">
            <a:extLst>
              <a:ext uri="{FF2B5EF4-FFF2-40B4-BE49-F238E27FC236}">
                <a16:creationId xmlns:a16="http://schemas.microsoft.com/office/drawing/2014/main" id="{74998EBE-31A6-40E4-AF90-8596AD668EB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24518" y="3499857"/>
            <a:ext cx="539158" cy="702834"/>
          </a:xfrm>
          <a:prstGeom prst="rect">
            <a:avLst/>
          </a:prstGeom>
        </p:spPr>
      </p:pic>
      <p:pic>
        <p:nvPicPr>
          <p:cNvPr id="93" name="Content Placeholder 11">
            <a:extLst>
              <a:ext uri="{FF2B5EF4-FFF2-40B4-BE49-F238E27FC236}">
                <a16:creationId xmlns:a16="http://schemas.microsoft.com/office/drawing/2014/main" id="{F8BF39B4-DFA4-4EB4-9B09-CF4B17145FF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22165" y="3492383"/>
            <a:ext cx="539158" cy="702834"/>
          </a:xfrm>
          <a:prstGeom prst="rect">
            <a:avLst/>
          </a:prstGeom>
        </p:spPr>
      </p:pic>
      <p:cxnSp>
        <p:nvCxnSpPr>
          <p:cNvPr id="94" name="Straight Connector 65">
            <a:extLst>
              <a:ext uri="{FF2B5EF4-FFF2-40B4-BE49-F238E27FC236}">
                <a16:creationId xmlns:a16="http://schemas.microsoft.com/office/drawing/2014/main" id="{9D640E49-CA3E-401B-97F1-6BE9D8F12034}"/>
              </a:ext>
            </a:extLst>
          </p:cNvPr>
          <p:cNvCxnSpPr>
            <a:cxnSpLocks noChangeShapeType="1"/>
          </p:cNvCxnSpPr>
          <p:nvPr/>
        </p:nvCxnSpPr>
        <p:spPr bwMode="auto">
          <a:xfrm flipH="1" flipV="1">
            <a:off x="8790372" y="4872542"/>
            <a:ext cx="1012893" cy="10981"/>
          </a:xfrm>
          <a:prstGeom prst="line">
            <a:avLst/>
          </a:prstGeom>
          <a:solidFill>
            <a:srgbClr val="181818"/>
          </a:solidFill>
          <a:ln w="19050">
            <a:solidFill>
              <a:srgbClr val="0FC373"/>
            </a:solidFill>
            <a:round/>
            <a:headEnd type="triangle" w="med" len="sm"/>
            <a:tailEnd type="triangle" w="med" len="sm"/>
          </a:ln>
        </p:spPr>
      </p:cxnSp>
      <p:cxnSp>
        <p:nvCxnSpPr>
          <p:cNvPr id="95" name="Straight Connector 65">
            <a:extLst>
              <a:ext uri="{FF2B5EF4-FFF2-40B4-BE49-F238E27FC236}">
                <a16:creationId xmlns:a16="http://schemas.microsoft.com/office/drawing/2014/main" id="{E853DD8B-46A5-41F1-A027-E2B2855F0B1E}"/>
              </a:ext>
            </a:extLst>
          </p:cNvPr>
          <p:cNvCxnSpPr>
            <a:cxnSpLocks noChangeShapeType="1"/>
          </p:cNvCxnSpPr>
          <p:nvPr/>
        </p:nvCxnSpPr>
        <p:spPr bwMode="auto">
          <a:xfrm flipH="1">
            <a:off x="8790372" y="5333340"/>
            <a:ext cx="2622428" cy="0"/>
          </a:xfrm>
          <a:prstGeom prst="line">
            <a:avLst/>
          </a:prstGeom>
          <a:solidFill>
            <a:srgbClr val="181818"/>
          </a:solidFill>
          <a:ln w="19050">
            <a:solidFill>
              <a:srgbClr val="FF8C0A"/>
            </a:solidFill>
            <a:round/>
            <a:headEnd type="triangle" w="med" len="sm"/>
            <a:tailEnd type="triangle" w="med" len="sm"/>
          </a:ln>
        </p:spPr>
      </p:cxnSp>
      <p:sp>
        <p:nvSpPr>
          <p:cNvPr id="96" name="TextBox 95">
            <a:extLst>
              <a:ext uri="{FF2B5EF4-FFF2-40B4-BE49-F238E27FC236}">
                <a16:creationId xmlns:a16="http://schemas.microsoft.com/office/drawing/2014/main" id="{8AD3CF91-DEDF-4A30-902F-D1A9E3D0518D}"/>
              </a:ext>
            </a:extLst>
          </p:cNvPr>
          <p:cNvSpPr txBox="1"/>
          <p:nvPr/>
        </p:nvSpPr>
        <p:spPr bwMode="auto">
          <a:xfrm>
            <a:off x="8273232" y="3023987"/>
            <a:ext cx="797260"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1/3</a:t>
            </a:r>
          </a:p>
        </p:txBody>
      </p:sp>
      <p:sp>
        <p:nvSpPr>
          <p:cNvPr id="97" name="TextBox 96">
            <a:extLst>
              <a:ext uri="{FF2B5EF4-FFF2-40B4-BE49-F238E27FC236}">
                <a16:creationId xmlns:a16="http://schemas.microsoft.com/office/drawing/2014/main" id="{BD9FBA97-81A3-4767-909C-BA4CEF8EACAC}"/>
              </a:ext>
            </a:extLst>
          </p:cNvPr>
          <p:cNvSpPr txBox="1"/>
          <p:nvPr/>
        </p:nvSpPr>
        <p:spPr bwMode="auto">
          <a:xfrm>
            <a:off x="11208420" y="3006037"/>
            <a:ext cx="643372"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Hilda"/>
                <a:ea typeface="+mn-ea"/>
                <a:cs typeface="+mn-cs"/>
              </a:rPr>
              <a:t>Option 2</a:t>
            </a:r>
          </a:p>
        </p:txBody>
      </p:sp>
      <p:grpSp>
        <p:nvGrpSpPr>
          <p:cNvPr id="98" name="Group 97">
            <a:extLst>
              <a:ext uri="{FF2B5EF4-FFF2-40B4-BE49-F238E27FC236}">
                <a16:creationId xmlns:a16="http://schemas.microsoft.com/office/drawing/2014/main" id="{965ABDB5-1918-4C4A-BCD4-53A2F50841DB}"/>
              </a:ext>
            </a:extLst>
          </p:cNvPr>
          <p:cNvGrpSpPr/>
          <p:nvPr/>
        </p:nvGrpSpPr>
        <p:grpSpPr>
          <a:xfrm>
            <a:off x="10806448" y="5135476"/>
            <a:ext cx="228402" cy="310748"/>
            <a:chOff x="10129764" y="745508"/>
            <a:chExt cx="228402" cy="310748"/>
          </a:xfrm>
        </p:grpSpPr>
        <p:grpSp>
          <p:nvGrpSpPr>
            <p:cNvPr id="99" name="Group 98">
              <a:extLst>
                <a:ext uri="{FF2B5EF4-FFF2-40B4-BE49-F238E27FC236}">
                  <a16:creationId xmlns:a16="http://schemas.microsoft.com/office/drawing/2014/main" id="{0753BB03-269D-4833-8773-BAA2205AB03C}"/>
                </a:ext>
              </a:extLst>
            </p:cNvPr>
            <p:cNvGrpSpPr>
              <a:grpSpLocks noChangeAspect="1"/>
            </p:cNvGrpSpPr>
            <p:nvPr/>
          </p:nvGrpSpPr>
          <p:grpSpPr>
            <a:xfrm>
              <a:off x="10129764" y="745508"/>
              <a:ext cx="228402" cy="310748"/>
              <a:chOff x="1373325" y="5272742"/>
              <a:chExt cx="441059" cy="600075"/>
            </a:xfrm>
          </p:grpSpPr>
          <p:sp>
            <p:nvSpPr>
              <p:cNvPr id="101" name="Rectangle 100">
                <a:extLst>
                  <a:ext uri="{FF2B5EF4-FFF2-40B4-BE49-F238E27FC236}">
                    <a16:creationId xmlns:a16="http://schemas.microsoft.com/office/drawing/2014/main" id="{E407B325-40F4-490C-B4C0-DE401CFFA268}"/>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102" name="Graphic 101">
                <a:extLst>
                  <a:ext uri="{FF2B5EF4-FFF2-40B4-BE49-F238E27FC236}">
                    <a16:creationId xmlns:a16="http://schemas.microsoft.com/office/drawing/2014/main" id="{382EDE8E-7B97-4373-846E-FBB9BC701F3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5759" y="5272742"/>
                <a:ext cx="428625" cy="600075"/>
              </a:xfrm>
              <a:prstGeom prst="rect">
                <a:avLst/>
              </a:prstGeom>
            </p:spPr>
          </p:pic>
        </p:grpSp>
        <p:sp>
          <p:nvSpPr>
            <p:cNvPr id="100" name="TextBox 99">
              <a:extLst>
                <a:ext uri="{FF2B5EF4-FFF2-40B4-BE49-F238E27FC236}">
                  <a16:creationId xmlns:a16="http://schemas.microsoft.com/office/drawing/2014/main" id="{DD45872E-7347-4C48-8D47-8789AAAFF3CF}"/>
                </a:ext>
              </a:extLst>
            </p:cNvPr>
            <p:cNvSpPr txBox="1"/>
            <p:nvPr/>
          </p:nvSpPr>
          <p:spPr bwMode="auto">
            <a:xfrm>
              <a:off x="10129764" y="760261"/>
              <a:ext cx="157663"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2</a:t>
              </a:r>
            </a:p>
          </p:txBody>
        </p:sp>
      </p:grpSp>
      <p:grpSp>
        <p:nvGrpSpPr>
          <p:cNvPr id="103" name="Group 102">
            <a:extLst>
              <a:ext uri="{FF2B5EF4-FFF2-40B4-BE49-F238E27FC236}">
                <a16:creationId xmlns:a16="http://schemas.microsoft.com/office/drawing/2014/main" id="{352735B2-4C62-46B1-8CD2-9BE691424163}"/>
              </a:ext>
            </a:extLst>
          </p:cNvPr>
          <p:cNvGrpSpPr/>
          <p:nvPr/>
        </p:nvGrpSpPr>
        <p:grpSpPr>
          <a:xfrm>
            <a:off x="9125511" y="4694174"/>
            <a:ext cx="221963" cy="310748"/>
            <a:chOff x="10129764" y="745508"/>
            <a:chExt cx="221963" cy="310748"/>
          </a:xfrm>
        </p:grpSpPr>
        <p:grpSp>
          <p:nvGrpSpPr>
            <p:cNvPr id="104" name="Group 103">
              <a:extLst>
                <a:ext uri="{FF2B5EF4-FFF2-40B4-BE49-F238E27FC236}">
                  <a16:creationId xmlns:a16="http://schemas.microsoft.com/office/drawing/2014/main" id="{81C81524-90CB-435F-AAC2-49AC223EB4CC}"/>
                </a:ext>
              </a:extLst>
            </p:cNvPr>
            <p:cNvGrpSpPr>
              <a:grpSpLocks noChangeAspect="1"/>
            </p:cNvGrpSpPr>
            <p:nvPr/>
          </p:nvGrpSpPr>
          <p:grpSpPr>
            <a:xfrm>
              <a:off x="10129764" y="745508"/>
              <a:ext cx="221963" cy="310748"/>
              <a:chOff x="1373325" y="5272742"/>
              <a:chExt cx="428625" cy="600075"/>
            </a:xfrm>
          </p:grpSpPr>
          <p:sp>
            <p:nvSpPr>
              <p:cNvPr id="106" name="Rectangle 105">
                <a:extLst>
                  <a:ext uri="{FF2B5EF4-FFF2-40B4-BE49-F238E27FC236}">
                    <a16:creationId xmlns:a16="http://schemas.microsoft.com/office/drawing/2014/main" id="{0C3DB8BA-5430-4172-8F2F-7B654983D55A}"/>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107" name="Graphic 106">
                <a:extLst>
                  <a:ext uri="{FF2B5EF4-FFF2-40B4-BE49-F238E27FC236}">
                    <a16:creationId xmlns:a16="http://schemas.microsoft.com/office/drawing/2014/main" id="{04B4F4F6-79FC-4C5F-BD17-D7F8AA13BA4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105" name="TextBox 104">
              <a:extLst>
                <a:ext uri="{FF2B5EF4-FFF2-40B4-BE49-F238E27FC236}">
                  <a16:creationId xmlns:a16="http://schemas.microsoft.com/office/drawing/2014/main" id="{0DAF52A7-3FC6-4192-BFD4-0E251A5AA47B}"/>
                </a:ext>
              </a:extLst>
            </p:cNvPr>
            <p:cNvSpPr txBox="1"/>
            <p:nvPr/>
          </p:nvSpPr>
          <p:spPr bwMode="auto">
            <a:xfrm>
              <a:off x="10129764" y="760261"/>
              <a:ext cx="159265"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1200" b="1" i="0" u="none" strike="noStrike" kern="0" cap="none" spc="0" normalizeH="0" baseline="0" noProof="0">
                  <a:ln>
                    <a:noFill/>
                  </a:ln>
                  <a:solidFill>
                    <a:srgbClr val="181818"/>
                  </a:solidFill>
                  <a:effectLst/>
                  <a:uLnTx/>
                  <a:uFillTx/>
                  <a:latin typeface="Arial" charset="0"/>
                  <a:ea typeface="+mn-ea"/>
                  <a:cs typeface="+mn-cs"/>
                </a:rPr>
                <a:t>1</a:t>
              </a:r>
            </a:p>
          </p:txBody>
        </p:sp>
      </p:grpSp>
      <p:cxnSp>
        <p:nvCxnSpPr>
          <p:cNvPr id="115" name="Straight Connector 65">
            <a:extLst>
              <a:ext uri="{FF2B5EF4-FFF2-40B4-BE49-F238E27FC236}">
                <a16:creationId xmlns:a16="http://schemas.microsoft.com/office/drawing/2014/main" id="{52A0DCA2-9D70-4D9D-B98A-96E1074E611A}"/>
              </a:ext>
            </a:extLst>
          </p:cNvPr>
          <p:cNvCxnSpPr>
            <a:cxnSpLocks noChangeShapeType="1"/>
          </p:cNvCxnSpPr>
          <p:nvPr/>
        </p:nvCxnSpPr>
        <p:spPr bwMode="auto">
          <a:xfrm flipH="1" flipV="1">
            <a:off x="8796615" y="5165740"/>
            <a:ext cx="1200016" cy="2156"/>
          </a:xfrm>
          <a:prstGeom prst="line">
            <a:avLst/>
          </a:prstGeom>
          <a:solidFill>
            <a:srgbClr val="181818"/>
          </a:solidFill>
          <a:ln w="19050">
            <a:solidFill>
              <a:srgbClr val="0FC373"/>
            </a:solidFill>
            <a:round/>
            <a:headEnd type="triangle" w="med" len="sm"/>
            <a:tailEnd type="triangle" w="med" len="sm"/>
          </a:ln>
        </p:spPr>
      </p:cxnSp>
      <p:grpSp>
        <p:nvGrpSpPr>
          <p:cNvPr id="116" name="Group 115">
            <a:extLst>
              <a:ext uri="{FF2B5EF4-FFF2-40B4-BE49-F238E27FC236}">
                <a16:creationId xmlns:a16="http://schemas.microsoft.com/office/drawing/2014/main" id="{927398A9-2B90-4B62-AF5E-D6D362D0A5D6}"/>
              </a:ext>
            </a:extLst>
          </p:cNvPr>
          <p:cNvGrpSpPr/>
          <p:nvPr/>
        </p:nvGrpSpPr>
        <p:grpSpPr>
          <a:xfrm>
            <a:off x="9432606" y="4982925"/>
            <a:ext cx="221963" cy="310748"/>
            <a:chOff x="10129764" y="745508"/>
            <a:chExt cx="221963" cy="310748"/>
          </a:xfrm>
        </p:grpSpPr>
        <p:grpSp>
          <p:nvGrpSpPr>
            <p:cNvPr id="117" name="Group 116">
              <a:extLst>
                <a:ext uri="{FF2B5EF4-FFF2-40B4-BE49-F238E27FC236}">
                  <a16:creationId xmlns:a16="http://schemas.microsoft.com/office/drawing/2014/main" id="{AA6B0786-0F45-4173-ABF3-F06FAC30A3B1}"/>
                </a:ext>
              </a:extLst>
            </p:cNvPr>
            <p:cNvGrpSpPr>
              <a:grpSpLocks noChangeAspect="1"/>
            </p:cNvGrpSpPr>
            <p:nvPr/>
          </p:nvGrpSpPr>
          <p:grpSpPr>
            <a:xfrm>
              <a:off x="10129764" y="745508"/>
              <a:ext cx="221963" cy="310748"/>
              <a:chOff x="1373325" y="5272742"/>
              <a:chExt cx="428625" cy="600075"/>
            </a:xfrm>
          </p:grpSpPr>
          <p:sp>
            <p:nvSpPr>
              <p:cNvPr id="119" name="Rectangle 118">
                <a:extLst>
                  <a:ext uri="{FF2B5EF4-FFF2-40B4-BE49-F238E27FC236}">
                    <a16:creationId xmlns:a16="http://schemas.microsoft.com/office/drawing/2014/main" id="{0B2A3298-D0B4-47C2-8FBD-C2FF4DDC595F}"/>
                  </a:ext>
                </a:extLst>
              </p:cNvPr>
              <p:cNvSpPr/>
              <p:nvPr/>
            </p:nvSpPr>
            <p:spPr bwMode="auto">
              <a:xfrm>
                <a:off x="1373325" y="5276465"/>
                <a:ext cx="428625" cy="596352"/>
              </a:xfrm>
              <a:prstGeom prst="rect">
                <a:avLst/>
              </a:prstGeom>
              <a:solidFill>
                <a:srgbClr val="FFFFFF"/>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Ericsson Hilda"/>
                  <a:ea typeface="+mn-ea"/>
                  <a:cs typeface="+mn-cs"/>
                </a:endParaRPr>
              </a:p>
            </p:txBody>
          </p:sp>
          <p:pic>
            <p:nvPicPr>
              <p:cNvPr id="120" name="Graphic 119">
                <a:extLst>
                  <a:ext uri="{FF2B5EF4-FFF2-40B4-BE49-F238E27FC236}">
                    <a16:creationId xmlns:a16="http://schemas.microsoft.com/office/drawing/2014/main" id="{03630C65-C2C0-4D92-840A-520160A0062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325" y="5272742"/>
                <a:ext cx="428625" cy="600075"/>
              </a:xfrm>
              <a:prstGeom prst="rect">
                <a:avLst/>
              </a:prstGeom>
            </p:spPr>
          </p:pic>
        </p:grpSp>
        <p:sp>
          <p:nvSpPr>
            <p:cNvPr id="118" name="TextBox 117">
              <a:extLst>
                <a:ext uri="{FF2B5EF4-FFF2-40B4-BE49-F238E27FC236}">
                  <a16:creationId xmlns:a16="http://schemas.microsoft.com/office/drawing/2014/main" id="{98FE01FD-F074-4125-A5FA-E089EBBD73E3}"/>
                </a:ext>
              </a:extLst>
            </p:cNvPr>
            <p:cNvSpPr txBox="1"/>
            <p:nvPr/>
          </p:nvSpPr>
          <p:spPr bwMode="auto">
            <a:xfrm>
              <a:off x="10129764" y="760261"/>
              <a:ext cx="157663" cy="22101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lang="en-US" sz="1200" b="1" kern="0">
                  <a:solidFill>
                    <a:srgbClr val="181818"/>
                  </a:solidFill>
                </a:rPr>
                <a:t>3</a:t>
              </a:r>
              <a:endParaRPr kumimoji="0" lang="en-US" sz="1200" b="1" i="0" u="none" strike="noStrike" kern="0" cap="none" spc="0" normalizeH="0" baseline="0" noProof="0">
                <a:ln>
                  <a:noFill/>
                </a:ln>
                <a:solidFill>
                  <a:srgbClr val="181818"/>
                </a:solidFill>
                <a:effectLst/>
                <a:uLnTx/>
                <a:uFillTx/>
                <a:latin typeface="Arial" charset="0"/>
                <a:ea typeface="+mn-ea"/>
                <a:cs typeface="+mn-cs"/>
              </a:endParaRPr>
            </a:p>
          </p:txBody>
        </p:sp>
      </p:grpSp>
      <p:sp>
        <p:nvSpPr>
          <p:cNvPr id="109" name="Rectangle 108">
            <a:extLst>
              <a:ext uri="{FF2B5EF4-FFF2-40B4-BE49-F238E27FC236}">
                <a16:creationId xmlns:a16="http://schemas.microsoft.com/office/drawing/2014/main" id="{216CAF28-01BB-40F4-B42C-7DE2E297622B}"/>
              </a:ext>
            </a:extLst>
          </p:cNvPr>
          <p:cNvSpPr/>
          <p:nvPr/>
        </p:nvSpPr>
        <p:spPr bwMode="auto">
          <a:xfrm>
            <a:off x="9244243" y="2261884"/>
            <a:ext cx="1845232" cy="489107"/>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err="1">
              <a:ln>
                <a:noFill/>
              </a:ln>
              <a:solidFill>
                <a:schemeClr val="bg1"/>
              </a:solidFill>
              <a:effectLst/>
              <a:latin typeface="+mn-lt"/>
            </a:endParaRPr>
          </a:p>
        </p:txBody>
      </p:sp>
      <p:sp>
        <p:nvSpPr>
          <p:cNvPr id="110" name="AutoShape 15" descr="bpct-blend1">
            <a:extLst>
              <a:ext uri="{FF2B5EF4-FFF2-40B4-BE49-F238E27FC236}">
                <a16:creationId xmlns:a16="http://schemas.microsoft.com/office/drawing/2014/main" id="{3B8981B9-19E2-49D1-8B40-1FE1FCB84274}"/>
              </a:ext>
            </a:extLst>
          </p:cNvPr>
          <p:cNvSpPr>
            <a:spLocks noChangeArrowheads="1"/>
          </p:cNvSpPr>
          <p:nvPr/>
        </p:nvSpPr>
        <p:spPr bwMode="auto">
          <a:xfrm>
            <a:off x="10299153" y="2351808"/>
            <a:ext cx="703295" cy="322666"/>
          </a:xfrm>
          <a:prstGeom prst="roundRect">
            <a:avLst>
              <a:gd name="adj" fmla="val 0"/>
            </a:avLst>
          </a:prstGeom>
          <a:solidFill>
            <a:schemeClr val="accent5"/>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20000"/>
              </a:spcBef>
              <a:spcAft>
                <a:spcPts val="0"/>
              </a:spcAft>
              <a:buClrTx/>
              <a:buSzTx/>
              <a:buFont typeface="Arial" pitchFamily="34" charset="0"/>
              <a:buNone/>
              <a:tabLst/>
              <a:defRPr/>
            </a:pPr>
            <a:r>
              <a:rPr kumimoji="0" lang="sv-SE" altLang="en-US" sz="1600" b="0" i="0" u="none" strike="noStrike" kern="0" cap="none" spc="0" normalizeH="0" baseline="0" noProof="0">
                <a:ln>
                  <a:noFill/>
                </a:ln>
                <a:solidFill>
                  <a:schemeClr val="bg1"/>
                </a:solidFill>
                <a:effectLst/>
                <a:uLnTx/>
                <a:uFillTx/>
                <a:latin typeface="+mj-lt"/>
              </a:rPr>
              <a:t>5GC</a:t>
            </a:r>
            <a:endParaRPr kumimoji="0" lang="sv-SE" altLang="en-US" sz="1200" b="0" i="0" u="none" strike="noStrike" kern="0" cap="none" spc="0" normalizeH="0" baseline="0" noProof="0">
              <a:ln>
                <a:noFill/>
              </a:ln>
              <a:solidFill>
                <a:schemeClr val="bg1"/>
              </a:solidFill>
              <a:effectLst/>
              <a:uLnTx/>
              <a:uFillTx/>
              <a:latin typeface="+mj-lt"/>
            </a:endParaRPr>
          </a:p>
        </p:txBody>
      </p:sp>
      <p:sp>
        <p:nvSpPr>
          <p:cNvPr id="111" name="AutoShape 15" descr="bpct-blend1">
            <a:extLst>
              <a:ext uri="{FF2B5EF4-FFF2-40B4-BE49-F238E27FC236}">
                <a16:creationId xmlns:a16="http://schemas.microsoft.com/office/drawing/2014/main" id="{3663AE62-7698-4899-9DCF-3EC142CFE781}"/>
              </a:ext>
            </a:extLst>
          </p:cNvPr>
          <p:cNvSpPr>
            <a:spLocks noChangeArrowheads="1"/>
          </p:cNvSpPr>
          <p:nvPr/>
        </p:nvSpPr>
        <p:spPr bwMode="auto">
          <a:xfrm>
            <a:off x="9330893" y="2333704"/>
            <a:ext cx="907028" cy="322666"/>
          </a:xfrm>
          <a:prstGeom prst="roundRect">
            <a:avLst>
              <a:gd name="adj" fmla="val 0"/>
            </a:avLst>
          </a:prstGeom>
          <a:solidFill>
            <a:schemeClr val="accent1"/>
          </a:solidFill>
          <a:ln w="25400" algn="ctr">
            <a:no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20000"/>
              </a:spcBef>
              <a:spcAft>
                <a:spcPts val="0"/>
              </a:spcAft>
              <a:buClrTx/>
              <a:buSzTx/>
              <a:buFont typeface="Arial" pitchFamily="34" charset="0"/>
              <a:buNone/>
              <a:tabLst/>
              <a:defRPr/>
            </a:pPr>
            <a:r>
              <a:rPr kumimoji="0" lang="sv-SE" altLang="en-US" sz="1600" b="0" i="0" u="none" strike="noStrike" kern="0" cap="none" spc="0" normalizeH="0" baseline="0" noProof="0">
                <a:ln>
                  <a:noFill/>
                </a:ln>
                <a:solidFill>
                  <a:schemeClr val="bg1"/>
                </a:solidFill>
                <a:effectLst/>
                <a:uLnTx/>
                <a:uFillTx/>
                <a:latin typeface="+mj-lt"/>
              </a:rPr>
              <a:t>5G EPC</a:t>
            </a:r>
            <a:endParaRPr kumimoji="0" lang="sv-SE" altLang="en-US" sz="1200" b="0" i="0" u="none" strike="noStrike" kern="0" cap="none" spc="0" normalizeH="0" baseline="0" noProof="0">
              <a:ln>
                <a:noFill/>
              </a:ln>
              <a:solidFill>
                <a:schemeClr val="bg1"/>
              </a:solidFill>
              <a:effectLst/>
              <a:uLnTx/>
              <a:uFillTx/>
              <a:latin typeface="+mj-lt"/>
            </a:endParaRPr>
          </a:p>
        </p:txBody>
      </p:sp>
      <p:sp>
        <p:nvSpPr>
          <p:cNvPr id="123" name="TextBox 122">
            <a:extLst>
              <a:ext uri="{FF2B5EF4-FFF2-40B4-BE49-F238E27FC236}">
                <a16:creationId xmlns:a16="http://schemas.microsoft.com/office/drawing/2014/main" id="{D169BC94-60D6-4028-AEB8-3CCB8A2FF291}"/>
              </a:ext>
            </a:extLst>
          </p:cNvPr>
          <p:cNvSpPr txBox="1"/>
          <p:nvPr/>
        </p:nvSpPr>
        <p:spPr>
          <a:xfrm>
            <a:off x="4774336" y="1718058"/>
            <a:ext cx="2744508" cy="338554"/>
          </a:xfrm>
          <a:prstGeom prst="rect">
            <a:avLst/>
          </a:prstGeom>
          <a:noFill/>
        </p:spPr>
        <p:txBody>
          <a:bodyPr wrap="square" rtlCol="0">
            <a:spAutoFit/>
          </a:bodyPr>
          <a:lstStyle/>
          <a:p>
            <a:r>
              <a:rPr lang="en-US" sz="1600" u="sng"/>
              <a:t>5GC w/ EPC interworking</a:t>
            </a:r>
          </a:p>
        </p:txBody>
      </p:sp>
      <p:sp>
        <p:nvSpPr>
          <p:cNvPr id="124" name="TextBox 123">
            <a:extLst>
              <a:ext uri="{FF2B5EF4-FFF2-40B4-BE49-F238E27FC236}">
                <a16:creationId xmlns:a16="http://schemas.microsoft.com/office/drawing/2014/main" id="{09A3B01A-1A8B-41AB-90BC-5741DE533505}"/>
              </a:ext>
            </a:extLst>
          </p:cNvPr>
          <p:cNvSpPr txBox="1"/>
          <p:nvPr/>
        </p:nvSpPr>
        <p:spPr>
          <a:xfrm>
            <a:off x="9332965" y="1690402"/>
            <a:ext cx="1665841" cy="338554"/>
          </a:xfrm>
          <a:prstGeom prst="rect">
            <a:avLst/>
          </a:prstGeom>
          <a:noFill/>
        </p:spPr>
        <p:txBody>
          <a:bodyPr wrap="square" rtlCol="0">
            <a:spAutoFit/>
          </a:bodyPr>
          <a:lstStyle/>
          <a:p>
            <a:r>
              <a:rPr lang="en-US" sz="1600" u="sng"/>
              <a:t>5GC + EPC</a:t>
            </a:r>
          </a:p>
        </p:txBody>
      </p:sp>
      <p:sp>
        <p:nvSpPr>
          <p:cNvPr id="126" name="TextBox 125">
            <a:extLst>
              <a:ext uri="{FF2B5EF4-FFF2-40B4-BE49-F238E27FC236}">
                <a16:creationId xmlns:a16="http://schemas.microsoft.com/office/drawing/2014/main" id="{9CB94A79-1FF9-4C93-B3F7-9E3CF437DC68}"/>
              </a:ext>
            </a:extLst>
          </p:cNvPr>
          <p:cNvSpPr txBox="1"/>
          <p:nvPr/>
        </p:nvSpPr>
        <p:spPr>
          <a:xfrm>
            <a:off x="1425875" y="1718683"/>
            <a:ext cx="2041811" cy="338554"/>
          </a:xfrm>
          <a:prstGeom prst="rect">
            <a:avLst/>
          </a:prstGeom>
          <a:noFill/>
        </p:spPr>
        <p:txBody>
          <a:bodyPr wrap="square" rtlCol="0">
            <a:spAutoFit/>
          </a:bodyPr>
          <a:lstStyle/>
          <a:p>
            <a:r>
              <a:rPr lang="en-US" sz="1600" u="sng"/>
              <a:t>5GC overlay</a:t>
            </a:r>
          </a:p>
        </p:txBody>
      </p:sp>
    </p:spTree>
    <p:extLst>
      <p:ext uri="{BB962C8B-B14F-4D97-AF65-F5344CB8AC3E}">
        <p14:creationId xmlns:p14="http://schemas.microsoft.com/office/powerpoint/2010/main" val="32646962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24E281AA-F158-4D22-82E5-DCE33D84B8CD}"/>
              </a:ext>
            </a:extLst>
          </p:cNvPr>
          <p:cNvGrpSpPr/>
          <p:nvPr/>
        </p:nvGrpSpPr>
        <p:grpSpPr>
          <a:xfrm>
            <a:off x="8290529" y="1760051"/>
            <a:ext cx="1063203" cy="720000"/>
            <a:chOff x="6850907" y="2233016"/>
            <a:chExt cx="797085" cy="593907"/>
          </a:xfrm>
        </p:grpSpPr>
        <p:pic>
          <p:nvPicPr>
            <p:cNvPr id="102" name="Graphic 101">
              <a:extLst>
                <a:ext uri="{FF2B5EF4-FFF2-40B4-BE49-F238E27FC236}">
                  <a16:creationId xmlns:a16="http://schemas.microsoft.com/office/drawing/2014/main" id="{7A46A101-BCEC-4EAE-A28C-98006E4938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50907" y="2233016"/>
              <a:ext cx="797085" cy="593907"/>
            </a:xfrm>
            <a:prstGeom prst="rect">
              <a:avLst/>
            </a:prstGeom>
          </p:spPr>
        </p:pic>
        <p:sp>
          <p:nvSpPr>
            <p:cNvPr id="103" name="Rectangle 102">
              <a:extLst>
                <a:ext uri="{FF2B5EF4-FFF2-40B4-BE49-F238E27FC236}">
                  <a16:creationId xmlns:a16="http://schemas.microsoft.com/office/drawing/2014/main" id="{7E9565B2-17CF-4E0E-B4D0-047C0E6632A8}"/>
                </a:ext>
              </a:extLst>
            </p:cNvPr>
            <p:cNvSpPr/>
            <p:nvPr/>
          </p:nvSpPr>
          <p:spPr>
            <a:xfrm>
              <a:off x="6978283" y="2466783"/>
              <a:ext cx="548009" cy="230741"/>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Internet &amp;</a:t>
              </a:r>
              <a:b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b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Data services</a:t>
              </a:r>
            </a:p>
          </p:txBody>
        </p:sp>
      </p:grpSp>
      <p:sp>
        <p:nvSpPr>
          <p:cNvPr id="101" name="TextBox 100">
            <a:extLst>
              <a:ext uri="{FF2B5EF4-FFF2-40B4-BE49-F238E27FC236}">
                <a16:creationId xmlns:a16="http://schemas.microsoft.com/office/drawing/2014/main" id="{A0133A18-32EA-49A2-8313-F85A18C8CDEA}"/>
              </a:ext>
            </a:extLst>
          </p:cNvPr>
          <p:cNvSpPr txBox="1"/>
          <p:nvPr/>
        </p:nvSpPr>
        <p:spPr bwMode="auto">
          <a:xfrm>
            <a:off x="9280663" y="5141182"/>
            <a:ext cx="450000" cy="720000"/>
          </a:xfrm>
          <a:prstGeom prst="rect">
            <a:avLst/>
          </a:prstGeom>
          <a:solidFill>
            <a:schemeClr val="bg1"/>
          </a:solidFill>
          <a:ln w="19050">
            <a:solidFill>
              <a:schemeClr val="tx2"/>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C</a:t>
            </a:r>
            <a:b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181818"/>
                </a:solidFill>
                <a:effectLst/>
                <a:uLnTx/>
                <a:uFillTx/>
                <a:latin typeface="Arial" charset="0"/>
                <a:ea typeface="+mn-ea"/>
                <a:cs typeface="+mn-cs"/>
              </a:rPr>
              <a:t>UE</a:t>
            </a:r>
          </a:p>
        </p:txBody>
      </p:sp>
      <p:sp>
        <p:nvSpPr>
          <p:cNvPr id="3" name="Title 2"/>
          <p:cNvSpPr>
            <a:spLocks noGrp="1"/>
          </p:cNvSpPr>
          <p:nvPr>
            <p:ph type="title"/>
          </p:nvPr>
        </p:nvSpPr>
        <p:spPr>
          <a:xfrm>
            <a:off x="359578" y="51549"/>
            <a:ext cx="10854957" cy="920293"/>
          </a:xfrm>
          <a:noFill/>
          <a:ln w="9525">
            <a:noFill/>
            <a:miter lim="800000"/>
            <a:headEnd/>
            <a:tailEnd/>
          </a:ln>
        </p:spPr>
        <p:txBody>
          <a:bodyPr vert="horz" wrap="square" lIns="72000" tIns="0" rIns="72000" bIns="0" numCol="1" anchor="ctr" anchorCtr="0" compatLnSpc="1">
            <a:prstTxWarp prst="textNoShape">
              <a:avLst/>
            </a:prstTxWarp>
            <a:normAutofit/>
          </a:bodyPr>
          <a:lstStyle/>
          <a:p>
            <a:r>
              <a:rPr lang="en-US" sz="3200"/>
              <a:t>5GC and EPC interworking – variants, single vs dual registration UE</a:t>
            </a:r>
          </a:p>
        </p:txBody>
      </p:sp>
      <p:sp>
        <p:nvSpPr>
          <p:cNvPr id="251" name="Arrow: Left-Right 250">
            <a:extLst>
              <a:ext uri="{FF2B5EF4-FFF2-40B4-BE49-F238E27FC236}">
                <a16:creationId xmlns:a16="http://schemas.microsoft.com/office/drawing/2014/main" id="{FCB38DBD-23F6-4846-B71D-26AA28F79CA4}"/>
              </a:ext>
            </a:extLst>
          </p:cNvPr>
          <p:cNvSpPr/>
          <p:nvPr/>
        </p:nvSpPr>
        <p:spPr bwMode="auto">
          <a:xfrm>
            <a:off x="5419207" y="4853892"/>
            <a:ext cx="687514" cy="122539"/>
          </a:xfrm>
          <a:prstGeom prst="leftRightArrow">
            <a:avLst>
              <a:gd name="adj1" fmla="val 49048"/>
              <a:gd name="adj2" fmla="val 85538"/>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6">
            <a:extLst>
              <a:ext uri="{FF2B5EF4-FFF2-40B4-BE49-F238E27FC236}">
                <a16:creationId xmlns:a16="http://schemas.microsoft.com/office/drawing/2014/main" id="{849874AC-B986-4FFE-B106-5944EE2E3CE8}"/>
              </a:ext>
            </a:extLst>
          </p:cNvPr>
          <p:cNvSpPr>
            <a:spLocks/>
          </p:cNvSpPr>
          <p:nvPr/>
        </p:nvSpPr>
        <p:spPr bwMode="auto">
          <a:xfrm rot="10332999">
            <a:off x="8674921" y="4732919"/>
            <a:ext cx="514784" cy="487024"/>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273" name="Straight Connector 272">
            <a:extLst>
              <a:ext uri="{FF2B5EF4-FFF2-40B4-BE49-F238E27FC236}">
                <a16:creationId xmlns:a16="http://schemas.microsoft.com/office/drawing/2014/main" id="{9A4C5E74-5DAB-4C94-AB95-69B84E02F6C1}"/>
              </a:ext>
            </a:extLst>
          </p:cNvPr>
          <p:cNvCxnSpPr>
            <a:cxnSpLocks/>
          </p:cNvCxnSpPr>
          <p:nvPr/>
        </p:nvCxnSpPr>
        <p:spPr bwMode="auto">
          <a:xfrm>
            <a:off x="8621587" y="3690871"/>
            <a:ext cx="1430" cy="28278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74" name="Straight Connector 273">
            <a:extLst>
              <a:ext uri="{FF2B5EF4-FFF2-40B4-BE49-F238E27FC236}">
                <a16:creationId xmlns:a16="http://schemas.microsoft.com/office/drawing/2014/main" id="{3EA17009-367F-4229-881C-4A069FB91753}"/>
              </a:ext>
            </a:extLst>
          </p:cNvPr>
          <p:cNvCxnSpPr>
            <a:cxnSpLocks/>
            <a:stCxn id="292" idx="2"/>
            <a:endCxn id="287" idx="0"/>
          </p:cNvCxnSpPr>
          <p:nvPr/>
        </p:nvCxnSpPr>
        <p:spPr bwMode="auto">
          <a:xfrm>
            <a:off x="10389025" y="3690871"/>
            <a:ext cx="0" cy="28278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81" name="Straight Connector 280">
            <a:extLst>
              <a:ext uri="{FF2B5EF4-FFF2-40B4-BE49-F238E27FC236}">
                <a16:creationId xmlns:a16="http://schemas.microsoft.com/office/drawing/2014/main" id="{A3ABC7D0-9426-4063-AE9A-FED89107CF37}"/>
              </a:ext>
            </a:extLst>
          </p:cNvPr>
          <p:cNvCxnSpPr>
            <a:cxnSpLocks/>
            <a:stCxn id="286" idx="0"/>
          </p:cNvCxnSpPr>
          <p:nvPr/>
        </p:nvCxnSpPr>
        <p:spPr>
          <a:xfrm flipV="1">
            <a:off x="8622302" y="2562540"/>
            <a:ext cx="1556860" cy="408331"/>
          </a:xfrm>
          <a:prstGeom prst="line">
            <a:avLst/>
          </a:prstGeom>
          <a:noFill/>
          <a:ln w="3175" cap="flat" cmpd="sng" algn="ctr">
            <a:solidFill>
              <a:schemeClr val="tx1"/>
            </a:solidFill>
            <a:prstDash val="dash"/>
            <a:round/>
            <a:headEnd type="none" w="med" len="med"/>
            <a:tailEnd type="none" w="med" len="med"/>
          </a:ln>
          <a:effectLst/>
        </p:spPr>
      </p:cxnSp>
      <p:cxnSp>
        <p:nvCxnSpPr>
          <p:cNvPr id="282" name="Straight Connector 281">
            <a:extLst>
              <a:ext uri="{FF2B5EF4-FFF2-40B4-BE49-F238E27FC236}">
                <a16:creationId xmlns:a16="http://schemas.microsoft.com/office/drawing/2014/main" id="{F95E9950-E921-49F5-942D-C7DB9351F857}"/>
              </a:ext>
            </a:extLst>
          </p:cNvPr>
          <p:cNvCxnSpPr>
            <a:cxnSpLocks/>
            <a:stCxn id="289" idx="2"/>
            <a:endCxn id="292" idx="0"/>
          </p:cNvCxnSpPr>
          <p:nvPr/>
        </p:nvCxnSpPr>
        <p:spPr>
          <a:xfrm>
            <a:off x="10389025" y="2675755"/>
            <a:ext cx="0" cy="295116"/>
          </a:xfrm>
          <a:prstGeom prst="line">
            <a:avLst/>
          </a:prstGeom>
          <a:noFill/>
          <a:ln w="3175" cap="flat" cmpd="sng" algn="ctr">
            <a:solidFill>
              <a:schemeClr val="tx1"/>
            </a:solidFill>
            <a:prstDash val="dash"/>
            <a:round/>
            <a:headEnd type="none" w="med" len="med"/>
            <a:tailEnd type="none" w="med" len="med"/>
          </a:ln>
          <a:effectLst/>
        </p:spPr>
      </p:cxnSp>
      <p:cxnSp>
        <p:nvCxnSpPr>
          <p:cNvPr id="283" name="Straight Connector 282">
            <a:extLst>
              <a:ext uri="{FF2B5EF4-FFF2-40B4-BE49-F238E27FC236}">
                <a16:creationId xmlns:a16="http://schemas.microsoft.com/office/drawing/2014/main" id="{A28B925C-BE49-41D9-83BD-253E35FBC498}"/>
              </a:ext>
            </a:extLst>
          </p:cNvPr>
          <p:cNvCxnSpPr>
            <a:cxnSpLocks/>
            <a:stCxn id="286" idx="0"/>
            <a:endCxn id="24" idx="2"/>
          </p:cNvCxnSpPr>
          <p:nvPr/>
        </p:nvCxnSpPr>
        <p:spPr bwMode="auto">
          <a:xfrm flipV="1">
            <a:off x="8622302" y="2425975"/>
            <a:ext cx="278595" cy="544896"/>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84" name="TextBox 283">
            <a:extLst>
              <a:ext uri="{FF2B5EF4-FFF2-40B4-BE49-F238E27FC236}">
                <a16:creationId xmlns:a16="http://schemas.microsoft.com/office/drawing/2014/main" id="{045E040B-85F3-4095-AE13-56C4BB86C85F}"/>
              </a:ext>
            </a:extLst>
          </p:cNvPr>
          <p:cNvSpPr txBox="1"/>
          <p:nvPr/>
        </p:nvSpPr>
        <p:spPr bwMode="auto">
          <a:xfrm>
            <a:off x="8397302" y="3973651"/>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FC373">
                  <a:lumMod val="75000"/>
                </a:srgbClr>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E-</a:t>
            </a:r>
            <a:b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UTRAN</a:t>
            </a:r>
          </a:p>
        </p:txBody>
      </p:sp>
      <p:sp>
        <p:nvSpPr>
          <p:cNvPr id="285" name="TextBox 284">
            <a:extLst>
              <a:ext uri="{FF2B5EF4-FFF2-40B4-BE49-F238E27FC236}">
                <a16:creationId xmlns:a16="http://schemas.microsoft.com/office/drawing/2014/main" id="{FE4D8C7E-6CFB-4307-891C-EFADA002C63D}"/>
              </a:ext>
            </a:extLst>
          </p:cNvPr>
          <p:cNvSpPr txBox="1"/>
          <p:nvPr/>
        </p:nvSpPr>
        <p:spPr bwMode="auto">
          <a:xfrm>
            <a:off x="9442237" y="1729326"/>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IMS</a:t>
            </a:r>
          </a:p>
        </p:txBody>
      </p:sp>
      <p:sp>
        <p:nvSpPr>
          <p:cNvPr id="286" name="TextBox 285">
            <a:extLst>
              <a:ext uri="{FF2B5EF4-FFF2-40B4-BE49-F238E27FC236}">
                <a16:creationId xmlns:a16="http://schemas.microsoft.com/office/drawing/2014/main" id="{7D8D7C07-ACCF-4478-8FE8-A0A18B527847}"/>
              </a:ext>
            </a:extLst>
          </p:cNvPr>
          <p:cNvSpPr txBox="1"/>
          <p:nvPr/>
        </p:nvSpPr>
        <p:spPr bwMode="auto">
          <a:xfrm>
            <a:off x="8397302" y="2970871"/>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EPC</a:t>
            </a:r>
            <a:endParaRPr kumimoji="0" lang="en-US" sz="1200" b="0" i="0" u="none" strike="noStrike" kern="1200" cap="none" spc="0" normalizeH="0" baseline="0" noProof="0">
              <a:ln>
                <a:noFill/>
              </a:ln>
              <a:solidFill>
                <a:srgbClr val="0FC373">
                  <a:lumMod val="75000"/>
                </a:srgbClr>
              </a:solidFill>
              <a:effectLst/>
              <a:uLnTx/>
              <a:uFillTx/>
              <a:latin typeface="Arial" charset="0"/>
              <a:ea typeface="+mn-ea"/>
              <a:cs typeface="+mn-cs"/>
            </a:endParaRPr>
          </a:p>
        </p:txBody>
      </p:sp>
      <p:sp>
        <p:nvSpPr>
          <p:cNvPr id="287" name="TextBox 286">
            <a:extLst>
              <a:ext uri="{FF2B5EF4-FFF2-40B4-BE49-F238E27FC236}">
                <a16:creationId xmlns:a16="http://schemas.microsoft.com/office/drawing/2014/main" id="{7E8E32AF-C2FE-4175-AE36-D694AE41F14E}"/>
              </a:ext>
            </a:extLst>
          </p:cNvPr>
          <p:cNvSpPr txBox="1"/>
          <p:nvPr/>
        </p:nvSpPr>
        <p:spPr bwMode="auto">
          <a:xfrm>
            <a:off x="10164025" y="3973651"/>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NG-</a:t>
            </a:r>
            <a:b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RAN</a:t>
            </a:r>
          </a:p>
        </p:txBody>
      </p:sp>
      <p:sp>
        <p:nvSpPr>
          <p:cNvPr id="289" name="TextBox 288">
            <a:extLst>
              <a:ext uri="{FF2B5EF4-FFF2-40B4-BE49-F238E27FC236}">
                <a16:creationId xmlns:a16="http://schemas.microsoft.com/office/drawing/2014/main" id="{AF37397A-137B-464A-8272-ED0B40A7E451}"/>
              </a:ext>
            </a:extLst>
          </p:cNvPr>
          <p:cNvSpPr txBox="1"/>
          <p:nvPr/>
        </p:nvSpPr>
        <p:spPr bwMode="auto">
          <a:xfrm>
            <a:off x="10164025" y="1955755"/>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HSS/</a:t>
            </a:r>
            <a:b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UDM</a:t>
            </a:r>
          </a:p>
        </p:txBody>
      </p:sp>
      <p:sp>
        <p:nvSpPr>
          <p:cNvPr id="292" name="TextBox 291">
            <a:extLst>
              <a:ext uri="{FF2B5EF4-FFF2-40B4-BE49-F238E27FC236}">
                <a16:creationId xmlns:a16="http://schemas.microsoft.com/office/drawing/2014/main" id="{EE4A9FC5-0AAE-45A9-8698-286AD9A10B46}"/>
              </a:ext>
            </a:extLst>
          </p:cNvPr>
          <p:cNvSpPr txBox="1"/>
          <p:nvPr/>
        </p:nvSpPr>
        <p:spPr bwMode="auto">
          <a:xfrm>
            <a:off x="10164025" y="2970871"/>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5GC</a:t>
            </a:r>
            <a:br>
              <a:rPr kumimoji="0" lang="en-US" sz="1200" b="0" i="0" u="none" strike="noStrike" kern="1200" cap="none" spc="0" normalizeH="0" baseline="0" noProof="0">
                <a:ln>
                  <a:noFill/>
                </a:ln>
                <a:solidFill>
                  <a:srgbClr val="0082F0"/>
                </a:solidFill>
                <a:effectLst/>
                <a:uLnTx/>
                <a:uFillTx/>
                <a:latin typeface="Arial" charset="0"/>
                <a:ea typeface="+mn-ea"/>
                <a:cs typeface="+mn-cs"/>
              </a:rPr>
            </a:b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p:txBody>
      </p:sp>
      <p:cxnSp>
        <p:nvCxnSpPr>
          <p:cNvPr id="80" name="Straight Connector 79">
            <a:extLst>
              <a:ext uri="{FF2B5EF4-FFF2-40B4-BE49-F238E27FC236}">
                <a16:creationId xmlns:a16="http://schemas.microsoft.com/office/drawing/2014/main" id="{EA9BE4E3-2E2C-403C-A55F-1BC102328D70}"/>
              </a:ext>
            </a:extLst>
          </p:cNvPr>
          <p:cNvCxnSpPr>
            <a:cxnSpLocks/>
            <a:stCxn id="286" idx="0"/>
            <a:endCxn id="285" idx="2"/>
          </p:cNvCxnSpPr>
          <p:nvPr/>
        </p:nvCxnSpPr>
        <p:spPr bwMode="auto">
          <a:xfrm flipV="1">
            <a:off x="8622302" y="2449326"/>
            <a:ext cx="1044935" cy="52154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B3406696-BE3F-4AB1-B1E1-061E82A34A36}"/>
              </a:ext>
            </a:extLst>
          </p:cNvPr>
          <p:cNvCxnSpPr>
            <a:cxnSpLocks/>
            <a:stCxn id="292" idx="0"/>
            <a:endCxn id="24" idx="2"/>
          </p:cNvCxnSpPr>
          <p:nvPr/>
        </p:nvCxnSpPr>
        <p:spPr bwMode="auto">
          <a:xfrm flipH="1" flipV="1">
            <a:off x="8900897" y="2425975"/>
            <a:ext cx="1488128" cy="544896"/>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Rectangle 23">
            <a:extLst>
              <a:ext uri="{FF2B5EF4-FFF2-40B4-BE49-F238E27FC236}">
                <a16:creationId xmlns:a16="http://schemas.microsoft.com/office/drawing/2014/main" id="{A35E705F-E3F1-47B6-B40B-F091BDCB3665}"/>
              </a:ext>
            </a:extLst>
          </p:cNvPr>
          <p:cNvSpPr/>
          <p:nvPr/>
        </p:nvSpPr>
        <p:spPr bwMode="auto">
          <a:xfrm>
            <a:off x="8818013" y="2266995"/>
            <a:ext cx="165767" cy="158980"/>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grpSp>
        <p:nvGrpSpPr>
          <p:cNvPr id="111" name="Group 110">
            <a:extLst>
              <a:ext uri="{FF2B5EF4-FFF2-40B4-BE49-F238E27FC236}">
                <a16:creationId xmlns:a16="http://schemas.microsoft.com/office/drawing/2014/main" id="{D4008097-9B4F-45D4-A7E0-807DB92FA6BC}"/>
              </a:ext>
            </a:extLst>
          </p:cNvPr>
          <p:cNvGrpSpPr/>
          <p:nvPr/>
        </p:nvGrpSpPr>
        <p:grpSpPr>
          <a:xfrm>
            <a:off x="4547830" y="1760051"/>
            <a:ext cx="1063203" cy="720000"/>
            <a:chOff x="6850907" y="2233016"/>
            <a:chExt cx="797085" cy="593907"/>
          </a:xfrm>
        </p:grpSpPr>
        <p:pic>
          <p:nvPicPr>
            <p:cNvPr id="112" name="Graphic 111">
              <a:extLst>
                <a:ext uri="{FF2B5EF4-FFF2-40B4-BE49-F238E27FC236}">
                  <a16:creationId xmlns:a16="http://schemas.microsoft.com/office/drawing/2014/main" id="{E7245836-436C-458A-B256-73A4F3DA63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50907" y="2233016"/>
              <a:ext cx="797085" cy="593907"/>
            </a:xfrm>
            <a:prstGeom prst="rect">
              <a:avLst/>
            </a:prstGeom>
          </p:spPr>
        </p:pic>
        <p:sp>
          <p:nvSpPr>
            <p:cNvPr id="113" name="Rectangle 112">
              <a:extLst>
                <a:ext uri="{FF2B5EF4-FFF2-40B4-BE49-F238E27FC236}">
                  <a16:creationId xmlns:a16="http://schemas.microsoft.com/office/drawing/2014/main" id="{FA4DA02D-670F-43C4-B9C0-3915BA467F10}"/>
                </a:ext>
              </a:extLst>
            </p:cNvPr>
            <p:cNvSpPr/>
            <p:nvPr/>
          </p:nvSpPr>
          <p:spPr>
            <a:xfrm>
              <a:off x="6978283" y="2466783"/>
              <a:ext cx="548009" cy="230741"/>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Internet &amp;</a:t>
              </a:r>
              <a:b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b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Data services</a:t>
              </a:r>
            </a:p>
          </p:txBody>
        </p:sp>
      </p:grpSp>
      <p:sp>
        <p:nvSpPr>
          <p:cNvPr id="114" name="TextBox 113">
            <a:extLst>
              <a:ext uri="{FF2B5EF4-FFF2-40B4-BE49-F238E27FC236}">
                <a16:creationId xmlns:a16="http://schemas.microsoft.com/office/drawing/2014/main" id="{49A1FBAC-1248-49CC-B1F7-7870C8757720}"/>
              </a:ext>
            </a:extLst>
          </p:cNvPr>
          <p:cNvSpPr txBox="1"/>
          <p:nvPr/>
        </p:nvSpPr>
        <p:spPr bwMode="auto">
          <a:xfrm>
            <a:off x="5537964" y="5141182"/>
            <a:ext cx="450000" cy="720000"/>
          </a:xfrm>
          <a:prstGeom prst="rect">
            <a:avLst/>
          </a:prstGeom>
          <a:solidFill>
            <a:schemeClr val="bg1"/>
          </a:solidFill>
          <a:ln w="19050">
            <a:solidFill>
              <a:schemeClr val="tx2"/>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C</a:t>
            </a:r>
            <a:b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181818"/>
                </a:solidFill>
                <a:effectLst/>
                <a:uLnTx/>
                <a:uFillTx/>
                <a:latin typeface="Arial" charset="0"/>
                <a:ea typeface="+mn-ea"/>
                <a:cs typeface="+mn-cs"/>
              </a:rPr>
              <a:t>UE</a:t>
            </a:r>
          </a:p>
        </p:txBody>
      </p:sp>
      <p:sp>
        <p:nvSpPr>
          <p:cNvPr id="115" name="Freeform 6">
            <a:extLst>
              <a:ext uri="{FF2B5EF4-FFF2-40B4-BE49-F238E27FC236}">
                <a16:creationId xmlns:a16="http://schemas.microsoft.com/office/drawing/2014/main" id="{ECD729F7-B5DE-423F-B341-95621106FF5F}"/>
              </a:ext>
            </a:extLst>
          </p:cNvPr>
          <p:cNvSpPr>
            <a:spLocks/>
          </p:cNvSpPr>
          <p:nvPr/>
        </p:nvSpPr>
        <p:spPr bwMode="auto">
          <a:xfrm flipV="1">
            <a:off x="6052865" y="4741638"/>
            <a:ext cx="549190" cy="430322"/>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Freeform 6">
            <a:extLst>
              <a:ext uri="{FF2B5EF4-FFF2-40B4-BE49-F238E27FC236}">
                <a16:creationId xmlns:a16="http://schemas.microsoft.com/office/drawing/2014/main" id="{00812B35-4EF6-4F6E-9B5D-429FB24CB4CD}"/>
              </a:ext>
            </a:extLst>
          </p:cNvPr>
          <p:cNvSpPr>
            <a:spLocks/>
          </p:cNvSpPr>
          <p:nvPr/>
        </p:nvSpPr>
        <p:spPr bwMode="auto">
          <a:xfrm rot="10332999">
            <a:off x="4932222" y="4732919"/>
            <a:ext cx="514784" cy="487024"/>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17" name="Straight Connector 116">
            <a:extLst>
              <a:ext uri="{FF2B5EF4-FFF2-40B4-BE49-F238E27FC236}">
                <a16:creationId xmlns:a16="http://schemas.microsoft.com/office/drawing/2014/main" id="{089DFDCA-5CD6-45A8-B264-769A1AACB7E3}"/>
              </a:ext>
            </a:extLst>
          </p:cNvPr>
          <p:cNvCxnSpPr>
            <a:cxnSpLocks/>
          </p:cNvCxnSpPr>
          <p:nvPr/>
        </p:nvCxnSpPr>
        <p:spPr bwMode="auto">
          <a:xfrm>
            <a:off x="4878888" y="3690871"/>
            <a:ext cx="1430" cy="28278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45CF72DB-8AD7-41E6-8E02-47FA8F27981F}"/>
              </a:ext>
            </a:extLst>
          </p:cNvPr>
          <p:cNvCxnSpPr>
            <a:cxnSpLocks/>
            <a:stCxn id="128" idx="2"/>
            <a:endCxn id="126" idx="0"/>
          </p:cNvCxnSpPr>
          <p:nvPr/>
        </p:nvCxnSpPr>
        <p:spPr bwMode="auto">
          <a:xfrm>
            <a:off x="6646326" y="3690871"/>
            <a:ext cx="0" cy="282780"/>
          </a:xfrm>
          <a:prstGeom prst="line">
            <a:avLst/>
          </a:prstGeom>
          <a:noFill/>
          <a:ln w="3175" cap="flat" cmpd="sng" algn="ctr">
            <a:solidFill>
              <a:schemeClr val="tx1"/>
            </a:solidFill>
            <a:prstDash val="dash"/>
            <a:round/>
            <a:headEnd type="none" w="med" len="med"/>
            <a:tailEnd type="none" w="med" len="med"/>
          </a:ln>
          <a:effectLst/>
        </p:spPr>
      </p:cxnSp>
      <p:cxnSp>
        <p:nvCxnSpPr>
          <p:cNvPr id="119" name="Straight Connector 118">
            <a:extLst>
              <a:ext uri="{FF2B5EF4-FFF2-40B4-BE49-F238E27FC236}">
                <a16:creationId xmlns:a16="http://schemas.microsoft.com/office/drawing/2014/main" id="{AD3EE880-AAAF-433B-8829-02CDEFF36A11}"/>
              </a:ext>
            </a:extLst>
          </p:cNvPr>
          <p:cNvCxnSpPr>
            <a:cxnSpLocks/>
            <a:stCxn id="124" idx="0"/>
          </p:cNvCxnSpPr>
          <p:nvPr/>
        </p:nvCxnSpPr>
        <p:spPr>
          <a:xfrm flipV="1">
            <a:off x="4879603" y="2455979"/>
            <a:ext cx="1538785" cy="514892"/>
          </a:xfrm>
          <a:prstGeom prst="line">
            <a:avLst/>
          </a:prstGeom>
          <a:noFill/>
          <a:ln w="3175" cap="flat" cmpd="sng" algn="ctr">
            <a:solidFill>
              <a:schemeClr val="tx1"/>
            </a:solidFill>
            <a:prstDash val="dash"/>
            <a:round/>
            <a:headEnd type="none" w="med" len="med"/>
            <a:tailEnd type="none" w="med" len="med"/>
          </a:ln>
          <a:effectLst/>
        </p:spPr>
      </p:cxnSp>
      <p:cxnSp>
        <p:nvCxnSpPr>
          <p:cNvPr id="120" name="Straight Connector 119">
            <a:extLst>
              <a:ext uri="{FF2B5EF4-FFF2-40B4-BE49-F238E27FC236}">
                <a16:creationId xmlns:a16="http://schemas.microsoft.com/office/drawing/2014/main" id="{8E37EF4F-2B0C-440A-B362-E564D818E7AF}"/>
              </a:ext>
            </a:extLst>
          </p:cNvPr>
          <p:cNvCxnSpPr>
            <a:cxnSpLocks/>
            <a:stCxn id="127" idx="2"/>
            <a:endCxn id="128" idx="0"/>
          </p:cNvCxnSpPr>
          <p:nvPr/>
        </p:nvCxnSpPr>
        <p:spPr>
          <a:xfrm>
            <a:off x="6646326" y="2675755"/>
            <a:ext cx="0" cy="295116"/>
          </a:xfrm>
          <a:prstGeom prst="line">
            <a:avLst/>
          </a:prstGeom>
          <a:noFill/>
          <a:ln w="3175" cap="flat" cmpd="sng" algn="ctr">
            <a:solidFill>
              <a:schemeClr val="tx1"/>
            </a:solidFill>
            <a:prstDash val="dash"/>
            <a:round/>
            <a:headEnd type="none" w="med" len="med"/>
            <a:tailEnd type="none" w="med" len="med"/>
          </a:ln>
          <a:effectLst/>
        </p:spPr>
      </p:cxnSp>
      <p:cxnSp>
        <p:nvCxnSpPr>
          <p:cNvPr id="121" name="Straight Connector 120">
            <a:extLst>
              <a:ext uri="{FF2B5EF4-FFF2-40B4-BE49-F238E27FC236}">
                <a16:creationId xmlns:a16="http://schemas.microsoft.com/office/drawing/2014/main" id="{6F67ABC9-44FB-41B4-8335-064377BEB392}"/>
              </a:ext>
            </a:extLst>
          </p:cNvPr>
          <p:cNvCxnSpPr>
            <a:cxnSpLocks/>
            <a:stCxn id="132" idx="0"/>
            <a:endCxn id="131" idx="2"/>
          </p:cNvCxnSpPr>
          <p:nvPr/>
        </p:nvCxnSpPr>
        <p:spPr bwMode="auto">
          <a:xfrm flipH="1" flipV="1">
            <a:off x="5158198" y="2425975"/>
            <a:ext cx="612219" cy="376313"/>
          </a:xfrm>
          <a:prstGeom prst="line">
            <a:avLst/>
          </a:prstGeom>
          <a:solidFill>
            <a:schemeClr val="accent1"/>
          </a:solidFill>
          <a:ln w="12700" cap="flat" cmpd="sng" algn="ctr">
            <a:solidFill>
              <a:srgbClr val="00285F"/>
            </a:solidFill>
            <a:prstDash val="solid"/>
            <a:round/>
            <a:headEnd type="none" w="med" len="med"/>
            <a:tailEnd type="none" w="med" len="med"/>
          </a:ln>
          <a:effectLst/>
        </p:spPr>
      </p:cxnSp>
      <p:sp>
        <p:nvSpPr>
          <p:cNvPr id="122" name="TextBox 121">
            <a:extLst>
              <a:ext uri="{FF2B5EF4-FFF2-40B4-BE49-F238E27FC236}">
                <a16:creationId xmlns:a16="http://schemas.microsoft.com/office/drawing/2014/main" id="{3E84E83D-702D-46C9-8491-3493630EA2DD}"/>
              </a:ext>
            </a:extLst>
          </p:cNvPr>
          <p:cNvSpPr txBox="1"/>
          <p:nvPr/>
        </p:nvSpPr>
        <p:spPr bwMode="auto">
          <a:xfrm>
            <a:off x="4654603" y="3973651"/>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FC373">
                  <a:lumMod val="75000"/>
                </a:srgbClr>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E-</a:t>
            </a:r>
            <a:b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UTRAN</a:t>
            </a:r>
          </a:p>
        </p:txBody>
      </p:sp>
      <p:sp>
        <p:nvSpPr>
          <p:cNvPr id="123" name="TextBox 122">
            <a:extLst>
              <a:ext uri="{FF2B5EF4-FFF2-40B4-BE49-F238E27FC236}">
                <a16:creationId xmlns:a16="http://schemas.microsoft.com/office/drawing/2014/main" id="{2CDD51FC-BCDC-40CA-B64F-7381BB0E5974}"/>
              </a:ext>
            </a:extLst>
          </p:cNvPr>
          <p:cNvSpPr txBox="1"/>
          <p:nvPr/>
        </p:nvSpPr>
        <p:spPr bwMode="auto">
          <a:xfrm>
            <a:off x="5699538" y="1729326"/>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IMS</a:t>
            </a:r>
          </a:p>
        </p:txBody>
      </p:sp>
      <p:sp>
        <p:nvSpPr>
          <p:cNvPr id="124" name="TextBox 123">
            <a:extLst>
              <a:ext uri="{FF2B5EF4-FFF2-40B4-BE49-F238E27FC236}">
                <a16:creationId xmlns:a16="http://schemas.microsoft.com/office/drawing/2014/main" id="{963A61AA-7090-4C2B-87F1-F8886BB1CB3C}"/>
              </a:ext>
            </a:extLst>
          </p:cNvPr>
          <p:cNvSpPr txBox="1"/>
          <p:nvPr/>
        </p:nvSpPr>
        <p:spPr bwMode="auto">
          <a:xfrm>
            <a:off x="4654603" y="2970871"/>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300"/>
              </a:spcBef>
              <a:spcAft>
                <a:spcPct val="0"/>
              </a:spcAft>
              <a:buClr>
                <a:srgbClr val="181818"/>
              </a:buClr>
              <a:buSzTx/>
              <a:buFontTx/>
              <a:buNone/>
              <a:tabLst/>
              <a:defRPr/>
            </a:pPr>
            <a: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MME+</a:t>
            </a:r>
            <a:b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br>
            <a: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SGW</a:t>
            </a:r>
            <a:endParaRPr kumimoji="0" lang="en-US" sz="1100" b="0" i="0" u="none" strike="noStrike" kern="1200" cap="none" spc="0" normalizeH="0" baseline="0" noProof="0">
              <a:ln>
                <a:noFill/>
              </a:ln>
              <a:solidFill>
                <a:srgbClr val="0FC373">
                  <a:lumMod val="75000"/>
                </a:srgbClr>
              </a:solidFill>
              <a:effectLst/>
              <a:uLnTx/>
              <a:uFillTx/>
              <a:latin typeface="Arial" charset="0"/>
              <a:ea typeface="+mn-ea"/>
              <a:cs typeface="+mn-cs"/>
            </a:endParaRPr>
          </a:p>
        </p:txBody>
      </p:sp>
      <p:sp>
        <p:nvSpPr>
          <p:cNvPr id="126" name="TextBox 125">
            <a:extLst>
              <a:ext uri="{FF2B5EF4-FFF2-40B4-BE49-F238E27FC236}">
                <a16:creationId xmlns:a16="http://schemas.microsoft.com/office/drawing/2014/main" id="{3005FFF1-BC14-49D9-8C75-BAB284E840AE}"/>
              </a:ext>
            </a:extLst>
          </p:cNvPr>
          <p:cNvSpPr txBox="1"/>
          <p:nvPr/>
        </p:nvSpPr>
        <p:spPr bwMode="auto">
          <a:xfrm>
            <a:off x="6421326" y="3973651"/>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NG-</a:t>
            </a:r>
            <a:b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RAN</a:t>
            </a:r>
          </a:p>
        </p:txBody>
      </p:sp>
      <p:sp>
        <p:nvSpPr>
          <p:cNvPr id="127" name="TextBox 126">
            <a:extLst>
              <a:ext uri="{FF2B5EF4-FFF2-40B4-BE49-F238E27FC236}">
                <a16:creationId xmlns:a16="http://schemas.microsoft.com/office/drawing/2014/main" id="{1D29749A-1577-4FB4-98DF-2D4339D209D4}"/>
              </a:ext>
            </a:extLst>
          </p:cNvPr>
          <p:cNvSpPr txBox="1"/>
          <p:nvPr/>
        </p:nvSpPr>
        <p:spPr bwMode="auto">
          <a:xfrm>
            <a:off x="6421326" y="1955755"/>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HSS/</a:t>
            </a:r>
            <a:b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UDM</a:t>
            </a:r>
          </a:p>
        </p:txBody>
      </p:sp>
      <p:sp>
        <p:nvSpPr>
          <p:cNvPr id="128" name="TextBox 127">
            <a:extLst>
              <a:ext uri="{FF2B5EF4-FFF2-40B4-BE49-F238E27FC236}">
                <a16:creationId xmlns:a16="http://schemas.microsoft.com/office/drawing/2014/main" id="{35B085C7-71AA-4622-BCE7-68A2612A1F2B}"/>
              </a:ext>
            </a:extLst>
          </p:cNvPr>
          <p:cNvSpPr txBox="1"/>
          <p:nvPr/>
        </p:nvSpPr>
        <p:spPr bwMode="auto">
          <a:xfrm>
            <a:off x="6421326" y="2970871"/>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AMF</a:t>
            </a: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p:txBody>
      </p:sp>
      <p:cxnSp>
        <p:nvCxnSpPr>
          <p:cNvPr id="129" name="Straight Connector 128">
            <a:extLst>
              <a:ext uri="{FF2B5EF4-FFF2-40B4-BE49-F238E27FC236}">
                <a16:creationId xmlns:a16="http://schemas.microsoft.com/office/drawing/2014/main" id="{658396EA-C1BF-4EA2-A542-12FDCA29994B}"/>
              </a:ext>
            </a:extLst>
          </p:cNvPr>
          <p:cNvCxnSpPr>
            <a:cxnSpLocks/>
            <a:stCxn id="132" idx="0"/>
            <a:endCxn id="123" idx="2"/>
          </p:cNvCxnSpPr>
          <p:nvPr/>
        </p:nvCxnSpPr>
        <p:spPr bwMode="auto">
          <a:xfrm flipV="1">
            <a:off x="5770417" y="2449326"/>
            <a:ext cx="154121" cy="35296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71CE5BED-B0E4-4C6F-98F8-822D04E11A24}"/>
              </a:ext>
            </a:extLst>
          </p:cNvPr>
          <p:cNvCxnSpPr>
            <a:cxnSpLocks/>
            <a:stCxn id="132" idx="0"/>
            <a:endCxn id="131" idx="2"/>
          </p:cNvCxnSpPr>
          <p:nvPr/>
        </p:nvCxnSpPr>
        <p:spPr bwMode="auto">
          <a:xfrm flipH="1" flipV="1">
            <a:off x="5158198" y="2425975"/>
            <a:ext cx="612219" cy="37631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31" name="Rectangle 130">
            <a:extLst>
              <a:ext uri="{FF2B5EF4-FFF2-40B4-BE49-F238E27FC236}">
                <a16:creationId xmlns:a16="http://schemas.microsoft.com/office/drawing/2014/main" id="{C7267A85-1D6E-4605-9D63-19473A61E2C6}"/>
              </a:ext>
            </a:extLst>
          </p:cNvPr>
          <p:cNvSpPr/>
          <p:nvPr/>
        </p:nvSpPr>
        <p:spPr bwMode="auto">
          <a:xfrm>
            <a:off x="5075314" y="2266995"/>
            <a:ext cx="165767" cy="158980"/>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32" name="TextBox 131">
            <a:extLst>
              <a:ext uri="{FF2B5EF4-FFF2-40B4-BE49-F238E27FC236}">
                <a16:creationId xmlns:a16="http://schemas.microsoft.com/office/drawing/2014/main" id="{1054BB8A-B936-4E45-85E9-65AC88CB29D7}"/>
              </a:ext>
            </a:extLst>
          </p:cNvPr>
          <p:cNvSpPr txBox="1"/>
          <p:nvPr/>
        </p:nvSpPr>
        <p:spPr bwMode="auto">
          <a:xfrm>
            <a:off x="5545417" y="2802288"/>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300"/>
              </a:spcBef>
              <a:spcAft>
                <a:spcPct val="0"/>
              </a:spcAft>
              <a:buClr>
                <a:srgbClr val="181818"/>
              </a:buClr>
              <a:buSzTx/>
              <a:buFontTx/>
              <a:buNone/>
              <a:tabLst/>
              <a:defRPr/>
            </a:pPr>
            <a: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SMF+</a:t>
            </a:r>
            <a:b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UPF</a:t>
            </a:r>
          </a:p>
        </p:txBody>
      </p:sp>
      <p:cxnSp>
        <p:nvCxnSpPr>
          <p:cNvPr id="137" name="Straight Connector 136">
            <a:extLst>
              <a:ext uri="{FF2B5EF4-FFF2-40B4-BE49-F238E27FC236}">
                <a16:creationId xmlns:a16="http://schemas.microsoft.com/office/drawing/2014/main" id="{B6C37173-C036-48EF-91A4-1E222FC13405}"/>
              </a:ext>
            </a:extLst>
          </p:cNvPr>
          <p:cNvCxnSpPr>
            <a:cxnSpLocks/>
            <a:endCxn id="132" idx="1"/>
          </p:cNvCxnSpPr>
          <p:nvPr/>
        </p:nvCxnSpPr>
        <p:spPr bwMode="auto">
          <a:xfrm flipV="1">
            <a:off x="5104604" y="3162288"/>
            <a:ext cx="44081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03C13B75-4502-4A2F-B541-D3A3C83D60FE}"/>
              </a:ext>
            </a:extLst>
          </p:cNvPr>
          <p:cNvCxnSpPr>
            <a:cxnSpLocks/>
            <a:stCxn id="132" idx="3"/>
          </p:cNvCxnSpPr>
          <p:nvPr/>
        </p:nvCxnSpPr>
        <p:spPr bwMode="auto">
          <a:xfrm>
            <a:off x="5995417" y="3162288"/>
            <a:ext cx="422971" cy="0"/>
          </a:xfrm>
          <a:prstGeom prst="line">
            <a:avLst/>
          </a:prstGeom>
          <a:noFill/>
          <a:ln w="3175" cap="flat" cmpd="sng" algn="ctr">
            <a:solidFill>
              <a:schemeClr val="tx1"/>
            </a:solidFill>
            <a:prstDash val="dash"/>
            <a:round/>
            <a:headEnd type="none" w="med" len="med"/>
            <a:tailEnd type="none" w="med" len="med"/>
          </a:ln>
          <a:effectLst/>
        </p:spPr>
      </p:cxnSp>
      <p:cxnSp>
        <p:nvCxnSpPr>
          <p:cNvPr id="144" name="Straight Connector 143">
            <a:extLst>
              <a:ext uri="{FF2B5EF4-FFF2-40B4-BE49-F238E27FC236}">
                <a16:creationId xmlns:a16="http://schemas.microsoft.com/office/drawing/2014/main" id="{35E034D3-A91C-4E20-B4B7-DCB4A2275F83}"/>
              </a:ext>
            </a:extLst>
          </p:cNvPr>
          <p:cNvCxnSpPr>
            <a:cxnSpLocks/>
            <a:endCxn id="126" idx="0"/>
          </p:cNvCxnSpPr>
          <p:nvPr/>
        </p:nvCxnSpPr>
        <p:spPr bwMode="auto">
          <a:xfrm>
            <a:off x="6014548" y="3522288"/>
            <a:ext cx="631778" cy="45136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8" name="Text Box 144">
            <a:extLst>
              <a:ext uri="{FF2B5EF4-FFF2-40B4-BE49-F238E27FC236}">
                <a16:creationId xmlns:a16="http://schemas.microsoft.com/office/drawing/2014/main" id="{9AFB7A3D-3B21-43DB-9ACD-39F870EAF9F6}"/>
              </a:ext>
            </a:extLst>
          </p:cNvPr>
          <p:cNvSpPr txBox="1">
            <a:spLocks noChangeAspect="1" noChangeArrowheads="1"/>
          </p:cNvSpPr>
          <p:nvPr/>
        </p:nvSpPr>
        <p:spPr bwMode="auto">
          <a:xfrm>
            <a:off x="1835392" y="3657119"/>
            <a:ext cx="280525" cy="149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181818"/>
                </a:solidFill>
                <a:effectLst/>
                <a:uLnTx/>
                <a:uFillTx/>
                <a:latin typeface="Ericsson Hilda" panose="00000500000000000000" pitchFamily="2" charset="0"/>
                <a:ea typeface="MS PGothic" charset="-128"/>
                <a:cs typeface="+mn-cs"/>
              </a:rPr>
              <a:t>N26</a:t>
            </a:r>
          </a:p>
        </p:txBody>
      </p:sp>
      <p:sp>
        <p:nvSpPr>
          <p:cNvPr id="149" name="Text Box 144">
            <a:extLst>
              <a:ext uri="{FF2B5EF4-FFF2-40B4-BE49-F238E27FC236}">
                <a16:creationId xmlns:a16="http://schemas.microsoft.com/office/drawing/2014/main" id="{D103E728-22D4-49F3-A297-C94FBC71740C}"/>
              </a:ext>
            </a:extLst>
          </p:cNvPr>
          <p:cNvSpPr txBox="1">
            <a:spLocks noChangeAspect="1" noChangeArrowheads="1"/>
          </p:cNvSpPr>
          <p:nvPr/>
        </p:nvSpPr>
        <p:spPr bwMode="auto">
          <a:xfrm>
            <a:off x="5212647" y="3010858"/>
            <a:ext cx="173125" cy="149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181818"/>
                </a:solidFill>
                <a:effectLst/>
                <a:uLnTx/>
                <a:uFillTx/>
                <a:latin typeface="Ericsson Hilda" panose="00000500000000000000" pitchFamily="2" charset="0"/>
                <a:ea typeface="MS PGothic" charset="-128"/>
                <a:cs typeface="+mn-cs"/>
              </a:rPr>
              <a:t>S5</a:t>
            </a:r>
          </a:p>
        </p:txBody>
      </p:sp>
      <p:sp>
        <p:nvSpPr>
          <p:cNvPr id="150" name="Freeform 6">
            <a:extLst>
              <a:ext uri="{FF2B5EF4-FFF2-40B4-BE49-F238E27FC236}">
                <a16:creationId xmlns:a16="http://schemas.microsoft.com/office/drawing/2014/main" id="{B2D2958F-F69E-4B0E-9BB0-618C6F743681}"/>
              </a:ext>
            </a:extLst>
          </p:cNvPr>
          <p:cNvSpPr>
            <a:spLocks/>
          </p:cNvSpPr>
          <p:nvPr/>
        </p:nvSpPr>
        <p:spPr bwMode="auto">
          <a:xfrm flipV="1">
            <a:off x="9758897" y="4761270"/>
            <a:ext cx="549190" cy="430322"/>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Arrow: Left-Right 150">
            <a:extLst>
              <a:ext uri="{FF2B5EF4-FFF2-40B4-BE49-F238E27FC236}">
                <a16:creationId xmlns:a16="http://schemas.microsoft.com/office/drawing/2014/main" id="{18F2C959-0C50-49C0-A197-08152C3ECCA8}"/>
              </a:ext>
            </a:extLst>
          </p:cNvPr>
          <p:cNvSpPr/>
          <p:nvPr/>
        </p:nvSpPr>
        <p:spPr bwMode="auto">
          <a:xfrm>
            <a:off x="1684107" y="4859349"/>
            <a:ext cx="687514" cy="122539"/>
          </a:xfrm>
          <a:prstGeom prst="leftRightArrow">
            <a:avLst>
              <a:gd name="adj1" fmla="val 49048"/>
              <a:gd name="adj2" fmla="val 85538"/>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2" name="Group 151">
            <a:extLst>
              <a:ext uri="{FF2B5EF4-FFF2-40B4-BE49-F238E27FC236}">
                <a16:creationId xmlns:a16="http://schemas.microsoft.com/office/drawing/2014/main" id="{B7D556A8-B13E-48F8-9FFC-55846705EC8A}"/>
              </a:ext>
            </a:extLst>
          </p:cNvPr>
          <p:cNvGrpSpPr/>
          <p:nvPr/>
        </p:nvGrpSpPr>
        <p:grpSpPr>
          <a:xfrm>
            <a:off x="812730" y="1765508"/>
            <a:ext cx="1063203" cy="720000"/>
            <a:chOff x="6850907" y="2233016"/>
            <a:chExt cx="797085" cy="593907"/>
          </a:xfrm>
        </p:grpSpPr>
        <p:pic>
          <p:nvPicPr>
            <p:cNvPr id="153" name="Graphic 152">
              <a:extLst>
                <a:ext uri="{FF2B5EF4-FFF2-40B4-BE49-F238E27FC236}">
                  <a16:creationId xmlns:a16="http://schemas.microsoft.com/office/drawing/2014/main" id="{45045237-FD51-4454-8C4B-EE692FA2A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50907" y="2233016"/>
              <a:ext cx="797085" cy="593907"/>
            </a:xfrm>
            <a:prstGeom prst="rect">
              <a:avLst/>
            </a:prstGeom>
          </p:spPr>
        </p:pic>
        <p:sp>
          <p:nvSpPr>
            <p:cNvPr id="154" name="Rectangle 153">
              <a:extLst>
                <a:ext uri="{FF2B5EF4-FFF2-40B4-BE49-F238E27FC236}">
                  <a16:creationId xmlns:a16="http://schemas.microsoft.com/office/drawing/2014/main" id="{21464D93-8450-4792-90D5-3E2EED4C0C70}"/>
                </a:ext>
              </a:extLst>
            </p:cNvPr>
            <p:cNvSpPr/>
            <p:nvPr/>
          </p:nvSpPr>
          <p:spPr>
            <a:xfrm>
              <a:off x="6978283" y="2466783"/>
              <a:ext cx="548009" cy="230741"/>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Internet &amp;</a:t>
              </a:r>
              <a:b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br>
              <a:r>
                <a:rPr kumimoji="0" lang="en-US" sz="1000" b="0" i="0" u="none" strike="noStrike" kern="1200" cap="none" spc="0" normalizeH="0" baseline="0" noProof="0">
                  <a:ln>
                    <a:noFill/>
                  </a:ln>
                  <a:solidFill>
                    <a:srgbClr val="181818">
                      <a:lumMod val="50000"/>
                      <a:lumOff val="50000"/>
                    </a:srgbClr>
                  </a:solidFill>
                  <a:effectLst/>
                  <a:uLnTx/>
                  <a:uFillTx/>
                  <a:latin typeface="Ericsson Hilda"/>
                  <a:ea typeface="+mn-ea"/>
                  <a:cs typeface="+mn-cs"/>
                </a:rPr>
                <a:t>Data services</a:t>
              </a:r>
            </a:p>
          </p:txBody>
        </p:sp>
      </p:grpSp>
      <p:sp>
        <p:nvSpPr>
          <p:cNvPr id="155" name="TextBox 154">
            <a:extLst>
              <a:ext uri="{FF2B5EF4-FFF2-40B4-BE49-F238E27FC236}">
                <a16:creationId xmlns:a16="http://schemas.microsoft.com/office/drawing/2014/main" id="{32CB8367-263B-4AEF-98B4-D3B8ECF10A56}"/>
              </a:ext>
            </a:extLst>
          </p:cNvPr>
          <p:cNvSpPr txBox="1"/>
          <p:nvPr/>
        </p:nvSpPr>
        <p:spPr bwMode="auto">
          <a:xfrm>
            <a:off x="1802864" y="5146639"/>
            <a:ext cx="450000" cy="720000"/>
          </a:xfrm>
          <a:prstGeom prst="rect">
            <a:avLst/>
          </a:prstGeom>
          <a:solidFill>
            <a:schemeClr val="bg1"/>
          </a:solidFill>
          <a:ln w="19050">
            <a:solidFill>
              <a:schemeClr val="tx2"/>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t>C</a:t>
            </a:r>
            <a:br>
              <a:rPr kumimoji="0" lang="en-US" sz="1200" b="0" i="0" u="none" strike="noStrike" kern="1200" cap="none" spc="0" normalizeH="0" baseline="0" noProof="0">
                <a:ln>
                  <a:noFill/>
                </a:ln>
                <a:solidFill>
                  <a:srgbClr val="181818"/>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181818"/>
                </a:solidFill>
                <a:effectLst/>
                <a:uLnTx/>
                <a:uFillTx/>
                <a:latin typeface="Arial" charset="0"/>
                <a:ea typeface="+mn-ea"/>
                <a:cs typeface="+mn-cs"/>
              </a:rPr>
              <a:t>UE</a:t>
            </a:r>
          </a:p>
        </p:txBody>
      </p:sp>
      <p:sp>
        <p:nvSpPr>
          <p:cNvPr id="156" name="Freeform 6">
            <a:extLst>
              <a:ext uri="{FF2B5EF4-FFF2-40B4-BE49-F238E27FC236}">
                <a16:creationId xmlns:a16="http://schemas.microsoft.com/office/drawing/2014/main" id="{D7A6EDE4-88DA-4F02-9137-2802B2FE911D}"/>
              </a:ext>
            </a:extLst>
          </p:cNvPr>
          <p:cNvSpPr>
            <a:spLocks/>
          </p:cNvSpPr>
          <p:nvPr/>
        </p:nvSpPr>
        <p:spPr bwMode="auto">
          <a:xfrm flipV="1">
            <a:off x="2317765" y="4747095"/>
            <a:ext cx="549190" cy="430322"/>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Freeform 6">
            <a:extLst>
              <a:ext uri="{FF2B5EF4-FFF2-40B4-BE49-F238E27FC236}">
                <a16:creationId xmlns:a16="http://schemas.microsoft.com/office/drawing/2014/main" id="{2A91D549-6818-4E3D-9F7D-F940A2582ACF}"/>
              </a:ext>
            </a:extLst>
          </p:cNvPr>
          <p:cNvSpPr>
            <a:spLocks/>
          </p:cNvSpPr>
          <p:nvPr/>
        </p:nvSpPr>
        <p:spPr bwMode="auto">
          <a:xfrm rot="10332999">
            <a:off x="1197122" y="4738376"/>
            <a:ext cx="514784" cy="487024"/>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9525" algn="ctr">
            <a:solidFill>
              <a:schemeClr val="tx1"/>
            </a:solidFill>
            <a:prstDash val="lgDash"/>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58" name="Straight Connector 157">
            <a:extLst>
              <a:ext uri="{FF2B5EF4-FFF2-40B4-BE49-F238E27FC236}">
                <a16:creationId xmlns:a16="http://schemas.microsoft.com/office/drawing/2014/main" id="{CA5E43D4-F006-4040-9CAD-7E8F8A59FD9A}"/>
              </a:ext>
            </a:extLst>
          </p:cNvPr>
          <p:cNvCxnSpPr>
            <a:cxnSpLocks/>
          </p:cNvCxnSpPr>
          <p:nvPr/>
        </p:nvCxnSpPr>
        <p:spPr bwMode="auto">
          <a:xfrm>
            <a:off x="1143788" y="3696328"/>
            <a:ext cx="1430" cy="28278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656D773B-27AA-4056-B2A6-C03E0ECA91F9}"/>
              </a:ext>
            </a:extLst>
          </p:cNvPr>
          <p:cNvCxnSpPr>
            <a:cxnSpLocks/>
            <a:stCxn id="168" idx="2"/>
            <a:endCxn id="166" idx="0"/>
          </p:cNvCxnSpPr>
          <p:nvPr/>
        </p:nvCxnSpPr>
        <p:spPr bwMode="auto">
          <a:xfrm>
            <a:off x="2911226" y="3696328"/>
            <a:ext cx="0" cy="282780"/>
          </a:xfrm>
          <a:prstGeom prst="line">
            <a:avLst/>
          </a:prstGeom>
          <a:noFill/>
          <a:ln w="3175" cap="flat" cmpd="sng" algn="ctr">
            <a:solidFill>
              <a:schemeClr val="tx1"/>
            </a:solidFill>
            <a:prstDash val="dash"/>
            <a:round/>
            <a:headEnd type="none" w="med" len="med"/>
            <a:tailEnd type="none" w="med" len="med"/>
          </a:ln>
          <a:effectLst/>
        </p:spPr>
      </p:cxnSp>
      <p:cxnSp>
        <p:nvCxnSpPr>
          <p:cNvPr id="160" name="Straight Connector 159">
            <a:extLst>
              <a:ext uri="{FF2B5EF4-FFF2-40B4-BE49-F238E27FC236}">
                <a16:creationId xmlns:a16="http://schemas.microsoft.com/office/drawing/2014/main" id="{81B8C0E0-E375-4122-BD5F-2669F899F0C3}"/>
              </a:ext>
            </a:extLst>
          </p:cNvPr>
          <p:cNvCxnSpPr>
            <a:cxnSpLocks/>
            <a:stCxn id="165" idx="0"/>
          </p:cNvCxnSpPr>
          <p:nvPr/>
        </p:nvCxnSpPr>
        <p:spPr>
          <a:xfrm flipV="1">
            <a:off x="1144503" y="2461436"/>
            <a:ext cx="1538785" cy="514892"/>
          </a:xfrm>
          <a:prstGeom prst="line">
            <a:avLst/>
          </a:prstGeom>
          <a:noFill/>
          <a:ln w="3175" cap="flat" cmpd="sng" algn="ctr">
            <a:solidFill>
              <a:schemeClr val="tx1"/>
            </a:solidFill>
            <a:prstDash val="dash"/>
            <a:round/>
            <a:headEnd type="none" w="med" len="med"/>
            <a:tailEnd type="none" w="med" len="med"/>
          </a:ln>
          <a:effectLst/>
        </p:spPr>
      </p:cxnSp>
      <p:cxnSp>
        <p:nvCxnSpPr>
          <p:cNvPr id="161" name="Straight Connector 160">
            <a:extLst>
              <a:ext uri="{FF2B5EF4-FFF2-40B4-BE49-F238E27FC236}">
                <a16:creationId xmlns:a16="http://schemas.microsoft.com/office/drawing/2014/main" id="{49667D97-0ED8-4797-8D71-FA037A4748F6}"/>
              </a:ext>
            </a:extLst>
          </p:cNvPr>
          <p:cNvCxnSpPr>
            <a:cxnSpLocks/>
            <a:stCxn id="167" idx="2"/>
            <a:endCxn id="168" idx="0"/>
          </p:cNvCxnSpPr>
          <p:nvPr/>
        </p:nvCxnSpPr>
        <p:spPr>
          <a:xfrm>
            <a:off x="2911226" y="2681212"/>
            <a:ext cx="0" cy="295116"/>
          </a:xfrm>
          <a:prstGeom prst="line">
            <a:avLst/>
          </a:prstGeom>
          <a:noFill/>
          <a:ln w="3175" cap="flat" cmpd="sng" algn="ctr">
            <a:solidFill>
              <a:schemeClr val="tx1"/>
            </a:solidFill>
            <a:prstDash val="dash"/>
            <a:round/>
            <a:headEnd type="none" w="med" len="med"/>
            <a:tailEnd type="none" w="med" len="med"/>
          </a:ln>
          <a:effectLst/>
        </p:spPr>
      </p:cxnSp>
      <p:cxnSp>
        <p:nvCxnSpPr>
          <p:cNvPr id="162" name="Straight Connector 161">
            <a:extLst>
              <a:ext uri="{FF2B5EF4-FFF2-40B4-BE49-F238E27FC236}">
                <a16:creationId xmlns:a16="http://schemas.microsoft.com/office/drawing/2014/main" id="{60D2A9EE-6245-46DA-B1F6-8BBFFD6CEF6F}"/>
              </a:ext>
            </a:extLst>
          </p:cNvPr>
          <p:cNvCxnSpPr>
            <a:cxnSpLocks/>
            <a:stCxn id="172" idx="0"/>
            <a:endCxn id="171" idx="2"/>
          </p:cNvCxnSpPr>
          <p:nvPr/>
        </p:nvCxnSpPr>
        <p:spPr bwMode="auto">
          <a:xfrm flipH="1" flipV="1">
            <a:off x="1423098" y="2431432"/>
            <a:ext cx="612219" cy="376313"/>
          </a:xfrm>
          <a:prstGeom prst="line">
            <a:avLst/>
          </a:prstGeom>
          <a:solidFill>
            <a:schemeClr val="accent1"/>
          </a:solidFill>
          <a:ln w="12700" cap="flat" cmpd="sng" algn="ctr">
            <a:solidFill>
              <a:srgbClr val="00285F"/>
            </a:solidFill>
            <a:prstDash val="solid"/>
            <a:round/>
            <a:headEnd type="none" w="med" len="med"/>
            <a:tailEnd type="none" w="med" len="med"/>
          </a:ln>
          <a:effectLst/>
        </p:spPr>
      </p:cxnSp>
      <p:sp>
        <p:nvSpPr>
          <p:cNvPr id="163" name="TextBox 162">
            <a:extLst>
              <a:ext uri="{FF2B5EF4-FFF2-40B4-BE49-F238E27FC236}">
                <a16:creationId xmlns:a16="http://schemas.microsoft.com/office/drawing/2014/main" id="{908B330C-023D-4B08-BCAE-886D94B872F0}"/>
              </a:ext>
            </a:extLst>
          </p:cNvPr>
          <p:cNvSpPr txBox="1"/>
          <p:nvPr/>
        </p:nvSpPr>
        <p:spPr bwMode="auto">
          <a:xfrm>
            <a:off x="919503" y="3979108"/>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FC373">
                  <a:lumMod val="75000"/>
                </a:srgbClr>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E-</a:t>
            </a:r>
            <a:b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UTRAN</a:t>
            </a:r>
          </a:p>
        </p:txBody>
      </p:sp>
      <p:sp>
        <p:nvSpPr>
          <p:cNvPr id="164" name="TextBox 163">
            <a:extLst>
              <a:ext uri="{FF2B5EF4-FFF2-40B4-BE49-F238E27FC236}">
                <a16:creationId xmlns:a16="http://schemas.microsoft.com/office/drawing/2014/main" id="{CA263E9D-AECA-4804-9839-0893F2A461E9}"/>
              </a:ext>
            </a:extLst>
          </p:cNvPr>
          <p:cNvSpPr txBox="1"/>
          <p:nvPr/>
        </p:nvSpPr>
        <p:spPr bwMode="auto">
          <a:xfrm>
            <a:off x="1964438" y="1734783"/>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IMS</a:t>
            </a:r>
          </a:p>
        </p:txBody>
      </p:sp>
      <p:sp>
        <p:nvSpPr>
          <p:cNvPr id="165" name="TextBox 164">
            <a:extLst>
              <a:ext uri="{FF2B5EF4-FFF2-40B4-BE49-F238E27FC236}">
                <a16:creationId xmlns:a16="http://schemas.microsoft.com/office/drawing/2014/main" id="{8ADBAA16-F5DC-4E59-A32E-B053BD18F927}"/>
              </a:ext>
            </a:extLst>
          </p:cNvPr>
          <p:cNvSpPr txBox="1"/>
          <p:nvPr/>
        </p:nvSpPr>
        <p:spPr bwMode="auto">
          <a:xfrm>
            <a:off x="919503" y="2976328"/>
            <a:ext cx="450000" cy="720000"/>
          </a:xfrm>
          <a:prstGeom prst="rect">
            <a:avLst/>
          </a:prstGeom>
          <a:solidFill>
            <a:schemeClr val="bg1"/>
          </a:solidFill>
          <a:ln w="19050">
            <a:solidFill>
              <a:schemeClr val="accent2">
                <a:lumMod val="75000"/>
              </a:schemeClr>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FC373">
                    <a:lumMod val="75000"/>
                  </a:srgbClr>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300"/>
              </a:spcBef>
              <a:spcAft>
                <a:spcPct val="0"/>
              </a:spcAft>
              <a:buClr>
                <a:srgbClr val="181818"/>
              </a:buClr>
              <a:buSzTx/>
              <a:buFontTx/>
              <a:buNone/>
              <a:tabLst/>
              <a:defRPr/>
            </a:pPr>
            <a: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MME+</a:t>
            </a:r>
            <a:b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br>
            <a:r>
              <a:rPr kumimoji="0" lang="en-US" sz="1100" b="0" i="0" u="none" strike="noStrike" kern="1200" cap="none" spc="0" normalizeH="0" baseline="0" noProof="0">
                <a:ln>
                  <a:noFill/>
                </a:ln>
                <a:solidFill>
                  <a:srgbClr val="0FC373">
                    <a:lumMod val="75000"/>
                  </a:srgbClr>
                </a:solidFill>
                <a:effectLst/>
                <a:uLnTx/>
                <a:uFillTx/>
                <a:latin typeface="Ericsson Hilda" panose="00000500000000000000" pitchFamily="2" charset="0"/>
                <a:ea typeface="+mn-ea"/>
                <a:cs typeface="+mn-cs"/>
              </a:rPr>
              <a:t>SGW</a:t>
            </a:r>
            <a:endParaRPr kumimoji="0" lang="en-US" sz="1100" b="0" i="0" u="none" strike="noStrike" kern="1200" cap="none" spc="0" normalizeH="0" baseline="0" noProof="0">
              <a:ln>
                <a:noFill/>
              </a:ln>
              <a:solidFill>
                <a:srgbClr val="0FC373">
                  <a:lumMod val="75000"/>
                </a:srgbClr>
              </a:solidFill>
              <a:effectLst/>
              <a:uLnTx/>
              <a:uFillTx/>
              <a:latin typeface="Arial" charset="0"/>
              <a:ea typeface="+mn-ea"/>
              <a:cs typeface="+mn-cs"/>
            </a:endParaRPr>
          </a:p>
        </p:txBody>
      </p:sp>
      <p:sp>
        <p:nvSpPr>
          <p:cNvPr id="166" name="TextBox 165">
            <a:extLst>
              <a:ext uri="{FF2B5EF4-FFF2-40B4-BE49-F238E27FC236}">
                <a16:creationId xmlns:a16="http://schemas.microsoft.com/office/drawing/2014/main" id="{25A227F8-C146-47CB-BDCB-C3F7F3A73091}"/>
              </a:ext>
            </a:extLst>
          </p:cNvPr>
          <p:cNvSpPr txBox="1"/>
          <p:nvPr/>
        </p:nvSpPr>
        <p:spPr bwMode="auto">
          <a:xfrm>
            <a:off x="2686226" y="3979108"/>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16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ts val="600"/>
              </a:spcBef>
              <a:spcAft>
                <a:spcPct val="0"/>
              </a:spcAft>
              <a:buClr>
                <a:srgbClr val="181818"/>
              </a:buClr>
              <a:buSzTx/>
              <a:buFontTx/>
              <a:buNone/>
              <a:tabLst/>
              <a:defRPr/>
            </a:pP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NG-</a:t>
            </a:r>
            <a:b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05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RAN</a:t>
            </a:r>
          </a:p>
        </p:txBody>
      </p:sp>
      <p:sp>
        <p:nvSpPr>
          <p:cNvPr id="167" name="TextBox 166">
            <a:extLst>
              <a:ext uri="{FF2B5EF4-FFF2-40B4-BE49-F238E27FC236}">
                <a16:creationId xmlns:a16="http://schemas.microsoft.com/office/drawing/2014/main" id="{4E21012A-3A40-49E2-A70D-A41F47A20D8B}"/>
              </a:ext>
            </a:extLst>
          </p:cNvPr>
          <p:cNvSpPr txBox="1"/>
          <p:nvPr/>
        </p:nvSpPr>
        <p:spPr bwMode="auto">
          <a:xfrm>
            <a:off x="2686226" y="1961212"/>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D</a:t>
            </a: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10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HSS/</a:t>
            </a:r>
            <a:b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UDM</a:t>
            </a:r>
          </a:p>
        </p:txBody>
      </p:sp>
      <p:sp>
        <p:nvSpPr>
          <p:cNvPr id="168" name="TextBox 167">
            <a:extLst>
              <a:ext uri="{FF2B5EF4-FFF2-40B4-BE49-F238E27FC236}">
                <a16:creationId xmlns:a16="http://schemas.microsoft.com/office/drawing/2014/main" id="{423AFFD7-1D05-4E00-BF76-C06E5D771AE6}"/>
              </a:ext>
            </a:extLst>
          </p:cNvPr>
          <p:cNvSpPr txBox="1"/>
          <p:nvPr/>
        </p:nvSpPr>
        <p:spPr bwMode="auto">
          <a:xfrm>
            <a:off x="2686226" y="2976328"/>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ct val="500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a:p>
            <a:pPr marL="0" marR="0" lvl="0" indent="0" algn="ctr" defTabSz="914400" rtl="0" eaLnBrk="1" fontAlgn="base" latinLnBrk="0" hangingPunct="1">
              <a:lnSpc>
                <a:spcPct val="90000"/>
              </a:lnSpc>
              <a:spcBef>
                <a:spcPts val="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AMF</a:t>
            </a:r>
            <a:endParaRPr kumimoji="0" lang="en-US" sz="1200" b="0" i="0" u="none" strike="noStrike" kern="1200" cap="none" spc="0" normalizeH="0" baseline="0" noProof="0">
              <a:ln>
                <a:noFill/>
              </a:ln>
              <a:solidFill>
                <a:srgbClr val="0082F0"/>
              </a:solidFill>
              <a:effectLst/>
              <a:uLnTx/>
              <a:uFillTx/>
              <a:latin typeface="Arial" charset="0"/>
              <a:ea typeface="+mn-ea"/>
              <a:cs typeface="+mn-cs"/>
            </a:endParaRPr>
          </a:p>
        </p:txBody>
      </p:sp>
      <p:cxnSp>
        <p:nvCxnSpPr>
          <p:cNvPr id="169" name="Straight Connector 168">
            <a:extLst>
              <a:ext uri="{FF2B5EF4-FFF2-40B4-BE49-F238E27FC236}">
                <a16:creationId xmlns:a16="http://schemas.microsoft.com/office/drawing/2014/main" id="{A68F4EBD-F32B-4147-9382-6732479610B8}"/>
              </a:ext>
            </a:extLst>
          </p:cNvPr>
          <p:cNvCxnSpPr>
            <a:cxnSpLocks/>
            <a:stCxn id="172" idx="0"/>
            <a:endCxn id="164" idx="2"/>
          </p:cNvCxnSpPr>
          <p:nvPr/>
        </p:nvCxnSpPr>
        <p:spPr bwMode="auto">
          <a:xfrm flipV="1">
            <a:off x="2035317" y="2454783"/>
            <a:ext cx="154121" cy="35296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012D6C7E-D507-4F59-AD1A-A2B726A43D3C}"/>
              </a:ext>
            </a:extLst>
          </p:cNvPr>
          <p:cNvCxnSpPr>
            <a:cxnSpLocks/>
            <a:stCxn id="172" idx="0"/>
            <a:endCxn id="171" idx="2"/>
          </p:cNvCxnSpPr>
          <p:nvPr/>
        </p:nvCxnSpPr>
        <p:spPr bwMode="auto">
          <a:xfrm flipH="1" flipV="1">
            <a:off x="1423098" y="2431432"/>
            <a:ext cx="612219" cy="37631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71" name="Rectangle 170">
            <a:extLst>
              <a:ext uri="{FF2B5EF4-FFF2-40B4-BE49-F238E27FC236}">
                <a16:creationId xmlns:a16="http://schemas.microsoft.com/office/drawing/2014/main" id="{95ADBD18-0C3E-4B16-B4F3-7C576C227C22}"/>
              </a:ext>
            </a:extLst>
          </p:cNvPr>
          <p:cNvSpPr/>
          <p:nvPr/>
        </p:nvSpPr>
        <p:spPr bwMode="auto">
          <a:xfrm>
            <a:off x="1340214" y="2272452"/>
            <a:ext cx="165767" cy="158980"/>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err="1">
              <a:ln>
                <a:noFill/>
              </a:ln>
              <a:solidFill>
                <a:srgbClr val="FFFFFF"/>
              </a:solidFill>
              <a:effectLst/>
              <a:uLnTx/>
              <a:uFillTx/>
              <a:latin typeface="Ericsson Hilda"/>
              <a:ea typeface="+mn-ea"/>
              <a:cs typeface="+mn-cs"/>
            </a:endParaRPr>
          </a:p>
        </p:txBody>
      </p:sp>
      <p:sp>
        <p:nvSpPr>
          <p:cNvPr id="172" name="TextBox 171">
            <a:extLst>
              <a:ext uri="{FF2B5EF4-FFF2-40B4-BE49-F238E27FC236}">
                <a16:creationId xmlns:a16="http://schemas.microsoft.com/office/drawing/2014/main" id="{29B1C362-A6BA-470A-96C7-21E58BF75E33}"/>
              </a:ext>
            </a:extLst>
          </p:cNvPr>
          <p:cNvSpPr txBox="1"/>
          <p:nvPr/>
        </p:nvSpPr>
        <p:spPr bwMode="auto">
          <a:xfrm>
            <a:off x="1810317" y="2807745"/>
            <a:ext cx="450000" cy="720000"/>
          </a:xfrm>
          <a:prstGeom prst="rect">
            <a:avLst/>
          </a:prstGeom>
          <a:solidFill>
            <a:schemeClr val="bg1"/>
          </a:solidFill>
          <a:ln w="19050">
            <a:solidFill>
              <a:schemeClr val="accent1"/>
            </a:solidFill>
            <a:prstDash val="solid"/>
            <a:miter lim="800000"/>
            <a:headEnd/>
            <a:tailEnd/>
          </a:ln>
        </p:spPr>
        <p:txBody>
          <a:bodyPr vert="horz" wrap="none" lIns="0" tIns="36000" rIns="0" bIns="0" numCol="1" rtlCol="0" anchor="t" anchorCtr="0" compatLnSpc="1">
            <a:prstTxWarp prst="textNoShape">
              <a:avLst/>
            </a:prstTxWarp>
            <a:noAutofit/>
          </a:bodyPr>
          <a:lstStyle/>
          <a:p>
            <a:pPr marL="0" marR="0" lvl="0" indent="0" algn="ctr" defTabSz="914400" rtl="0" eaLnBrk="1" fontAlgn="base" latinLnBrk="0" hangingPunct="1">
              <a:lnSpc>
                <a:spcPct val="90000"/>
              </a:lnSpc>
              <a:spcBef>
                <a:spcPts val="300"/>
              </a:spcBef>
              <a:spcAft>
                <a:spcPct val="0"/>
              </a:spcAft>
              <a:buClr>
                <a:srgbClr val="181818"/>
              </a:buClr>
              <a:buSzTx/>
              <a:buFontTx/>
              <a:buNone/>
              <a:tabLst/>
              <a:defRPr/>
            </a:pP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b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br>
            <a:r>
              <a:rPr kumimoji="0" lang="en-US" sz="12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g</a:t>
            </a:r>
          </a:p>
          <a:p>
            <a:pPr marL="0" marR="0" lvl="0" indent="0" algn="ctr" defTabSz="914400" rtl="0" eaLnBrk="1" fontAlgn="base" latinLnBrk="0" hangingPunct="1">
              <a:lnSpc>
                <a:spcPct val="100000"/>
              </a:lnSpc>
              <a:spcBef>
                <a:spcPts val="300"/>
              </a:spcBef>
              <a:spcAft>
                <a:spcPct val="0"/>
              </a:spcAft>
              <a:buClr>
                <a:srgbClr val="181818"/>
              </a:buClr>
              <a:buSzTx/>
              <a:buFontTx/>
              <a:buNone/>
              <a:tabLst/>
              <a:defRPr/>
            </a:pPr>
            <a: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SMF+</a:t>
            </a:r>
            <a:b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br>
            <a:r>
              <a:rPr kumimoji="0" lang="en-US" sz="1100" b="0" i="0" u="none" strike="noStrike" kern="1200" cap="none" spc="0" normalizeH="0" baseline="0" noProof="0">
                <a:ln>
                  <a:noFill/>
                </a:ln>
                <a:solidFill>
                  <a:srgbClr val="0082F0"/>
                </a:solidFill>
                <a:effectLst/>
                <a:uLnTx/>
                <a:uFillTx/>
                <a:latin typeface="Ericsson Hilda" panose="00000500000000000000" pitchFamily="2" charset="0"/>
                <a:ea typeface="+mn-ea"/>
                <a:cs typeface="+mn-cs"/>
              </a:rPr>
              <a:t>UPF</a:t>
            </a:r>
          </a:p>
        </p:txBody>
      </p:sp>
      <p:cxnSp>
        <p:nvCxnSpPr>
          <p:cNvPr id="173" name="Straight Connector 172">
            <a:extLst>
              <a:ext uri="{FF2B5EF4-FFF2-40B4-BE49-F238E27FC236}">
                <a16:creationId xmlns:a16="http://schemas.microsoft.com/office/drawing/2014/main" id="{A1DB8A42-6B28-470D-933E-3CF8ECB7DB4D}"/>
              </a:ext>
            </a:extLst>
          </p:cNvPr>
          <p:cNvCxnSpPr>
            <a:cxnSpLocks/>
            <a:endCxn id="172" idx="1"/>
          </p:cNvCxnSpPr>
          <p:nvPr/>
        </p:nvCxnSpPr>
        <p:spPr bwMode="auto">
          <a:xfrm flipV="1">
            <a:off x="1369504" y="3167745"/>
            <a:ext cx="44081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0840B2B6-BF84-4DC1-8B07-95FF4D507819}"/>
              </a:ext>
            </a:extLst>
          </p:cNvPr>
          <p:cNvCxnSpPr>
            <a:cxnSpLocks/>
            <a:stCxn id="172" idx="3"/>
          </p:cNvCxnSpPr>
          <p:nvPr/>
        </p:nvCxnSpPr>
        <p:spPr bwMode="auto">
          <a:xfrm>
            <a:off x="2260317" y="3167745"/>
            <a:ext cx="422971" cy="0"/>
          </a:xfrm>
          <a:prstGeom prst="line">
            <a:avLst/>
          </a:prstGeom>
          <a:noFill/>
          <a:ln w="3175" cap="flat" cmpd="sng" algn="ctr">
            <a:solidFill>
              <a:schemeClr val="tx1"/>
            </a:solidFill>
            <a:prstDash val="dash"/>
            <a:round/>
            <a:headEnd type="none" w="med" len="med"/>
            <a:tailEnd type="none" w="med" len="med"/>
          </a:ln>
          <a:effectLst/>
        </p:spPr>
      </p:cxnSp>
      <p:cxnSp>
        <p:nvCxnSpPr>
          <p:cNvPr id="175" name="Straight Connector 174">
            <a:extLst>
              <a:ext uri="{FF2B5EF4-FFF2-40B4-BE49-F238E27FC236}">
                <a16:creationId xmlns:a16="http://schemas.microsoft.com/office/drawing/2014/main" id="{411E683C-D311-4A17-8E8A-B2594F92B1B0}"/>
              </a:ext>
            </a:extLst>
          </p:cNvPr>
          <p:cNvCxnSpPr>
            <a:cxnSpLocks/>
            <a:endCxn id="166" idx="0"/>
          </p:cNvCxnSpPr>
          <p:nvPr/>
        </p:nvCxnSpPr>
        <p:spPr bwMode="auto">
          <a:xfrm>
            <a:off x="2279448" y="3527745"/>
            <a:ext cx="631778" cy="45136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76" name="Text Box 144">
            <a:extLst>
              <a:ext uri="{FF2B5EF4-FFF2-40B4-BE49-F238E27FC236}">
                <a16:creationId xmlns:a16="http://schemas.microsoft.com/office/drawing/2014/main" id="{90E7ABA0-EA6B-40DD-B2CC-D7941BA247DD}"/>
              </a:ext>
            </a:extLst>
          </p:cNvPr>
          <p:cNvSpPr txBox="1">
            <a:spLocks noChangeAspect="1" noChangeArrowheads="1"/>
          </p:cNvSpPr>
          <p:nvPr/>
        </p:nvSpPr>
        <p:spPr bwMode="auto">
          <a:xfrm>
            <a:off x="1477547" y="3016315"/>
            <a:ext cx="173125" cy="149272"/>
          </a:xfrm>
          <a:prstGeom prst="rect">
            <a:avLst/>
          </a:prstGeom>
          <a:solidFill>
            <a:schemeClr val="bg1"/>
          </a:solidFill>
          <a:ln w="12700" cap="flat" cmpd="sng" algn="ctr">
            <a:noFill/>
            <a:prstDash val="solid"/>
            <a:round/>
            <a:headEnd type="none" w="med" len="med"/>
            <a:tailEnd type="none" w="med" len="med"/>
          </a:ln>
          <a:effectLst/>
        </p:spPr>
        <p:txBody>
          <a:bodyPr wrap="non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a:ln>
                  <a:noFill/>
                </a:ln>
                <a:solidFill>
                  <a:srgbClr val="181818"/>
                </a:solidFill>
                <a:effectLst/>
                <a:uLnTx/>
                <a:uFillTx/>
                <a:latin typeface="Ericsson Hilda" panose="00000500000000000000" pitchFamily="2" charset="0"/>
                <a:ea typeface="MS PGothic" charset="-128"/>
                <a:cs typeface="+mn-cs"/>
              </a:rPr>
              <a:t>S5</a:t>
            </a:r>
          </a:p>
        </p:txBody>
      </p:sp>
      <p:cxnSp>
        <p:nvCxnSpPr>
          <p:cNvPr id="34" name="Connector: Elbow 33">
            <a:extLst>
              <a:ext uri="{FF2B5EF4-FFF2-40B4-BE49-F238E27FC236}">
                <a16:creationId xmlns:a16="http://schemas.microsoft.com/office/drawing/2014/main" id="{9B90447E-A63B-4C07-8142-94EF45F8A4FD}"/>
              </a:ext>
            </a:extLst>
          </p:cNvPr>
          <p:cNvCxnSpPr>
            <a:cxnSpLocks/>
          </p:cNvCxnSpPr>
          <p:nvPr/>
        </p:nvCxnSpPr>
        <p:spPr bwMode="auto">
          <a:xfrm>
            <a:off x="1369503" y="3619500"/>
            <a:ext cx="1313785" cy="0"/>
          </a:xfrm>
          <a:prstGeom prst="straightConnector1">
            <a:avLst/>
          </a:prstGeom>
          <a:noFill/>
          <a:ln w="3175" cap="flat" cmpd="sng" algn="ctr">
            <a:solidFill>
              <a:schemeClr val="tx1"/>
            </a:solidFill>
            <a:prstDash val="dash"/>
            <a:round/>
            <a:headEnd type="none" w="med" len="med"/>
            <a:tailEnd type="none" w="med" len="med"/>
          </a:ln>
          <a:effectLst/>
        </p:spPr>
      </p:cxnSp>
      <p:sp>
        <p:nvSpPr>
          <p:cNvPr id="180" name="Rectangle 179">
            <a:extLst>
              <a:ext uri="{FF2B5EF4-FFF2-40B4-BE49-F238E27FC236}">
                <a16:creationId xmlns:a16="http://schemas.microsoft.com/office/drawing/2014/main" id="{8865F7AE-05E9-4E5E-B387-0FEC3F276485}"/>
              </a:ext>
            </a:extLst>
          </p:cNvPr>
          <p:cNvSpPr/>
          <p:nvPr/>
        </p:nvSpPr>
        <p:spPr bwMode="auto">
          <a:xfrm>
            <a:off x="501362" y="971842"/>
            <a:ext cx="3190955" cy="5390566"/>
          </a:xfrm>
          <a:prstGeom prst="rect">
            <a:avLst/>
          </a:prstGeom>
          <a:noFill/>
          <a:ln w="285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Interworking with N26</a:t>
            </a:r>
            <a:br>
              <a:rPr kumimoji="0" lang="en-US" sz="2000" b="0" i="0" u="none" strike="noStrike" kern="1200" cap="none" spc="0" normalizeH="0" baseline="0" noProof="0">
                <a:ln>
                  <a:noFill/>
                </a:ln>
                <a:solidFill>
                  <a:srgbClr val="181818"/>
                </a:solidFill>
                <a:effectLst/>
                <a:uLnTx/>
                <a:uFillTx/>
                <a:latin typeface="Ericsson Hilda"/>
                <a:ea typeface="+mn-ea"/>
                <a:cs typeface="+mn-cs"/>
              </a:rPr>
            </a:br>
            <a:r>
              <a:rPr kumimoji="0" lang="en-US" sz="2000" b="0" i="0" u="none" strike="noStrike" kern="1200" cap="none" spc="0" normalizeH="0" baseline="0" noProof="0">
                <a:ln>
                  <a:noFill/>
                </a:ln>
                <a:solidFill>
                  <a:srgbClr val="181818"/>
                </a:solidFill>
                <a:effectLst/>
                <a:uLnTx/>
                <a:uFillTx/>
                <a:latin typeface="Ericsson Hilda"/>
                <a:ea typeface="+mn-ea"/>
                <a:cs typeface="+mn-cs"/>
              </a:rPr>
              <a:t>(tight interworking)</a:t>
            </a:r>
          </a:p>
        </p:txBody>
      </p:sp>
      <p:sp>
        <p:nvSpPr>
          <p:cNvPr id="183" name="Rectangle 182">
            <a:extLst>
              <a:ext uri="{FF2B5EF4-FFF2-40B4-BE49-F238E27FC236}">
                <a16:creationId xmlns:a16="http://schemas.microsoft.com/office/drawing/2014/main" id="{FE3CC4A0-6985-42B0-BA1A-0E2A080CDFC3}"/>
              </a:ext>
            </a:extLst>
          </p:cNvPr>
          <p:cNvSpPr/>
          <p:nvPr/>
        </p:nvSpPr>
        <p:spPr bwMode="auto">
          <a:xfrm>
            <a:off x="4198290" y="972134"/>
            <a:ext cx="3190955" cy="5390566"/>
          </a:xfrm>
          <a:prstGeom prst="rect">
            <a:avLst/>
          </a:prstGeom>
          <a:noFill/>
          <a:ln w="19050" cap="flat" cmpd="sng" algn="ctr">
            <a:solidFill>
              <a:schemeClr val="accent6"/>
            </a:solidFill>
            <a:prstDash val="dash"/>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Interworking without N26</a:t>
            </a:r>
            <a:br>
              <a:rPr kumimoji="0" lang="en-US" sz="2000" b="0" i="0" u="none" strike="noStrike" kern="1200" cap="none" spc="0" normalizeH="0" baseline="0" noProof="0">
                <a:ln>
                  <a:noFill/>
                </a:ln>
                <a:solidFill>
                  <a:srgbClr val="181818"/>
                </a:solidFill>
                <a:effectLst/>
                <a:uLnTx/>
                <a:uFillTx/>
                <a:latin typeface="Ericsson Hilda"/>
                <a:ea typeface="+mn-ea"/>
                <a:cs typeface="+mn-cs"/>
              </a:rPr>
            </a:br>
            <a:r>
              <a:rPr kumimoji="0" lang="en-US" sz="2000" b="0" i="0" u="none" strike="noStrike" kern="1200" cap="none" spc="0" normalizeH="0" baseline="0" noProof="0">
                <a:ln>
                  <a:noFill/>
                </a:ln>
                <a:solidFill>
                  <a:srgbClr val="181818"/>
                </a:solidFill>
                <a:effectLst/>
                <a:uLnTx/>
                <a:uFillTx/>
                <a:latin typeface="Ericsson Hilda"/>
                <a:ea typeface="+mn-ea"/>
                <a:cs typeface="+mn-cs"/>
              </a:rPr>
              <a:t>(loose interworking)</a:t>
            </a:r>
          </a:p>
        </p:txBody>
      </p:sp>
      <p:sp>
        <p:nvSpPr>
          <p:cNvPr id="184" name="Rectangle 183">
            <a:extLst>
              <a:ext uri="{FF2B5EF4-FFF2-40B4-BE49-F238E27FC236}">
                <a16:creationId xmlns:a16="http://schemas.microsoft.com/office/drawing/2014/main" id="{E3DD2E3F-853C-4F7F-8048-2AA26A48B55A}"/>
              </a:ext>
            </a:extLst>
          </p:cNvPr>
          <p:cNvSpPr/>
          <p:nvPr/>
        </p:nvSpPr>
        <p:spPr bwMode="auto">
          <a:xfrm>
            <a:off x="7923295" y="972134"/>
            <a:ext cx="3190955" cy="5390566"/>
          </a:xfrm>
          <a:prstGeom prst="rect">
            <a:avLst/>
          </a:prstGeom>
          <a:noFill/>
          <a:ln w="19050" cap="flat" cmpd="sng" algn="ctr">
            <a:solidFill>
              <a:schemeClr val="accent6"/>
            </a:solidFill>
            <a:prstDash val="dash"/>
            <a:round/>
            <a:headEnd type="none" w="med" len="med"/>
            <a:tailEnd type="non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en-US" sz="2000" b="0" i="0" u="none" strike="noStrike" kern="1200" cap="none" spc="0" normalizeH="0" baseline="0" noProof="0">
                <a:ln>
                  <a:noFill/>
                </a:ln>
                <a:solidFill>
                  <a:srgbClr val="181818"/>
                </a:solidFill>
                <a:effectLst/>
                <a:uLnTx/>
                <a:uFillTx/>
                <a:latin typeface="Ericsson Hilda"/>
                <a:ea typeface="+mn-ea"/>
                <a:cs typeface="+mn-cs"/>
              </a:rPr>
              <a:t>No interworking</a:t>
            </a:r>
          </a:p>
        </p:txBody>
      </p:sp>
      <p:sp>
        <p:nvSpPr>
          <p:cNvPr id="2" name="Callout: Left-Right Arrow 1">
            <a:extLst>
              <a:ext uri="{FF2B5EF4-FFF2-40B4-BE49-F238E27FC236}">
                <a16:creationId xmlns:a16="http://schemas.microsoft.com/office/drawing/2014/main" id="{B72A1CC9-A007-4907-AB83-67521379590B}"/>
              </a:ext>
            </a:extLst>
          </p:cNvPr>
          <p:cNvSpPr/>
          <p:nvPr/>
        </p:nvSpPr>
        <p:spPr bwMode="auto">
          <a:xfrm>
            <a:off x="501362" y="5191592"/>
            <a:ext cx="6883348" cy="340639"/>
          </a:xfrm>
          <a:prstGeom prst="leftRightArrowCallout">
            <a:avLst>
              <a:gd name="adj1" fmla="val 25000"/>
              <a:gd name="adj2" fmla="val 25000"/>
              <a:gd name="adj3" fmla="val 25000"/>
              <a:gd name="adj4" fmla="val 49955"/>
            </a:avLst>
          </a:prstGeom>
          <a:solidFill>
            <a:schemeClr val="tx1">
              <a:lumMod val="10000"/>
              <a:lumOff val="90000"/>
            </a:schemeClr>
          </a:solidFill>
          <a:ln w="3175"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lvl="0">
              <a:lnSpc>
                <a:spcPct val="80000"/>
              </a:lnSpc>
              <a:defRPr/>
            </a:pPr>
            <a:r>
              <a:rPr lang="en-US" altLang="en-US" sz="2000" kern="0">
                <a:latin typeface="Ericsson Hilda" panose="00000500000000000000" pitchFamily="2" charset="0"/>
                <a:ea typeface="MS PGothic" charset="-128"/>
              </a:rPr>
              <a:t>Single packet core registration</a:t>
            </a:r>
          </a:p>
        </p:txBody>
      </p:sp>
      <p:sp>
        <p:nvSpPr>
          <p:cNvPr id="84" name="Callout: Left-Right Arrow 83">
            <a:extLst>
              <a:ext uri="{FF2B5EF4-FFF2-40B4-BE49-F238E27FC236}">
                <a16:creationId xmlns:a16="http://schemas.microsoft.com/office/drawing/2014/main" id="{86249814-39FC-4D10-906C-E53B43C22631}"/>
              </a:ext>
            </a:extLst>
          </p:cNvPr>
          <p:cNvSpPr/>
          <p:nvPr/>
        </p:nvSpPr>
        <p:spPr bwMode="auto">
          <a:xfrm>
            <a:off x="4208923" y="5650336"/>
            <a:ext cx="6883348" cy="340639"/>
          </a:xfrm>
          <a:prstGeom prst="leftRightArrowCallout">
            <a:avLst>
              <a:gd name="adj1" fmla="val 25000"/>
              <a:gd name="adj2" fmla="val 25000"/>
              <a:gd name="adj3" fmla="val 25000"/>
              <a:gd name="adj4" fmla="val 49955"/>
            </a:avLst>
          </a:prstGeom>
          <a:solidFill>
            <a:schemeClr val="tx1">
              <a:lumMod val="10000"/>
              <a:lumOff val="90000"/>
            </a:schemeClr>
          </a:solidFill>
          <a:ln w="3175"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lvl="0">
              <a:lnSpc>
                <a:spcPct val="80000"/>
              </a:lnSpc>
              <a:defRPr/>
            </a:pPr>
            <a:r>
              <a:rPr lang="en-US" altLang="en-US" sz="2000" kern="0">
                <a:latin typeface="Ericsson Hilda" panose="00000500000000000000" pitchFamily="2" charset="0"/>
                <a:ea typeface="MS PGothic" charset="-128"/>
              </a:rPr>
              <a:t>Dual packet core registration</a:t>
            </a:r>
          </a:p>
        </p:txBody>
      </p:sp>
      <p:sp>
        <p:nvSpPr>
          <p:cNvPr id="87" name="Callout: Left-Right Arrow 86">
            <a:extLst>
              <a:ext uri="{FF2B5EF4-FFF2-40B4-BE49-F238E27FC236}">
                <a16:creationId xmlns:a16="http://schemas.microsoft.com/office/drawing/2014/main" id="{3260466C-1A2A-4B56-9D5F-0B5677955D58}"/>
              </a:ext>
            </a:extLst>
          </p:cNvPr>
          <p:cNvSpPr/>
          <p:nvPr/>
        </p:nvSpPr>
        <p:spPr bwMode="auto">
          <a:xfrm>
            <a:off x="4208923" y="6149606"/>
            <a:ext cx="6883348" cy="340639"/>
          </a:xfrm>
          <a:prstGeom prst="leftRightArrowCallout">
            <a:avLst>
              <a:gd name="adj1" fmla="val 25000"/>
              <a:gd name="adj2" fmla="val 25000"/>
              <a:gd name="adj3" fmla="val 25000"/>
              <a:gd name="adj4" fmla="val 85336"/>
            </a:avLst>
          </a:prstGeom>
          <a:solidFill>
            <a:schemeClr val="tx1">
              <a:lumMod val="10000"/>
              <a:lumOff val="90000"/>
            </a:schemeClr>
          </a:solidFill>
          <a:ln w="3175"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72000" tIns="36000" rIns="0" bIns="0" numCol="1" spcCol="0" rtlCol="0" fromWordArt="0" anchor="ctr" anchorCtr="0" forceAA="0" compatLnSpc="1">
            <a:prstTxWarp prst="textNoShape">
              <a:avLst/>
            </a:prstTxWarp>
            <a:noAutofit/>
          </a:bodyPr>
          <a:lstStyle/>
          <a:p>
            <a:pPr lvl="0">
              <a:lnSpc>
                <a:spcPct val="80000"/>
              </a:lnSpc>
              <a:defRPr/>
            </a:pPr>
            <a:r>
              <a:rPr lang="en-US" altLang="en-US" sz="1600" kern="0">
                <a:latin typeface="Ericsson Hilda" panose="00000500000000000000" pitchFamily="2" charset="0"/>
                <a:ea typeface="MS PGothic" charset="-128"/>
              </a:rPr>
              <a:t>UE may be registered NG-RAN and E-UTRAN simultaneously</a:t>
            </a:r>
          </a:p>
        </p:txBody>
      </p:sp>
      <p:sp>
        <p:nvSpPr>
          <p:cNvPr id="4" name="TextBox 3">
            <a:extLst>
              <a:ext uri="{FF2B5EF4-FFF2-40B4-BE49-F238E27FC236}">
                <a16:creationId xmlns:a16="http://schemas.microsoft.com/office/drawing/2014/main" id="{127EDA25-71FF-4286-8866-B0E5D1166254}"/>
              </a:ext>
            </a:extLst>
          </p:cNvPr>
          <p:cNvSpPr txBox="1"/>
          <p:nvPr/>
        </p:nvSpPr>
        <p:spPr bwMode="auto">
          <a:xfrm>
            <a:off x="479331" y="5947077"/>
            <a:ext cx="3212986" cy="344128"/>
          </a:xfrm>
          <a:prstGeom prst="rect">
            <a:avLst/>
          </a:prstGeom>
          <a:noFill/>
          <a:ln w="3175">
            <a:noFill/>
            <a:miter lim="800000"/>
            <a:headEnd/>
            <a:tailEnd/>
          </a:ln>
        </p:spPr>
        <p:txBody>
          <a:bodyPr vert="horz" wrap="none" lIns="72000" tIns="36000" rIns="0" bIns="0" numCol="1" rtlCol="0" anchor="t" anchorCtr="0" compatLnSpc="1">
            <a:prstTxWarp prst="textNoShape">
              <a:avLst/>
            </a:prstTxWarp>
            <a:spAutoFit/>
          </a:bodyPr>
          <a:lstStyle/>
          <a:p>
            <a:pPr>
              <a:buClr>
                <a:schemeClr val="tx1"/>
              </a:buClr>
            </a:pPr>
            <a:r>
              <a:rPr lang="en-US" sz="2000">
                <a:solidFill>
                  <a:schemeClr val="accent2">
                    <a:lumMod val="75000"/>
                  </a:schemeClr>
                </a:solidFill>
              </a:rPr>
              <a:t>Industry focus today incl UE </a:t>
            </a:r>
          </a:p>
        </p:txBody>
      </p:sp>
    </p:spTree>
    <p:extLst>
      <p:ext uri="{BB962C8B-B14F-4D97-AF65-F5344CB8AC3E}">
        <p14:creationId xmlns:p14="http://schemas.microsoft.com/office/powerpoint/2010/main" val="1696984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4" grpId="0" animBg="1"/>
      <p:bldP spid="87" grpId="0" animBg="1"/>
      <p:bldP spid="4"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E59CE35-9630-403F-BCA8-124B04361F09}"/>
              </a:ext>
            </a:extLst>
          </p:cNvPr>
          <p:cNvGrpSpPr/>
          <p:nvPr/>
        </p:nvGrpSpPr>
        <p:grpSpPr>
          <a:xfrm>
            <a:off x="2549464" y="4186296"/>
            <a:ext cx="2290165" cy="2296811"/>
            <a:chOff x="2549464" y="4186296"/>
            <a:chExt cx="2290165" cy="2296811"/>
          </a:xfrm>
        </p:grpSpPr>
        <p:pic>
          <p:nvPicPr>
            <p:cNvPr id="4" name="Picture 3">
              <a:extLst>
                <a:ext uri="{FF2B5EF4-FFF2-40B4-BE49-F238E27FC236}">
                  <a16:creationId xmlns:a16="http://schemas.microsoft.com/office/drawing/2014/main" id="{79CBCDA3-2287-4615-8668-A52C231FA179}"/>
                </a:ext>
              </a:extLst>
            </p:cNvPr>
            <p:cNvPicPr>
              <a:picLocks noChangeAspect="1"/>
            </p:cNvPicPr>
            <p:nvPr/>
          </p:nvPicPr>
          <p:blipFill>
            <a:blip r:embed="rId3"/>
            <a:stretch>
              <a:fillRect/>
            </a:stretch>
          </p:blipFill>
          <p:spPr>
            <a:xfrm>
              <a:off x="2615803" y="4320932"/>
              <a:ext cx="1809750" cy="2162175"/>
            </a:xfrm>
            <a:prstGeom prst="rect">
              <a:avLst/>
            </a:prstGeom>
          </p:spPr>
        </p:pic>
        <p:sp>
          <p:nvSpPr>
            <p:cNvPr id="6" name="Rectangle 5">
              <a:extLst>
                <a:ext uri="{FF2B5EF4-FFF2-40B4-BE49-F238E27FC236}">
                  <a16:creationId xmlns:a16="http://schemas.microsoft.com/office/drawing/2014/main" id="{A4835EFB-2B52-46B8-85DA-23AF40172ADB}"/>
                </a:ext>
              </a:extLst>
            </p:cNvPr>
            <p:cNvSpPr/>
            <p:nvPr/>
          </p:nvSpPr>
          <p:spPr bwMode="auto">
            <a:xfrm>
              <a:off x="4070195" y="4320932"/>
              <a:ext cx="769434" cy="507546"/>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1" name="Rectangle 20">
              <a:extLst>
                <a:ext uri="{FF2B5EF4-FFF2-40B4-BE49-F238E27FC236}">
                  <a16:creationId xmlns:a16="http://schemas.microsoft.com/office/drawing/2014/main" id="{907FE285-1A84-47EA-BF6F-4A9FE1E57C7D}"/>
                </a:ext>
              </a:extLst>
            </p:cNvPr>
            <p:cNvSpPr/>
            <p:nvPr/>
          </p:nvSpPr>
          <p:spPr bwMode="auto">
            <a:xfrm>
              <a:off x="3054103" y="4327282"/>
              <a:ext cx="769434" cy="657938"/>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2" name="Rectangle 21">
              <a:extLst>
                <a:ext uri="{FF2B5EF4-FFF2-40B4-BE49-F238E27FC236}">
                  <a16:creationId xmlns:a16="http://schemas.microsoft.com/office/drawing/2014/main" id="{05453E69-7891-47F4-9501-D2EF07798BC8}"/>
                </a:ext>
              </a:extLst>
            </p:cNvPr>
            <p:cNvSpPr/>
            <p:nvPr/>
          </p:nvSpPr>
          <p:spPr bwMode="auto">
            <a:xfrm>
              <a:off x="3363348" y="4186296"/>
              <a:ext cx="769434" cy="657938"/>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3" name="Rectangle 22">
              <a:extLst>
                <a:ext uri="{FF2B5EF4-FFF2-40B4-BE49-F238E27FC236}">
                  <a16:creationId xmlns:a16="http://schemas.microsoft.com/office/drawing/2014/main" id="{D5D9EC69-D6C0-4855-83DC-3E89E9D7F420}"/>
                </a:ext>
              </a:extLst>
            </p:cNvPr>
            <p:cNvSpPr/>
            <p:nvPr/>
          </p:nvSpPr>
          <p:spPr bwMode="auto">
            <a:xfrm>
              <a:off x="2549464" y="5584319"/>
              <a:ext cx="769434" cy="657938"/>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24" name="Rectangle 23">
              <a:extLst>
                <a:ext uri="{FF2B5EF4-FFF2-40B4-BE49-F238E27FC236}">
                  <a16:creationId xmlns:a16="http://schemas.microsoft.com/office/drawing/2014/main" id="{66554BF8-4848-443A-A80F-14176807E84F}"/>
                </a:ext>
              </a:extLst>
            </p:cNvPr>
            <p:cNvSpPr/>
            <p:nvPr/>
          </p:nvSpPr>
          <p:spPr bwMode="auto">
            <a:xfrm>
              <a:off x="2615802" y="5680419"/>
              <a:ext cx="588795" cy="625338"/>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grpSp>
      <p:sp>
        <p:nvSpPr>
          <p:cNvPr id="2" name="Content Placeholder 1">
            <a:extLst>
              <a:ext uri="{FF2B5EF4-FFF2-40B4-BE49-F238E27FC236}">
                <a16:creationId xmlns:a16="http://schemas.microsoft.com/office/drawing/2014/main" id="{8894F009-5A4E-4AE8-B177-EC168114B9EF}"/>
              </a:ext>
            </a:extLst>
          </p:cNvPr>
          <p:cNvSpPr>
            <a:spLocks noGrp="1"/>
          </p:cNvSpPr>
          <p:nvPr>
            <p:ph sz="quarter" idx="10"/>
          </p:nvPr>
        </p:nvSpPr>
        <p:spPr>
          <a:xfrm>
            <a:off x="479425" y="2325813"/>
            <a:ext cx="5149357" cy="2586131"/>
          </a:xfrm>
        </p:spPr>
        <p:txBody>
          <a:bodyPr>
            <a:normAutofit fontScale="92500" lnSpcReduction="10000"/>
          </a:bodyPr>
          <a:lstStyle/>
          <a:p>
            <a:pPr marL="0" indent="0">
              <a:lnSpc>
                <a:spcPct val="110000"/>
              </a:lnSpc>
              <a:spcBef>
                <a:spcPts val="0"/>
              </a:spcBef>
              <a:spcAft>
                <a:spcPts val="400"/>
              </a:spcAft>
              <a:buNone/>
            </a:pPr>
            <a:r>
              <a:rPr lang="en-US" sz="1800"/>
              <a:t>The architecture is built on:</a:t>
            </a:r>
            <a:endParaRPr lang="sv-SE" sz="1800"/>
          </a:p>
          <a:p>
            <a:pPr>
              <a:lnSpc>
                <a:spcPct val="110000"/>
              </a:lnSpc>
              <a:spcBef>
                <a:spcPts val="0"/>
              </a:spcBef>
              <a:spcAft>
                <a:spcPts val="600"/>
              </a:spcAft>
            </a:pPr>
            <a:r>
              <a:rPr lang="en-US" sz="1600"/>
              <a:t>Tight interworking between 5GC and EPC using N26</a:t>
            </a:r>
          </a:p>
          <a:p>
            <a:pPr>
              <a:lnSpc>
                <a:spcPct val="110000"/>
              </a:lnSpc>
              <a:spcBef>
                <a:spcPts val="0"/>
              </a:spcBef>
              <a:spcAft>
                <a:spcPts val="600"/>
              </a:spcAft>
            </a:pPr>
            <a:r>
              <a:rPr lang="en-US" sz="1600"/>
              <a:t>Single-registration functionality in the UE and the core network </a:t>
            </a:r>
            <a:endParaRPr lang="sv-SE" sz="1600"/>
          </a:p>
          <a:p>
            <a:pPr>
              <a:lnSpc>
                <a:spcPct val="110000"/>
              </a:lnSpc>
              <a:spcBef>
                <a:spcPts val="0"/>
              </a:spcBef>
              <a:spcAft>
                <a:spcPts val="600"/>
              </a:spcAft>
            </a:pPr>
            <a:r>
              <a:rPr lang="en-US" sz="1600"/>
              <a:t>SMF and UPF with  S5 towards SGW</a:t>
            </a:r>
          </a:p>
          <a:p>
            <a:pPr>
              <a:lnSpc>
                <a:spcPct val="110000"/>
              </a:lnSpc>
              <a:spcBef>
                <a:spcPts val="0"/>
              </a:spcBef>
              <a:spcAft>
                <a:spcPts val="1200"/>
              </a:spcAft>
            </a:pPr>
            <a:r>
              <a:rPr lang="en-US" sz="1600"/>
              <a:t>Combined HSS/UDM</a:t>
            </a:r>
          </a:p>
          <a:p>
            <a:pPr>
              <a:lnSpc>
                <a:spcPct val="110000"/>
              </a:lnSpc>
              <a:spcBef>
                <a:spcPts val="0"/>
              </a:spcBef>
              <a:spcAft>
                <a:spcPts val="1200"/>
              </a:spcAft>
            </a:pPr>
            <a:r>
              <a:rPr lang="en-US" sz="1600"/>
              <a:t>PCF with Rx</a:t>
            </a:r>
          </a:p>
          <a:p>
            <a:pPr>
              <a:lnSpc>
                <a:spcPct val="110000"/>
              </a:lnSpc>
              <a:spcBef>
                <a:spcPts val="0"/>
              </a:spcBef>
              <a:spcAft>
                <a:spcPts val="1200"/>
              </a:spcAft>
            </a:pPr>
            <a:r>
              <a:rPr lang="en-US" sz="1600"/>
              <a:t>3GPP Rel-14 CUPS</a:t>
            </a:r>
          </a:p>
        </p:txBody>
      </p:sp>
      <p:sp>
        <p:nvSpPr>
          <p:cNvPr id="3" name="Title 2">
            <a:extLst>
              <a:ext uri="{FF2B5EF4-FFF2-40B4-BE49-F238E27FC236}">
                <a16:creationId xmlns:a16="http://schemas.microsoft.com/office/drawing/2014/main" id="{9B3F081E-AFF1-4A57-A7A5-784BA55C621E}"/>
              </a:ext>
            </a:extLst>
          </p:cNvPr>
          <p:cNvSpPr>
            <a:spLocks noGrp="1"/>
          </p:cNvSpPr>
          <p:nvPr>
            <p:ph type="title"/>
          </p:nvPr>
        </p:nvSpPr>
        <p:spPr>
          <a:xfrm>
            <a:off x="479424" y="476250"/>
            <a:ext cx="10972878" cy="1081088"/>
          </a:xfrm>
        </p:spPr>
        <p:txBody>
          <a:bodyPr/>
          <a:lstStyle/>
          <a:p>
            <a:r>
              <a:rPr lang="en-US"/>
              <a:t>3GPP: EPC-5GC tight interworking + CUPS</a:t>
            </a:r>
            <a:br>
              <a:rPr lang="en-US" sz="3200"/>
            </a:br>
            <a:r>
              <a:rPr lang="en-US" sz="2400"/>
              <a:t>Supporting voice and data service continuity</a:t>
            </a:r>
            <a:endParaRPr lang="en-US" sz="3200"/>
          </a:p>
        </p:txBody>
      </p:sp>
      <p:pic>
        <p:nvPicPr>
          <p:cNvPr id="5" name="Picture 4">
            <a:extLst>
              <a:ext uri="{FF2B5EF4-FFF2-40B4-BE49-F238E27FC236}">
                <a16:creationId xmlns:a16="http://schemas.microsoft.com/office/drawing/2014/main" id="{FFD4F5DD-705C-4B9C-9EAE-4A8999498870}"/>
              </a:ext>
            </a:extLst>
          </p:cNvPr>
          <p:cNvPicPr>
            <a:picLocks noChangeAspect="1"/>
          </p:cNvPicPr>
          <p:nvPr/>
        </p:nvPicPr>
        <p:blipFill>
          <a:blip r:embed="rId4"/>
          <a:stretch>
            <a:fillRect/>
          </a:stretch>
        </p:blipFill>
        <p:spPr>
          <a:xfrm>
            <a:off x="5842536" y="2285135"/>
            <a:ext cx="5857875" cy="3876675"/>
          </a:xfrm>
          <a:prstGeom prst="rect">
            <a:avLst/>
          </a:prstGeom>
        </p:spPr>
      </p:pic>
      <p:cxnSp>
        <p:nvCxnSpPr>
          <p:cNvPr id="87" name="Straight Arrow Connector 86">
            <a:extLst>
              <a:ext uri="{FF2B5EF4-FFF2-40B4-BE49-F238E27FC236}">
                <a16:creationId xmlns:a16="http://schemas.microsoft.com/office/drawing/2014/main" id="{66017DF3-9A67-4909-B80E-A714724E5BD9}"/>
              </a:ext>
            </a:extLst>
          </p:cNvPr>
          <p:cNvCxnSpPr>
            <a:cxnSpLocks/>
          </p:cNvCxnSpPr>
          <p:nvPr/>
        </p:nvCxnSpPr>
        <p:spPr bwMode="auto">
          <a:xfrm>
            <a:off x="6694508" y="2051516"/>
            <a:ext cx="1728275" cy="1202822"/>
          </a:xfrm>
          <a:prstGeom prst="straightConnector1">
            <a:avLst/>
          </a:prstGeom>
          <a:solidFill>
            <a:schemeClr val="accent5"/>
          </a:solidFill>
          <a:ln w="19050" cap="flat" cmpd="sng" algn="ctr">
            <a:solidFill>
              <a:schemeClr val="accent5"/>
            </a:solidFill>
            <a:prstDash val="solid"/>
            <a:round/>
            <a:headEnd type="none" w="med" len="med"/>
            <a:tailEnd type="triangle" w="med" len="med"/>
          </a:ln>
          <a:effectLst/>
        </p:spPr>
      </p:cxnSp>
      <p:sp>
        <p:nvSpPr>
          <p:cNvPr id="86" name="Callout: Line with No Border 85">
            <a:extLst>
              <a:ext uri="{FF2B5EF4-FFF2-40B4-BE49-F238E27FC236}">
                <a16:creationId xmlns:a16="http://schemas.microsoft.com/office/drawing/2014/main" id="{ABE3246C-C68A-4478-876E-D016A5277449}"/>
              </a:ext>
            </a:extLst>
          </p:cNvPr>
          <p:cNvSpPr/>
          <p:nvPr/>
        </p:nvSpPr>
        <p:spPr bwMode="auto">
          <a:xfrm>
            <a:off x="4070195" y="1989916"/>
            <a:ext cx="3848703" cy="467239"/>
          </a:xfrm>
          <a:prstGeom prst="callout1">
            <a:avLst>
              <a:gd name="adj1" fmla="val 97939"/>
              <a:gd name="adj2" fmla="val 81711"/>
              <a:gd name="adj3" fmla="val 366525"/>
              <a:gd name="adj4" fmla="val 113238"/>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spAutoFit/>
          </a:bodyPr>
          <a:lstStyle/>
          <a:p>
            <a:pPr fontAlgn="base">
              <a:spcBef>
                <a:spcPts val="300"/>
              </a:spcBef>
              <a:spcAft>
                <a:spcPct val="0"/>
              </a:spcAft>
            </a:pPr>
            <a:r>
              <a:rPr lang="en-US" sz="1400">
                <a:solidFill>
                  <a:schemeClr val="bg1"/>
                </a:solidFill>
              </a:rPr>
              <a:t>The UE is anchored to the same SMF and UPF </a:t>
            </a:r>
            <a:br>
              <a:rPr lang="en-US" sz="1400">
                <a:solidFill>
                  <a:schemeClr val="bg1"/>
                </a:solidFill>
              </a:rPr>
            </a:br>
            <a:r>
              <a:rPr lang="en-US" sz="1400">
                <a:solidFill>
                  <a:schemeClr val="bg1"/>
                </a:solidFill>
              </a:rPr>
              <a:t>regardless if connecting over 4G or 5G </a:t>
            </a:r>
          </a:p>
        </p:txBody>
      </p:sp>
      <p:sp>
        <p:nvSpPr>
          <p:cNvPr id="89" name="Arc 88">
            <a:extLst>
              <a:ext uri="{FF2B5EF4-FFF2-40B4-BE49-F238E27FC236}">
                <a16:creationId xmlns:a16="http://schemas.microsoft.com/office/drawing/2014/main" id="{01465330-DA52-45C3-BC97-D04E8862452B}"/>
              </a:ext>
            </a:extLst>
          </p:cNvPr>
          <p:cNvSpPr/>
          <p:nvPr/>
        </p:nvSpPr>
        <p:spPr bwMode="auto">
          <a:xfrm rot="16200000" flipH="1">
            <a:off x="8909588" y="3217818"/>
            <a:ext cx="432553" cy="5471155"/>
          </a:xfrm>
          <a:prstGeom prst="arc">
            <a:avLst>
              <a:gd name="adj1" fmla="val 16358761"/>
              <a:gd name="adj2" fmla="val 5105551"/>
            </a:avLst>
          </a:prstGeom>
          <a:noFill/>
          <a:ln w="12700" cap="flat" cmpd="sng" algn="ctr">
            <a:solidFill>
              <a:schemeClr val="accent5"/>
            </a:solidFill>
            <a:prstDash val="solid"/>
            <a:round/>
            <a:headEnd type="triangle" w="med" len="med"/>
            <a:tailEnd type="triangl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8C0A"/>
              </a:solidFill>
              <a:effectLst/>
              <a:uLnTx/>
              <a:uFillTx/>
              <a:latin typeface="Arial" charset="0"/>
              <a:ea typeface="+mn-ea"/>
              <a:cs typeface="+mn-cs"/>
            </a:endParaRPr>
          </a:p>
        </p:txBody>
      </p:sp>
      <p:sp>
        <p:nvSpPr>
          <p:cNvPr id="90" name="Callout: Line with No Border 89">
            <a:extLst>
              <a:ext uri="{FF2B5EF4-FFF2-40B4-BE49-F238E27FC236}">
                <a16:creationId xmlns:a16="http://schemas.microsoft.com/office/drawing/2014/main" id="{4ECC59C0-527C-4688-BE4A-223C81F3FC10}"/>
              </a:ext>
            </a:extLst>
          </p:cNvPr>
          <p:cNvSpPr/>
          <p:nvPr/>
        </p:nvSpPr>
        <p:spPr bwMode="auto">
          <a:xfrm>
            <a:off x="7025368" y="5446049"/>
            <a:ext cx="3244725" cy="467239"/>
          </a:xfrm>
          <a:prstGeom prst="callout1">
            <a:avLst>
              <a:gd name="adj1" fmla="val 44778"/>
              <a:gd name="adj2" fmla="val 79068"/>
              <a:gd name="adj3" fmla="val 61859"/>
              <a:gd name="adj4" fmla="val 86644"/>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spAutoFit/>
          </a:bodyPr>
          <a:lstStyle/>
          <a:p>
            <a:pPr fontAlgn="base">
              <a:spcBef>
                <a:spcPts val="300"/>
              </a:spcBef>
              <a:spcAft>
                <a:spcPct val="0"/>
              </a:spcAft>
            </a:pPr>
            <a:r>
              <a:rPr lang="en-US" sz="1400">
                <a:solidFill>
                  <a:schemeClr val="bg1"/>
                </a:solidFill>
              </a:rPr>
              <a:t>Seamless mobility between NG-RAN and E-UTRAN/EN-DC with good voice KPI’s</a:t>
            </a:r>
          </a:p>
        </p:txBody>
      </p:sp>
      <p:sp>
        <p:nvSpPr>
          <p:cNvPr id="91" name="Callout: Line with No Border 90">
            <a:extLst>
              <a:ext uri="{FF2B5EF4-FFF2-40B4-BE49-F238E27FC236}">
                <a16:creationId xmlns:a16="http://schemas.microsoft.com/office/drawing/2014/main" id="{358E0DA7-4AD6-447E-8478-13B814F94257}"/>
              </a:ext>
            </a:extLst>
          </p:cNvPr>
          <p:cNvSpPr/>
          <p:nvPr/>
        </p:nvSpPr>
        <p:spPr bwMode="auto">
          <a:xfrm>
            <a:off x="9748032" y="2631507"/>
            <a:ext cx="1044123" cy="467239"/>
          </a:xfrm>
          <a:prstGeom prst="callout1">
            <a:avLst>
              <a:gd name="adj1" fmla="val 90196"/>
              <a:gd name="adj2" fmla="val 233"/>
              <a:gd name="adj3" fmla="val 247396"/>
              <a:gd name="adj4" fmla="val -60156"/>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none" lIns="72000" tIns="36000" rIns="0" bIns="0" numCol="1" spcCol="0" rtlCol="0" fromWordArt="0" anchor="t" anchorCtr="0" forceAA="0" compatLnSpc="1">
            <a:prstTxWarp prst="textNoShape">
              <a:avLst/>
            </a:prstTxWarp>
            <a:spAutoFit/>
          </a:bodyPr>
          <a:lstStyle/>
          <a:p>
            <a:pPr marR="0" algn="l" defTabSz="914400" rtl="0" eaLnBrk="1" fontAlgn="base" latinLnBrk="0" hangingPunct="1">
              <a:lnSpc>
                <a:spcPct val="100000"/>
              </a:lnSpc>
              <a:spcBef>
                <a:spcPts val="300"/>
              </a:spcBef>
              <a:spcAft>
                <a:spcPct val="0"/>
              </a:spcAft>
              <a:buClrTx/>
              <a:buSzTx/>
              <a:tabLst/>
            </a:pPr>
            <a:r>
              <a:rPr kumimoji="0" lang="en-US" sz="1400" b="0" i="0" u="none" strike="noStrike" cap="none" normalizeH="0" baseline="0">
                <a:ln>
                  <a:noFill/>
                </a:ln>
                <a:solidFill>
                  <a:schemeClr val="bg1"/>
                </a:solidFill>
                <a:effectLst/>
                <a:latin typeface="+mn-lt"/>
              </a:rPr>
              <a:t>IP address </a:t>
            </a:r>
            <a:br>
              <a:rPr kumimoji="0" lang="en-US" sz="1400" b="0" i="0" u="none" strike="noStrike" cap="none" normalizeH="0" baseline="0">
                <a:ln>
                  <a:noFill/>
                </a:ln>
                <a:solidFill>
                  <a:schemeClr val="bg1"/>
                </a:solidFill>
                <a:effectLst/>
                <a:latin typeface="+mn-lt"/>
              </a:rPr>
            </a:br>
            <a:r>
              <a:rPr kumimoji="0" lang="en-US" sz="1400" b="0" i="0" u="none" strike="noStrike" cap="none" normalizeH="0" baseline="0">
                <a:ln>
                  <a:noFill/>
                </a:ln>
                <a:solidFill>
                  <a:schemeClr val="bg1"/>
                </a:solidFill>
                <a:effectLst/>
                <a:latin typeface="+mn-lt"/>
              </a:rPr>
              <a:t>preservation</a:t>
            </a:r>
            <a:endParaRPr kumimoji="0" lang="sv-SE" sz="1400" b="0" i="0" u="none" strike="noStrike" cap="none" normalizeH="0" baseline="0" err="1">
              <a:ln>
                <a:noFill/>
              </a:ln>
              <a:solidFill>
                <a:schemeClr val="bg1"/>
              </a:solidFill>
              <a:effectLst/>
              <a:latin typeface="+mn-lt"/>
            </a:endParaRPr>
          </a:p>
        </p:txBody>
      </p:sp>
      <p:sp>
        <p:nvSpPr>
          <p:cNvPr id="10" name="Callout: Line with No Border 9">
            <a:extLst>
              <a:ext uri="{FF2B5EF4-FFF2-40B4-BE49-F238E27FC236}">
                <a16:creationId xmlns:a16="http://schemas.microsoft.com/office/drawing/2014/main" id="{6E37AA2B-81ED-41CE-A41A-BFD5B8C67A8D}"/>
              </a:ext>
            </a:extLst>
          </p:cNvPr>
          <p:cNvSpPr/>
          <p:nvPr/>
        </p:nvSpPr>
        <p:spPr bwMode="auto">
          <a:xfrm>
            <a:off x="9843267" y="1593013"/>
            <a:ext cx="1303704" cy="682682"/>
          </a:xfrm>
          <a:prstGeom prst="callout1">
            <a:avLst>
              <a:gd name="adj1" fmla="val 95823"/>
              <a:gd name="adj2" fmla="val 16715"/>
              <a:gd name="adj3" fmla="val 181099"/>
              <a:gd name="adj4" fmla="val -59317"/>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spAutoFit/>
          </a:bodyPr>
          <a:lstStyle/>
          <a:p>
            <a:pPr marR="0" algn="l" defTabSz="914400" rtl="0" eaLnBrk="1" fontAlgn="base" latinLnBrk="0" hangingPunct="1">
              <a:lnSpc>
                <a:spcPct val="100000"/>
              </a:lnSpc>
              <a:spcBef>
                <a:spcPts val="300"/>
              </a:spcBef>
              <a:spcAft>
                <a:spcPct val="0"/>
              </a:spcAft>
              <a:buClrTx/>
              <a:buSzTx/>
              <a:tabLst/>
            </a:pPr>
            <a:r>
              <a:rPr kumimoji="0" lang="en-US" sz="1400" b="0" i="0" u="none" strike="noStrike" cap="none" normalizeH="0" baseline="0">
                <a:ln>
                  <a:noFill/>
                </a:ln>
                <a:solidFill>
                  <a:schemeClr val="bg1"/>
                </a:solidFill>
                <a:effectLst/>
                <a:latin typeface="+mn-lt"/>
              </a:rPr>
              <a:t>PCF has UE policies for 4G and 5G access</a:t>
            </a:r>
            <a:endParaRPr kumimoji="0" lang="sv-SE" sz="1400" b="0" i="0" u="none" strike="noStrike" cap="none" normalizeH="0" baseline="0" err="1">
              <a:ln>
                <a:noFill/>
              </a:ln>
              <a:solidFill>
                <a:schemeClr val="bg1"/>
              </a:solidFill>
              <a:effectLst/>
              <a:latin typeface="+mn-lt"/>
            </a:endParaRPr>
          </a:p>
        </p:txBody>
      </p:sp>
      <p:sp>
        <p:nvSpPr>
          <p:cNvPr id="11" name="Callout: Line with No Border 10">
            <a:extLst>
              <a:ext uri="{FF2B5EF4-FFF2-40B4-BE49-F238E27FC236}">
                <a16:creationId xmlns:a16="http://schemas.microsoft.com/office/drawing/2014/main" id="{6AB96E0B-E4D4-4192-A339-518E9049F670}"/>
              </a:ext>
            </a:extLst>
          </p:cNvPr>
          <p:cNvSpPr/>
          <p:nvPr/>
        </p:nvSpPr>
        <p:spPr bwMode="auto">
          <a:xfrm>
            <a:off x="7967922" y="1233835"/>
            <a:ext cx="1826322" cy="682682"/>
          </a:xfrm>
          <a:prstGeom prst="callout1">
            <a:avLst>
              <a:gd name="adj1" fmla="val 99466"/>
              <a:gd name="adj2" fmla="val 48272"/>
              <a:gd name="adj3" fmla="val 159891"/>
              <a:gd name="adj4" fmla="val 44082"/>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spAutoFit/>
          </a:bodyPr>
          <a:lstStyle/>
          <a:p>
            <a:pPr>
              <a:spcBef>
                <a:spcPts val="300"/>
              </a:spcBef>
            </a:pPr>
            <a:r>
              <a:rPr lang="en-US" sz="1400">
                <a:solidFill>
                  <a:schemeClr val="bg1"/>
                </a:solidFill>
              </a:rPr>
              <a:t>Combo UDM+HSS handles 4G/5G user data and  functionality</a:t>
            </a:r>
            <a:endParaRPr lang="sv-SE" sz="1400">
              <a:solidFill>
                <a:schemeClr val="bg1"/>
              </a:solidFill>
            </a:endParaRPr>
          </a:p>
        </p:txBody>
      </p:sp>
      <p:grpSp>
        <p:nvGrpSpPr>
          <p:cNvPr id="14" name="Group 13">
            <a:extLst>
              <a:ext uri="{FF2B5EF4-FFF2-40B4-BE49-F238E27FC236}">
                <a16:creationId xmlns:a16="http://schemas.microsoft.com/office/drawing/2014/main" id="{007F7AC0-8516-4392-84C2-C8328DC6C1C4}"/>
              </a:ext>
            </a:extLst>
          </p:cNvPr>
          <p:cNvGrpSpPr/>
          <p:nvPr/>
        </p:nvGrpSpPr>
        <p:grpSpPr>
          <a:xfrm>
            <a:off x="4589395" y="3769592"/>
            <a:ext cx="2640261" cy="682682"/>
            <a:chOff x="4589395" y="3769592"/>
            <a:chExt cx="2640261" cy="682682"/>
          </a:xfrm>
        </p:grpSpPr>
        <p:sp>
          <p:nvSpPr>
            <p:cNvPr id="16" name="Callout: Line with No Border 15">
              <a:extLst>
                <a:ext uri="{FF2B5EF4-FFF2-40B4-BE49-F238E27FC236}">
                  <a16:creationId xmlns:a16="http://schemas.microsoft.com/office/drawing/2014/main" id="{DC4A61D9-574E-4E06-9401-FA1A21F0C087}"/>
                </a:ext>
              </a:extLst>
            </p:cNvPr>
            <p:cNvSpPr/>
            <p:nvPr/>
          </p:nvSpPr>
          <p:spPr bwMode="auto">
            <a:xfrm>
              <a:off x="4589395" y="3769592"/>
              <a:ext cx="1223278" cy="682682"/>
            </a:xfrm>
            <a:prstGeom prst="callout1">
              <a:avLst>
                <a:gd name="adj1" fmla="val 95823"/>
                <a:gd name="adj2" fmla="val 16715"/>
                <a:gd name="adj3" fmla="val 151697"/>
                <a:gd name="adj4" fmla="val -21030"/>
              </a:avLst>
            </a:prstGeom>
            <a:solidFill>
              <a:schemeClr val="accent5"/>
            </a:solidFill>
            <a:ln w="19050" cap="flat" cmpd="sng" algn="ctr">
              <a:solidFill>
                <a:schemeClr val="accent5"/>
              </a:solidFill>
              <a:prstDash val="solid"/>
              <a:round/>
              <a:headEnd type="none" w="med" len="med"/>
              <a:tailEnd type="triangle" w="med" len="med"/>
            </a:ln>
            <a:effectLst/>
          </p:spPr>
          <p:txBody>
            <a:bodyPr rot="0" spcFirstLastPara="0" vertOverflow="overflow" horzOverflow="overflow" vert="horz" wrap="square" lIns="72000" tIns="36000" rIns="0" bIns="0" numCol="1" spcCol="0" rtlCol="0" fromWordArt="0" anchor="t" anchorCtr="0" forceAA="0" compatLnSpc="1">
              <a:prstTxWarp prst="textNoShape">
                <a:avLst/>
              </a:prstTxWarp>
              <a:spAutoFit/>
            </a:bodyPr>
            <a:lstStyle/>
            <a:p>
              <a:pPr marR="0" algn="l" defTabSz="914400" rtl="0" eaLnBrk="1" fontAlgn="base" latinLnBrk="0" hangingPunct="1">
                <a:lnSpc>
                  <a:spcPct val="100000"/>
                </a:lnSpc>
                <a:spcBef>
                  <a:spcPts val="300"/>
                </a:spcBef>
                <a:spcAft>
                  <a:spcPct val="0"/>
                </a:spcAft>
                <a:buClrTx/>
                <a:buSzTx/>
                <a:tabLst/>
              </a:pPr>
              <a:r>
                <a:rPr kumimoji="0" lang="en-US" sz="1400" b="0" i="0" u="none" strike="noStrike" cap="none" normalizeH="0" baseline="0">
                  <a:ln>
                    <a:noFill/>
                  </a:ln>
                  <a:solidFill>
                    <a:schemeClr val="bg1"/>
                  </a:solidFill>
                  <a:effectLst/>
                  <a:latin typeface="+mn-lt"/>
                </a:rPr>
                <a:t>SGW deployed according to CUPS</a:t>
              </a:r>
              <a:endParaRPr kumimoji="0" lang="sv-SE" sz="1400" b="0" i="0" u="none" strike="noStrike" cap="none" normalizeH="0" baseline="0" err="1">
                <a:ln>
                  <a:noFill/>
                </a:ln>
                <a:solidFill>
                  <a:schemeClr val="bg1"/>
                </a:solidFill>
                <a:effectLst/>
                <a:latin typeface="+mn-lt"/>
              </a:endParaRPr>
            </a:p>
          </p:txBody>
        </p:sp>
        <p:cxnSp>
          <p:nvCxnSpPr>
            <p:cNvPr id="18" name="Straight Arrow Connector 17">
              <a:extLst>
                <a:ext uri="{FF2B5EF4-FFF2-40B4-BE49-F238E27FC236}">
                  <a16:creationId xmlns:a16="http://schemas.microsoft.com/office/drawing/2014/main" id="{6E8EC5FB-91F3-45D7-B2F2-604161179E25}"/>
                </a:ext>
              </a:extLst>
            </p:cNvPr>
            <p:cNvCxnSpPr>
              <a:cxnSpLocks/>
            </p:cNvCxnSpPr>
            <p:nvPr/>
          </p:nvCxnSpPr>
          <p:spPr bwMode="auto">
            <a:xfrm>
              <a:off x="5786252" y="3982136"/>
              <a:ext cx="1443404" cy="80359"/>
            </a:xfrm>
            <a:prstGeom prst="straightConnector1">
              <a:avLst/>
            </a:prstGeom>
            <a:solidFill>
              <a:schemeClr val="accent5"/>
            </a:solidFill>
            <a:ln w="19050" cap="flat" cmpd="sng" algn="ctr">
              <a:solidFill>
                <a:schemeClr val="accent5"/>
              </a:solidFill>
              <a:prstDash val="solid"/>
              <a:round/>
              <a:headEnd type="none" w="med" len="med"/>
              <a:tailEnd type="triangle" w="med" len="med"/>
            </a:ln>
            <a:effectLst/>
          </p:spPr>
        </p:cxnSp>
      </p:grpSp>
    </p:spTree>
    <p:extLst>
      <p:ext uri="{BB962C8B-B14F-4D97-AF65-F5344CB8AC3E}">
        <p14:creationId xmlns:p14="http://schemas.microsoft.com/office/powerpoint/2010/main" val="358806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Line 24"/>
          <p:cNvSpPr>
            <a:spLocks noChangeShapeType="1"/>
          </p:cNvSpPr>
          <p:nvPr/>
        </p:nvSpPr>
        <p:spPr bwMode="auto">
          <a:xfrm>
            <a:off x="6584537" y="6465348"/>
            <a:ext cx="5209598" cy="0"/>
          </a:xfrm>
          <a:prstGeom prst="line">
            <a:avLst/>
          </a:prstGeom>
          <a:noFill/>
          <a:ln w="25400">
            <a:solidFill>
              <a:schemeClr val="tx1"/>
            </a:solidFill>
            <a:round/>
            <a:headEnd type="triangle" w="lg" len="lg"/>
            <a:tailEnd type="triangle" w="lg" len="lg"/>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7" name="Rectangle: Rounded Corners 6">
            <a:extLst>
              <a:ext uri="{FF2B5EF4-FFF2-40B4-BE49-F238E27FC236}">
                <a16:creationId xmlns:a16="http://schemas.microsoft.com/office/drawing/2014/main" id="{5A2D524D-BFA5-4EAA-B4E8-3784ACF68C82}"/>
              </a:ext>
            </a:extLst>
          </p:cNvPr>
          <p:cNvSpPr/>
          <p:nvPr/>
        </p:nvSpPr>
        <p:spPr bwMode="auto">
          <a:xfrm>
            <a:off x="10124229" y="6192355"/>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9" name="Rectangle 8">
            <a:extLst>
              <a:ext uri="{FF2B5EF4-FFF2-40B4-BE49-F238E27FC236}">
                <a16:creationId xmlns:a16="http://schemas.microsoft.com/office/drawing/2014/main" id="{C3B3B075-7CAE-4E69-B450-FF30659DE90E}"/>
              </a:ext>
            </a:extLst>
          </p:cNvPr>
          <p:cNvSpPr/>
          <p:nvPr/>
        </p:nvSpPr>
        <p:spPr bwMode="auto">
          <a:xfrm>
            <a:off x="6012611" y="2010174"/>
            <a:ext cx="2313738"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5" name="Content Placeholder 4"/>
          <p:cNvSpPr>
            <a:spLocks noGrp="1"/>
          </p:cNvSpPr>
          <p:nvPr>
            <p:ph sz="quarter" idx="10"/>
          </p:nvPr>
        </p:nvSpPr>
        <p:spPr>
          <a:xfrm>
            <a:off x="524933" y="1649314"/>
            <a:ext cx="5225305" cy="4322024"/>
          </a:xfrm>
        </p:spPr>
        <p:txBody>
          <a:bodyPr/>
          <a:lstStyle/>
          <a:p>
            <a:r>
              <a:rPr lang="en-US" altLang="sv-SE" sz="1800"/>
              <a:t>5GC capable devices (Option 2) always anchored in 5GC (also option 1 capable)</a:t>
            </a:r>
          </a:p>
          <a:p>
            <a:r>
              <a:rPr lang="en-US" altLang="sv-SE" sz="1800"/>
              <a:t>Legacy LTE only devices anchored in legacy EPC</a:t>
            </a:r>
          </a:p>
          <a:p>
            <a:r>
              <a:rPr lang="en-US" altLang="sv-SE" sz="1800"/>
              <a:t>IP session continuity ensured</a:t>
            </a:r>
          </a:p>
          <a:p>
            <a:pPr lvl="1"/>
            <a:r>
              <a:rPr lang="en-US" altLang="sv-SE" sz="1400"/>
              <a:t>SMF act as PGW CP for 5GC capable devices</a:t>
            </a:r>
          </a:p>
          <a:p>
            <a:pPr lvl="1"/>
            <a:r>
              <a:rPr lang="en-US" altLang="sv-SE" sz="1400"/>
              <a:t>UPF act as common anchor point for 5GC capable devices</a:t>
            </a:r>
          </a:p>
          <a:p>
            <a:pPr lvl="1"/>
            <a:r>
              <a:rPr lang="en-US" sz="1400"/>
              <a:t>* indicates 5GC NFs with EPC </a:t>
            </a:r>
            <a:r>
              <a:rPr lang="en-US" sz="1400" err="1"/>
              <a:t>iwk</a:t>
            </a:r>
            <a:r>
              <a:rPr lang="en-US" sz="1400"/>
              <a:t> capabilities</a:t>
            </a:r>
            <a:endParaRPr lang="en-US" altLang="sv-SE" sz="1400"/>
          </a:p>
          <a:p>
            <a:r>
              <a:rPr lang="en-US" altLang="sv-SE" sz="1800"/>
              <a:t>New control plane interfaces</a:t>
            </a:r>
          </a:p>
          <a:p>
            <a:pPr lvl="1"/>
            <a:r>
              <a:rPr lang="en-US" altLang="sv-SE" sz="1400"/>
              <a:t>Connection between AMF and MME for context transfer (N26)</a:t>
            </a:r>
          </a:p>
          <a:p>
            <a:pPr lvl="1"/>
            <a:r>
              <a:rPr lang="en-US" altLang="sv-SE" sz="1400"/>
              <a:t>SGW must support S5-C towards SMF and S5-U towards UPF</a:t>
            </a:r>
          </a:p>
          <a:p>
            <a:r>
              <a:rPr lang="en-US" altLang="sv-SE" sz="1800"/>
              <a:t>No impact on</a:t>
            </a:r>
          </a:p>
          <a:p>
            <a:pPr lvl="1"/>
            <a:r>
              <a:rPr lang="en-US" altLang="sv-SE" sz="1400"/>
              <a:t>legacy terminal fleet</a:t>
            </a:r>
          </a:p>
          <a:p>
            <a:pPr lvl="1"/>
            <a:r>
              <a:rPr lang="en-US" altLang="sv-SE" sz="1400"/>
              <a:t>existing customer base</a:t>
            </a:r>
          </a:p>
          <a:p>
            <a:pPr lvl="1">
              <a:lnSpc>
                <a:spcPct val="90000"/>
              </a:lnSpc>
            </a:pPr>
            <a:endParaRPr lang="en-US" sz="1800"/>
          </a:p>
        </p:txBody>
      </p:sp>
      <p:sp>
        <p:nvSpPr>
          <p:cNvPr id="4" name="Title 3"/>
          <p:cNvSpPr>
            <a:spLocks noGrp="1"/>
          </p:cNvSpPr>
          <p:nvPr>
            <p:ph type="title"/>
          </p:nvPr>
        </p:nvSpPr>
        <p:spPr>
          <a:xfrm>
            <a:off x="524935" y="239714"/>
            <a:ext cx="10656412" cy="1085371"/>
          </a:xfrm>
        </p:spPr>
        <p:txBody>
          <a:bodyPr>
            <a:normAutofit/>
          </a:bodyPr>
          <a:lstStyle/>
          <a:p>
            <a:r>
              <a:rPr lang="en-US">
                <a:solidFill>
                  <a:srgbClr val="181818"/>
                </a:solidFill>
              </a:rPr>
              <a:t>5GC-EPC tight interworking architecture – alt. a</a:t>
            </a:r>
            <a:br>
              <a:rPr lang="en-US" sz="3200">
                <a:solidFill>
                  <a:srgbClr val="181818"/>
                </a:solidFill>
              </a:rPr>
            </a:br>
            <a:r>
              <a:rPr lang="en-US" sz="2400">
                <a:solidFill>
                  <a:srgbClr val="181818"/>
                </a:solidFill>
              </a:rPr>
              <a:t>User plane path for </a:t>
            </a:r>
            <a:r>
              <a:rPr lang="en-US" altLang="sv-SE" sz="2400"/>
              <a:t>5GC capable</a:t>
            </a:r>
            <a:r>
              <a:rPr lang="en-US" sz="2400">
                <a:solidFill>
                  <a:srgbClr val="181818"/>
                </a:solidFill>
              </a:rPr>
              <a:t> UEs</a:t>
            </a:r>
            <a:endParaRPr lang="en-US" sz="3100"/>
          </a:p>
        </p:txBody>
      </p:sp>
      <p:sp>
        <p:nvSpPr>
          <p:cNvPr id="190" name="Freeform 6"/>
          <p:cNvSpPr>
            <a:spLocks/>
          </p:cNvSpPr>
          <p:nvPr/>
        </p:nvSpPr>
        <p:spPr bwMode="auto">
          <a:xfrm rot="16200000">
            <a:off x="7322650" y="5863893"/>
            <a:ext cx="294690" cy="2076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91" name="Straight Connector 190"/>
          <p:cNvCxnSpPr>
            <a:cxnSpLocks/>
            <a:stCxn id="155" idx="0"/>
          </p:cNvCxnSpPr>
          <p:nvPr/>
        </p:nvCxnSpPr>
        <p:spPr bwMode="auto">
          <a:xfrm flipH="1" flipV="1">
            <a:off x="9561745" y="1793971"/>
            <a:ext cx="812242" cy="457190"/>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192" name="Straight Connector 191"/>
          <p:cNvCxnSpPr>
            <a:cxnSpLocks/>
          </p:cNvCxnSpPr>
          <p:nvPr/>
        </p:nvCxnSpPr>
        <p:spPr bwMode="auto">
          <a:xfrm flipV="1">
            <a:off x="7523077" y="3027670"/>
            <a:ext cx="15206" cy="344714"/>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235" name="Straight Connector 234"/>
          <p:cNvCxnSpPr>
            <a:cxnSpLocks/>
          </p:cNvCxnSpPr>
          <p:nvPr/>
        </p:nvCxnSpPr>
        <p:spPr bwMode="auto">
          <a:xfrm flipH="1">
            <a:off x="7512532" y="4151549"/>
            <a:ext cx="10545" cy="974761"/>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236" name="Straight Connector 235"/>
          <p:cNvCxnSpPr>
            <a:cxnSpLocks/>
            <a:stCxn id="157" idx="2"/>
            <a:endCxn id="150" idx="0"/>
          </p:cNvCxnSpPr>
          <p:nvPr/>
        </p:nvCxnSpPr>
        <p:spPr bwMode="auto">
          <a:xfrm>
            <a:off x="6564369" y="4648994"/>
            <a:ext cx="932957" cy="477316"/>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272" name="Straight Connector 271"/>
          <p:cNvCxnSpPr>
            <a:cxnSpLocks/>
            <a:stCxn id="152" idx="1"/>
            <a:endCxn id="157" idx="0"/>
          </p:cNvCxnSpPr>
          <p:nvPr/>
        </p:nvCxnSpPr>
        <p:spPr bwMode="auto">
          <a:xfrm flipH="1">
            <a:off x="6564369" y="3761967"/>
            <a:ext cx="703259" cy="107862"/>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281" name="Straight Connector 280"/>
          <p:cNvCxnSpPr>
            <a:cxnSpLocks/>
            <a:stCxn id="155" idx="2"/>
            <a:endCxn id="153" idx="0"/>
          </p:cNvCxnSpPr>
          <p:nvPr/>
        </p:nvCxnSpPr>
        <p:spPr bwMode="auto">
          <a:xfrm>
            <a:off x="10373987" y="3030326"/>
            <a:ext cx="496719" cy="2070530"/>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282" name="Freeform 6"/>
          <p:cNvSpPr>
            <a:spLocks/>
          </p:cNvSpPr>
          <p:nvPr/>
        </p:nvSpPr>
        <p:spPr bwMode="auto">
          <a:xfrm rot="15918123">
            <a:off x="10698717" y="5958619"/>
            <a:ext cx="374431" cy="1288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283" name="Straight Connector 282"/>
          <p:cNvCxnSpPr>
            <a:cxnSpLocks/>
            <a:stCxn id="154" idx="2"/>
            <a:endCxn id="153" idx="0"/>
          </p:cNvCxnSpPr>
          <p:nvPr/>
        </p:nvCxnSpPr>
        <p:spPr bwMode="auto">
          <a:xfrm flipH="1">
            <a:off x="10870706" y="4630355"/>
            <a:ext cx="611891" cy="470501"/>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6" name="Straight Connector 305"/>
          <p:cNvCxnSpPr>
            <a:cxnSpLocks/>
            <a:stCxn id="156" idx="2"/>
            <a:endCxn id="154" idx="0"/>
          </p:cNvCxnSpPr>
          <p:nvPr/>
        </p:nvCxnSpPr>
        <p:spPr bwMode="auto">
          <a:xfrm>
            <a:off x="11481578" y="3377796"/>
            <a:ext cx="1019" cy="473394"/>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8" name="Straight Connector 307"/>
          <p:cNvCxnSpPr>
            <a:cxnSpLocks/>
            <a:stCxn id="155" idx="3"/>
            <a:endCxn id="156" idx="1"/>
          </p:cNvCxnSpPr>
          <p:nvPr/>
        </p:nvCxnSpPr>
        <p:spPr bwMode="auto">
          <a:xfrm>
            <a:off x="10614230" y="2640744"/>
            <a:ext cx="627105" cy="347470"/>
          </a:xfrm>
          <a:prstGeom prst="line">
            <a:avLst/>
          </a:prstGeom>
          <a:solidFill>
            <a:schemeClr val="accent1"/>
          </a:solidFill>
          <a:ln w="19050" cap="flat" cmpd="sng" algn="ctr">
            <a:solidFill>
              <a:schemeClr val="tx1"/>
            </a:solidFill>
            <a:prstDash val="sysDash"/>
            <a:round/>
            <a:headEnd type="none" w="med" len="med"/>
            <a:tailEnd type="none" w="med" len="med"/>
          </a:ln>
          <a:effectLst/>
        </p:spPr>
      </p:cxnSp>
      <p:grpSp>
        <p:nvGrpSpPr>
          <p:cNvPr id="316" name="Group 315"/>
          <p:cNvGrpSpPr/>
          <p:nvPr/>
        </p:nvGrpSpPr>
        <p:grpSpPr>
          <a:xfrm>
            <a:off x="8416835" y="1065951"/>
            <a:ext cx="1375355" cy="862393"/>
            <a:chOff x="9038846" y="4514377"/>
            <a:chExt cx="2250397" cy="1719278"/>
          </a:xfrm>
        </p:grpSpPr>
        <p:sp>
          <p:nvSpPr>
            <p:cNvPr id="317"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Text Box 35"/>
            <p:cNvSpPr txBox="1">
              <a:spLocks noChangeAspect="1" noChangeArrowheads="1"/>
            </p:cNvSpPr>
            <p:nvPr/>
          </p:nvSpPr>
          <p:spPr bwMode="auto">
            <a:xfrm>
              <a:off x="9409282" y="5035527"/>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IP services </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network </a:t>
              </a:r>
            </a:p>
          </p:txBody>
        </p:sp>
      </p:grpSp>
      <p:cxnSp>
        <p:nvCxnSpPr>
          <p:cNvPr id="319" name="Straight Connector 318"/>
          <p:cNvCxnSpPr>
            <a:cxnSpLocks/>
          </p:cNvCxnSpPr>
          <p:nvPr/>
        </p:nvCxnSpPr>
        <p:spPr bwMode="auto">
          <a:xfrm flipV="1">
            <a:off x="7763320" y="3030326"/>
            <a:ext cx="2625873" cy="731641"/>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322" name="Straight Connector 321"/>
          <p:cNvCxnSpPr>
            <a:cxnSpLocks/>
            <a:stCxn id="152" idx="3"/>
          </p:cNvCxnSpPr>
          <p:nvPr/>
        </p:nvCxnSpPr>
        <p:spPr bwMode="auto">
          <a:xfrm flipV="1">
            <a:off x="7748114" y="3279625"/>
            <a:ext cx="3486652" cy="482342"/>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24" name="Straight Connector 323"/>
          <p:cNvCxnSpPr>
            <a:cxnSpLocks/>
          </p:cNvCxnSpPr>
          <p:nvPr/>
        </p:nvCxnSpPr>
        <p:spPr bwMode="auto">
          <a:xfrm>
            <a:off x="6804612" y="4497475"/>
            <a:ext cx="4435709" cy="13456"/>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121" name="Straight Connector 120"/>
          <p:cNvCxnSpPr>
            <a:cxnSpLocks/>
          </p:cNvCxnSpPr>
          <p:nvPr/>
        </p:nvCxnSpPr>
        <p:spPr bwMode="auto">
          <a:xfrm flipV="1">
            <a:off x="7538283" y="1714151"/>
            <a:ext cx="954105" cy="534354"/>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101" name="TextBox 100">
            <a:extLst>
              <a:ext uri="{FF2B5EF4-FFF2-40B4-BE49-F238E27FC236}">
                <a16:creationId xmlns:a16="http://schemas.microsoft.com/office/drawing/2014/main" id="{9E9EA7EE-1990-4E5B-AAAF-FF0A4174DC72}"/>
              </a:ext>
            </a:extLst>
          </p:cNvPr>
          <p:cNvSpPr txBox="1"/>
          <p:nvPr/>
        </p:nvSpPr>
        <p:spPr>
          <a:xfrm>
            <a:off x="8722856" y="3084726"/>
            <a:ext cx="593432" cy="307777"/>
          </a:xfrm>
          <a:prstGeom prst="rect">
            <a:avLst/>
          </a:prstGeom>
          <a:noFill/>
        </p:spPr>
        <p:txBody>
          <a:bodyPr wrap="none" rtlCol="0">
            <a:spAutoFit/>
          </a:bodyPr>
          <a:lstStyle/>
          <a:p>
            <a:r>
              <a:rPr lang="en-US" sz="1400"/>
              <a:t>S5-U</a:t>
            </a:r>
          </a:p>
        </p:txBody>
      </p:sp>
      <p:sp>
        <p:nvSpPr>
          <p:cNvPr id="102" name="TextBox 101">
            <a:extLst>
              <a:ext uri="{FF2B5EF4-FFF2-40B4-BE49-F238E27FC236}">
                <a16:creationId xmlns:a16="http://schemas.microsoft.com/office/drawing/2014/main" id="{938957D5-6248-4813-9663-588821936723}"/>
              </a:ext>
            </a:extLst>
          </p:cNvPr>
          <p:cNvSpPr txBox="1"/>
          <p:nvPr/>
        </p:nvSpPr>
        <p:spPr>
          <a:xfrm>
            <a:off x="8789516" y="3585703"/>
            <a:ext cx="593432" cy="307777"/>
          </a:xfrm>
          <a:prstGeom prst="rect">
            <a:avLst/>
          </a:prstGeom>
          <a:noFill/>
        </p:spPr>
        <p:txBody>
          <a:bodyPr wrap="none" rtlCol="0">
            <a:spAutoFit/>
          </a:bodyPr>
          <a:lstStyle/>
          <a:p>
            <a:r>
              <a:rPr lang="en-US" sz="1400"/>
              <a:t>S5-C</a:t>
            </a:r>
          </a:p>
        </p:txBody>
      </p:sp>
      <p:sp>
        <p:nvSpPr>
          <p:cNvPr id="103" name="TextBox 102">
            <a:extLst>
              <a:ext uri="{FF2B5EF4-FFF2-40B4-BE49-F238E27FC236}">
                <a16:creationId xmlns:a16="http://schemas.microsoft.com/office/drawing/2014/main" id="{CFD6ABBE-A327-4D7D-8C47-7327D9217954}"/>
              </a:ext>
            </a:extLst>
          </p:cNvPr>
          <p:cNvSpPr txBox="1"/>
          <p:nvPr/>
        </p:nvSpPr>
        <p:spPr>
          <a:xfrm>
            <a:off x="8654539" y="4571332"/>
            <a:ext cx="511679" cy="307777"/>
          </a:xfrm>
          <a:prstGeom prst="rect">
            <a:avLst/>
          </a:prstGeom>
          <a:noFill/>
        </p:spPr>
        <p:txBody>
          <a:bodyPr wrap="none" rtlCol="0">
            <a:spAutoFit/>
          </a:bodyPr>
          <a:lstStyle/>
          <a:p>
            <a:r>
              <a:rPr lang="en-US" sz="1400"/>
              <a:t>N26</a:t>
            </a:r>
          </a:p>
        </p:txBody>
      </p:sp>
      <p:sp>
        <p:nvSpPr>
          <p:cNvPr id="142" name="Rectangle 141">
            <a:extLst>
              <a:ext uri="{FF2B5EF4-FFF2-40B4-BE49-F238E27FC236}">
                <a16:creationId xmlns:a16="http://schemas.microsoft.com/office/drawing/2014/main" id="{4C2BFF0C-2FB8-4F71-A79B-ABFA8DC652BB}"/>
              </a:ext>
            </a:extLst>
          </p:cNvPr>
          <p:cNvSpPr/>
          <p:nvPr/>
        </p:nvSpPr>
        <p:spPr bwMode="auto">
          <a:xfrm>
            <a:off x="9634041" y="1990376"/>
            <a:ext cx="2313738"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50" name="TextBox 149">
            <a:extLst>
              <a:ext uri="{FF2B5EF4-FFF2-40B4-BE49-F238E27FC236}">
                <a16:creationId xmlns:a16="http://schemas.microsoft.com/office/drawing/2014/main" id="{CB5CBBAC-611B-44BD-A53A-F41A29B75F2C}"/>
              </a:ext>
            </a:extLst>
          </p:cNvPr>
          <p:cNvSpPr txBox="1"/>
          <p:nvPr/>
        </p:nvSpPr>
        <p:spPr bwMode="auto">
          <a:xfrm>
            <a:off x="7257083" y="5126310"/>
            <a:ext cx="480486" cy="673750"/>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2">
                    <a:lumMod val="75000"/>
                  </a:schemeClr>
                </a:solidFill>
                <a:latin typeface="Ericsson Technical Icons" panose="00000500000000000000" pitchFamily="2" charset="0"/>
              </a:rPr>
              <a:t>B</a:t>
            </a:r>
            <a:endParaRPr lang="en-US" sz="1800">
              <a:solidFill>
                <a:schemeClr val="accent2">
                  <a:lumMod val="75000"/>
                </a:schemeClr>
              </a:solidFill>
            </a:endParaRPr>
          </a:p>
          <a:p>
            <a:pPr lvl="0" algn="ctr">
              <a:spcBef>
                <a:spcPts val="0"/>
              </a:spcBef>
              <a:buClr>
                <a:srgbClr val="181818"/>
              </a:buClr>
            </a:pPr>
            <a:br>
              <a:rPr lang="en-US" sz="800">
                <a:solidFill>
                  <a:schemeClr val="accent2">
                    <a:lumMod val="75000"/>
                  </a:schemeClr>
                </a:solidFill>
              </a:rPr>
            </a:br>
            <a:r>
              <a:rPr lang="en-US" sz="800">
                <a:solidFill>
                  <a:schemeClr val="accent2">
                    <a:lumMod val="75000"/>
                  </a:schemeClr>
                </a:solidFill>
              </a:rPr>
              <a:t>E-UTRAN</a:t>
            </a:r>
            <a:endParaRPr lang="en-US" sz="900">
              <a:solidFill>
                <a:schemeClr val="accent2">
                  <a:lumMod val="75000"/>
                </a:schemeClr>
              </a:solidFill>
            </a:endParaRPr>
          </a:p>
        </p:txBody>
      </p:sp>
      <p:sp>
        <p:nvSpPr>
          <p:cNvPr id="151" name="TextBox 150">
            <a:extLst>
              <a:ext uri="{FF2B5EF4-FFF2-40B4-BE49-F238E27FC236}">
                <a16:creationId xmlns:a16="http://schemas.microsoft.com/office/drawing/2014/main" id="{389A6B95-9C71-43C8-BE48-A2C4343B1F1E}"/>
              </a:ext>
            </a:extLst>
          </p:cNvPr>
          <p:cNvSpPr txBox="1"/>
          <p:nvPr/>
        </p:nvSpPr>
        <p:spPr bwMode="auto">
          <a:xfrm>
            <a:off x="9505600" y="730117"/>
            <a:ext cx="480486" cy="736996"/>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100">
                <a:solidFill>
                  <a:schemeClr val="accent2">
                    <a:lumMod val="75000"/>
                  </a:schemeClr>
                </a:solidFill>
              </a:rPr>
            </a:br>
            <a:r>
              <a:rPr lang="en-US" sz="1100">
                <a:solidFill>
                  <a:schemeClr val="accent2">
                    <a:lumMod val="75000"/>
                  </a:schemeClr>
                </a:solidFill>
              </a:rPr>
              <a:t>IMS</a:t>
            </a:r>
            <a:endParaRPr lang="en-US" sz="1050">
              <a:solidFill>
                <a:schemeClr val="accent2">
                  <a:lumMod val="75000"/>
                </a:schemeClr>
              </a:solidFill>
            </a:endParaRPr>
          </a:p>
        </p:txBody>
      </p:sp>
      <p:sp>
        <p:nvSpPr>
          <p:cNvPr id="152" name="TextBox 151">
            <a:extLst>
              <a:ext uri="{FF2B5EF4-FFF2-40B4-BE49-F238E27FC236}">
                <a16:creationId xmlns:a16="http://schemas.microsoft.com/office/drawing/2014/main" id="{DE595FF2-2E65-49EB-B1AC-D6ECFE87F434}"/>
              </a:ext>
            </a:extLst>
          </p:cNvPr>
          <p:cNvSpPr txBox="1"/>
          <p:nvPr/>
        </p:nvSpPr>
        <p:spPr bwMode="auto">
          <a:xfrm>
            <a:off x="7267628" y="3372384"/>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SGW</a:t>
            </a:r>
            <a:br>
              <a:rPr lang="en-US" sz="1050">
                <a:solidFill>
                  <a:schemeClr val="accent2">
                    <a:lumMod val="75000"/>
                  </a:schemeClr>
                </a:solidFill>
              </a:rPr>
            </a:br>
            <a:endParaRPr lang="en-US" sz="1050">
              <a:solidFill>
                <a:schemeClr val="accent2">
                  <a:lumMod val="75000"/>
                </a:schemeClr>
              </a:solidFill>
            </a:endParaRPr>
          </a:p>
        </p:txBody>
      </p:sp>
      <p:sp>
        <p:nvSpPr>
          <p:cNvPr id="153" name="TextBox 152">
            <a:extLst>
              <a:ext uri="{FF2B5EF4-FFF2-40B4-BE49-F238E27FC236}">
                <a16:creationId xmlns:a16="http://schemas.microsoft.com/office/drawing/2014/main" id="{99812DC5-EA53-45B8-90FC-44CADA2AB0ED}"/>
              </a:ext>
            </a:extLst>
          </p:cNvPr>
          <p:cNvSpPr txBox="1"/>
          <p:nvPr/>
        </p:nvSpPr>
        <p:spPr bwMode="auto">
          <a:xfrm>
            <a:off x="10630463" y="5100856"/>
            <a:ext cx="480486" cy="699204"/>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1"/>
                </a:solidFill>
                <a:latin typeface="Ericsson Technical Icons" panose="00000500000000000000" pitchFamily="2" charset="0"/>
              </a:rPr>
              <a:t>B</a:t>
            </a:r>
            <a:endParaRPr lang="en-US" sz="1800">
              <a:solidFill>
                <a:schemeClr val="accent1"/>
              </a:solidFill>
            </a:endParaRPr>
          </a:p>
          <a:p>
            <a:pPr algn="ctr">
              <a:buClr>
                <a:schemeClr val="tx1"/>
              </a:buClr>
            </a:pPr>
            <a:r>
              <a:rPr lang="en-US" sz="1050">
                <a:solidFill>
                  <a:schemeClr val="accent1"/>
                </a:solidFill>
              </a:rPr>
              <a:t>NG-</a:t>
            </a:r>
            <a:br>
              <a:rPr lang="en-US" sz="1050">
                <a:solidFill>
                  <a:schemeClr val="accent1"/>
                </a:solidFill>
              </a:rPr>
            </a:br>
            <a:r>
              <a:rPr lang="en-US" sz="1050">
                <a:solidFill>
                  <a:schemeClr val="accent1"/>
                </a:solidFill>
              </a:rPr>
              <a:t>RAN</a:t>
            </a:r>
          </a:p>
        </p:txBody>
      </p:sp>
      <p:sp>
        <p:nvSpPr>
          <p:cNvPr id="154" name="TextBox 153">
            <a:extLst>
              <a:ext uri="{FF2B5EF4-FFF2-40B4-BE49-F238E27FC236}">
                <a16:creationId xmlns:a16="http://schemas.microsoft.com/office/drawing/2014/main" id="{F27F9012-F078-4286-A073-68BD0B5D04D2}"/>
              </a:ext>
            </a:extLst>
          </p:cNvPr>
          <p:cNvSpPr txBox="1"/>
          <p:nvPr/>
        </p:nvSpPr>
        <p:spPr bwMode="auto">
          <a:xfrm>
            <a:off x="11242354" y="3851190"/>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AMF</a:t>
            </a:r>
            <a:br>
              <a:rPr lang="en-US" sz="1050">
                <a:solidFill>
                  <a:schemeClr val="accent1"/>
                </a:solidFill>
              </a:rPr>
            </a:br>
            <a:endParaRPr lang="en-US" sz="1050">
              <a:solidFill>
                <a:schemeClr val="accent1"/>
              </a:solidFill>
            </a:endParaRPr>
          </a:p>
        </p:txBody>
      </p:sp>
      <p:sp>
        <p:nvSpPr>
          <p:cNvPr id="155" name="TextBox 154">
            <a:extLst>
              <a:ext uri="{FF2B5EF4-FFF2-40B4-BE49-F238E27FC236}">
                <a16:creationId xmlns:a16="http://schemas.microsoft.com/office/drawing/2014/main" id="{EFDCE829-6982-415D-85D2-B38BA75FEC70}"/>
              </a:ext>
            </a:extLst>
          </p:cNvPr>
          <p:cNvSpPr txBox="1"/>
          <p:nvPr/>
        </p:nvSpPr>
        <p:spPr bwMode="auto">
          <a:xfrm>
            <a:off x="10133744" y="225116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g</a:t>
            </a:r>
          </a:p>
          <a:p>
            <a:pPr algn="ctr">
              <a:lnSpc>
                <a:spcPct val="90000"/>
              </a:lnSpc>
              <a:spcBef>
                <a:spcPts val="0"/>
              </a:spcBef>
              <a:buClr>
                <a:schemeClr val="tx1"/>
              </a:buClr>
            </a:pPr>
            <a:endParaRPr lang="en-US" sz="1050">
              <a:solidFill>
                <a:schemeClr val="accent1"/>
              </a:solidFill>
            </a:endParaRPr>
          </a:p>
          <a:p>
            <a:pPr algn="ctr">
              <a:lnSpc>
                <a:spcPct val="90000"/>
              </a:lnSpc>
              <a:spcBef>
                <a:spcPts val="0"/>
              </a:spcBef>
              <a:buClr>
                <a:schemeClr val="tx1"/>
              </a:buClr>
            </a:pPr>
            <a:r>
              <a:rPr lang="en-US" sz="1200">
                <a:solidFill>
                  <a:schemeClr val="accent1"/>
                </a:solidFill>
              </a:rPr>
              <a:t>UPF*</a:t>
            </a:r>
            <a:endParaRPr lang="en-US" sz="1000">
              <a:solidFill>
                <a:schemeClr val="accent1"/>
              </a:solidFill>
            </a:endParaRPr>
          </a:p>
        </p:txBody>
      </p:sp>
      <p:sp>
        <p:nvSpPr>
          <p:cNvPr id="156" name="TextBox 155">
            <a:extLst>
              <a:ext uri="{FF2B5EF4-FFF2-40B4-BE49-F238E27FC236}">
                <a16:creationId xmlns:a16="http://schemas.microsoft.com/office/drawing/2014/main" id="{E820A85B-CB1C-46A6-A7FE-68CA04F131A9}"/>
              </a:ext>
            </a:extLst>
          </p:cNvPr>
          <p:cNvSpPr txBox="1"/>
          <p:nvPr/>
        </p:nvSpPr>
        <p:spPr bwMode="auto">
          <a:xfrm>
            <a:off x="11241335" y="259863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SMF*</a:t>
            </a:r>
            <a:br>
              <a:rPr lang="en-US" sz="1050">
                <a:solidFill>
                  <a:schemeClr val="accent1"/>
                </a:solidFill>
              </a:rPr>
            </a:br>
            <a:endParaRPr lang="en-US" sz="1050">
              <a:solidFill>
                <a:schemeClr val="accent1"/>
              </a:solidFill>
            </a:endParaRPr>
          </a:p>
        </p:txBody>
      </p:sp>
      <p:sp>
        <p:nvSpPr>
          <p:cNvPr id="157" name="TextBox 156">
            <a:extLst>
              <a:ext uri="{FF2B5EF4-FFF2-40B4-BE49-F238E27FC236}">
                <a16:creationId xmlns:a16="http://schemas.microsoft.com/office/drawing/2014/main" id="{AF952DDE-8850-4B81-B152-45B1392F0E1C}"/>
              </a:ext>
            </a:extLst>
          </p:cNvPr>
          <p:cNvSpPr txBox="1"/>
          <p:nvPr/>
        </p:nvSpPr>
        <p:spPr bwMode="auto">
          <a:xfrm>
            <a:off x="6324126" y="3869829"/>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6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endParaRPr lang="en-US" sz="1000">
              <a:solidFill>
                <a:schemeClr val="accent2">
                  <a:lumMod val="75000"/>
                </a:schemeClr>
              </a:solidFill>
            </a:endParaRPr>
          </a:p>
          <a:p>
            <a:pPr algn="ctr">
              <a:lnSpc>
                <a:spcPct val="90000"/>
              </a:lnSpc>
              <a:spcBef>
                <a:spcPts val="0"/>
              </a:spcBef>
              <a:buClr>
                <a:schemeClr val="tx1"/>
              </a:buClr>
            </a:pPr>
            <a:r>
              <a:rPr lang="en-US" sz="1200">
                <a:solidFill>
                  <a:schemeClr val="accent2">
                    <a:lumMod val="75000"/>
                  </a:schemeClr>
                </a:solidFill>
              </a:rPr>
              <a:t>MME</a:t>
            </a:r>
            <a:endParaRPr lang="en-US" sz="1050">
              <a:solidFill>
                <a:schemeClr val="accent2">
                  <a:lumMod val="75000"/>
                </a:schemeClr>
              </a:solidFill>
            </a:endParaRPr>
          </a:p>
        </p:txBody>
      </p:sp>
      <p:sp>
        <p:nvSpPr>
          <p:cNvPr id="105" name="TextBox 104">
            <a:extLst>
              <a:ext uri="{FF2B5EF4-FFF2-40B4-BE49-F238E27FC236}">
                <a16:creationId xmlns:a16="http://schemas.microsoft.com/office/drawing/2014/main" id="{6CE95ABB-6E00-42C7-A659-B306261CA2F7}"/>
              </a:ext>
            </a:extLst>
          </p:cNvPr>
          <p:cNvSpPr txBox="1"/>
          <p:nvPr/>
        </p:nvSpPr>
        <p:spPr bwMode="auto">
          <a:xfrm>
            <a:off x="7262514" y="2248505"/>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PGW</a:t>
            </a:r>
            <a:br>
              <a:rPr lang="en-US" sz="1050">
                <a:solidFill>
                  <a:schemeClr val="accent2">
                    <a:lumMod val="75000"/>
                  </a:schemeClr>
                </a:solidFill>
              </a:rPr>
            </a:br>
            <a:endParaRPr lang="en-US" sz="1050">
              <a:solidFill>
                <a:schemeClr val="accent2">
                  <a:lumMod val="75000"/>
                </a:schemeClr>
              </a:solidFill>
            </a:endParaRPr>
          </a:p>
        </p:txBody>
      </p:sp>
      <p:sp>
        <p:nvSpPr>
          <p:cNvPr id="2" name="Freeform: Shape 1">
            <a:extLst>
              <a:ext uri="{FF2B5EF4-FFF2-40B4-BE49-F238E27FC236}">
                <a16:creationId xmlns:a16="http://schemas.microsoft.com/office/drawing/2014/main" id="{40EC555E-CD61-44B1-8A27-00522575F5A2}"/>
              </a:ext>
            </a:extLst>
          </p:cNvPr>
          <p:cNvSpPr/>
          <p:nvPr/>
        </p:nvSpPr>
        <p:spPr bwMode="auto">
          <a:xfrm>
            <a:off x="9506857" y="1523999"/>
            <a:ext cx="1293450" cy="4644571"/>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016000 w 1292889"/>
              <a:gd name="connsiteY0" fmla="*/ 4644571 h 4644571"/>
              <a:gd name="connsiteX1" fmla="*/ 1291772 w 1292889"/>
              <a:gd name="connsiteY1" fmla="*/ 3643086 h 4644571"/>
              <a:gd name="connsiteX2" fmla="*/ 899886 w 1292889"/>
              <a:gd name="connsiteY2" fmla="*/ 1103086 h 4644571"/>
              <a:gd name="connsiteX3" fmla="*/ 0 w 1292889"/>
              <a:gd name="connsiteY3" fmla="*/ 0 h 4644571"/>
              <a:gd name="connsiteX0" fmla="*/ 1016000 w 1293450"/>
              <a:gd name="connsiteY0" fmla="*/ 4644571 h 4644571"/>
              <a:gd name="connsiteX1" fmla="*/ 1291772 w 1293450"/>
              <a:gd name="connsiteY1" fmla="*/ 3643086 h 4644571"/>
              <a:gd name="connsiteX2" fmla="*/ 899886 w 1293450"/>
              <a:gd name="connsiteY2" fmla="*/ 1103086 h 4644571"/>
              <a:gd name="connsiteX3" fmla="*/ 0 w 1293450"/>
              <a:gd name="connsiteY3" fmla="*/ 0 h 4644571"/>
            </a:gdLst>
            <a:ahLst/>
            <a:cxnLst>
              <a:cxn ang="0">
                <a:pos x="connsiteX0" y="connsiteY0"/>
              </a:cxn>
              <a:cxn ang="0">
                <a:pos x="connsiteX1" y="connsiteY1"/>
              </a:cxn>
              <a:cxn ang="0">
                <a:pos x="connsiteX2" y="connsiteY2"/>
              </a:cxn>
              <a:cxn ang="0">
                <a:pos x="connsiteX3" y="connsiteY3"/>
              </a:cxn>
            </a:cxnLst>
            <a:rect l="l" t="t" r="r" b="b"/>
            <a:pathLst>
              <a:path w="1293450" h="4644571">
                <a:moveTo>
                  <a:pt x="1016000" y="4644571"/>
                </a:moveTo>
                <a:cubicBezTo>
                  <a:pt x="1159716" y="4453181"/>
                  <a:pt x="1311124" y="4233333"/>
                  <a:pt x="1291772" y="3643086"/>
                </a:cubicBezTo>
                <a:cubicBezTo>
                  <a:pt x="1260324" y="3077029"/>
                  <a:pt x="1115181" y="1710267"/>
                  <a:pt x="899886" y="1103086"/>
                </a:cubicBezTo>
                <a:cubicBezTo>
                  <a:pt x="684591" y="495905"/>
                  <a:pt x="203200" y="130629"/>
                  <a:pt x="0" y="0"/>
                </a:cubicBezTo>
              </a:path>
            </a:pathLst>
          </a:custGeom>
          <a:noFill/>
          <a:ln w="31750" cap="flat" cmpd="sng" algn="ctr">
            <a:solidFill>
              <a:schemeClr val="accent5"/>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9" name="Freeform: Shape 138">
            <a:extLst>
              <a:ext uri="{FF2B5EF4-FFF2-40B4-BE49-F238E27FC236}">
                <a16:creationId xmlns:a16="http://schemas.microsoft.com/office/drawing/2014/main" id="{EF22031F-5551-4DDE-8827-AC3A7B252902}"/>
              </a:ext>
            </a:extLst>
          </p:cNvPr>
          <p:cNvSpPr/>
          <p:nvPr/>
        </p:nvSpPr>
        <p:spPr bwMode="auto">
          <a:xfrm>
            <a:off x="7514746" y="1628516"/>
            <a:ext cx="2696933" cy="4615479"/>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49542 w 1463158"/>
              <a:gd name="connsiteY0" fmla="*/ 4371856 h 4377243"/>
              <a:gd name="connsiteX1" fmla="*/ 222114 w 1463158"/>
              <a:gd name="connsiteY1" fmla="*/ 4226714 h 4377243"/>
              <a:gd name="connsiteX2" fmla="*/ 425314 w 1463158"/>
              <a:gd name="connsiteY2" fmla="*/ 3370371 h 4377243"/>
              <a:gd name="connsiteX3" fmla="*/ 33428 w 1463158"/>
              <a:gd name="connsiteY3" fmla="*/ 830371 h 4377243"/>
              <a:gd name="connsiteX4" fmla="*/ 1443605 w 1463158"/>
              <a:gd name="connsiteY4" fmla="*/ 0 h 4377243"/>
              <a:gd name="connsiteX0" fmla="*/ 0 w 1859675"/>
              <a:gd name="connsiteY0" fmla="*/ 4371856 h 4377243"/>
              <a:gd name="connsiteX1" fmla="*/ 72572 w 1859675"/>
              <a:gd name="connsiteY1" fmla="*/ 4226714 h 4377243"/>
              <a:gd name="connsiteX2" fmla="*/ 275772 w 1859675"/>
              <a:gd name="connsiteY2" fmla="*/ 3370371 h 4377243"/>
              <a:gd name="connsiteX3" fmla="*/ 1824981 w 1859675"/>
              <a:gd name="connsiteY3" fmla="*/ 1167255 h 4377243"/>
              <a:gd name="connsiteX4" fmla="*/ 1294063 w 1859675"/>
              <a:gd name="connsiteY4" fmla="*/ 0 h 4377243"/>
              <a:gd name="connsiteX0" fmla="*/ 529373 w 2431473"/>
              <a:gd name="connsiteY0" fmla="*/ 4371856 h 4425265"/>
              <a:gd name="connsiteX1" fmla="*/ 601945 w 2431473"/>
              <a:gd name="connsiteY1" fmla="*/ 4226714 h 4425265"/>
              <a:gd name="connsiteX2" fmla="*/ 67208 w 2431473"/>
              <a:gd name="connsiteY2" fmla="*/ 2423887 h 4425265"/>
              <a:gd name="connsiteX3" fmla="*/ 2354354 w 2431473"/>
              <a:gd name="connsiteY3" fmla="*/ 1167255 h 4425265"/>
              <a:gd name="connsiteX4" fmla="*/ 1823436 w 2431473"/>
              <a:gd name="connsiteY4" fmla="*/ 0 h 4425265"/>
              <a:gd name="connsiteX0" fmla="*/ 642089 w 2544189"/>
              <a:gd name="connsiteY0" fmla="*/ 4371856 h 4372278"/>
              <a:gd name="connsiteX1" fmla="*/ 201313 w 2544189"/>
              <a:gd name="connsiteY1" fmla="*/ 3857745 h 4372278"/>
              <a:gd name="connsiteX2" fmla="*/ 179924 w 2544189"/>
              <a:gd name="connsiteY2" fmla="*/ 2423887 h 4372278"/>
              <a:gd name="connsiteX3" fmla="*/ 2467070 w 2544189"/>
              <a:gd name="connsiteY3" fmla="*/ 1167255 h 4372278"/>
              <a:gd name="connsiteX4" fmla="*/ 1936152 w 2544189"/>
              <a:gd name="connsiteY4" fmla="*/ 0 h 4372278"/>
              <a:gd name="connsiteX0" fmla="*/ 2310197 w 2624129"/>
              <a:gd name="connsiteY0" fmla="*/ 4804993 h 4805148"/>
              <a:gd name="connsiteX1" fmla="*/ 281253 w 2624129"/>
              <a:gd name="connsiteY1" fmla="*/ 3857745 h 4805148"/>
              <a:gd name="connsiteX2" fmla="*/ 259864 w 2624129"/>
              <a:gd name="connsiteY2" fmla="*/ 2423887 h 4805148"/>
              <a:gd name="connsiteX3" fmla="*/ 2547010 w 2624129"/>
              <a:gd name="connsiteY3" fmla="*/ 1167255 h 4805148"/>
              <a:gd name="connsiteX4" fmla="*/ 2016092 w 2624129"/>
              <a:gd name="connsiteY4" fmla="*/ 0 h 4805148"/>
              <a:gd name="connsiteX0" fmla="*/ 2248392 w 2555472"/>
              <a:gd name="connsiteY0" fmla="*/ 4804993 h 4805168"/>
              <a:gd name="connsiteX1" fmla="*/ 219448 w 2555472"/>
              <a:gd name="connsiteY1" fmla="*/ 3857745 h 4805168"/>
              <a:gd name="connsiteX2" fmla="*/ 310354 w 2555472"/>
              <a:gd name="connsiteY2" fmla="*/ 2038876 h 4805168"/>
              <a:gd name="connsiteX3" fmla="*/ 2485205 w 2555472"/>
              <a:gd name="connsiteY3" fmla="*/ 1167255 h 4805168"/>
              <a:gd name="connsiteX4" fmla="*/ 1954287 w 2555472"/>
              <a:gd name="connsiteY4" fmla="*/ 0 h 4805168"/>
              <a:gd name="connsiteX0" fmla="*/ 2285046 w 2592126"/>
              <a:gd name="connsiteY0" fmla="*/ 4804993 h 4805174"/>
              <a:gd name="connsiteX1" fmla="*/ 256102 w 2592126"/>
              <a:gd name="connsiteY1" fmla="*/ 3857745 h 4805174"/>
              <a:gd name="connsiteX2" fmla="*/ 277997 w 2592126"/>
              <a:gd name="connsiteY2" fmla="*/ 1943986 h 4805174"/>
              <a:gd name="connsiteX3" fmla="*/ 2521859 w 2592126"/>
              <a:gd name="connsiteY3" fmla="*/ 1167255 h 4805174"/>
              <a:gd name="connsiteX4" fmla="*/ 1990941 w 2592126"/>
              <a:gd name="connsiteY4" fmla="*/ 0 h 4805174"/>
              <a:gd name="connsiteX0" fmla="*/ 2291551 w 2694261"/>
              <a:gd name="connsiteY0" fmla="*/ 4804993 h 4805174"/>
              <a:gd name="connsiteX1" fmla="*/ 262607 w 2694261"/>
              <a:gd name="connsiteY1" fmla="*/ 3857745 h 4805174"/>
              <a:gd name="connsiteX2" fmla="*/ 284502 w 2694261"/>
              <a:gd name="connsiteY2" fmla="*/ 1943986 h 4805174"/>
              <a:gd name="connsiteX3" fmla="*/ 2631881 w 2694261"/>
              <a:gd name="connsiteY3" fmla="*/ 1150002 h 4805174"/>
              <a:gd name="connsiteX4" fmla="*/ 1997446 w 2694261"/>
              <a:gd name="connsiteY4" fmla="*/ 0 h 4805174"/>
              <a:gd name="connsiteX0" fmla="*/ 2337355 w 2696933"/>
              <a:gd name="connsiteY0" fmla="*/ 4615212 h 4615479"/>
              <a:gd name="connsiteX1" fmla="*/ 265279 w 2696933"/>
              <a:gd name="connsiteY1" fmla="*/ 3857745 h 4615479"/>
              <a:gd name="connsiteX2" fmla="*/ 287174 w 2696933"/>
              <a:gd name="connsiteY2" fmla="*/ 1943986 h 4615479"/>
              <a:gd name="connsiteX3" fmla="*/ 2634553 w 2696933"/>
              <a:gd name="connsiteY3" fmla="*/ 1150002 h 4615479"/>
              <a:gd name="connsiteX4" fmla="*/ 2000118 w 2696933"/>
              <a:gd name="connsiteY4" fmla="*/ 0 h 4615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933" h="4615479">
                <a:moveTo>
                  <a:pt x="2337355" y="4615212"/>
                </a:moveTo>
                <a:cubicBezTo>
                  <a:pt x="2350660" y="4626098"/>
                  <a:pt x="606976" y="4302949"/>
                  <a:pt x="265279" y="3857745"/>
                </a:cubicBezTo>
                <a:cubicBezTo>
                  <a:pt x="-76418" y="3412541"/>
                  <a:pt x="-107705" y="2395276"/>
                  <a:pt x="287174" y="1943986"/>
                </a:cubicBezTo>
                <a:cubicBezTo>
                  <a:pt x="682053" y="1492696"/>
                  <a:pt x="2360564" y="1489815"/>
                  <a:pt x="2634553" y="1150002"/>
                </a:cubicBezTo>
                <a:cubicBezTo>
                  <a:pt x="2908542" y="810189"/>
                  <a:pt x="2203318" y="130629"/>
                  <a:pt x="2000118" y="0"/>
                </a:cubicBezTo>
              </a:path>
            </a:pathLst>
          </a:custGeom>
          <a:noFill/>
          <a:ln w="31750"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131" name="Group 130">
            <a:extLst>
              <a:ext uri="{FF2B5EF4-FFF2-40B4-BE49-F238E27FC236}">
                <a16:creationId xmlns:a16="http://schemas.microsoft.com/office/drawing/2014/main" id="{04CB76AD-3EF7-45D8-B270-4C71F71132DE}"/>
              </a:ext>
            </a:extLst>
          </p:cNvPr>
          <p:cNvGrpSpPr/>
          <p:nvPr/>
        </p:nvGrpSpPr>
        <p:grpSpPr>
          <a:xfrm>
            <a:off x="1808212" y="5791559"/>
            <a:ext cx="3082969" cy="493973"/>
            <a:chOff x="6947998" y="6108834"/>
            <a:chExt cx="3082969" cy="493973"/>
          </a:xfrm>
        </p:grpSpPr>
        <p:cxnSp>
          <p:nvCxnSpPr>
            <p:cNvPr id="133" name="Straight Connector 132">
              <a:extLst>
                <a:ext uri="{FF2B5EF4-FFF2-40B4-BE49-F238E27FC236}">
                  <a16:creationId xmlns:a16="http://schemas.microsoft.com/office/drawing/2014/main" id="{490E6D15-9CA4-4F80-8C4F-4E33A3A6D8F0}"/>
                </a:ext>
              </a:extLst>
            </p:cNvPr>
            <p:cNvCxnSpPr>
              <a:cxnSpLocks/>
            </p:cNvCxnSpPr>
            <p:nvPr/>
          </p:nvCxnSpPr>
          <p:spPr bwMode="auto">
            <a:xfrm>
              <a:off x="6947998" y="6429554"/>
              <a:ext cx="432553" cy="0"/>
            </a:xfrm>
            <a:prstGeom prst="line">
              <a:avLst/>
            </a:prstGeom>
            <a:noFill/>
            <a:ln w="31750" cap="flat" cmpd="sng" algn="ctr">
              <a:solidFill>
                <a:schemeClr val="accent2"/>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D400F1D1-2818-4C41-AD40-95B0A1A0F706}"/>
                </a:ext>
              </a:extLst>
            </p:cNvPr>
            <p:cNvSpPr txBox="1"/>
            <p:nvPr/>
          </p:nvSpPr>
          <p:spPr bwMode="auto">
            <a:xfrm>
              <a:off x="7480942" y="6108834"/>
              <a:ext cx="2550025" cy="49397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100"/>
                <a:t> </a:t>
              </a:r>
            </a:p>
            <a:p>
              <a:pPr>
                <a:lnSpc>
                  <a:spcPct val="150000"/>
                </a:lnSpc>
                <a:buClr>
                  <a:schemeClr val="tx1"/>
                </a:buClr>
              </a:pPr>
              <a:r>
                <a:rPr lang="en-US" sz="1100"/>
                <a:t>Voice and internet user plane path for 5GC capable devices over 4G</a:t>
              </a:r>
            </a:p>
            <a:p>
              <a:pPr>
                <a:buClr>
                  <a:schemeClr val="tx1"/>
                </a:buClr>
              </a:pPr>
              <a:r>
                <a:rPr lang="en-US" sz="1100"/>
                <a:t>Voice and internet user plane path for 5GC capable devices over 5G</a:t>
              </a:r>
            </a:p>
            <a:p>
              <a:pPr algn="l">
                <a:buClr>
                  <a:schemeClr val="tx1"/>
                </a:buClr>
              </a:pPr>
              <a:endParaRPr lang="en-US" sz="1100"/>
            </a:p>
          </p:txBody>
        </p:sp>
      </p:grpSp>
      <p:cxnSp>
        <p:nvCxnSpPr>
          <p:cNvPr id="63" name="Straight Connector 62">
            <a:extLst>
              <a:ext uri="{FF2B5EF4-FFF2-40B4-BE49-F238E27FC236}">
                <a16:creationId xmlns:a16="http://schemas.microsoft.com/office/drawing/2014/main" id="{277E4F94-EF0C-4EFB-8831-7EF6BF50B4D0}"/>
              </a:ext>
            </a:extLst>
          </p:cNvPr>
          <p:cNvCxnSpPr>
            <a:cxnSpLocks/>
          </p:cNvCxnSpPr>
          <p:nvPr/>
        </p:nvCxnSpPr>
        <p:spPr bwMode="auto">
          <a:xfrm>
            <a:off x="1808211" y="6300536"/>
            <a:ext cx="432553" cy="0"/>
          </a:xfrm>
          <a:prstGeom prst="line">
            <a:avLst/>
          </a:prstGeom>
          <a:noFill/>
          <a:ln w="31750" cap="flat" cmpd="sng" algn="ctr">
            <a:solidFill>
              <a:schemeClr val="accent5"/>
            </a:solidFill>
            <a:prstDash val="solid"/>
            <a:round/>
            <a:headEnd type="none" w="med" len="med"/>
            <a:tailEnd type="none" w="med" len="med"/>
          </a:ln>
          <a:effectLst/>
        </p:spPr>
      </p:cxnSp>
      <p:grpSp>
        <p:nvGrpSpPr>
          <p:cNvPr id="71" name="Group 70">
            <a:extLst>
              <a:ext uri="{FF2B5EF4-FFF2-40B4-BE49-F238E27FC236}">
                <a16:creationId xmlns:a16="http://schemas.microsoft.com/office/drawing/2014/main" id="{926BB48B-C098-447F-9661-6099CDB31FD5}"/>
              </a:ext>
            </a:extLst>
          </p:cNvPr>
          <p:cNvGrpSpPr/>
          <p:nvPr/>
        </p:nvGrpSpPr>
        <p:grpSpPr>
          <a:xfrm>
            <a:off x="10122280" y="6196420"/>
            <a:ext cx="402301" cy="374568"/>
            <a:chOff x="10123360" y="6217232"/>
            <a:chExt cx="402301" cy="374568"/>
          </a:xfrm>
        </p:grpSpPr>
        <p:sp>
          <p:nvSpPr>
            <p:cNvPr id="72" name="Rectangle: Rounded Corners 71">
              <a:extLst>
                <a:ext uri="{FF2B5EF4-FFF2-40B4-BE49-F238E27FC236}">
                  <a16:creationId xmlns:a16="http://schemas.microsoft.com/office/drawing/2014/main" id="{9EAB59DB-51D8-471C-B23C-4DA8C94B50BB}"/>
                </a:ext>
              </a:extLst>
            </p:cNvPr>
            <p:cNvSpPr/>
            <p:nvPr/>
          </p:nvSpPr>
          <p:spPr bwMode="auto">
            <a:xfrm>
              <a:off x="10124229" y="6234690"/>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grpSp>
          <p:nvGrpSpPr>
            <p:cNvPr id="73" name="Group 72">
              <a:extLst>
                <a:ext uri="{FF2B5EF4-FFF2-40B4-BE49-F238E27FC236}">
                  <a16:creationId xmlns:a16="http://schemas.microsoft.com/office/drawing/2014/main" id="{6AFAF050-DE16-4ED1-9F1C-091ADB04794B}"/>
                </a:ext>
              </a:extLst>
            </p:cNvPr>
            <p:cNvGrpSpPr/>
            <p:nvPr/>
          </p:nvGrpSpPr>
          <p:grpSpPr>
            <a:xfrm>
              <a:off x="10123360" y="6217232"/>
              <a:ext cx="402301" cy="374568"/>
              <a:chOff x="6372345" y="1298307"/>
              <a:chExt cx="402301" cy="374568"/>
            </a:xfrm>
          </p:grpSpPr>
          <p:pic>
            <p:nvPicPr>
              <p:cNvPr id="74" name="Graphic 73">
                <a:extLst>
                  <a:ext uri="{FF2B5EF4-FFF2-40B4-BE49-F238E27FC236}">
                    <a16:creationId xmlns:a16="http://schemas.microsoft.com/office/drawing/2014/main" id="{F985A04A-518A-46AB-B663-65F997654D3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2345" y="1298307"/>
                <a:ext cx="258323" cy="361653"/>
              </a:xfrm>
              <a:prstGeom prst="rect">
                <a:avLst/>
              </a:prstGeom>
            </p:spPr>
          </p:pic>
          <p:sp>
            <p:nvSpPr>
              <p:cNvPr id="75" name="TextBox 74">
                <a:extLst>
                  <a:ext uri="{FF2B5EF4-FFF2-40B4-BE49-F238E27FC236}">
                    <a16:creationId xmlns:a16="http://schemas.microsoft.com/office/drawing/2014/main" id="{467E5FC9-3CA9-49D4-870E-E51B9088B085}"/>
                  </a:ext>
                </a:extLst>
              </p:cNvPr>
              <p:cNvSpPr txBox="1"/>
              <p:nvPr/>
            </p:nvSpPr>
            <p:spPr bwMode="auto">
              <a:xfrm>
                <a:off x="6380910" y="1315765"/>
                <a:ext cx="393736" cy="35711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400">
                    <a:latin typeface="+mn-lt"/>
                  </a:rPr>
                  <a:t>2</a:t>
                </a:r>
              </a:p>
            </p:txBody>
          </p:sp>
        </p:grpSp>
      </p:grpSp>
      <p:sp>
        <p:nvSpPr>
          <p:cNvPr id="56" name="TextBox 55">
            <a:extLst>
              <a:ext uri="{FF2B5EF4-FFF2-40B4-BE49-F238E27FC236}">
                <a16:creationId xmlns:a16="http://schemas.microsoft.com/office/drawing/2014/main" id="{A2BFFACA-124C-420C-AAE4-48CC6FA5D8C6}"/>
              </a:ext>
            </a:extLst>
          </p:cNvPr>
          <p:cNvSpPr txBox="1"/>
          <p:nvPr/>
        </p:nvSpPr>
        <p:spPr bwMode="auto">
          <a:xfrm>
            <a:off x="9872338" y="5289079"/>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2</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57" name="TextBox 56">
            <a:extLst>
              <a:ext uri="{FF2B5EF4-FFF2-40B4-BE49-F238E27FC236}">
                <a16:creationId xmlns:a16="http://schemas.microsoft.com/office/drawing/2014/main" id="{D2193C19-9EB3-4D04-BFA9-9B812499CBEB}"/>
              </a:ext>
            </a:extLst>
          </p:cNvPr>
          <p:cNvSpPr txBox="1"/>
          <p:nvPr/>
        </p:nvSpPr>
        <p:spPr bwMode="auto">
          <a:xfrm>
            <a:off x="7861478" y="5282917"/>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1</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58" name="TextBox 57">
            <a:extLst>
              <a:ext uri="{FF2B5EF4-FFF2-40B4-BE49-F238E27FC236}">
                <a16:creationId xmlns:a16="http://schemas.microsoft.com/office/drawing/2014/main" id="{CCA96F39-1613-44BD-BCA9-E69A7EBA0941}"/>
              </a:ext>
            </a:extLst>
          </p:cNvPr>
          <p:cNvSpPr txBox="1"/>
          <p:nvPr/>
        </p:nvSpPr>
        <p:spPr>
          <a:xfrm>
            <a:off x="6051279" y="1675202"/>
            <a:ext cx="1181734" cy="307777"/>
          </a:xfrm>
          <a:prstGeom prst="rect">
            <a:avLst/>
          </a:prstGeom>
          <a:noFill/>
        </p:spPr>
        <p:txBody>
          <a:bodyPr wrap="none" rtlCol="0">
            <a:spAutoFit/>
          </a:bodyPr>
          <a:lstStyle/>
          <a:p>
            <a:r>
              <a:rPr lang="en-US" sz="1400"/>
              <a:t>Legacy EPC</a:t>
            </a:r>
          </a:p>
        </p:txBody>
      </p:sp>
      <p:sp>
        <p:nvSpPr>
          <p:cNvPr id="59" name="TextBox 58">
            <a:extLst>
              <a:ext uri="{FF2B5EF4-FFF2-40B4-BE49-F238E27FC236}">
                <a16:creationId xmlns:a16="http://schemas.microsoft.com/office/drawing/2014/main" id="{2D2DD552-C63F-4EA3-85C5-E402B292BDD4}"/>
              </a:ext>
            </a:extLst>
          </p:cNvPr>
          <p:cNvSpPr txBox="1"/>
          <p:nvPr/>
        </p:nvSpPr>
        <p:spPr>
          <a:xfrm>
            <a:off x="10373987" y="1682765"/>
            <a:ext cx="1718740" cy="307777"/>
          </a:xfrm>
          <a:prstGeom prst="rect">
            <a:avLst/>
          </a:prstGeom>
          <a:noFill/>
        </p:spPr>
        <p:txBody>
          <a:bodyPr wrap="none" rtlCol="0">
            <a:spAutoFit/>
          </a:bodyPr>
          <a:lstStyle/>
          <a:p>
            <a:r>
              <a:rPr lang="en-US" sz="1400"/>
              <a:t>5GC IWK arch only</a:t>
            </a:r>
          </a:p>
        </p:txBody>
      </p:sp>
    </p:spTree>
    <p:extLst>
      <p:ext uri="{BB962C8B-B14F-4D97-AF65-F5344CB8AC3E}">
        <p14:creationId xmlns:p14="http://schemas.microsoft.com/office/powerpoint/2010/main" val="31131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9"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Line 24"/>
          <p:cNvSpPr>
            <a:spLocks noChangeShapeType="1"/>
          </p:cNvSpPr>
          <p:nvPr/>
        </p:nvSpPr>
        <p:spPr bwMode="auto">
          <a:xfrm>
            <a:off x="6584537" y="6465348"/>
            <a:ext cx="5209598" cy="0"/>
          </a:xfrm>
          <a:prstGeom prst="line">
            <a:avLst/>
          </a:prstGeom>
          <a:noFill/>
          <a:ln w="25400">
            <a:solidFill>
              <a:schemeClr val="tx1"/>
            </a:solidFill>
            <a:round/>
            <a:headEnd type="triangle" w="lg" len="lg"/>
            <a:tailEnd type="triangle" w="lg" len="lg"/>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7" name="Rectangle: Rounded Corners 6">
            <a:extLst>
              <a:ext uri="{FF2B5EF4-FFF2-40B4-BE49-F238E27FC236}">
                <a16:creationId xmlns:a16="http://schemas.microsoft.com/office/drawing/2014/main" id="{5A2D524D-BFA5-4EAA-B4E8-3784ACF68C82}"/>
              </a:ext>
            </a:extLst>
          </p:cNvPr>
          <p:cNvSpPr/>
          <p:nvPr/>
        </p:nvSpPr>
        <p:spPr bwMode="auto">
          <a:xfrm>
            <a:off x="10124229" y="6192355"/>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3" name="Rectangle: Rounded Corners 2">
            <a:extLst>
              <a:ext uri="{FF2B5EF4-FFF2-40B4-BE49-F238E27FC236}">
                <a16:creationId xmlns:a16="http://schemas.microsoft.com/office/drawing/2014/main" id="{97767AEE-E285-4E0F-A69D-20D4A6C2ECD7}"/>
              </a:ext>
            </a:extLst>
          </p:cNvPr>
          <p:cNvSpPr/>
          <p:nvPr/>
        </p:nvSpPr>
        <p:spPr bwMode="auto">
          <a:xfrm>
            <a:off x="7050288" y="6020886"/>
            <a:ext cx="258323" cy="354693"/>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9" name="Rectangle 8">
            <a:extLst>
              <a:ext uri="{FF2B5EF4-FFF2-40B4-BE49-F238E27FC236}">
                <a16:creationId xmlns:a16="http://schemas.microsoft.com/office/drawing/2014/main" id="{C3B3B075-7CAE-4E69-B450-FF30659DE90E}"/>
              </a:ext>
            </a:extLst>
          </p:cNvPr>
          <p:cNvSpPr/>
          <p:nvPr/>
        </p:nvSpPr>
        <p:spPr bwMode="auto">
          <a:xfrm>
            <a:off x="6012611" y="2010174"/>
            <a:ext cx="2313738"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5" name="Content Placeholder 4"/>
          <p:cNvSpPr>
            <a:spLocks noGrp="1"/>
          </p:cNvSpPr>
          <p:nvPr>
            <p:ph sz="quarter" idx="10"/>
          </p:nvPr>
        </p:nvSpPr>
        <p:spPr>
          <a:xfrm>
            <a:off x="524933" y="1649314"/>
            <a:ext cx="5225305" cy="4322024"/>
          </a:xfrm>
        </p:spPr>
        <p:txBody>
          <a:bodyPr/>
          <a:lstStyle/>
          <a:p>
            <a:r>
              <a:rPr lang="en-US" altLang="sv-SE" sz="1800"/>
              <a:t>5GC capable devices (Option 2) always anchored in 5GC (also option 1 capable)</a:t>
            </a:r>
          </a:p>
          <a:p>
            <a:r>
              <a:rPr lang="en-US" altLang="sv-SE" sz="1800"/>
              <a:t>Legacy LTE only devices anchored in legacy EPC</a:t>
            </a:r>
          </a:p>
          <a:p>
            <a:r>
              <a:rPr lang="en-US" altLang="sv-SE" sz="1800"/>
              <a:t>IP session continuity ensured</a:t>
            </a:r>
          </a:p>
          <a:p>
            <a:pPr lvl="1"/>
            <a:r>
              <a:rPr lang="en-US" altLang="sv-SE" sz="1400"/>
              <a:t>SMF act as PGW CP for 5GC capable devices</a:t>
            </a:r>
          </a:p>
          <a:p>
            <a:pPr lvl="1"/>
            <a:r>
              <a:rPr lang="en-US" altLang="sv-SE" sz="1400"/>
              <a:t>UPF act as common anchor point for 5GC capable devices</a:t>
            </a:r>
          </a:p>
          <a:p>
            <a:pPr lvl="1"/>
            <a:r>
              <a:rPr lang="en-US" sz="1400"/>
              <a:t>* indicates 5GC NFs with EPC </a:t>
            </a:r>
            <a:r>
              <a:rPr lang="en-US" sz="1400" err="1"/>
              <a:t>iwk</a:t>
            </a:r>
            <a:r>
              <a:rPr lang="en-US" sz="1400"/>
              <a:t> capabilities</a:t>
            </a:r>
          </a:p>
          <a:p>
            <a:pPr lvl="1"/>
            <a:r>
              <a:rPr lang="sv-SE" altLang="sv-SE" sz="1400"/>
              <a:t>5</a:t>
            </a:r>
            <a:r>
              <a:rPr lang="en-US" altLang="sv-SE" sz="1400"/>
              <a:t>G Dual-Mode Core also include SGW functionality</a:t>
            </a:r>
          </a:p>
          <a:p>
            <a:r>
              <a:rPr lang="en-US" altLang="sv-SE" sz="1800"/>
              <a:t>New control plane interfaces</a:t>
            </a:r>
          </a:p>
          <a:p>
            <a:pPr lvl="1"/>
            <a:r>
              <a:rPr lang="en-US" altLang="sv-SE" sz="1400"/>
              <a:t>Connection between AMF and MME for context transfer (N26)</a:t>
            </a:r>
          </a:p>
          <a:p>
            <a:r>
              <a:rPr lang="en-US" altLang="sv-SE" sz="1800"/>
              <a:t>No impact on</a:t>
            </a:r>
          </a:p>
          <a:p>
            <a:pPr lvl="1"/>
            <a:r>
              <a:rPr lang="en-US" altLang="sv-SE" sz="1400"/>
              <a:t>legacy terminal fleet</a:t>
            </a:r>
          </a:p>
          <a:p>
            <a:pPr lvl="1"/>
            <a:r>
              <a:rPr lang="en-US" altLang="sv-SE" sz="1400"/>
              <a:t>existing customer base</a:t>
            </a:r>
          </a:p>
          <a:p>
            <a:pPr lvl="1">
              <a:lnSpc>
                <a:spcPct val="90000"/>
              </a:lnSpc>
            </a:pPr>
            <a:endParaRPr lang="en-US" sz="1800"/>
          </a:p>
        </p:txBody>
      </p:sp>
      <p:sp>
        <p:nvSpPr>
          <p:cNvPr id="4" name="Title 3"/>
          <p:cNvSpPr>
            <a:spLocks noGrp="1"/>
          </p:cNvSpPr>
          <p:nvPr>
            <p:ph type="title"/>
          </p:nvPr>
        </p:nvSpPr>
        <p:spPr>
          <a:xfrm>
            <a:off x="524935" y="239714"/>
            <a:ext cx="10656412" cy="1085371"/>
          </a:xfrm>
        </p:spPr>
        <p:txBody>
          <a:bodyPr>
            <a:normAutofit/>
          </a:bodyPr>
          <a:lstStyle/>
          <a:p>
            <a:r>
              <a:rPr lang="en-US">
                <a:solidFill>
                  <a:srgbClr val="181818"/>
                </a:solidFill>
              </a:rPr>
              <a:t>5GC-EPC tight interworking architecture – alt. b</a:t>
            </a:r>
            <a:br>
              <a:rPr lang="en-US" sz="3200">
                <a:solidFill>
                  <a:srgbClr val="181818"/>
                </a:solidFill>
              </a:rPr>
            </a:br>
            <a:r>
              <a:rPr lang="en-US" sz="2400">
                <a:solidFill>
                  <a:srgbClr val="181818"/>
                </a:solidFill>
              </a:rPr>
              <a:t>User plane path for </a:t>
            </a:r>
            <a:r>
              <a:rPr lang="en-US" altLang="sv-SE" sz="2400"/>
              <a:t>5GC capable </a:t>
            </a:r>
            <a:r>
              <a:rPr lang="en-US" sz="2400">
                <a:solidFill>
                  <a:srgbClr val="181818"/>
                </a:solidFill>
              </a:rPr>
              <a:t>UEs</a:t>
            </a:r>
            <a:endParaRPr lang="en-US" sz="3100"/>
          </a:p>
        </p:txBody>
      </p:sp>
      <p:sp>
        <p:nvSpPr>
          <p:cNvPr id="190" name="Freeform 6"/>
          <p:cNvSpPr>
            <a:spLocks/>
          </p:cNvSpPr>
          <p:nvPr/>
        </p:nvSpPr>
        <p:spPr bwMode="auto">
          <a:xfrm rot="16200000">
            <a:off x="7322650" y="5863893"/>
            <a:ext cx="294690" cy="2076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91" name="Straight Connector 190"/>
          <p:cNvCxnSpPr>
            <a:cxnSpLocks/>
            <a:stCxn id="77" idx="0"/>
          </p:cNvCxnSpPr>
          <p:nvPr/>
        </p:nvCxnSpPr>
        <p:spPr bwMode="auto">
          <a:xfrm flipH="1" flipV="1">
            <a:off x="9561746" y="1793972"/>
            <a:ext cx="532166" cy="407236"/>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236" name="Straight Connector 235"/>
          <p:cNvCxnSpPr>
            <a:cxnSpLocks/>
            <a:stCxn id="157" idx="2"/>
            <a:endCxn id="150" idx="0"/>
          </p:cNvCxnSpPr>
          <p:nvPr/>
        </p:nvCxnSpPr>
        <p:spPr bwMode="auto">
          <a:xfrm>
            <a:off x="6564369" y="4648994"/>
            <a:ext cx="932957" cy="477315"/>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281" name="Straight Connector 280"/>
          <p:cNvCxnSpPr>
            <a:cxnSpLocks/>
            <a:stCxn id="77" idx="2"/>
            <a:endCxn id="153" idx="0"/>
          </p:cNvCxnSpPr>
          <p:nvPr/>
        </p:nvCxnSpPr>
        <p:spPr bwMode="auto">
          <a:xfrm>
            <a:off x="10093912" y="3074965"/>
            <a:ext cx="776794" cy="2025892"/>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282" name="Freeform 6"/>
          <p:cNvSpPr>
            <a:spLocks/>
          </p:cNvSpPr>
          <p:nvPr/>
        </p:nvSpPr>
        <p:spPr bwMode="auto">
          <a:xfrm rot="15918123">
            <a:off x="10698717" y="5958619"/>
            <a:ext cx="374431" cy="1288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283" name="Straight Connector 282"/>
          <p:cNvCxnSpPr>
            <a:cxnSpLocks/>
            <a:stCxn id="154" idx="2"/>
            <a:endCxn id="153" idx="0"/>
          </p:cNvCxnSpPr>
          <p:nvPr/>
        </p:nvCxnSpPr>
        <p:spPr bwMode="auto">
          <a:xfrm flipH="1">
            <a:off x="10870706" y="4630355"/>
            <a:ext cx="472194" cy="470502"/>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6" name="Straight Connector 305"/>
          <p:cNvCxnSpPr>
            <a:cxnSpLocks/>
            <a:stCxn id="76" idx="2"/>
            <a:endCxn id="154" idx="0"/>
          </p:cNvCxnSpPr>
          <p:nvPr/>
        </p:nvCxnSpPr>
        <p:spPr bwMode="auto">
          <a:xfrm flipH="1">
            <a:off x="11342900" y="3722149"/>
            <a:ext cx="39" cy="129041"/>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8" name="Straight Connector 307"/>
          <p:cNvCxnSpPr>
            <a:cxnSpLocks/>
            <a:stCxn id="155" idx="3"/>
            <a:endCxn id="76" idx="0"/>
          </p:cNvCxnSpPr>
          <p:nvPr/>
        </p:nvCxnSpPr>
        <p:spPr bwMode="auto">
          <a:xfrm>
            <a:off x="10614230" y="2640744"/>
            <a:ext cx="728709" cy="207648"/>
          </a:xfrm>
          <a:prstGeom prst="line">
            <a:avLst/>
          </a:prstGeom>
          <a:solidFill>
            <a:schemeClr val="accent1"/>
          </a:solidFill>
          <a:ln w="19050" cap="flat" cmpd="sng" algn="ctr">
            <a:solidFill>
              <a:schemeClr val="tx1"/>
            </a:solidFill>
            <a:prstDash val="sysDash"/>
            <a:round/>
            <a:headEnd type="none" w="med" len="med"/>
            <a:tailEnd type="none" w="med" len="med"/>
          </a:ln>
          <a:effectLst/>
        </p:spPr>
      </p:cxnSp>
      <p:grpSp>
        <p:nvGrpSpPr>
          <p:cNvPr id="316" name="Group 315"/>
          <p:cNvGrpSpPr/>
          <p:nvPr/>
        </p:nvGrpSpPr>
        <p:grpSpPr>
          <a:xfrm>
            <a:off x="8416835" y="1065951"/>
            <a:ext cx="1375355" cy="862393"/>
            <a:chOff x="9038846" y="4514377"/>
            <a:chExt cx="2250397" cy="1719278"/>
          </a:xfrm>
        </p:grpSpPr>
        <p:sp>
          <p:nvSpPr>
            <p:cNvPr id="317"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Text Box 35"/>
            <p:cNvSpPr txBox="1">
              <a:spLocks noChangeAspect="1" noChangeArrowheads="1"/>
            </p:cNvSpPr>
            <p:nvPr/>
          </p:nvSpPr>
          <p:spPr bwMode="auto">
            <a:xfrm>
              <a:off x="9409282" y="5035527"/>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IP services </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network </a:t>
              </a:r>
            </a:p>
          </p:txBody>
        </p:sp>
      </p:grpSp>
      <p:cxnSp>
        <p:nvCxnSpPr>
          <p:cNvPr id="319" name="Straight Connector 318"/>
          <p:cNvCxnSpPr>
            <a:cxnSpLocks/>
            <a:stCxn id="150" idx="0"/>
            <a:endCxn id="77" idx="2"/>
          </p:cNvCxnSpPr>
          <p:nvPr/>
        </p:nvCxnSpPr>
        <p:spPr bwMode="auto">
          <a:xfrm flipV="1">
            <a:off x="7497326" y="3074965"/>
            <a:ext cx="2596586" cy="2051344"/>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324" name="Straight Connector 323"/>
          <p:cNvCxnSpPr>
            <a:cxnSpLocks/>
          </p:cNvCxnSpPr>
          <p:nvPr/>
        </p:nvCxnSpPr>
        <p:spPr bwMode="auto">
          <a:xfrm>
            <a:off x="6804612" y="4497475"/>
            <a:ext cx="4435709" cy="13456"/>
          </a:xfrm>
          <a:prstGeom prst="line">
            <a:avLst/>
          </a:prstGeom>
          <a:solidFill>
            <a:schemeClr val="accent1"/>
          </a:solidFill>
          <a:ln w="19050" cap="flat" cmpd="sng" algn="ctr">
            <a:solidFill>
              <a:schemeClr val="tx1"/>
            </a:solidFill>
            <a:prstDash val="sysDash"/>
            <a:round/>
            <a:headEnd type="none" w="med" len="med"/>
            <a:tailEnd type="none" w="med" len="med"/>
          </a:ln>
          <a:effectLst/>
        </p:spPr>
      </p:cxnSp>
      <p:sp>
        <p:nvSpPr>
          <p:cNvPr id="101" name="TextBox 100">
            <a:extLst>
              <a:ext uri="{FF2B5EF4-FFF2-40B4-BE49-F238E27FC236}">
                <a16:creationId xmlns:a16="http://schemas.microsoft.com/office/drawing/2014/main" id="{9E9EA7EE-1990-4E5B-AAAF-FF0A4174DC72}"/>
              </a:ext>
            </a:extLst>
          </p:cNvPr>
          <p:cNvSpPr txBox="1"/>
          <p:nvPr/>
        </p:nvSpPr>
        <p:spPr>
          <a:xfrm>
            <a:off x="8839512" y="4051635"/>
            <a:ext cx="593432" cy="307777"/>
          </a:xfrm>
          <a:prstGeom prst="rect">
            <a:avLst/>
          </a:prstGeom>
          <a:noFill/>
        </p:spPr>
        <p:txBody>
          <a:bodyPr wrap="none" rtlCol="0">
            <a:spAutoFit/>
          </a:bodyPr>
          <a:lstStyle/>
          <a:p>
            <a:r>
              <a:rPr lang="en-US" sz="1400"/>
              <a:t>S1-U</a:t>
            </a:r>
          </a:p>
        </p:txBody>
      </p:sp>
      <p:sp>
        <p:nvSpPr>
          <p:cNvPr id="103" name="TextBox 102">
            <a:extLst>
              <a:ext uri="{FF2B5EF4-FFF2-40B4-BE49-F238E27FC236}">
                <a16:creationId xmlns:a16="http://schemas.microsoft.com/office/drawing/2014/main" id="{CFD6ABBE-A327-4D7D-8C47-7327D9217954}"/>
              </a:ext>
            </a:extLst>
          </p:cNvPr>
          <p:cNvSpPr txBox="1"/>
          <p:nvPr/>
        </p:nvSpPr>
        <p:spPr>
          <a:xfrm>
            <a:off x="8881729" y="4522380"/>
            <a:ext cx="511679" cy="307777"/>
          </a:xfrm>
          <a:prstGeom prst="rect">
            <a:avLst/>
          </a:prstGeom>
          <a:noFill/>
        </p:spPr>
        <p:txBody>
          <a:bodyPr wrap="none" rtlCol="0">
            <a:spAutoFit/>
          </a:bodyPr>
          <a:lstStyle/>
          <a:p>
            <a:r>
              <a:rPr lang="en-US" sz="1400"/>
              <a:t>N26</a:t>
            </a:r>
          </a:p>
        </p:txBody>
      </p:sp>
      <p:sp>
        <p:nvSpPr>
          <p:cNvPr id="6" name="TextBox 5">
            <a:extLst>
              <a:ext uri="{FF2B5EF4-FFF2-40B4-BE49-F238E27FC236}">
                <a16:creationId xmlns:a16="http://schemas.microsoft.com/office/drawing/2014/main" id="{77C97E59-48C8-44E9-A960-11825083B36B}"/>
              </a:ext>
            </a:extLst>
          </p:cNvPr>
          <p:cNvSpPr txBox="1"/>
          <p:nvPr/>
        </p:nvSpPr>
        <p:spPr>
          <a:xfrm>
            <a:off x="6051279" y="1675202"/>
            <a:ext cx="1181734" cy="307777"/>
          </a:xfrm>
          <a:prstGeom prst="rect">
            <a:avLst/>
          </a:prstGeom>
          <a:noFill/>
        </p:spPr>
        <p:txBody>
          <a:bodyPr wrap="none" rtlCol="0">
            <a:spAutoFit/>
          </a:bodyPr>
          <a:lstStyle/>
          <a:p>
            <a:r>
              <a:rPr lang="en-US" sz="1400"/>
              <a:t>Legacy EPC</a:t>
            </a:r>
          </a:p>
        </p:txBody>
      </p:sp>
      <p:sp>
        <p:nvSpPr>
          <p:cNvPr id="142" name="Rectangle 141">
            <a:extLst>
              <a:ext uri="{FF2B5EF4-FFF2-40B4-BE49-F238E27FC236}">
                <a16:creationId xmlns:a16="http://schemas.microsoft.com/office/drawing/2014/main" id="{4C2BFF0C-2FB8-4F71-A79B-ABFA8DC652BB}"/>
              </a:ext>
            </a:extLst>
          </p:cNvPr>
          <p:cNvSpPr/>
          <p:nvPr/>
        </p:nvSpPr>
        <p:spPr bwMode="auto">
          <a:xfrm>
            <a:off x="9432944" y="1990376"/>
            <a:ext cx="2607869"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50" name="TextBox 149">
            <a:extLst>
              <a:ext uri="{FF2B5EF4-FFF2-40B4-BE49-F238E27FC236}">
                <a16:creationId xmlns:a16="http://schemas.microsoft.com/office/drawing/2014/main" id="{CB5CBBAC-611B-44BD-A53A-F41A29B75F2C}"/>
              </a:ext>
            </a:extLst>
          </p:cNvPr>
          <p:cNvSpPr txBox="1"/>
          <p:nvPr/>
        </p:nvSpPr>
        <p:spPr bwMode="auto">
          <a:xfrm>
            <a:off x="7257083" y="5126309"/>
            <a:ext cx="480486" cy="673127"/>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2">
                    <a:lumMod val="75000"/>
                  </a:schemeClr>
                </a:solidFill>
                <a:latin typeface="Ericsson Technical Icons" panose="00000500000000000000" pitchFamily="2" charset="0"/>
              </a:rPr>
              <a:t>B</a:t>
            </a:r>
            <a:endParaRPr lang="en-US" sz="1800">
              <a:solidFill>
                <a:schemeClr val="accent2">
                  <a:lumMod val="75000"/>
                </a:schemeClr>
              </a:solidFill>
            </a:endParaRPr>
          </a:p>
          <a:p>
            <a:pPr lvl="0" algn="ctr">
              <a:spcBef>
                <a:spcPts val="0"/>
              </a:spcBef>
              <a:buClr>
                <a:srgbClr val="181818"/>
              </a:buClr>
            </a:pPr>
            <a:br>
              <a:rPr lang="en-US" sz="800">
                <a:solidFill>
                  <a:schemeClr val="accent2">
                    <a:lumMod val="75000"/>
                  </a:schemeClr>
                </a:solidFill>
              </a:rPr>
            </a:br>
            <a:r>
              <a:rPr lang="en-US" sz="800">
                <a:solidFill>
                  <a:schemeClr val="accent2">
                    <a:lumMod val="75000"/>
                  </a:schemeClr>
                </a:solidFill>
              </a:rPr>
              <a:t>E-UTRAN</a:t>
            </a:r>
            <a:endParaRPr lang="en-US" sz="900">
              <a:solidFill>
                <a:schemeClr val="accent2">
                  <a:lumMod val="75000"/>
                </a:schemeClr>
              </a:solidFill>
            </a:endParaRPr>
          </a:p>
        </p:txBody>
      </p:sp>
      <p:sp>
        <p:nvSpPr>
          <p:cNvPr id="151" name="TextBox 150">
            <a:extLst>
              <a:ext uri="{FF2B5EF4-FFF2-40B4-BE49-F238E27FC236}">
                <a16:creationId xmlns:a16="http://schemas.microsoft.com/office/drawing/2014/main" id="{389A6B95-9C71-43C8-BE48-A2C4343B1F1E}"/>
              </a:ext>
            </a:extLst>
          </p:cNvPr>
          <p:cNvSpPr txBox="1"/>
          <p:nvPr/>
        </p:nvSpPr>
        <p:spPr bwMode="auto">
          <a:xfrm>
            <a:off x="9505600" y="736441"/>
            <a:ext cx="480486" cy="701644"/>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100">
                <a:solidFill>
                  <a:schemeClr val="accent2">
                    <a:lumMod val="75000"/>
                  </a:schemeClr>
                </a:solidFill>
              </a:rPr>
            </a:br>
            <a:r>
              <a:rPr lang="en-US" sz="1100">
                <a:solidFill>
                  <a:schemeClr val="accent2">
                    <a:lumMod val="75000"/>
                  </a:schemeClr>
                </a:solidFill>
              </a:rPr>
              <a:t>IMS</a:t>
            </a:r>
            <a:endParaRPr lang="en-US" sz="1050">
              <a:solidFill>
                <a:schemeClr val="accent2">
                  <a:lumMod val="75000"/>
                </a:schemeClr>
              </a:solidFill>
            </a:endParaRPr>
          </a:p>
        </p:txBody>
      </p:sp>
      <p:sp>
        <p:nvSpPr>
          <p:cNvPr id="153" name="TextBox 152">
            <a:extLst>
              <a:ext uri="{FF2B5EF4-FFF2-40B4-BE49-F238E27FC236}">
                <a16:creationId xmlns:a16="http://schemas.microsoft.com/office/drawing/2014/main" id="{99812DC5-EA53-45B8-90FC-44CADA2AB0ED}"/>
              </a:ext>
            </a:extLst>
          </p:cNvPr>
          <p:cNvSpPr txBox="1"/>
          <p:nvPr/>
        </p:nvSpPr>
        <p:spPr bwMode="auto">
          <a:xfrm>
            <a:off x="10630463" y="5100857"/>
            <a:ext cx="480486" cy="699204"/>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1"/>
                </a:solidFill>
                <a:latin typeface="Ericsson Technical Icons" panose="00000500000000000000" pitchFamily="2" charset="0"/>
              </a:rPr>
              <a:t>B</a:t>
            </a:r>
            <a:endParaRPr lang="en-US" sz="1800">
              <a:solidFill>
                <a:schemeClr val="accent1"/>
              </a:solidFill>
            </a:endParaRPr>
          </a:p>
          <a:p>
            <a:pPr algn="ctr">
              <a:buClr>
                <a:schemeClr val="tx1"/>
              </a:buClr>
            </a:pPr>
            <a:r>
              <a:rPr lang="en-US" sz="1050">
                <a:solidFill>
                  <a:schemeClr val="accent1"/>
                </a:solidFill>
              </a:rPr>
              <a:t>NG-</a:t>
            </a:r>
            <a:br>
              <a:rPr lang="en-US" sz="1050">
                <a:solidFill>
                  <a:schemeClr val="accent1"/>
                </a:solidFill>
              </a:rPr>
            </a:br>
            <a:r>
              <a:rPr lang="en-US" sz="1050">
                <a:solidFill>
                  <a:schemeClr val="accent1"/>
                </a:solidFill>
              </a:rPr>
              <a:t>RAN</a:t>
            </a:r>
          </a:p>
        </p:txBody>
      </p:sp>
      <p:sp>
        <p:nvSpPr>
          <p:cNvPr id="154" name="TextBox 153">
            <a:extLst>
              <a:ext uri="{FF2B5EF4-FFF2-40B4-BE49-F238E27FC236}">
                <a16:creationId xmlns:a16="http://schemas.microsoft.com/office/drawing/2014/main" id="{F27F9012-F078-4286-A073-68BD0B5D04D2}"/>
              </a:ext>
            </a:extLst>
          </p:cNvPr>
          <p:cNvSpPr txBox="1"/>
          <p:nvPr/>
        </p:nvSpPr>
        <p:spPr bwMode="auto">
          <a:xfrm>
            <a:off x="11102657" y="3851190"/>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AMF</a:t>
            </a:r>
            <a:br>
              <a:rPr lang="en-US" sz="1050">
                <a:solidFill>
                  <a:schemeClr val="accent1"/>
                </a:solidFill>
              </a:rPr>
            </a:br>
            <a:endParaRPr lang="en-US" sz="1050">
              <a:solidFill>
                <a:schemeClr val="accent1"/>
              </a:solidFill>
            </a:endParaRPr>
          </a:p>
        </p:txBody>
      </p:sp>
      <p:sp>
        <p:nvSpPr>
          <p:cNvPr id="155" name="TextBox 154">
            <a:extLst>
              <a:ext uri="{FF2B5EF4-FFF2-40B4-BE49-F238E27FC236}">
                <a16:creationId xmlns:a16="http://schemas.microsoft.com/office/drawing/2014/main" id="{EFDCE829-6982-415D-85D2-B38BA75FEC70}"/>
              </a:ext>
            </a:extLst>
          </p:cNvPr>
          <p:cNvSpPr txBox="1"/>
          <p:nvPr/>
        </p:nvSpPr>
        <p:spPr bwMode="auto">
          <a:xfrm>
            <a:off x="10133744" y="225116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g</a:t>
            </a:r>
          </a:p>
          <a:p>
            <a:pPr algn="ctr">
              <a:lnSpc>
                <a:spcPct val="90000"/>
              </a:lnSpc>
              <a:spcBef>
                <a:spcPts val="0"/>
              </a:spcBef>
              <a:buClr>
                <a:schemeClr val="tx1"/>
              </a:buClr>
            </a:pPr>
            <a:endParaRPr lang="en-US" sz="1050">
              <a:solidFill>
                <a:schemeClr val="accent1"/>
              </a:solidFill>
            </a:endParaRPr>
          </a:p>
          <a:p>
            <a:pPr algn="ctr">
              <a:lnSpc>
                <a:spcPct val="90000"/>
              </a:lnSpc>
              <a:spcBef>
                <a:spcPts val="0"/>
              </a:spcBef>
              <a:buClr>
                <a:schemeClr val="tx1"/>
              </a:buClr>
            </a:pPr>
            <a:r>
              <a:rPr lang="en-US" sz="1200">
                <a:solidFill>
                  <a:schemeClr val="accent1"/>
                </a:solidFill>
              </a:rPr>
              <a:t>UPF*</a:t>
            </a:r>
            <a:endParaRPr lang="en-US" sz="1000">
              <a:solidFill>
                <a:schemeClr val="accent1"/>
              </a:solidFill>
            </a:endParaRPr>
          </a:p>
        </p:txBody>
      </p:sp>
      <p:sp>
        <p:nvSpPr>
          <p:cNvPr id="156" name="TextBox 155">
            <a:extLst>
              <a:ext uri="{FF2B5EF4-FFF2-40B4-BE49-F238E27FC236}">
                <a16:creationId xmlns:a16="http://schemas.microsoft.com/office/drawing/2014/main" id="{E820A85B-CB1C-46A6-A7FE-68CA04F131A9}"/>
              </a:ext>
            </a:extLst>
          </p:cNvPr>
          <p:cNvSpPr txBox="1"/>
          <p:nvPr/>
        </p:nvSpPr>
        <p:spPr bwMode="auto">
          <a:xfrm>
            <a:off x="11393732" y="2899195"/>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SMF*</a:t>
            </a:r>
            <a:br>
              <a:rPr lang="en-US" sz="1050">
                <a:solidFill>
                  <a:schemeClr val="accent1"/>
                </a:solidFill>
              </a:rPr>
            </a:br>
            <a:endParaRPr lang="en-US" sz="1050">
              <a:solidFill>
                <a:schemeClr val="accent1"/>
              </a:solidFill>
            </a:endParaRPr>
          </a:p>
        </p:txBody>
      </p:sp>
      <p:sp>
        <p:nvSpPr>
          <p:cNvPr id="157" name="TextBox 156">
            <a:extLst>
              <a:ext uri="{FF2B5EF4-FFF2-40B4-BE49-F238E27FC236}">
                <a16:creationId xmlns:a16="http://schemas.microsoft.com/office/drawing/2014/main" id="{AF952DDE-8850-4B81-B152-45B1392F0E1C}"/>
              </a:ext>
            </a:extLst>
          </p:cNvPr>
          <p:cNvSpPr txBox="1"/>
          <p:nvPr/>
        </p:nvSpPr>
        <p:spPr bwMode="auto">
          <a:xfrm>
            <a:off x="6324126" y="3869829"/>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6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endParaRPr lang="en-US" sz="1000">
              <a:solidFill>
                <a:schemeClr val="accent2">
                  <a:lumMod val="75000"/>
                </a:schemeClr>
              </a:solidFill>
            </a:endParaRPr>
          </a:p>
          <a:p>
            <a:pPr algn="ctr">
              <a:lnSpc>
                <a:spcPct val="90000"/>
              </a:lnSpc>
              <a:spcBef>
                <a:spcPts val="0"/>
              </a:spcBef>
              <a:buClr>
                <a:schemeClr val="tx1"/>
              </a:buClr>
            </a:pPr>
            <a:r>
              <a:rPr lang="en-US" sz="1200">
                <a:solidFill>
                  <a:schemeClr val="accent2">
                    <a:lumMod val="75000"/>
                  </a:schemeClr>
                </a:solidFill>
              </a:rPr>
              <a:t>MME</a:t>
            </a:r>
            <a:endParaRPr lang="en-US" sz="1050">
              <a:solidFill>
                <a:schemeClr val="accent2">
                  <a:lumMod val="75000"/>
                </a:schemeClr>
              </a:solidFill>
            </a:endParaRPr>
          </a:p>
        </p:txBody>
      </p:sp>
      <p:grpSp>
        <p:nvGrpSpPr>
          <p:cNvPr id="131" name="Group 130">
            <a:extLst>
              <a:ext uri="{FF2B5EF4-FFF2-40B4-BE49-F238E27FC236}">
                <a16:creationId xmlns:a16="http://schemas.microsoft.com/office/drawing/2014/main" id="{04CB76AD-3EF7-45D8-B270-4C71F71132DE}"/>
              </a:ext>
            </a:extLst>
          </p:cNvPr>
          <p:cNvGrpSpPr/>
          <p:nvPr/>
        </p:nvGrpSpPr>
        <p:grpSpPr>
          <a:xfrm>
            <a:off x="1808212" y="5791559"/>
            <a:ext cx="3082969" cy="493973"/>
            <a:chOff x="6947998" y="6108834"/>
            <a:chExt cx="3082969" cy="493973"/>
          </a:xfrm>
        </p:grpSpPr>
        <p:cxnSp>
          <p:nvCxnSpPr>
            <p:cNvPr id="133" name="Straight Connector 132">
              <a:extLst>
                <a:ext uri="{FF2B5EF4-FFF2-40B4-BE49-F238E27FC236}">
                  <a16:creationId xmlns:a16="http://schemas.microsoft.com/office/drawing/2014/main" id="{490E6D15-9CA4-4F80-8C4F-4E33A3A6D8F0}"/>
                </a:ext>
              </a:extLst>
            </p:cNvPr>
            <p:cNvCxnSpPr>
              <a:cxnSpLocks/>
            </p:cNvCxnSpPr>
            <p:nvPr/>
          </p:nvCxnSpPr>
          <p:spPr bwMode="auto">
            <a:xfrm>
              <a:off x="6947998" y="6429554"/>
              <a:ext cx="432553" cy="0"/>
            </a:xfrm>
            <a:prstGeom prst="line">
              <a:avLst/>
            </a:prstGeom>
            <a:noFill/>
            <a:ln w="31750" cap="flat" cmpd="sng" algn="ctr">
              <a:solidFill>
                <a:schemeClr val="accent2"/>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D400F1D1-2818-4C41-AD40-95B0A1A0F706}"/>
                </a:ext>
              </a:extLst>
            </p:cNvPr>
            <p:cNvSpPr txBox="1"/>
            <p:nvPr/>
          </p:nvSpPr>
          <p:spPr bwMode="auto">
            <a:xfrm>
              <a:off x="7480942" y="6108834"/>
              <a:ext cx="2550025" cy="49397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100"/>
                <a:t> </a:t>
              </a:r>
            </a:p>
            <a:p>
              <a:pPr>
                <a:lnSpc>
                  <a:spcPct val="150000"/>
                </a:lnSpc>
                <a:buClr>
                  <a:schemeClr val="tx1"/>
                </a:buClr>
              </a:pPr>
              <a:r>
                <a:rPr lang="en-US" sz="1100"/>
                <a:t>Voice and internet user plane path for 5GC capable devices over 4G</a:t>
              </a:r>
            </a:p>
            <a:p>
              <a:pPr>
                <a:buClr>
                  <a:schemeClr val="tx1"/>
                </a:buClr>
              </a:pPr>
              <a:r>
                <a:rPr lang="en-US" sz="1100"/>
                <a:t>Voice and internet user plane path for 5GC capable devices over 5G</a:t>
              </a:r>
            </a:p>
            <a:p>
              <a:pPr algn="l">
                <a:buClr>
                  <a:schemeClr val="tx1"/>
                </a:buClr>
              </a:pPr>
              <a:endParaRPr lang="en-US" sz="1100"/>
            </a:p>
          </p:txBody>
        </p:sp>
      </p:grpSp>
      <p:cxnSp>
        <p:nvCxnSpPr>
          <p:cNvPr id="63" name="Straight Connector 62">
            <a:extLst>
              <a:ext uri="{FF2B5EF4-FFF2-40B4-BE49-F238E27FC236}">
                <a16:creationId xmlns:a16="http://schemas.microsoft.com/office/drawing/2014/main" id="{277E4F94-EF0C-4EFB-8831-7EF6BF50B4D0}"/>
              </a:ext>
            </a:extLst>
          </p:cNvPr>
          <p:cNvCxnSpPr>
            <a:cxnSpLocks/>
          </p:cNvCxnSpPr>
          <p:nvPr/>
        </p:nvCxnSpPr>
        <p:spPr bwMode="auto">
          <a:xfrm>
            <a:off x="1808211" y="6300536"/>
            <a:ext cx="432553" cy="0"/>
          </a:xfrm>
          <a:prstGeom prst="line">
            <a:avLst/>
          </a:prstGeom>
          <a:noFill/>
          <a:ln w="31750" cap="flat" cmpd="sng" algn="ctr">
            <a:solidFill>
              <a:schemeClr val="accent5"/>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C665A8BD-ECA3-4D34-8381-2F37563EB0A7}"/>
              </a:ext>
            </a:extLst>
          </p:cNvPr>
          <p:cNvCxnSpPr>
            <a:cxnSpLocks/>
            <a:endCxn id="76" idx="1"/>
          </p:cNvCxnSpPr>
          <p:nvPr/>
        </p:nvCxnSpPr>
        <p:spPr bwMode="auto">
          <a:xfrm flipV="1">
            <a:off x="6815015" y="3285271"/>
            <a:ext cx="3930466" cy="1212204"/>
          </a:xfrm>
          <a:prstGeom prst="line">
            <a:avLst/>
          </a:prstGeom>
          <a:solidFill>
            <a:schemeClr val="accent1"/>
          </a:solidFill>
          <a:ln w="19050" cap="flat" cmpd="sng" algn="ctr">
            <a:solidFill>
              <a:schemeClr val="tx1"/>
            </a:solidFill>
            <a:prstDash val="sysDash"/>
            <a:round/>
            <a:headEnd type="none" w="med" len="med"/>
            <a:tailEnd type="none" w="med" len="med"/>
          </a:ln>
          <a:effectLst/>
        </p:spPr>
      </p:cxnSp>
      <p:sp>
        <p:nvSpPr>
          <p:cNvPr id="67" name="TextBox 66">
            <a:extLst>
              <a:ext uri="{FF2B5EF4-FFF2-40B4-BE49-F238E27FC236}">
                <a16:creationId xmlns:a16="http://schemas.microsoft.com/office/drawing/2014/main" id="{50833175-3660-4B70-AB04-7DC142B3AAEB}"/>
              </a:ext>
            </a:extLst>
          </p:cNvPr>
          <p:cNvSpPr txBox="1"/>
          <p:nvPr/>
        </p:nvSpPr>
        <p:spPr>
          <a:xfrm>
            <a:off x="7838799" y="3720082"/>
            <a:ext cx="490327" cy="307777"/>
          </a:xfrm>
          <a:prstGeom prst="rect">
            <a:avLst/>
          </a:prstGeom>
          <a:noFill/>
        </p:spPr>
        <p:txBody>
          <a:bodyPr wrap="none" rtlCol="0">
            <a:spAutoFit/>
          </a:bodyPr>
          <a:lstStyle/>
          <a:p>
            <a:r>
              <a:rPr lang="en-US" sz="1400"/>
              <a:t>S11</a:t>
            </a:r>
          </a:p>
        </p:txBody>
      </p:sp>
      <p:grpSp>
        <p:nvGrpSpPr>
          <p:cNvPr id="58" name="Group 57">
            <a:extLst>
              <a:ext uri="{FF2B5EF4-FFF2-40B4-BE49-F238E27FC236}">
                <a16:creationId xmlns:a16="http://schemas.microsoft.com/office/drawing/2014/main" id="{64D198EA-59B5-4456-B7E4-A08D2022E8C4}"/>
              </a:ext>
            </a:extLst>
          </p:cNvPr>
          <p:cNvGrpSpPr/>
          <p:nvPr/>
        </p:nvGrpSpPr>
        <p:grpSpPr>
          <a:xfrm>
            <a:off x="10122280" y="6196420"/>
            <a:ext cx="402301" cy="374568"/>
            <a:chOff x="10123360" y="6217232"/>
            <a:chExt cx="402301" cy="374568"/>
          </a:xfrm>
        </p:grpSpPr>
        <p:sp>
          <p:nvSpPr>
            <p:cNvPr id="59" name="Rectangle: Rounded Corners 58">
              <a:extLst>
                <a:ext uri="{FF2B5EF4-FFF2-40B4-BE49-F238E27FC236}">
                  <a16:creationId xmlns:a16="http://schemas.microsoft.com/office/drawing/2014/main" id="{8E7CF615-74B2-499E-A42A-5CF25CCCFEA5}"/>
                </a:ext>
              </a:extLst>
            </p:cNvPr>
            <p:cNvSpPr/>
            <p:nvPr/>
          </p:nvSpPr>
          <p:spPr bwMode="auto">
            <a:xfrm>
              <a:off x="10124229" y="6234690"/>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grpSp>
          <p:nvGrpSpPr>
            <p:cNvPr id="60" name="Group 59">
              <a:extLst>
                <a:ext uri="{FF2B5EF4-FFF2-40B4-BE49-F238E27FC236}">
                  <a16:creationId xmlns:a16="http://schemas.microsoft.com/office/drawing/2014/main" id="{A46037F9-9D53-40AD-B411-B3041C57FFD9}"/>
                </a:ext>
              </a:extLst>
            </p:cNvPr>
            <p:cNvGrpSpPr/>
            <p:nvPr/>
          </p:nvGrpSpPr>
          <p:grpSpPr>
            <a:xfrm>
              <a:off x="10123360" y="6217232"/>
              <a:ext cx="402301" cy="374568"/>
              <a:chOff x="6372345" y="1298307"/>
              <a:chExt cx="402301" cy="374568"/>
            </a:xfrm>
          </p:grpSpPr>
          <p:pic>
            <p:nvPicPr>
              <p:cNvPr id="61" name="Graphic 60">
                <a:extLst>
                  <a:ext uri="{FF2B5EF4-FFF2-40B4-BE49-F238E27FC236}">
                    <a16:creationId xmlns:a16="http://schemas.microsoft.com/office/drawing/2014/main" id="{ECEE58BF-64BD-4FBA-9572-04BEC96EF54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2345" y="1298307"/>
                <a:ext cx="258323" cy="361653"/>
              </a:xfrm>
              <a:prstGeom prst="rect">
                <a:avLst/>
              </a:prstGeom>
            </p:spPr>
          </p:pic>
          <p:sp>
            <p:nvSpPr>
              <p:cNvPr id="62" name="TextBox 61">
                <a:extLst>
                  <a:ext uri="{FF2B5EF4-FFF2-40B4-BE49-F238E27FC236}">
                    <a16:creationId xmlns:a16="http://schemas.microsoft.com/office/drawing/2014/main" id="{7046AA35-122E-4990-8E3B-B0E159791AEA}"/>
                  </a:ext>
                </a:extLst>
              </p:cNvPr>
              <p:cNvSpPr txBox="1"/>
              <p:nvPr/>
            </p:nvSpPr>
            <p:spPr bwMode="auto">
              <a:xfrm>
                <a:off x="6380910" y="1315765"/>
                <a:ext cx="393736" cy="35711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400">
                    <a:latin typeface="+mn-lt"/>
                  </a:rPr>
                  <a:t>2</a:t>
                </a:r>
              </a:p>
            </p:txBody>
          </p:sp>
        </p:grpSp>
      </p:grpSp>
      <p:cxnSp>
        <p:nvCxnSpPr>
          <p:cNvPr id="53" name="Straight Connector 52">
            <a:extLst>
              <a:ext uri="{FF2B5EF4-FFF2-40B4-BE49-F238E27FC236}">
                <a16:creationId xmlns:a16="http://schemas.microsoft.com/office/drawing/2014/main" id="{9BA9AD21-D818-4453-BC22-F34557CFC361}"/>
              </a:ext>
            </a:extLst>
          </p:cNvPr>
          <p:cNvCxnSpPr>
            <a:cxnSpLocks/>
          </p:cNvCxnSpPr>
          <p:nvPr/>
        </p:nvCxnSpPr>
        <p:spPr bwMode="auto">
          <a:xfrm flipV="1">
            <a:off x="7523077" y="3027670"/>
            <a:ext cx="15206" cy="344714"/>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54" name="TextBox 53">
            <a:extLst>
              <a:ext uri="{FF2B5EF4-FFF2-40B4-BE49-F238E27FC236}">
                <a16:creationId xmlns:a16="http://schemas.microsoft.com/office/drawing/2014/main" id="{2082311F-66FC-4341-A6FB-85AA5F023BBF}"/>
              </a:ext>
            </a:extLst>
          </p:cNvPr>
          <p:cNvSpPr txBox="1"/>
          <p:nvPr/>
        </p:nvSpPr>
        <p:spPr bwMode="auto">
          <a:xfrm>
            <a:off x="7277174" y="3259696"/>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SGW</a:t>
            </a:r>
            <a:br>
              <a:rPr lang="en-US" sz="1050">
                <a:solidFill>
                  <a:schemeClr val="accent2">
                    <a:lumMod val="75000"/>
                  </a:schemeClr>
                </a:solidFill>
              </a:rPr>
            </a:br>
            <a:endParaRPr lang="en-US" sz="1050">
              <a:solidFill>
                <a:schemeClr val="accent2">
                  <a:lumMod val="75000"/>
                </a:schemeClr>
              </a:solidFill>
            </a:endParaRPr>
          </a:p>
        </p:txBody>
      </p:sp>
      <p:sp>
        <p:nvSpPr>
          <p:cNvPr id="55" name="TextBox 54">
            <a:extLst>
              <a:ext uri="{FF2B5EF4-FFF2-40B4-BE49-F238E27FC236}">
                <a16:creationId xmlns:a16="http://schemas.microsoft.com/office/drawing/2014/main" id="{37AB5EE7-A7B2-42D9-8911-15B65634ED3A}"/>
              </a:ext>
            </a:extLst>
          </p:cNvPr>
          <p:cNvSpPr txBox="1"/>
          <p:nvPr/>
        </p:nvSpPr>
        <p:spPr bwMode="auto">
          <a:xfrm>
            <a:off x="7262514" y="2248505"/>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PGW</a:t>
            </a:r>
            <a:br>
              <a:rPr lang="en-US" sz="1050">
                <a:solidFill>
                  <a:schemeClr val="accent2">
                    <a:lumMod val="75000"/>
                  </a:schemeClr>
                </a:solidFill>
              </a:rPr>
            </a:br>
            <a:endParaRPr lang="en-US" sz="1050">
              <a:solidFill>
                <a:schemeClr val="accent2">
                  <a:lumMod val="75000"/>
                </a:schemeClr>
              </a:solidFill>
            </a:endParaRPr>
          </a:p>
        </p:txBody>
      </p:sp>
      <p:cxnSp>
        <p:nvCxnSpPr>
          <p:cNvPr id="57" name="Straight Connector 56">
            <a:extLst>
              <a:ext uri="{FF2B5EF4-FFF2-40B4-BE49-F238E27FC236}">
                <a16:creationId xmlns:a16="http://schemas.microsoft.com/office/drawing/2014/main" id="{C078A37E-6B0A-4C20-A59F-901316BBAF93}"/>
              </a:ext>
            </a:extLst>
          </p:cNvPr>
          <p:cNvCxnSpPr>
            <a:cxnSpLocks/>
          </p:cNvCxnSpPr>
          <p:nvPr/>
        </p:nvCxnSpPr>
        <p:spPr bwMode="auto">
          <a:xfrm flipV="1">
            <a:off x="7538283" y="1714151"/>
            <a:ext cx="954105" cy="534354"/>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AB51FFAA-C79E-4BE9-AB89-87ABD3380D29}"/>
              </a:ext>
            </a:extLst>
          </p:cNvPr>
          <p:cNvSpPr txBox="1"/>
          <p:nvPr/>
        </p:nvSpPr>
        <p:spPr bwMode="auto">
          <a:xfrm>
            <a:off x="9872338" y="5289079"/>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2</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72" name="TextBox 71">
            <a:extLst>
              <a:ext uri="{FF2B5EF4-FFF2-40B4-BE49-F238E27FC236}">
                <a16:creationId xmlns:a16="http://schemas.microsoft.com/office/drawing/2014/main" id="{B38FE99B-58DB-469F-9799-DA17018DD999}"/>
              </a:ext>
            </a:extLst>
          </p:cNvPr>
          <p:cNvSpPr txBox="1"/>
          <p:nvPr/>
        </p:nvSpPr>
        <p:spPr bwMode="auto">
          <a:xfrm>
            <a:off x="7861478" y="5282917"/>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1</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73" name="TextBox 72">
            <a:extLst>
              <a:ext uri="{FF2B5EF4-FFF2-40B4-BE49-F238E27FC236}">
                <a16:creationId xmlns:a16="http://schemas.microsoft.com/office/drawing/2014/main" id="{64ABCD87-B2A6-4B43-A0B5-8D0C76311EDC}"/>
              </a:ext>
            </a:extLst>
          </p:cNvPr>
          <p:cNvSpPr txBox="1"/>
          <p:nvPr/>
        </p:nvSpPr>
        <p:spPr bwMode="auto">
          <a:xfrm>
            <a:off x="10817477" y="2899195"/>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SGW-C</a:t>
            </a:r>
            <a:br>
              <a:rPr lang="en-US" sz="1050">
                <a:solidFill>
                  <a:schemeClr val="accent1"/>
                </a:solidFill>
              </a:rPr>
            </a:br>
            <a:endParaRPr lang="en-US" sz="1050">
              <a:solidFill>
                <a:schemeClr val="accent1"/>
              </a:solidFill>
            </a:endParaRPr>
          </a:p>
        </p:txBody>
      </p:sp>
      <p:sp>
        <p:nvSpPr>
          <p:cNvPr id="75" name="TextBox 74">
            <a:extLst>
              <a:ext uri="{FF2B5EF4-FFF2-40B4-BE49-F238E27FC236}">
                <a16:creationId xmlns:a16="http://schemas.microsoft.com/office/drawing/2014/main" id="{2506A183-1CD1-45C3-897C-98D7A67E0FFC}"/>
              </a:ext>
            </a:extLst>
          </p:cNvPr>
          <p:cNvSpPr txBox="1"/>
          <p:nvPr/>
        </p:nvSpPr>
        <p:spPr bwMode="auto">
          <a:xfrm>
            <a:off x="9578071" y="225116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g</a:t>
            </a:r>
          </a:p>
          <a:p>
            <a:pPr algn="ctr">
              <a:lnSpc>
                <a:spcPct val="90000"/>
              </a:lnSpc>
              <a:spcBef>
                <a:spcPts val="0"/>
              </a:spcBef>
              <a:buClr>
                <a:schemeClr val="tx1"/>
              </a:buClr>
            </a:pPr>
            <a:endParaRPr lang="en-US" sz="1050">
              <a:solidFill>
                <a:schemeClr val="accent1"/>
              </a:solidFill>
            </a:endParaRPr>
          </a:p>
          <a:p>
            <a:pPr algn="ctr">
              <a:lnSpc>
                <a:spcPct val="90000"/>
              </a:lnSpc>
              <a:spcBef>
                <a:spcPts val="0"/>
              </a:spcBef>
              <a:buClr>
                <a:schemeClr val="tx1"/>
              </a:buClr>
            </a:pPr>
            <a:r>
              <a:rPr lang="en-US" sz="1200">
                <a:solidFill>
                  <a:schemeClr val="accent1"/>
                </a:solidFill>
              </a:rPr>
              <a:t>SGW-U</a:t>
            </a:r>
            <a:endParaRPr lang="en-US" sz="1000">
              <a:solidFill>
                <a:schemeClr val="accent1"/>
              </a:solidFill>
            </a:endParaRPr>
          </a:p>
        </p:txBody>
      </p:sp>
      <p:sp>
        <p:nvSpPr>
          <p:cNvPr id="76" name="Rectangle 75">
            <a:extLst>
              <a:ext uri="{FF2B5EF4-FFF2-40B4-BE49-F238E27FC236}">
                <a16:creationId xmlns:a16="http://schemas.microsoft.com/office/drawing/2014/main" id="{ACAE7233-5001-43DD-99B9-395E5C18EA5E}"/>
              </a:ext>
            </a:extLst>
          </p:cNvPr>
          <p:cNvSpPr/>
          <p:nvPr/>
        </p:nvSpPr>
        <p:spPr bwMode="auto">
          <a:xfrm>
            <a:off x="10745481" y="2848392"/>
            <a:ext cx="1194915" cy="873757"/>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77" name="Rectangle 76">
            <a:extLst>
              <a:ext uri="{FF2B5EF4-FFF2-40B4-BE49-F238E27FC236}">
                <a16:creationId xmlns:a16="http://schemas.microsoft.com/office/drawing/2014/main" id="{C3F6D5E6-D1F0-4A07-A066-486CFA2AB54E}"/>
              </a:ext>
            </a:extLst>
          </p:cNvPr>
          <p:cNvSpPr/>
          <p:nvPr/>
        </p:nvSpPr>
        <p:spPr bwMode="auto">
          <a:xfrm>
            <a:off x="9496454" y="2201208"/>
            <a:ext cx="1194915" cy="873757"/>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39" name="Freeform: Shape 138">
            <a:extLst>
              <a:ext uri="{FF2B5EF4-FFF2-40B4-BE49-F238E27FC236}">
                <a16:creationId xmlns:a16="http://schemas.microsoft.com/office/drawing/2014/main" id="{EF22031F-5551-4DDE-8827-AC3A7B252902}"/>
              </a:ext>
            </a:extLst>
          </p:cNvPr>
          <p:cNvSpPr/>
          <p:nvPr/>
        </p:nvSpPr>
        <p:spPr bwMode="auto">
          <a:xfrm>
            <a:off x="7573159" y="1628517"/>
            <a:ext cx="2588642" cy="4615382"/>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49542 w 1463158"/>
              <a:gd name="connsiteY0" fmla="*/ 4371856 h 4377243"/>
              <a:gd name="connsiteX1" fmla="*/ 222114 w 1463158"/>
              <a:gd name="connsiteY1" fmla="*/ 4226714 h 4377243"/>
              <a:gd name="connsiteX2" fmla="*/ 425314 w 1463158"/>
              <a:gd name="connsiteY2" fmla="*/ 3370371 h 4377243"/>
              <a:gd name="connsiteX3" fmla="*/ 33428 w 1463158"/>
              <a:gd name="connsiteY3" fmla="*/ 830371 h 4377243"/>
              <a:gd name="connsiteX4" fmla="*/ 1443605 w 1463158"/>
              <a:gd name="connsiteY4" fmla="*/ 0 h 4377243"/>
              <a:gd name="connsiteX0" fmla="*/ 0 w 1859675"/>
              <a:gd name="connsiteY0" fmla="*/ 4371856 h 4377243"/>
              <a:gd name="connsiteX1" fmla="*/ 72572 w 1859675"/>
              <a:gd name="connsiteY1" fmla="*/ 4226714 h 4377243"/>
              <a:gd name="connsiteX2" fmla="*/ 275772 w 1859675"/>
              <a:gd name="connsiteY2" fmla="*/ 3370371 h 4377243"/>
              <a:gd name="connsiteX3" fmla="*/ 1824981 w 1859675"/>
              <a:gd name="connsiteY3" fmla="*/ 1167255 h 4377243"/>
              <a:gd name="connsiteX4" fmla="*/ 1294063 w 1859675"/>
              <a:gd name="connsiteY4" fmla="*/ 0 h 4377243"/>
              <a:gd name="connsiteX0" fmla="*/ 529373 w 2431473"/>
              <a:gd name="connsiteY0" fmla="*/ 4371856 h 4425265"/>
              <a:gd name="connsiteX1" fmla="*/ 601945 w 2431473"/>
              <a:gd name="connsiteY1" fmla="*/ 4226714 h 4425265"/>
              <a:gd name="connsiteX2" fmla="*/ 67208 w 2431473"/>
              <a:gd name="connsiteY2" fmla="*/ 2423887 h 4425265"/>
              <a:gd name="connsiteX3" fmla="*/ 2354354 w 2431473"/>
              <a:gd name="connsiteY3" fmla="*/ 1167255 h 4425265"/>
              <a:gd name="connsiteX4" fmla="*/ 1823436 w 2431473"/>
              <a:gd name="connsiteY4" fmla="*/ 0 h 4425265"/>
              <a:gd name="connsiteX0" fmla="*/ 642089 w 2544189"/>
              <a:gd name="connsiteY0" fmla="*/ 4371856 h 4372278"/>
              <a:gd name="connsiteX1" fmla="*/ 201313 w 2544189"/>
              <a:gd name="connsiteY1" fmla="*/ 3857745 h 4372278"/>
              <a:gd name="connsiteX2" fmla="*/ 179924 w 2544189"/>
              <a:gd name="connsiteY2" fmla="*/ 2423887 h 4372278"/>
              <a:gd name="connsiteX3" fmla="*/ 2467070 w 2544189"/>
              <a:gd name="connsiteY3" fmla="*/ 1167255 h 4372278"/>
              <a:gd name="connsiteX4" fmla="*/ 1936152 w 2544189"/>
              <a:gd name="connsiteY4" fmla="*/ 0 h 4372278"/>
              <a:gd name="connsiteX0" fmla="*/ 2310197 w 2624129"/>
              <a:gd name="connsiteY0" fmla="*/ 4804993 h 4805148"/>
              <a:gd name="connsiteX1" fmla="*/ 281253 w 2624129"/>
              <a:gd name="connsiteY1" fmla="*/ 3857745 h 4805148"/>
              <a:gd name="connsiteX2" fmla="*/ 259864 w 2624129"/>
              <a:gd name="connsiteY2" fmla="*/ 2423887 h 4805148"/>
              <a:gd name="connsiteX3" fmla="*/ 2547010 w 2624129"/>
              <a:gd name="connsiteY3" fmla="*/ 1167255 h 4805148"/>
              <a:gd name="connsiteX4" fmla="*/ 2016092 w 2624129"/>
              <a:gd name="connsiteY4" fmla="*/ 0 h 4805148"/>
              <a:gd name="connsiteX0" fmla="*/ 2248392 w 2555472"/>
              <a:gd name="connsiteY0" fmla="*/ 4804993 h 4805168"/>
              <a:gd name="connsiteX1" fmla="*/ 219448 w 2555472"/>
              <a:gd name="connsiteY1" fmla="*/ 3857745 h 4805168"/>
              <a:gd name="connsiteX2" fmla="*/ 310354 w 2555472"/>
              <a:gd name="connsiteY2" fmla="*/ 2038876 h 4805168"/>
              <a:gd name="connsiteX3" fmla="*/ 2485205 w 2555472"/>
              <a:gd name="connsiteY3" fmla="*/ 1167255 h 4805168"/>
              <a:gd name="connsiteX4" fmla="*/ 1954287 w 2555472"/>
              <a:gd name="connsiteY4" fmla="*/ 0 h 4805168"/>
              <a:gd name="connsiteX0" fmla="*/ 2285046 w 2592126"/>
              <a:gd name="connsiteY0" fmla="*/ 4804993 h 4805174"/>
              <a:gd name="connsiteX1" fmla="*/ 256102 w 2592126"/>
              <a:gd name="connsiteY1" fmla="*/ 3857745 h 4805174"/>
              <a:gd name="connsiteX2" fmla="*/ 277997 w 2592126"/>
              <a:gd name="connsiteY2" fmla="*/ 1943986 h 4805174"/>
              <a:gd name="connsiteX3" fmla="*/ 2521859 w 2592126"/>
              <a:gd name="connsiteY3" fmla="*/ 1167255 h 4805174"/>
              <a:gd name="connsiteX4" fmla="*/ 1990941 w 2592126"/>
              <a:gd name="connsiteY4" fmla="*/ 0 h 4805174"/>
              <a:gd name="connsiteX0" fmla="*/ 2291551 w 2694261"/>
              <a:gd name="connsiteY0" fmla="*/ 4804993 h 4805174"/>
              <a:gd name="connsiteX1" fmla="*/ 262607 w 2694261"/>
              <a:gd name="connsiteY1" fmla="*/ 3857745 h 4805174"/>
              <a:gd name="connsiteX2" fmla="*/ 284502 w 2694261"/>
              <a:gd name="connsiteY2" fmla="*/ 1943986 h 4805174"/>
              <a:gd name="connsiteX3" fmla="*/ 2631881 w 2694261"/>
              <a:gd name="connsiteY3" fmla="*/ 1150002 h 4805174"/>
              <a:gd name="connsiteX4" fmla="*/ 1997446 w 2694261"/>
              <a:gd name="connsiteY4" fmla="*/ 0 h 4805174"/>
              <a:gd name="connsiteX0" fmla="*/ 2337355 w 2696933"/>
              <a:gd name="connsiteY0" fmla="*/ 4615212 h 4615479"/>
              <a:gd name="connsiteX1" fmla="*/ 265279 w 2696933"/>
              <a:gd name="connsiteY1" fmla="*/ 3857745 h 4615479"/>
              <a:gd name="connsiteX2" fmla="*/ 287174 w 2696933"/>
              <a:gd name="connsiteY2" fmla="*/ 1943986 h 4615479"/>
              <a:gd name="connsiteX3" fmla="*/ 2634553 w 2696933"/>
              <a:gd name="connsiteY3" fmla="*/ 1150002 h 4615479"/>
              <a:gd name="connsiteX4" fmla="*/ 2000118 w 2696933"/>
              <a:gd name="connsiteY4" fmla="*/ 0 h 4615479"/>
              <a:gd name="connsiteX0" fmla="*/ 2141907 w 2501485"/>
              <a:gd name="connsiteY0" fmla="*/ 4615212 h 4615427"/>
              <a:gd name="connsiteX1" fmla="*/ 69831 w 2501485"/>
              <a:gd name="connsiteY1" fmla="*/ 3857745 h 4615427"/>
              <a:gd name="connsiteX2" fmla="*/ 669242 w 2501485"/>
              <a:gd name="connsiteY2" fmla="*/ 2425249 h 4615427"/>
              <a:gd name="connsiteX3" fmla="*/ 2439105 w 2501485"/>
              <a:gd name="connsiteY3" fmla="*/ 1150002 h 4615427"/>
              <a:gd name="connsiteX4" fmla="*/ 1804670 w 2501485"/>
              <a:gd name="connsiteY4" fmla="*/ 0 h 4615427"/>
              <a:gd name="connsiteX0" fmla="*/ 2119971 w 2479549"/>
              <a:gd name="connsiteY0" fmla="*/ 4615212 h 4615371"/>
              <a:gd name="connsiteX1" fmla="*/ 71959 w 2479549"/>
              <a:gd name="connsiteY1" fmla="*/ 3713366 h 4615371"/>
              <a:gd name="connsiteX2" fmla="*/ 647306 w 2479549"/>
              <a:gd name="connsiteY2" fmla="*/ 2425249 h 4615371"/>
              <a:gd name="connsiteX3" fmla="*/ 2417169 w 2479549"/>
              <a:gd name="connsiteY3" fmla="*/ 1150002 h 4615371"/>
              <a:gd name="connsiteX4" fmla="*/ 1782734 w 2479549"/>
              <a:gd name="connsiteY4" fmla="*/ 0 h 4615371"/>
              <a:gd name="connsiteX0" fmla="*/ 2229064 w 2588642"/>
              <a:gd name="connsiteY0" fmla="*/ 4615212 h 4615382"/>
              <a:gd name="connsiteX1" fmla="*/ 62519 w 2588642"/>
              <a:gd name="connsiteY1" fmla="*/ 3747233 h 4615382"/>
              <a:gd name="connsiteX2" fmla="*/ 756399 w 2588642"/>
              <a:gd name="connsiteY2" fmla="*/ 2425249 h 4615382"/>
              <a:gd name="connsiteX3" fmla="*/ 2526262 w 2588642"/>
              <a:gd name="connsiteY3" fmla="*/ 1150002 h 4615382"/>
              <a:gd name="connsiteX4" fmla="*/ 1891827 w 2588642"/>
              <a:gd name="connsiteY4" fmla="*/ 0 h 4615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8642" h="4615382">
                <a:moveTo>
                  <a:pt x="2229064" y="4615212"/>
                </a:moveTo>
                <a:cubicBezTo>
                  <a:pt x="2242369" y="4626098"/>
                  <a:pt x="307963" y="4112227"/>
                  <a:pt x="62519" y="3747233"/>
                </a:cubicBezTo>
                <a:cubicBezTo>
                  <a:pt x="-182925" y="3382239"/>
                  <a:pt x="345775" y="2858121"/>
                  <a:pt x="756399" y="2425249"/>
                </a:cubicBezTo>
                <a:cubicBezTo>
                  <a:pt x="1167023" y="1992377"/>
                  <a:pt x="2252273" y="1489815"/>
                  <a:pt x="2526262" y="1150002"/>
                </a:cubicBezTo>
                <a:cubicBezTo>
                  <a:pt x="2800251" y="810189"/>
                  <a:pt x="2095027" y="130629"/>
                  <a:pt x="1891827" y="0"/>
                </a:cubicBezTo>
              </a:path>
            </a:pathLst>
          </a:custGeom>
          <a:noFill/>
          <a:ln w="31750"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 name="Freeform: Shape 1">
            <a:extLst>
              <a:ext uri="{FF2B5EF4-FFF2-40B4-BE49-F238E27FC236}">
                <a16:creationId xmlns:a16="http://schemas.microsoft.com/office/drawing/2014/main" id="{40EC555E-CD61-44B1-8A27-00522575F5A2}"/>
              </a:ext>
            </a:extLst>
          </p:cNvPr>
          <p:cNvSpPr/>
          <p:nvPr/>
        </p:nvSpPr>
        <p:spPr bwMode="auto">
          <a:xfrm>
            <a:off x="9456979" y="1523999"/>
            <a:ext cx="1293450" cy="4644571"/>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016000 w 1292889"/>
              <a:gd name="connsiteY0" fmla="*/ 4644571 h 4644571"/>
              <a:gd name="connsiteX1" fmla="*/ 1291772 w 1292889"/>
              <a:gd name="connsiteY1" fmla="*/ 3643086 h 4644571"/>
              <a:gd name="connsiteX2" fmla="*/ 899886 w 1292889"/>
              <a:gd name="connsiteY2" fmla="*/ 1103086 h 4644571"/>
              <a:gd name="connsiteX3" fmla="*/ 0 w 1292889"/>
              <a:gd name="connsiteY3" fmla="*/ 0 h 4644571"/>
              <a:gd name="connsiteX0" fmla="*/ 1016000 w 1293450"/>
              <a:gd name="connsiteY0" fmla="*/ 4644571 h 4644571"/>
              <a:gd name="connsiteX1" fmla="*/ 1291772 w 1293450"/>
              <a:gd name="connsiteY1" fmla="*/ 3643086 h 4644571"/>
              <a:gd name="connsiteX2" fmla="*/ 899886 w 1293450"/>
              <a:gd name="connsiteY2" fmla="*/ 1103086 h 4644571"/>
              <a:gd name="connsiteX3" fmla="*/ 0 w 1293450"/>
              <a:gd name="connsiteY3" fmla="*/ 0 h 4644571"/>
            </a:gdLst>
            <a:ahLst/>
            <a:cxnLst>
              <a:cxn ang="0">
                <a:pos x="connsiteX0" y="connsiteY0"/>
              </a:cxn>
              <a:cxn ang="0">
                <a:pos x="connsiteX1" y="connsiteY1"/>
              </a:cxn>
              <a:cxn ang="0">
                <a:pos x="connsiteX2" y="connsiteY2"/>
              </a:cxn>
              <a:cxn ang="0">
                <a:pos x="connsiteX3" y="connsiteY3"/>
              </a:cxn>
            </a:cxnLst>
            <a:rect l="l" t="t" r="r" b="b"/>
            <a:pathLst>
              <a:path w="1293450" h="4644571">
                <a:moveTo>
                  <a:pt x="1016000" y="4644571"/>
                </a:moveTo>
                <a:cubicBezTo>
                  <a:pt x="1159716" y="4453181"/>
                  <a:pt x="1311124" y="4233333"/>
                  <a:pt x="1291772" y="3643086"/>
                </a:cubicBezTo>
                <a:cubicBezTo>
                  <a:pt x="1260324" y="3077029"/>
                  <a:pt x="1115181" y="1710267"/>
                  <a:pt x="899886" y="1103086"/>
                </a:cubicBezTo>
                <a:cubicBezTo>
                  <a:pt x="684591" y="495905"/>
                  <a:pt x="203200" y="130629"/>
                  <a:pt x="0" y="0"/>
                </a:cubicBezTo>
              </a:path>
            </a:pathLst>
          </a:custGeom>
          <a:noFill/>
          <a:ln w="31750" cap="flat" cmpd="sng" algn="ctr">
            <a:solidFill>
              <a:schemeClr val="accent5"/>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65" name="TextBox 64">
            <a:extLst>
              <a:ext uri="{FF2B5EF4-FFF2-40B4-BE49-F238E27FC236}">
                <a16:creationId xmlns:a16="http://schemas.microsoft.com/office/drawing/2014/main" id="{153BCE16-C504-4875-A12A-14FB2A88B749}"/>
              </a:ext>
            </a:extLst>
          </p:cNvPr>
          <p:cNvSpPr txBox="1"/>
          <p:nvPr/>
        </p:nvSpPr>
        <p:spPr>
          <a:xfrm>
            <a:off x="10256801" y="1671894"/>
            <a:ext cx="1973617" cy="307777"/>
          </a:xfrm>
          <a:prstGeom prst="rect">
            <a:avLst/>
          </a:prstGeom>
          <a:noFill/>
        </p:spPr>
        <p:txBody>
          <a:bodyPr wrap="none" rtlCol="0">
            <a:spAutoFit/>
          </a:bodyPr>
          <a:lstStyle/>
          <a:p>
            <a:r>
              <a:rPr lang="en-US" sz="1400"/>
              <a:t>5GC IWK arch + SGW</a:t>
            </a:r>
          </a:p>
        </p:txBody>
      </p:sp>
    </p:spTree>
    <p:extLst>
      <p:ext uri="{BB962C8B-B14F-4D97-AF65-F5344CB8AC3E}">
        <p14:creationId xmlns:p14="http://schemas.microsoft.com/office/powerpoint/2010/main" val="16888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2"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Line 24"/>
          <p:cNvSpPr>
            <a:spLocks noChangeShapeType="1"/>
          </p:cNvSpPr>
          <p:nvPr/>
        </p:nvSpPr>
        <p:spPr bwMode="auto">
          <a:xfrm>
            <a:off x="6584537" y="6465348"/>
            <a:ext cx="5209598" cy="0"/>
          </a:xfrm>
          <a:prstGeom prst="line">
            <a:avLst/>
          </a:prstGeom>
          <a:noFill/>
          <a:ln w="25400">
            <a:solidFill>
              <a:schemeClr val="tx1"/>
            </a:solidFill>
            <a:round/>
            <a:headEnd type="triangle" w="lg" len="lg"/>
            <a:tailEnd type="triangle" w="lg" len="lg"/>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7" name="Rectangle: Rounded Corners 6">
            <a:extLst>
              <a:ext uri="{FF2B5EF4-FFF2-40B4-BE49-F238E27FC236}">
                <a16:creationId xmlns:a16="http://schemas.microsoft.com/office/drawing/2014/main" id="{5A2D524D-BFA5-4EAA-B4E8-3784ACF68C82}"/>
              </a:ext>
            </a:extLst>
          </p:cNvPr>
          <p:cNvSpPr/>
          <p:nvPr/>
        </p:nvSpPr>
        <p:spPr bwMode="auto">
          <a:xfrm>
            <a:off x="10124229" y="6192355"/>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3" name="Rectangle: Rounded Corners 2">
            <a:extLst>
              <a:ext uri="{FF2B5EF4-FFF2-40B4-BE49-F238E27FC236}">
                <a16:creationId xmlns:a16="http://schemas.microsoft.com/office/drawing/2014/main" id="{97767AEE-E285-4E0F-A69D-20D4A6C2ECD7}"/>
              </a:ext>
            </a:extLst>
          </p:cNvPr>
          <p:cNvSpPr/>
          <p:nvPr/>
        </p:nvSpPr>
        <p:spPr bwMode="auto">
          <a:xfrm>
            <a:off x="7050288" y="6020886"/>
            <a:ext cx="258323" cy="354693"/>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9" name="Rectangle 8">
            <a:extLst>
              <a:ext uri="{FF2B5EF4-FFF2-40B4-BE49-F238E27FC236}">
                <a16:creationId xmlns:a16="http://schemas.microsoft.com/office/drawing/2014/main" id="{C3B3B075-7CAE-4E69-B450-FF30659DE90E}"/>
              </a:ext>
            </a:extLst>
          </p:cNvPr>
          <p:cNvSpPr/>
          <p:nvPr/>
        </p:nvSpPr>
        <p:spPr bwMode="auto">
          <a:xfrm>
            <a:off x="6012611" y="2010174"/>
            <a:ext cx="2313738"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5" name="Content Placeholder 4"/>
          <p:cNvSpPr>
            <a:spLocks noGrp="1"/>
          </p:cNvSpPr>
          <p:nvPr>
            <p:ph sz="quarter" idx="10"/>
          </p:nvPr>
        </p:nvSpPr>
        <p:spPr>
          <a:xfrm>
            <a:off x="524933" y="1649314"/>
            <a:ext cx="5225305" cy="4322024"/>
          </a:xfrm>
        </p:spPr>
        <p:txBody>
          <a:bodyPr/>
          <a:lstStyle/>
          <a:p>
            <a:r>
              <a:rPr lang="en-US" altLang="sv-SE" sz="1800"/>
              <a:t>5GC capable devices (Option 2) always anchored in 5GC (also option 1 capable)</a:t>
            </a:r>
          </a:p>
          <a:p>
            <a:r>
              <a:rPr lang="en-US" altLang="sv-SE" sz="1800"/>
              <a:t>Legacy LTE only devices anchored in legacy EPC</a:t>
            </a:r>
          </a:p>
          <a:p>
            <a:r>
              <a:rPr lang="en-US" altLang="sv-SE" sz="1800"/>
              <a:t>IP session continuity ensured</a:t>
            </a:r>
          </a:p>
          <a:p>
            <a:pPr lvl="1"/>
            <a:r>
              <a:rPr lang="en-US" altLang="sv-SE" sz="1400"/>
              <a:t>SMF act as PGW CP for 5GC capable devices</a:t>
            </a:r>
          </a:p>
          <a:p>
            <a:pPr lvl="1"/>
            <a:r>
              <a:rPr lang="en-US" altLang="sv-SE" sz="1400"/>
              <a:t>UPF act as common anchor point for 5GC capable devices</a:t>
            </a:r>
          </a:p>
          <a:p>
            <a:pPr lvl="1"/>
            <a:r>
              <a:rPr lang="en-US" sz="1400"/>
              <a:t>* indicates 5GC NFs with EPC </a:t>
            </a:r>
            <a:r>
              <a:rPr lang="en-US" sz="1400" err="1"/>
              <a:t>iwk</a:t>
            </a:r>
            <a:r>
              <a:rPr lang="en-US" sz="1400"/>
              <a:t> capabilities</a:t>
            </a:r>
          </a:p>
          <a:p>
            <a:pPr lvl="1"/>
            <a:r>
              <a:rPr lang="sv-SE" altLang="sv-SE" sz="1400"/>
              <a:t>5</a:t>
            </a:r>
            <a:r>
              <a:rPr lang="en-US" altLang="sv-SE" sz="1400"/>
              <a:t>G Dual-Mode Core also include MME &amp; SGW functionality</a:t>
            </a:r>
          </a:p>
          <a:p>
            <a:r>
              <a:rPr lang="en-US" altLang="sv-SE" sz="1800"/>
              <a:t>New control plane interfaces</a:t>
            </a:r>
          </a:p>
          <a:p>
            <a:pPr lvl="1"/>
            <a:r>
              <a:rPr lang="en-US" altLang="sv-SE" sz="1400"/>
              <a:t>Connection between AMF and MME for context transfer (N26)</a:t>
            </a:r>
          </a:p>
          <a:p>
            <a:r>
              <a:rPr lang="en-US" altLang="sv-SE" sz="1800"/>
              <a:t>No impact on</a:t>
            </a:r>
          </a:p>
          <a:p>
            <a:pPr lvl="1"/>
            <a:r>
              <a:rPr lang="en-US" altLang="sv-SE" sz="1400"/>
              <a:t>legacy terminal fleet</a:t>
            </a:r>
          </a:p>
          <a:p>
            <a:pPr lvl="1"/>
            <a:r>
              <a:rPr lang="en-US" altLang="sv-SE" sz="1400"/>
              <a:t>existing customer base</a:t>
            </a:r>
          </a:p>
          <a:p>
            <a:pPr lvl="1">
              <a:lnSpc>
                <a:spcPct val="90000"/>
              </a:lnSpc>
            </a:pPr>
            <a:endParaRPr lang="en-US" sz="1800"/>
          </a:p>
        </p:txBody>
      </p:sp>
      <p:sp>
        <p:nvSpPr>
          <p:cNvPr id="4" name="Title 3"/>
          <p:cNvSpPr>
            <a:spLocks noGrp="1"/>
          </p:cNvSpPr>
          <p:nvPr>
            <p:ph type="title"/>
          </p:nvPr>
        </p:nvSpPr>
        <p:spPr>
          <a:xfrm>
            <a:off x="524935" y="239714"/>
            <a:ext cx="10656412" cy="1085371"/>
          </a:xfrm>
        </p:spPr>
        <p:txBody>
          <a:bodyPr>
            <a:normAutofit/>
          </a:bodyPr>
          <a:lstStyle/>
          <a:p>
            <a:r>
              <a:rPr lang="en-US">
                <a:solidFill>
                  <a:srgbClr val="181818"/>
                </a:solidFill>
              </a:rPr>
              <a:t>5GC-EPC tight interworking architecture – alt. c</a:t>
            </a:r>
            <a:br>
              <a:rPr lang="en-US" sz="3200">
                <a:solidFill>
                  <a:srgbClr val="181818"/>
                </a:solidFill>
              </a:rPr>
            </a:br>
            <a:r>
              <a:rPr lang="en-US" sz="2400">
                <a:solidFill>
                  <a:srgbClr val="181818"/>
                </a:solidFill>
              </a:rPr>
              <a:t>User plane path for </a:t>
            </a:r>
            <a:r>
              <a:rPr lang="en-US" altLang="sv-SE" sz="2400"/>
              <a:t>5GC capable </a:t>
            </a:r>
            <a:r>
              <a:rPr lang="en-US" sz="2400">
                <a:solidFill>
                  <a:srgbClr val="181818"/>
                </a:solidFill>
              </a:rPr>
              <a:t>UEs</a:t>
            </a:r>
            <a:endParaRPr lang="en-US" sz="3100"/>
          </a:p>
        </p:txBody>
      </p:sp>
      <p:sp>
        <p:nvSpPr>
          <p:cNvPr id="190" name="Freeform 6"/>
          <p:cNvSpPr>
            <a:spLocks/>
          </p:cNvSpPr>
          <p:nvPr/>
        </p:nvSpPr>
        <p:spPr bwMode="auto">
          <a:xfrm rot="16200000">
            <a:off x="7322650" y="5863893"/>
            <a:ext cx="294690" cy="2076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91" name="Straight Connector 190"/>
          <p:cNvCxnSpPr>
            <a:cxnSpLocks/>
            <a:stCxn id="77" idx="0"/>
          </p:cNvCxnSpPr>
          <p:nvPr/>
        </p:nvCxnSpPr>
        <p:spPr bwMode="auto">
          <a:xfrm flipH="1" flipV="1">
            <a:off x="9561746" y="1793972"/>
            <a:ext cx="532166" cy="407236"/>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236" name="Straight Connector 235"/>
          <p:cNvCxnSpPr>
            <a:cxnSpLocks/>
            <a:stCxn id="82" idx="2"/>
            <a:endCxn id="150" idx="0"/>
          </p:cNvCxnSpPr>
          <p:nvPr/>
        </p:nvCxnSpPr>
        <p:spPr bwMode="auto">
          <a:xfrm flipH="1">
            <a:off x="7497326" y="4630355"/>
            <a:ext cx="2470463" cy="495954"/>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281" name="Straight Connector 280"/>
          <p:cNvCxnSpPr>
            <a:cxnSpLocks/>
            <a:stCxn id="77" idx="2"/>
            <a:endCxn id="153" idx="0"/>
          </p:cNvCxnSpPr>
          <p:nvPr/>
        </p:nvCxnSpPr>
        <p:spPr bwMode="auto">
          <a:xfrm>
            <a:off x="10093912" y="3074965"/>
            <a:ext cx="776794" cy="2025891"/>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282" name="Freeform 6"/>
          <p:cNvSpPr>
            <a:spLocks/>
          </p:cNvSpPr>
          <p:nvPr/>
        </p:nvSpPr>
        <p:spPr bwMode="auto">
          <a:xfrm rot="15918123">
            <a:off x="10698717" y="5958619"/>
            <a:ext cx="374431" cy="128866"/>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283" name="Straight Connector 282"/>
          <p:cNvCxnSpPr>
            <a:cxnSpLocks/>
            <a:stCxn id="154" idx="2"/>
            <a:endCxn id="153" idx="0"/>
          </p:cNvCxnSpPr>
          <p:nvPr/>
        </p:nvCxnSpPr>
        <p:spPr bwMode="auto">
          <a:xfrm flipH="1">
            <a:off x="10870706" y="4630355"/>
            <a:ext cx="472194" cy="470501"/>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6" name="Straight Connector 305"/>
          <p:cNvCxnSpPr>
            <a:cxnSpLocks/>
            <a:stCxn id="76" idx="2"/>
            <a:endCxn id="154" idx="0"/>
          </p:cNvCxnSpPr>
          <p:nvPr/>
        </p:nvCxnSpPr>
        <p:spPr bwMode="auto">
          <a:xfrm flipH="1">
            <a:off x="11342900" y="3722149"/>
            <a:ext cx="39" cy="129041"/>
          </a:xfrm>
          <a:prstGeom prst="line">
            <a:avLst/>
          </a:prstGeom>
          <a:solidFill>
            <a:schemeClr val="accent1"/>
          </a:solidFill>
          <a:ln w="19050" cap="flat" cmpd="sng" algn="ctr">
            <a:solidFill>
              <a:schemeClr val="tx1"/>
            </a:solidFill>
            <a:prstDash val="sysDash"/>
            <a:round/>
            <a:headEnd type="none" w="med" len="med"/>
            <a:tailEnd type="none" w="med" len="med"/>
          </a:ln>
          <a:effectLst/>
        </p:spPr>
      </p:cxnSp>
      <p:cxnSp>
        <p:nvCxnSpPr>
          <p:cNvPr id="308" name="Straight Connector 307"/>
          <p:cNvCxnSpPr>
            <a:cxnSpLocks/>
            <a:stCxn id="155" idx="3"/>
            <a:endCxn id="76" idx="0"/>
          </p:cNvCxnSpPr>
          <p:nvPr/>
        </p:nvCxnSpPr>
        <p:spPr bwMode="auto">
          <a:xfrm>
            <a:off x="10614230" y="2640744"/>
            <a:ext cx="728709" cy="207648"/>
          </a:xfrm>
          <a:prstGeom prst="line">
            <a:avLst/>
          </a:prstGeom>
          <a:solidFill>
            <a:schemeClr val="accent1"/>
          </a:solidFill>
          <a:ln w="19050" cap="flat" cmpd="sng" algn="ctr">
            <a:solidFill>
              <a:schemeClr val="tx1"/>
            </a:solidFill>
            <a:prstDash val="sysDash"/>
            <a:round/>
            <a:headEnd type="none" w="med" len="med"/>
            <a:tailEnd type="none" w="med" len="med"/>
          </a:ln>
          <a:effectLst/>
        </p:spPr>
      </p:cxnSp>
      <p:grpSp>
        <p:nvGrpSpPr>
          <p:cNvPr id="316" name="Group 315"/>
          <p:cNvGrpSpPr/>
          <p:nvPr/>
        </p:nvGrpSpPr>
        <p:grpSpPr>
          <a:xfrm>
            <a:off x="8416835" y="1065951"/>
            <a:ext cx="1375355" cy="862393"/>
            <a:chOff x="9038846" y="4514377"/>
            <a:chExt cx="2250397" cy="1719278"/>
          </a:xfrm>
        </p:grpSpPr>
        <p:sp>
          <p:nvSpPr>
            <p:cNvPr id="317"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p:spPr>
          <p:txBody>
            <a:bodyPr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Text Box 35"/>
            <p:cNvSpPr txBox="1">
              <a:spLocks noChangeAspect="1" noChangeArrowheads="1"/>
            </p:cNvSpPr>
            <p:nvPr/>
          </p:nvSpPr>
          <p:spPr bwMode="auto">
            <a:xfrm>
              <a:off x="9409282" y="5035527"/>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IP services </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rPr>
                <a:t>network </a:t>
              </a:r>
            </a:p>
          </p:txBody>
        </p:sp>
      </p:grpSp>
      <p:cxnSp>
        <p:nvCxnSpPr>
          <p:cNvPr id="319" name="Straight Connector 318"/>
          <p:cNvCxnSpPr>
            <a:cxnSpLocks/>
            <a:stCxn id="150" idx="0"/>
            <a:endCxn id="77" idx="2"/>
          </p:cNvCxnSpPr>
          <p:nvPr/>
        </p:nvCxnSpPr>
        <p:spPr bwMode="auto">
          <a:xfrm flipV="1">
            <a:off x="7497326" y="3074965"/>
            <a:ext cx="2596586" cy="2051344"/>
          </a:xfrm>
          <a:prstGeom prst="line">
            <a:avLst/>
          </a:prstGeom>
          <a:solidFill>
            <a:schemeClr val="accent1"/>
          </a:solidFill>
          <a:ln w="22225" cap="flat" cmpd="sng" algn="ctr">
            <a:solidFill>
              <a:schemeClr val="tx1"/>
            </a:solidFill>
            <a:prstDash val="solid"/>
            <a:round/>
            <a:headEnd type="none" w="med" len="med"/>
            <a:tailEnd type="none" w="med" len="med"/>
          </a:ln>
          <a:effectLst/>
        </p:spPr>
      </p:cxnSp>
      <p:cxnSp>
        <p:nvCxnSpPr>
          <p:cNvPr id="324" name="Straight Connector 323"/>
          <p:cNvCxnSpPr>
            <a:cxnSpLocks/>
          </p:cNvCxnSpPr>
          <p:nvPr/>
        </p:nvCxnSpPr>
        <p:spPr bwMode="auto">
          <a:xfrm flipV="1">
            <a:off x="10161801" y="4510931"/>
            <a:ext cx="1078520" cy="2470"/>
          </a:xfrm>
          <a:prstGeom prst="line">
            <a:avLst/>
          </a:prstGeom>
          <a:solidFill>
            <a:schemeClr val="accent1"/>
          </a:solidFill>
          <a:ln w="19050" cap="flat" cmpd="sng" algn="ctr">
            <a:solidFill>
              <a:schemeClr val="tx1"/>
            </a:solidFill>
            <a:prstDash val="sysDash"/>
            <a:round/>
            <a:headEnd type="none" w="med" len="med"/>
            <a:tailEnd type="none" w="med" len="med"/>
          </a:ln>
          <a:effectLst/>
        </p:spPr>
      </p:cxnSp>
      <p:sp>
        <p:nvSpPr>
          <p:cNvPr id="101" name="TextBox 100">
            <a:extLst>
              <a:ext uri="{FF2B5EF4-FFF2-40B4-BE49-F238E27FC236}">
                <a16:creationId xmlns:a16="http://schemas.microsoft.com/office/drawing/2014/main" id="{9E9EA7EE-1990-4E5B-AAAF-FF0A4174DC72}"/>
              </a:ext>
            </a:extLst>
          </p:cNvPr>
          <p:cNvSpPr txBox="1"/>
          <p:nvPr/>
        </p:nvSpPr>
        <p:spPr>
          <a:xfrm>
            <a:off x="8839512" y="4051635"/>
            <a:ext cx="593432" cy="307777"/>
          </a:xfrm>
          <a:prstGeom prst="rect">
            <a:avLst/>
          </a:prstGeom>
          <a:noFill/>
        </p:spPr>
        <p:txBody>
          <a:bodyPr wrap="none" rtlCol="0">
            <a:spAutoFit/>
          </a:bodyPr>
          <a:lstStyle/>
          <a:p>
            <a:r>
              <a:rPr lang="en-US" sz="1400"/>
              <a:t>S1-U</a:t>
            </a:r>
          </a:p>
        </p:txBody>
      </p:sp>
      <p:sp>
        <p:nvSpPr>
          <p:cNvPr id="103" name="TextBox 102">
            <a:extLst>
              <a:ext uri="{FF2B5EF4-FFF2-40B4-BE49-F238E27FC236}">
                <a16:creationId xmlns:a16="http://schemas.microsoft.com/office/drawing/2014/main" id="{CFD6ABBE-A327-4D7D-8C47-7327D9217954}"/>
              </a:ext>
            </a:extLst>
          </p:cNvPr>
          <p:cNvSpPr txBox="1"/>
          <p:nvPr/>
        </p:nvSpPr>
        <p:spPr>
          <a:xfrm>
            <a:off x="10173097" y="4452945"/>
            <a:ext cx="511679" cy="307777"/>
          </a:xfrm>
          <a:prstGeom prst="rect">
            <a:avLst/>
          </a:prstGeom>
          <a:noFill/>
        </p:spPr>
        <p:txBody>
          <a:bodyPr wrap="none" rtlCol="0">
            <a:spAutoFit/>
          </a:bodyPr>
          <a:lstStyle/>
          <a:p>
            <a:r>
              <a:rPr lang="en-US" sz="1400"/>
              <a:t>N26</a:t>
            </a:r>
          </a:p>
        </p:txBody>
      </p:sp>
      <p:sp>
        <p:nvSpPr>
          <p:cNvPr id="6" name="TextBox 5">
            <a:extLst>
              <a:ext uri="{FF2B5EF4-FFF2-40B4-BE49-F238E27FC236}">
                <a16:creationId xmlns:a16="http://schemas.microsoft.com/office/drawing/2014/main" id="{77C97E59-48C8-44E9-A960-11825083B36B}"/>
              </a:ext>
            </a:extLst>
          </p:cNvPr>
          <p:cNvSpPr txBox="1"/>
          <p:nvPr/>
        </p:nvSpPr>
        <p:spPr>
          <a:xfrm>
            <a:off x="6051279" y="1675202"/>
            <a:ext cx="1181734" cy="307777"/>
          </a:xfrm>
          <a:prstGeom prst="rect">
            <a:avLst/>
          </a:prstGeom>
          <a:noFill/>
        </p:spPr>
        <p:txBody>
          <a:bodyPr wrap="none" rtlCol="0">
            <a:spAutoFit/>
          </a:bodyPr>
          <a:lstStyle/>
          <a:p>
            <a:r>
              <a:rPr lang="en-US" sz="1400"/>
              <a:t>Legacy EPC</a:t>
            </a:r>
          </a:p>
        </p:txBody>
      </p:sp>
      <p:sp>
        <p:nvSpPr>
          <p:cNvPr id="142" name="Rectangle 141">
            <a:extLst>
              <a:ext uri="{FF2B5EF4-FFF2-40B4-BE49-F238E27FC236}">
                <a16:creationId xmlns:a16="http://schemas.microsoft.com/office/drawing/2014/main" id="{4C2BFF0C-2FB8-4F71-A79B-ABFA8DC652BB}"/>
              </a:ext>
            </a:extLst>
          </p:cNvPr>
          <p:cNvSpPr/>
          <p:nvPr/>
        </p:nvSpPr>
        <p:spPr bwMode="auto">
          <a:xfrm>
            <a:off x="9432944" y="1990376"/>
            <a:ext cx="2607869" cy="2839781"/>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50" name="TextBox 149">
            <a:extLst>
              <a:ext uri="{FF2B5EF4-FFF2-40B4-BE49-F238E27FC236}">
                <a16:creationId xmlns:a16="http://schemas.microsoft.com/office/drawing/2014/main" id="{CB5CBBAC-611B-44BD-A53A-F41A29B75F2C}"/>
              </a:ext>
            </a:extLst>
          </p:cNvPr>
          <p:cNvSpPr txBox="1"/>
          <p:nvPr/>
        </p:nvSpPr>
        <p:spPr bwMode="auto">
          <a:xfrm>
            <a:off x="7257083" y="5126309"/>
            <a:ext cx="480486" cy="665247"/>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2">
                    <a:lumMod val="75000"/>
                  </a:schemeClr>
                </a:solidFill>
                <a:latin typeface="Ericsson Technical Icons" panose="00000500000000000000" pitchFamily="2" charset="0"/>
              </a:rPr>
              <a:t>B</a:t>
            </a:r>
            <a:endParaRPr lang="en-US" sz="1800">
              <a:solidFill>
                <a:schemeClr val="accent2">
                  <a:lumMod val="75000"/>
                </a:schemeClr>
              </a:solidFill>
            </a:endParaRPr>
          </a:p>
          <a:p>
            <a:pPr lvl="0" algn="ctr">
              <a:spcBef>
                <a:spcPts val="0"/>
              </a:spcBef>
              <a:buClr>
                <a:srgbClr val="181818"/>
              </a:buClr>
            </a:pPr>
            <a:br>
              <a:rPr lang="en-US" sz="800">
                <a:solidFill>
                  <a:schemeClr val="accent2">
                    <a:lumMod val="75000"/>
                  </a:schemeClr>
                </a:solidFill>
              </a:rPr>
            </a:br>
            <a:r>
              <a:rPr lang="en-US" sz="800">
                <a:solidFill>
                  <a:schemeClr val="accent2">
                    <a:lumMod val="75000"/>
                  </a:schemeClr>
                </a:solidFill>
              </a:rPr>
              <a:t>E-UTRAN</a:t>
            </a:r>
            <a:endParaRPr lang="en-US" sz="900">
              <a:solidFill>
                <a:schemeClr val="accent2">
                  <a:lumMod val="75000"/>
                </a:schemeClr>
              </a:solidFill>
            </a:endParaRPr>
          </a:p>
        </p:txBody>
      </p:sp>
      <p:sp>
        <p:nvSpPr>
          <p:cNvPr id="151" name="TextBox 150">
            <a:extLst>
              <a:ext uri="{FF2B5EF4-FFF2-40B4-BE49-F238E27FC236}">
                <a16:creationId xmlns:a16="http://schemas.microsoft.com/office/drawing/2014/main" id="{389A6B95-9C71-43C8-BE48-A2C4343B1F1E}"/>
              </a:ext>
            </a:extLst>
          </p:cNvPr>
          <p:cNvSpPr txBox="1"/>
          <p:nvPr/>
        </p:nvSpPr>
        <p:spPr bwMode="auto">
          <a:xfrm>
            <a:off x="9505600" y="736441"/>
            <a:ext cx="480486" cy="701644"/>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100">
                <a:solidFill>
                  <a:schemeClr val="accent2">
                    <a:lumMod val="75000"/>
                  </a:schemeClr>
                </a:solidFill>
              </a:rPr>
            </a:br>
            <a:r>
              <a:rPr lang="en-US" sz="1100">
                <a:solidFill>
                  <a:schemeClr val="accent2">
                    <a:lumMod val="75000"/>
                  </a:schemeClr>
                </a:solidFill>
              </a:rPr>
              <a:t>IMS</a:t>
            </a:r>
            <a:endParaRPr lang="en-US" sz="1050">
              <a:solidFill>
                <a:schemeClr val="accent2">
                  <a:lumMod val="75000"/>
                </a:schemeClr>
              </a:solidFill>
            </a:endParaRPr>
          </a:p>
        </p:txBody>
      </p:sp>
      <p:sp>
        <p:nvSpPr>
          <p:cNvPr id="153" name="TextBox 152">
            <a:extLst>
              <a:ext uri="{FF2B5EF4-FFF2-40B4-BE49-F238E27FC236}">
                <a16:creationId xmlns:a16="http://schemas.microsoft.com/office/drawing/2014/main" id="{99812DC5-EA53-45B8-90FC-44CADA2AB0ED}"/>
              </a:ext>
            </a:extLst>
          </p:cNvPr>
          <p:cNvSpPr txBox="1"/>
          <p:nvPr/>
        </p:nvSpPr>
        <p:spPr bwMode="auto">
          <a:xfrm>
            <a:off x="10630463" y="5100856"/>
            <a:ext cx="480486" cy="690700"/>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buClr>
                <a:schemeClr val="tx1"/>
              </a:buClr>
            </a:pPr>
            <a:r>
              <a:rPr lang="en-US" sz="1800">
                <a:solidFill>
                  <a:schemeClr val="accent1"/>
                </a:solidFill>
                <a:latin typeface="Ericsson Technical Icons" panose="00000500000000000000" pitchFamily="2" charset="0"/>
              </a:rPr>
              <a:t>B</a:t>
            </a:r>
            <a:endParaRPr lang="en-US" sz="1800">
              <a:solidFill>
                <a:schemeClr val="accent1"/>
              </a:solidFill>
            </a:endParaRPr>
          </a:p>
          <a:p>
            <a:pPr algn="ctr">
              <a:buClr>
                <a:schemeClr val="tx1"/>
              </a:buClr>
            </a:pPr>
            <a:r>
              <a:rPr lang="en-US" sz="1050">
                <a:solidFill>
                  <a:schemeClr val="accent1"/>
                </a:solidFill>
              </a:rPr>
              <a:t>NG-</a:t>
            </a:r>
            <a:br>
              <a:rPr lang="en-US" sz="1050">
                <a:solidFill>
                  <a:schemeClr val="accent1"/>
                </a:solidFill>
              </a:rPr>
            </a:br>
            <a:r>
              <a:rPr lang="en-US" sz="1050">
                <a:solidFill>
                  <a:schemeClr val="accent1"/>
                </a:solidFill>
              </a:rPr>
              <a:t>RAN</a:t>
            </a:r>
          </a:p>
        </p:txBody>
      </p:sp>
      <p:sp>
        <p:nvSpPr>
          <p:cNvPr id="154" name="TextBox 153">
            <a:extLst>
              <a:ext uri="{FF2B5EF4-FFF2-40B4-BE49-F238E27FC236}">
                <a16:creationId xmlns:a16="http://schemas.microsoft.com/office/drawing/2014/main" id="{F27F9012-F078-4286-A073-68BD0B5D04D2}"/>
              </a:ext>
            </a:extLst>
          </p:cNvPr>
          <p:cNvSpPr txBox="1"/>
          <p:nvPr/>
        </p:nvSpPr>
        <p:spPr bwMode="auto">
          <a:xfrm>
            <a:off x="11102657" y="3851190"/>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AMF</a:t>
            </a:r>
            <a:br>
              <a:rPr lang="en-US" sz="1050">
                <a:solidFill>
                  <a:schemeClr val="accent1"/>
                </a:solidFill>
              </a:rPr>
            </a:br>
            <a:endParaRPr lang="en-US" sz="1050">
              <a:solidFill>
                <a:schemeClr val="accent1"/>
              </a:solidFill>
            </a:endParaRPr>
          </a:p>
        </p:txBody>
      </p:sp>
      <p:sp>
        <p:nvSpPr>
          <p:cNvPr id="155" name="TextBox 154">
            <a:extLst>
              <a:ext uri="{FF2B5EF4-FFF2-40B4-BE49-F238E27FC236}">
                <a16:creationId xmlns:a16="http://schemas.microsoft.com/office/drawing/2014/main" id="{EFDCE829-6982-415D-85D2-B38BA75FEC70}"/>
              </a:ext>
            </a:extLst>
          </p:cNvPr>
          <p:cNvSpPr txBox="1"/>
          <p:nvPr/>
        </p:nvSpPr>
        <p:spPr bwMode="auto">
          <a:xfrm>
            <a:off x="10133744" y="225116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g</a:t>
            </a:r>
          </a:p>
          <a:p>
            <a:pPr algn="ctr">
              <a:lnSpc>
                <a:spcPct val="90000"/>
              </a:lnSpc>
              <a:spcBef>
                <a:spcPts val="0"/>
              </a:spcBef>
              <a:buClr>
                <a:schemeClr val="tx1"/>
              </a:buClr>
            </a:pPr>
            <a:endParaRPr lang="en-US" sz="1050">
              <a:solidFill>
                <a:schemeClr val="accent1"/>
              </a:solidFill>
            </a:endParaRPr>
          </a:p>
          <a:p>
            <a:pPr algn="ctr">
              <a:lnSpc>
                <a:spcPct val="90000"/>
              </a:lnSpc>
              <a:spcBef>
                <a:spcPts val="0"/>
              </a:spcBef>
              <a:buClr>
                <a:schemeClr val="tx1"/>
              </a:buClr>
            </a:pPr>
            <a:r>
              <a:rPr lang="en-US" sz="1200">
                <a:solidFill>
                  <a:schemeClr val="accent1"/>
                </a:solidFill>
              </a:rPr>
              <a:t>UPF*</a:t>
            </a:r>
            <a:endParaRPr lang="en-US" sz="1000">
              <a:solidFill>
                <a:schemeClr val="accent1"/>
              </a:solidFill>
            </a:endParaRPr>
          </a:p>
        </p:txBody>
      </p:sp>
      <p:sp>
        <p:nvSpPr>
          <p:cNvPr id="156" name="TextBox 155">
            <a:extLst>
              <a:ext uri="{FF2B5EF4-FFF2-40B4-BE49-F238E27FC236}">
                <a16:creationId xmlns:a16="http://schemas.microsoft.com/office/drawing/2014/main" id="{E820A85B-CB1C-46A6-A7FE-68CA04F131A9}"/>
              </a:ext>
            </a:extLst>
          </p:cNvPr>
          <p:cNvSpPr txBox="1"/>
          <p:nvPr/>
        </p:nvSpPr>
        <p:spPr bwMode="auto">
          <a:xfrm>
            <a:off x="11393732" y="2899195"/>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SMF*</a:t>
            </a:r>
            <a:br>
              <a:rPr lang="en-US" sz="1050">
                <a:solidFill>
                  <a:schemeClr val="accent1"/>
                </a:solidFill>
              </a:rPr>
            </a:br>
            <a:endParaRPr lang="en-US" sz="1050">
              <a:solidFill>
                <a:schemeClr val="accent1"/>
              </a:solidFill>
            </a:endParaRPr>
          </a:p>
        </p:txBody>
      </p:sp>
      <p:sp>
        <p:nvSpPr>
          <p:cNvPr id="157" name="TextBox 156">
            <a:extLst>
              <a:ext uri="{FF2B5EF4-FFF2-40B4-BE49-F238E27FC236}">
                <a16:creationId xmlns:a16="http://schemas.microsoft.com/office/drawing/2014/main" id="{AF952DDE-8850-4B81-B152-45B1392F0E1C}"/>
              </a:ext>
            </a:extLst>
          </p:cNvPr>
          <p:cNvSpPr txBox="1"/>
          <p:nvPr/>
        </p:nvSpPr>
        <p:spPr bwMode="auto">
          <a:xfrm>
            <a:off x="6324126" y="3869829"/>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6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endParaRPr lang="en-US" sz="1000">
              <a:solidFill>
                <a:schemeClr val="accent2">
                  <a:lumMod val="75000"/>
                </a:schemeClr>
              </a:solidFill>
            </a:endParaRPr>
          </a:p>
          <a:p>
            <a:pPr algn="ctr">
              <a:lnSpc>
                <a:spcPct val="90000"/>
              </a:lnSpc>
              <a:spcBef>
                <a:spcPts val="0"/>
              </a:spcBef>
              <a:buClr>
                <a:schemeClr val="tx1"/>
              </a:buClr>
            </a:pPr>
            <a:r>
              <a:rPr lang="en-US" sz="1200">
                <a:solidFill>
                  <a:schemeClr val="accent2">
                    <a:lumMod val="75000"/>
                  </a:schemeClr>
                </a:solidFill>
              </a:rPr>
              <a:t>MME</a:t>
            </a:r>
            <a:endParaRPr lang="en-US" sz="1050">
              <a:solidFill>
                <a:schemeClr val="accent2">
                  <a:lumMod val="75000"/>
                </a:schemeClr>
              </a:solidFill>
            </a:endParaRPr>
          </a:p>
        </p:txBody>
      </p:sp>
      <p:grpSp>
        <p:nvGrpSpPr>
          <p:cNvPr id="131" name="Group 130">
            <a:extLst>
              <a:ext uri="{FF2B5EF4-FFF2-40B4-BE49-F238E27FC236}">
                <a16:creationId xmlns:a16="http://schemas.microsoft.com/office/drawing/2014/main" id="{04CB76AD-3EF7-45D8-B270-4C71F71132DE}"/>
              </a:ext>
            </a:extLst>
          </p:cNvPr>
          <p:cNvGrpSpPr/>
          <p:nvPr/>
        </p:nvGrpSpPr>
        <p:grpSpPr>
          <a:xfrm>
            <a:off x="1808212" y="5791559"/>
            <a:ext cx="3082969" cy="493973"/>
            <a:chOff x="6947998" y="6108834"/>
            <a:chExt cx="3082969" cy="493973"/>
          </a:xfrm>
        </p:grpSpPr>
        <p:cxnSp>
          <p:nvCxnSpPr>
            <p:cNvPr id="133" name="Straight Connector 132">
              <a:extLst>
                <a:ext uri="{FF2B5EF4-FFF2-40B4-BE49-F238E27FC236}">
                  <a16:creationId xmlns:a16="http://schemas.microsoft.com/office/drawing/2014/main" id="{490E6D15-9CA4-4F80-8C4F-4E33A3A6D8F0}"/>
                </a:ext>
              </a:extLst>
            </p:cNvPr>
            <p:cNvCxnSpPr>
              <a:cxnSpLocks/>
            </p:cNvCxnSpPr>
            <p:nvPr/>
          </p:nvCxnSpPr>
          <p:spPr bwMode="auto">
            <a:xfrm>
              <a:off x="6947998" y="6429554"/>
              <a:ext cx="432553" cy="0"/>
            </a:xfrm>
            <a:prstGeom prst="line">
              <a:avLst/>
            </a:prstGeom>
            <a:noFill/>
            <a:ln w="31750" cap="flat" cmpd="sng" algn="ctr">
              <a:solidFill>
                <a:schemeClr val="accent2"/>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D400F1D1-2818-4C41-AD40-95B0A1A0F706}"/>
                </a:ext>
              </a:extLst>
            </p:cNvPr>
            <p:cNvSpPr txBox="1"/>
            <p:nvPr/>
          </p:nvSpPr>
          <p:spPr bwMode="auto">
            <a:xfrm>
              <a:off x="7480942" y="6108834"/>
              <a:ext cx="2550025" cy="493973"/>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100"/>
                <a:t> </a:t>
              </a:r>
            </a:p>
            <a:p>
              <a:pPr>
                <a:lnSpc>
                  <a:spcPct val="150000"/>
                </a:lnSpc>
                <a:buClr>
                  <a:schemeClr val="tx1"/>
                </a:buClr>
              </a:pPr>
              <a:r>
                <a:rPr lang="en-US" sz="1100"/>
                <a:t>Voice and internet user plane path for 5GC capable devices over 4G</a:t>
              </a:r>
            </a:p>
            <a:p>
              <a:pPr>
                <a:buClr>
                  <a:schemeClr val="tx1"/>
                </a:buClr>
              </a:pPr>
              <a:r>
                <a:rPr lang="en-US" sz="1100"/>
                <a:t>Voice and internet user plane path for 5GC capable devices over 5G</a:t>
              </a:r>
            </a:p>
            <a:p>
              <a:pPr algn="l">
                <a:buClr>
                  <a:schemeClr val="tx1"/>
                </a:buClr>
              </a:pPr>
              <a:endParaRPr lang="en-US" sz="1100"/>
            </a:p>
          </p:txBody>
        </p:sp>
      </p:grpSp>
      <p:cxnSp>
        <p:nvCxnSpPr>
          <p:cNvPr id="63" name="Straight Connector 62">
            <a:extLst>
              <a:ext uri="{FF2B5EF4-FFF2-40B4-BE49-F238E27FC236}">
                <a16:creationId xmlns:a16="http://schemas.microsoft.com/office/drawing/2014/main" id="{277E4F94-EF0C-4EFB-8831-7EF6BF50B4D0}"/>
              </a:ext>
            </a:extLst>
          </p:cNvPr>
          <p:cNvCxnSpPr>
            <a:cxnSpLocks/>
          </p:cNvCxnSpPr>
          <p:nvPr/>
        </p:nvCxnSpPr>
        <p:spPr bwMode="auto">
          <a:xfrm>
            <a:off x="1808211" y="6300536"/>
            <a:ext cx="432553" cy="0"/>
          </a:xfrm>
          <a:prstGeom prst="line">
            <a:avLst/>
          </a:prstGeom>
          <a:noFill/>
          <a:ln w="31750" cap="flat" cmpd="sng" algn="ctr">
            <a:solidFill>
              <a:schemeClr val="accent5"/>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C665A8BD-ECA3-4D34-8381-2F37563EB0A7}"/>
              </a:ext>
            </a:extLst>
          </p:cNvPr>
          <p:cNvCxnSpPr>
            <a:cxnSpLocks/>
            <a:stCxn id="82" idx="0"/>
            <a:endCxn id="76" idx="1"/>
          </p:cNvCxnSpPr>
          <p:nvPr/>
        </p:nvCxnSpPr>
        <p:spPr bwMode="auto">
          <a:xfrm flipV="1">
            <a:off x="9967789" y="3285271"/>
            <a:ext cx="777692" cy="565919"/>
          </a:xfrm>
          <a:prstGeom prst="line">
            <a:avLst/>
          </a:prstGeom>
          <a:solidFill>
            <a:schemeClr val="accent1"/>
          </a:solidFill>
          <a:ln w="19050" cap="flat" cmpd="sng" algn="ctr">
            <a:solidFill>
              <a:schemeClr val="tx1"/>
            </a:solidFill>
            <a:prstDash val="sysDash"/>
            <a:round/>
            <a:headEnd type="none" w="med" len="med"/>
            <a:tailEnd type="none" w="med" len="med"/>
          </a:ln>
          <a:effectLst/>
        </p:spPr>
      </p:cxnSp>
      <p:sp>
        <p:nvSpPr>
          <p:cNvPr id="67" name="TextBox 66">
            <a:extLst>
              <a:ext uri="{FF2B5EF4-FFF2-40B4-BE49-F238E27FC236}">
                <a16:creationId xmlns:a16="http://schemas.microsoft.com/office/drawing/2014/main" id="{50833175-3660-4B70-AB04-7DC142B3AAEB}"/>
              </a:ext>
            </a:extLst>
          </p:cNvPr>
          <p:cNvSpPr txBox="1"/>
          <p:nvPr/>
        </p:nvSpPr>
        <p:spPr>
          <a:xfrm>
            <a:off x="9747307" y="3512003"/>
            <a:ext cx="490327" cy="307777"/>
          </a:xfrm>
          <a:prstGeom prst="rect">
            <a:avLst/>
          </a:prstGeom>
          <a:noFill/>
        </p:spPr>
        <p:txBody>
          <a:bodyPr wrap="none" rtlCol="0">
            <a:spAutoFit/>
          </a:bodyPr>
          <a:lstStyle/>
          <a:p>
            <a:r>
              <a:rPr lang="en-US" sz="1400"/>
              <a:t>S11</a:t>
            </a:r>
          </a:p>
        </p:txBody>
      </p:sp>
      <p:grpSp>
        <p:nvGrpSpPr>
          <p:cNvPr id="58" name="Group 57">
            <a:extLst>
              <a:ext uri="{FF2B5EF4-FFF2-40B4-BE49-F238E27FC236}">
                <a16:creationId xmlns:a16="http://schemas.microsoft.com/office/drawing/2014/main" id="{64D198EA-59B5-4456-B7E4-A08D2022E8C4}"/>
              </a:ext>
            </a:extLst>
          </p:cNvPr>
          <p:cNvGrpSpPr/>
          <p:nvPr/>
        </p:nvGrpSpPr>
        <p:grpSpPr>
          <a:xfrm>
            <a:off x="10122280" y="6196420"/>
            <a:ext cx="402301" cy="374568"/>
            <a:chOff x="10123360" y="6217232"/>
            <a:chExt cx="402301" cy="374568"/>
          </a:xfrm>
        </p:grpSpPr>
        <p:sp>
          <p:nvSpPr>
            <p:cNvPr id="59" name="Rectangle: Rounded Corners 58">
              <a:extLst>
                <a:ext uri="{FF2B5EF4-FFF2-40B4-BE49-F238E27FC236}">
                  <a16:creationId xmlns:a16="http://schemas.microsoft.com/office/drawing/2014/main" id="{8E7CF615-74B2-499E-A42A-5CF25CCCFEA5}"/>
                </a:ext>
              </a:extLst>
            </p:cNvPr>
            <p:cNvSpPr/>
            <p:nvPr/>
          </p:nvSpPr>
          <p:spPr bwMode="auto">
            <a:xfrm>
              <a:off x="10124229" y="6234690"/>
              <a:ext cx="236035" cy="321612"/>
            </a:xfrm>
            <a:prstGeom prst="round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grpSp>
          <p:nvGrpSpPr>
            <p:cNvPr id="60" name="Group 59">
              <a:extLst>
                <a:ext uri="{FF2B5EF4-FFF2-40B4-BE49-F238E27FC236}">
                  <a16:creationId xmlns:a16="http://schemas.microsoft.com/office/drawing/2014/main" id="{A46037F9-9D53-40AD-B411-B3041C57FFD9}"/>
                </a:ext>
              </a:extLst>
            </p:cNvPr>
            <p:cNvGrpSpPr/>
            <p:nvPr/>
          </p:nvGrpSpPr>
          <p:grpSpPr>
            <a:xfrm>
              <a:off x="10123360" y="6217232"/>
              <a:ext cx="402301" cy="374568"/>
              <a:chOff x="6372345" y="1298307"/>
              <a:chExt cx="402301" cy="374568"/>
            </a:xfrm>
          </p:grpSpPr>
          <p:pic>
            <p:nvPicPr>
              <p:cNvPr id="61" name="Graphic 60">
                <a:extLst>
                  <a:ext uri="{FF2B5EF4-FFF2-40B4-BE49-F238E27FC236}">
                    <a16:creationId xmlns:a16="http://schemas.microsoft.com/office/drawing/2014/main" id="{ECEE58BF-64BD-4FBA-9572-04BEC96EF54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2345" y="1298307"/>
                <a:ext cx="258323" cy="361653"/>
              </a:xfrm>
              <a:prstGeom prst="rect">
                <a:avLst/>
              </a:prstGeom>
            </p:spPr>
          </p:pic>
          <p:sp>
            <p:nvSpPr>
              <p:cNvPr id="62" name="TextBox 61">
                <a:extLst>
                  <a:ext uri="{FF2B5EF4-FFF2-40B4-BE49-F238E27FC236}">
                    <a16:creationId xmlns:a16="http://schemas.microsoft.com/office/drawing/2014/main" id="{7046AA35-122E-4990-8E3B-B0E159791AEA}"/>
                  </a:ext>
                </a:extLst>
              </p:cNvPr>
              <p:cNvSpPr txBox="1"/>
              <p:nvPr/>
            </p:nvSpPr>
            <p:spPr bwMode="auto">
              <a:xfrm>
                <a:off x="6380910" y="1315765"/>
                <a:ext cx="393736" cy="357110"/>
              </a:xfrm>
              <a:prstGeom prst="rect">
                <a:avLst/>
              </a:prstGeom>
              <a:noFill/>
              <a:ln w="12700">
                <a:noFill/>
                <a:miter lim="800000"/>
                <a:headEnd/>
                <a:tailEnd/>
              </a:ln>
            </p:spPr>
            <p:txBody>
              <a:bodyPr vert="horz" wrap="none" lIns="72000" tIns="36000" rIns="73152" bIns="36576" numCol="1" rtlCol="0" anchor="t" anchorCtr="0" compatLnSpc="1">
                <a:prstTxWarp prst="textNoShape">
                  <a:avLst/>
                </a:prstTxWarp>
                <a:noAutofit/>
              </a:bodyPr>
              <a:lstStyle/>
              <a:p>
                <a:pPr algn="l">
                  <a:buClr>
                    <a:schemeClr val="tx1"/>
                  </a:buClr>
                </a:pPr>
                <a:r>
                  <a:rPr lang="en-US" sz="1400">
                    <a:latin typeface="+mn-lt"/>
                  </a:rPr>
                  <a:t>2</a:t>
                </a:r>
              </a:p>
            </p:txBody>
          </p:sp>
        </p:grpSp>
      </p:grpSp>
      <p:cxnSp>
        <p:nvCxnSpPr>
          <p:cNvPr id="53" name="Straight Connector 52">
            <a:extLst>
              <a:ext uri="{FF2B5EF4-FFF2-40B4-BE49-F238E27FC236}">
                <a16:creationId xmlns:a16="http://schemas.microsoft.com/office/drawing/2014/main" id="{9BA9AD21-D818-4453-BC22-F34557CFC361}"/>
              </a:ext>
            </a:extLst>
          </p:cNvPr>
          <p:cNvCxnSpPr>
            <a:cxnSpLocks/>
          </p:cNvCxnSpPr>
          <p:nvPr/>
        </p:nvCxnSpPr>
        <p:spPr bwMode="auto">
          <a:xfrm flipV="1">
            <a:off x="7523077" y="3027670"/>
            <a:ext cx="15206" cy="344714"/>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54" name="TextBox 53">
            <a:extLst>
              <a:ext uri="{FF2B5EF4-FFF2-40B4-BE49-F238E27FC236}">
                <a16:creationId xmlns:a16="http://schemas.microsoft.com/office/drawing/2014/main" id="{2082311F-66FC-4341-A6FB-85AA5F023BBF}"/>
              </a:ext>
            </a:extLst>
          </p:cNvPr>
          <p:cNvSpPr txBox="1"/>
          <p:nvPr/>
        </p:nvSpPr>
        <p:spPr bwMode="auto">
          <a:xfrm>
            <a:off x="7277174" y="3259696"/>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SGW</a:t>
            </a:r>
            <a:br>
              <a:rPr lang="en-US" sz="1050">
                <a:solidFill>
                  <a:schemeClr val="accent2">
                    <a:lumMod val="75000"/>
                  </a:schemeClr>
                </a:solidFill>
              </a:rPr>
            </a:br>
            <a:endParaRPr lang="en-US" sz="1050">
              <a:solidFill>
                <a:schemeClr val="accent2">
                  <a:lumMod val="75000"/>
                </a:schemeClr>
              </a:solidFill>
            </a:endParaRPr>
          </a:p>
        </p:txBody>
      </p:sp>
      <p:sp>
        <p:nvSpPr>
          <p:cNvPr id="55" name="TextBox 54">
            <a:extLst>
              <a:ext uri="{FF2B5EF4-FFF2-40B4-BE49-F238E27FC236}">
                <a16:creationId xmlns:a16="http://schemas.microsoft.com/office/drawing/2014/main" id="{37AB5EE7-A7B2-42D9-8911-15B65634ED3A}"/>
              </a:ext>
            </a:extLst>
          </p:cNvPr>
          <p:cNvSpPr txBox="1"/>
          <p:nvPr/>
        </p:nvSpPr>
        <p:spPr bwMode="auto">
          <a:xfrm>
            <a:off x="7262514" y="2248505"/>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2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r>
              <a:rPr lang="en-US" sz="1200">
                <a:solidFill>
                  <a:schemeClr val="accent2">
                    <a:lumMod val="75000"/>
                  </a:schemeClr>
                </a:solidFill>
                <a:latin typeface="Ericsson Technical Icons" panose="00000500000000000000" pitchFamily="2" charset="0"/>
              </a:rPr>
              <a:t>g</a:t>
            </a:r>
          </a:p>
          <a:p>
            <a:pPr algn="ctr">
              <a:lnSpc>
                <a:spcPct val="90000"/>
              </a:lnSpc>
              <a:spcBef>
                <a:spcPts val="0"/>
              </a:spcBef>
              <a:buClr>
                <a:schemeClr val="tx1"/>
              </a:buClr>
            </a:pPr>
            <a:br>
              <a:rPr lang="en-US" sz="1000">
                <a:solidFill>
                  <a:schemeClr val="accent2">
                    <a:lumMod val="75000"/>
                  </a:schemeClr>
                </a:solidFill>
              </a:rPr>
            </a:br>
            <a:r>
              <a:rPr lang="en-US" sz="1200">
                <a:solidFill>
                  <a:schemeClr val="accent2">
                    <a:lumMod val="75000"/>
                  </a:schemeClr>
                </a:solidFill>
              </a:rPr>
              <a:t>PGW</a:t>
            </a:r>
            <a:br>
              <a:rPr lang="en-US" sz="1050">
                <a:solidFill>
                  <a:schemeClr val="accent2">
                    <a:lumMod val="75000"/>
                  </a:schemeClr>
                </a:solidFill>
              </a:rPr>
            </a:br>
            <a:endParaRPr lang="en-US" sz="1050">
              <a:solidFill>
                <a:schemeClr val="accent2">
                  <a:lumMod val="75000"/>
                </a:schemeClr>
              </a:solidFill>
            </a:endParaRPr>
          </a:p>
        </p:txBody>
      </p:sp>
      <p:cxnSp>
        <p:nvCxnSpPr>
          <p:cNvPr id="57" name="Straight Connector 56">
            <a:extLst>
              <a:ext uri="{FF2B5EF4-FFF2-40B4-BE49-F238E27FC236}">
                <a16:creationId xmlns:a16="http://schemas.microsoft.com/office/drawing/2014/main" id="{C078A37E-6B0A-4C20-A59F-901316BBAF93}"/>
              </a:ext>
            </a:extLst>
          </p:cNvPr>
          <p:cNvCxnSpPr>
            <a:cxnSpLocks/>
          </p:cNvCxnSpPr>
          <p:nvPr/>
        </p:nvCxnSpPr>
        <p:spPr bwMode="auto">
          <a:xfrm flipV="1">
            <a:off x="7538283" y="1714151"/>
            <a:ext cx="954105" cy="534354"/>
          </a:xfrm>
          <a:prstGeom prst="line">
            <a:avLst/>
          </a:prstGeom>
          <a:solidFill>
            <a:schemeClr val="accent1"/>
          </a:solidFill>
          <a:ln w="22225" cap="flat" cmpd="sng" algn="ctr">
            <a:solidFill>
              <a:schemeClr val="tx1"/>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AB51FFAA-C79E-4BE9-AB89-87ABD3380D29}"/>
              </a:ext>
            </a:extLst>
          </p:cNvPr>
          <p:cNvSpPr txBox="1"/>
          <p:nvPr/>
        </p:nvSpPr>
        <p:spPr bwMode="auto">
          <a:xfrm>
            <a:off x="9872338" y="5289079"/>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2</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72" name="TextBox 71">
            <a:extLst>
              <a:ext uri="{FF2B5EF4-FFF2-40B4-BE49-F238E27FC236}">
                <a16:creationId xmlns:a16="http://schemas.microsoft.com/office/drawing/2014/main" id="{B38FE99B-58DB-469F-9799-DA17018DD999}"/>
              </a:ext>
            </a:extLst>
          </p:cNvPr>
          <p:cNvSpPr txBox="1"/>
          <p:nvPr/>
        </p:nvSpPr>
        <p:spPr bwMode="auto">
          <a:xfrm>
            <a:off x="7861478" y="5282917"/>
            <a:ext cx="1107394" cy="442617"/>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181818"/>
              </a:buClr>
              <a:buSzTx/>
              <a:buFontTx/>
              <a:buNone/>
              <a:tabLst/>
              <a:defRPr/>
            </a:pPr>
            <a:r>
              <a:rPr kumimoji="0" lang="sv-SE" sz="1200" i="0" u="none" strike="noStrike" kern="1200" cap="none" spc="0" normalizeH="0" baseline="0" noProof="0">
                <a:ln>
                  <a:noFill/>
                </a:ln>
                <a:solidFill>
                  <a:srgbClr val="181818"/>
                </a:solidFill>
                <a:effectLst/>
                <a:uLnTx/>
                <a:uFillTx/>
                <a:latin typeface="Ericsson Hilda"/>
                <a:ea typeface="+mn-ea"/>
                <a:cs typeface="+mn-cs"/>
              </a:rPr>
              <a:t>Option 1</a:t>
            </a:r>
          </a:p>
          <a:p>
            <a:pPr marL="0" marR="0" lvl="0" indent="0" algn="l" defTabSz="914400" rtl="0" eaLnBrk="1" fontAlgn="auto" latinLnBrk="0" hangingPunct="1">
              <a:lnSpc>
                <a:spcPct val="100000"/>
              </a:lnSpc>
              <a:spcBef>
                <a:spcPts val="0"/>
              </a:spcBef>
              <a:spcAft>
                <a:spcPts val="0"/>
              </a:spcAft>
              <a:buClr>
                <a:srgbClr val="181818"/>
              </a:buClr>
              <a:buSzTx/>
              <a:buFontTx/>
              <a:buNone/>
              <a:tabLst/>
              <a:defRPr/>
            </a:pPr>
            <a:endParaRPr kumimoji="0" lang="sv-SE" sz="1200" i="0" u="none" strike="noStrike" kern="1200" cap="none" spc="0" normalizeH="0" baseline="0" noProof="0">
              <a:ln>
                <a:noFill/>
              </a:ln>
              <a:solidFill>
                <a:srgbClr val="181818"/>
              </a:solidFill>
              <a:effectLst/>
              <a:uLnTx/>
              <a:uFillTx/>
              <a:latin typeface="Ericsson Hilda"/>
              <a:ea typeface="+mn-ea"/>
              <a:cs typeface="+mn-cs"/>
            </a:endParaRPr>
          </a:p>
        </p:txBody>
      </p:sp>
      <p:sp>
        <p:nvSpPr>
          <p:cNvPr id="73" name="TextBox 72">
            <a:extLst>
              <a:ext uri="{FF2B5EF4-FFF2-40B4-BE49-F238E27FC236}">
                <a16:creationId xmlns:a16="http://schemas.microsoft.com/office/drawing/2014/main" id="{64ABCD87-B2A6-4B43-A0B5-8D0C76311EDC}"/>
              </a:ext>
            </a:extLst>
          </p:cNvPr>
          <p:cNvSpPr txBox="1"/>
          <p:nvPr/>
        </p:nvSpPr>
        <p:spPr bwMode="auto">
          <a:xfrm>
            <a:off x="10817477" y="2899195"/>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s</a:t>
            </a:r>
          </a:p>
          <a:p>
            <a:pPr algn="ctr">
              <a:lnSpc>
                <a:spcPct val="90000"/>
              </a:lnSpc>
              <a:spcBef>
                <a:spcPts val="0"/>
              </a:spcBef>
              <a:buClr>
                <a:schemeClr val="tx1"/>
              </a:buClr>
            </a:pPr>
            <a:endParaRPr lang="en-US" sz="1100">
              <a:solidFill>
                <a:schemeClr val="accent1"/>
              </a:solidFill>
            </a:endParaRPr>
          </a:p>
          <a:p>
            <a:pPr algn="ctr">
              <a:lnSpc>
                <a:spcPct val="90000"/>
              </a:lnSpc>
              <a:spcBef>
                <a:spcPts val="0"/>
              </a:spcBef>
              <a:buClr>
                <a:schemeClr val="tx1"/>
              </a:buClr>
            </a:pPr>
            <a:r>
              <a:rPr lang="en-US" sz="1200">
                <a:solidFill>
                  <a:schemeClr val="accent1"/>
                </a:solidFill>
              </a:rPr>
              <a:t>SGW-C</a:t>
            </a:r>
            <a:br>
              <a:rPr lang="en-US" sz="1050">
                <a:solidFill>
                  <a:schemeClr val="accent1"/>
                </a:solidFill>
              </a:rPr>
            </a:br>
            <a:endParaRPr lang="en-US" sz="1050">
              <a:solidFill>
                <a:schemeClr val="accent1"/>
              </a:solidFill>
            </a:endParaRPr>
          </a:p>
        </p:txBody>
      </p:sp>
      <p:sp>
        <p:nvSpPr>
          <p:cNvPr id="75" name="TextBox 74">
            <a:extLst>
              <a:ext uri="{FF2B5EF4-FFF2-40B4-BE49-F238E27FC236}">
                <a16:creationId xmlns:a16="http://schemas.microsoft.com/office/drawing/2014/main" id="{2506A183-1CD1-45C3-897C-98D7A67E0FFC}"/>
              </a:ext>
            </a:extLst>
          </p:cNvPr>
          <p:cNvSpPr txBox="1"/>
          <p:nvPr/>
        </p:nvSpPr>
        <p:spPr bwMode="auto">
          <a:xfrm>
            <a:off x="9578071" y="2251161"/>
            <a:ext cx="480486" cy="7791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buClr>
                <a:schemeClr val="tx1"/>
              </a:buClr>
            </a:pPr>
            <a:r>
              <a:rPr lang="en-US" sz="1600">
                <a:solidFill>
                  <a:schemeClr val="accent1"/>
                </a:solidFill>
                <a:latin typeface="Ericsson Technical Icons" panose="00000500000000000000" pitchFamily="2" charset="0"/>
              </a:rPr>
              <a:t>g</a:t>
            </a:r>
          </a:p>
          <a:p>
            <a:pPr algn="ctr">
              <a:lnSpc>
                <a:spcPct val="90000"/>
              </a:lnSpc>
              <a:spcBef>
                <a:spcPts val="0"/>
              </a:spcBef>
              <a:buClr>
                <a:schemeClr val="tx1"/>
              </a:buClr>
            </a:pPr>
            <a:endParaRPr lang="en-US" sz="1050">
              <a:solidFill>
                <a:schemeClr val="accent1"/>
              </a:solidFill>
            </a:endParaRPr>
          </a:p>
          <a:p>
            <a:pPr algn="ctr">
              <a:lnSpc>
                <a:spcPct val="90000"/>
              </a:lnSpc>
              <a:spcBef>
                <a:spcPts val="0"/>
              </a:spcBef>
              <a:buClr>
                <a:schemeClr val="tx1"/>
              </a:buClr>
            </a:pPr>
            <a:r>
              <a:rPr lang="en-US" sz="1200">
                <a:solidFill>
                  <a:schemeClr val="accent1"/>
                </a:solidFill>
              </a:rPr>
              <a:t>SGW-U</a:t>
            </a:r>
            <a:endParaRPr lang="en-US" sz="1000">
              <a:solidFill>
                <a:schemeClr val="accent1"/>
              </a:solidFill>
            </a:endParaRPr>
          </a:p>
        </p:txBody>
      </p:sp>
      <p:sp>
        <p:nvSpPr>
          <p:cNvPr id="76" name="Rectangle 75">
            <a:extLst>
              <a:ext uri="{FF2B5EF4-FFF2-40B4-BE49-F238E27FC236}">
                <a16:creationId xmlns:a16="http://schemas.microsoft.com/office/drawing/2014/main" id="{ACAE7233-5001-43DD-99B9-395E5C18EA5E}"/>
              </a:ext>
            </a:extLst>
          </p:cNvPr>
          <p:cNvSpPr/>
          <p:nvPr/>
        </p:nvSpPr>
        <p:spPr bwMode="auto">
          <a:xfrm>
            <a:off x="10745481" y="2848392"/>
            <a:ext cx="1194915" cy="873757"/>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77" name="Rectangle 76">
            <a:extLst>
              <a:ext uri="{FF2B5EF4-FFF2-40B4-BE49-F238E27FC236}">
                <a16:creationId xmlns:a16="http://schemas.microsoft.com/office/drawing/2014/main" id="{C3F6D5E6-D1F0-4A07-A066-486CFA2AB54E}"/>
              </a:ext>
            </a:extLst>
          </p:cNvPr>
          <p:cNvSpPr/>
          <p:nvPr/>
        </p:nvSpPr>
        <p:spPr bwMode="auto">
          <a:xfrm>
            <a:off x="9496454" y="2201208"/>
            <a:ext cx="1194915" cy="873757"/>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139" name="Freeform: Shape 138">
            <a:extLst>
              <a:ext uri="{FF2B5EF4-FFF2-40B4-BE49-F238E27FC236}">
                <a16:creationId xmlns:a16="http://schemas.microsoft.com/office/drawing/2014/main" id="{EF22031F-5551-4DDE-8827-AC3A7B252902}"/>
              </a:ext>
            </a:extLst>
          </p:cNvPr>
          <p:cNvSpPr/>
          <p:nvPr/>
        </p:nvSpPr>
        <p:spPr bwMode="auto">
          <a:xfrm>
            <a:off x="7573159" y="1628517"/>
            <a:ext cx="2588642" cy="4615382"/>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49542 w 1463158"/>
              <a:gd name="connsiteY0" fmla="*/ 4371856 h 4377243"/>
              <a:gd name="connsiteX1" fmla="*/ 222114 w 1463158"/>
              <a:gd name="connsiteY1" fmla="*/ 4226714 h 4377243"/>
              <a:gd name="connsiteX2" fmla="*/ 425314 w 1463158"/>
              <a:gd name="connsiteY2" fmla="*/ 3370371 h 4377243"/>
              <a:gd name="connsiteX3" fmla="*/ 33428 w 1463158"/>
              <a:gd name="connsiteY3" fmla="*/ 830371 h 4377243"/>
              <a:gd name="connsiteX4" fmla="*/ 1443605 w 1463158"/>
              <a:gd name="connsiteY4" fmla="*/ 0 h 4377243"/>
              <a:gd name="connsiteX0" fmla="*/ 0 w 1859675"/>
              <a:gd name="connsiteY0" fmla="*/ 4371856 h 4377243"/>
              <a:gd name="connsiteX1" fmla="*/ 72572 w 1859675"/>
              <a:gd name="connsiteY1" fmla="*/ 4226714 h 4377243"/>
              <a:gd name="connsiteX2" fmla="*/ 275772 w 1859675"/>
              <a:gd name="connsiteY2" fmla="*/ 3370371 h 4377243"/>
              <a:gd name="connsiteX3" fmla="*/ 1824981 w 1859675"/>
              <a:gd name="connsiteY3" fmla="*/ 1167255 h 4377243"/>
              <a:gd name="connsiteX4" fmla="*/ 1294063 w 1859675"/>
              <a:gd name="connsiteY4" fmla="*/ 0 h 4377243"/>
              <a:gd name="connsiteX0" fmla="*/ 529373 w 2431473"/>
              <a:gd name="connsiteY0" fmla="*/ 4371856 h 4425265"/>
              <a:gd name="connsiteX1" fmla="*/ 601945 w 2431473"/>
              <a:gd name="connsiteY1" fmla="*/ 4226714 h 4425265"/>
              <a:gd name="connsiteX2" fmla="*/ 67208 w 2431473"/>
              <a:gd name="connsiteY2" fmla="*/ 2423887 h 4425265"/>
              <a:gd name="connsiteX3" fmla="*/ 2354354 w 2431473"/>
              <a:gd name="connsiteY3" fmla="*/ 1167255 h 4425265"/>
              <a:gd name="connsiteX4" fmla="*/ 1823436 w 2431473"/>
              <a:gd name="connsiteY4" fmla="*/ 0 h 4425265"/>
              <a:gd name="connsiteX0" fmla="*/ 642089 w 2544189"/>
              <a:gd name="connsiteY0" fmla="*/ 4371856 h 4372278"/>
              <a:gd name="connsiteX1" fmla="*/ 201313 w 2544189"/>
              <a:gd name="connsiteY1" fmla="*/ 3857745 h 4372278"/>
              <a:gd name="connsiteX2" fmla="*/ 179924 w 2544189"/>
              <a:gd name="connsiteY2" fmla="*/ 2423887 h 4372278"/>
              <a:gd name="connsiteX3" fmla="*/ 2467070 w 2544189"/>
              <a:gd name="connsiteY3" fmla="*/ 1167255 h 4372278"/>
              <a:gd name="connsiteX4" fmla="*/ 1936152 w 2544189"/>
              <a:gd name="connsiteY4" fmla="*/ 0 h 4372278"/>
              <a:gd name="connsiteX0" fmla="*/ 2310197 w 2624129"/>
              <a:gd name="connsiteY0" fmla="*/ 4804993 h 4805148"/>
              <a:gd name="connsiteX1" fmla="*/ 281253 w 2624129"/>
              <a:gd name="connsiteY1" fmla="*/ 3857745 h 4805148"/>
              <a:gd name="connsiteX2" fmla="*/ 259864 w 2624129"/>
              <a:gd name="connsiteY2" fmla="*/ 2423887 h 4805148"/>
              <a:gd name="connsiteX3" fmla="*/ 2547010 w 2624129"/>
              <a:gd name="connsiteY3" fmla="*/ 1167255 h 4805148"/>
              <a:gd name="connsiteX4" fmla="*/ 2016092 w 2624129"/>
              <a:gd name="connsiteY4" fmla="*/ 0 h 4805148"/>
              <a:gd name="connsiteX0" fmla="*/ 2248392 w 2555472"/>
              <a:gd name="connsiteY0" fmla="*/ 4804993 h 4805168"/>
              <a:gd name="connsiteX1" fmla="*/ 219448 w 2555472"/>
              <a:gd name="connsiteY1" fmla="*/ 3857745 h 4805168"/>
              <a:gd name="connsiteX2" fmla="*/ 310354 w 2555472"/>
              <a:gd name="connsiteY2" fmla="*/ 2038876 h 4805168"/>
              <a:gd name="connsiteX3" fmla="*/ 2485205 w 2555472"/>
              <a:gd name="connsiteY3" fmla="*/ 1167255 h 4805168"/>
              <a:gd name="connsiteX4" fmla="*/ 1954287 w 2555472"/>
              <a:gd name="connsiteY4" fmla="*/ 0 h 4805168"/>
              <a:gd name="connsiteX0" fmla="*/ 2285046 w 2592126"/>
              <a:gd name="connsiteY0" fmla="*/ 4804993 h 4805174"/>
              <a:gd name="connsiteX1" fmla="*/ 256102 w 2592126"/>
              <a:gd name="connsiteY1" fmla="*/ 3857745 h 4805174"/>
              <a:gd name="connsiteX2" fmla="*/ 277997 w 2592126"/>
              <a:gd name="connsiteY2" fmla="*/ 1943986 h 4805174"/>
              <a:gd name="connsiteX3" fmla="*/ 2521859 w 2592126"/>
              <a:gd name="connsiteY3" fmla="*/ 1167255 h 4805174"/>
              <a:gd name="connsiteX4" fmla="*/ 1990941 w 2592126"/>
              <a:gd name="connsiteY4" fmla="*/ 0 h 4805174"/>
              <a:gd name="connsiteX0" fmla="*/ 2291551 w 2694261"/>
              <a:gd name="connsiteY0" fmla="*/ 4804993 h 4805174"/>
              <a:gd name="connsiteX1" fmla="*/ 262607 w 2694261"/>
              <a:gd name="connsiteY1" fmla="*/ 3857745 h 4805174"/>
              <a:gd name="connsiteX2" fmla="*/ 284502 w 2694261"/>
              <a:gd name="connsiteY2" fmla="*/ 1943986 h 4805174"/>
              <a:gd name="connsiteX3" fmla="*/ 2631881 w 2694261"/>
              <a:gd name="connsiteY3" fmla="*/ 1150002 h 4805174"/>
              <a:gd name="connsiteX4" fmla="*/ 1997446 w 2694261"/>
              <a:gd name="connsiteY4" fmla="*/ 0 h 4805174"/>
              <a:gd name="connsiteX0" fmla="*/ 2337355 w 2696933"/>
              <a:gd name="connsiteY0" fmla="*/ 4615212 h 4615479"/>
              <a:gd name="connsiteX1" fmla="*/ 265279 w 2696933"/>
              <a:gd name="connsiteY1" fmla="*/ 3857745 h 4615479"/>
              <a:gd name="connsiteX2" fmla="*/ 287174 w 2696933"/>
              <a:gd name="connsiteY2" fmla="*/ 1943986 h 4615479"/>
              <a:gd name="connsiteX3" fmla="*/ 2634553 w 2696933"/>
              <a:gd name="connsiteY3" fmla="*/ 1150002 h 4615479"/>
              <a:gd name="connsiteX4" fmla="*/ 2000118 w 2696933"/>
              <a:gd name="connsiteY4" fmla="*/ 0 h 4615479"/>
              <a:gd name="connsiteX0" fmla="*/ 2141907 w 2501485"/>
              <a:gd name="connsiteY0" fmla="*/ 4615212 h 4615427"/>
              <a:gd name="connsiteX1" fmla="*/ 69831 w 2501485"/>
              <a:gd name="connsiteY1" fmla="*/ 3857745 h 4615427"/>
              <a:gd name="connsiteX2" fmla="*/ 669242 w 2501485"/>
              <a:gd name="connsiteY2" fmla="*/ 2425249 h 4615427"/>
              <a:gd name="connsiteX3" fmla="*/ 2439105 w 2501485"/>
              <a:gd name="connsiteY3" fmla="*/ 1150002 h 4615427"/>
              <a:gd name="connsiteX4" fmla="*/ 1804670 w 2501485"/>
              <a:gd name="connsiteY4" fmla="*/ 0 h 4615427"/>
              <a:gd name="connsiteX0" fmla="*/ 2119971 w 2479549"/>
              <a:gd name="connsiteY0" fmla="*/ 4615212 h 4615371"/>
              <a:gd name="connsiteX1" fmla="*/ 71959 w 2479549"/>
              <a:gd name="connsiteY1" fmla="*/ 3713366 h 4615371"/>
              <a:gd name="connsiteX2" fmla="*/ 647306 w 2479549"/>
              <a:gd name="connsiteY2" fmla="*/ 2425249 h 4615371"/>
              <a:gd name="connsiteX3" fmla="*/ 2417169 w 2479549"/>
              <a:gd name="connsiteY3" fmla="*/ 1150002 h 4615371"/>
              <a:gd name="connsiteX4" fmla="*/ 1782734 w 2479549"/>
              <a:gd name="connsiteY4" fmla="*/ 0 h 4615371"/>
              <a:gd name="connsiteX0" fmla="*/ 2229064 w 2588642"/>
              <a:gd name="connsiteY0" fmla="*/ 4615212 h 4615382"/>
              <a:gd name="connsiteX1" fmla="*/ 62519 w 2588642"/>
              <a:gd name="connsiteY1" fmla="*/ 3747233 h 4615382"/>
              <a:gd name="connsiteX2" fmla="*/ 756399 w 2588642"/>
              <a:gd name="connsiteY2" fmla="*/ 2425249 h 4615382"/>
              <a:gd name="connsiteX3" fmla="*/ 2526262 w 2588642"/>
              <a:gd name="connsiteY3" fmla="*/ 1150002 h 4615382"/>
              <a:gd name="connsiteX4" fmla="*/ 1891827 w 2588642"/>
              <a:gd name="connsiteY4" fmla="*/ 0 h 4615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8642" h="4615382">
                <a:moveTo>
                  <a:pt x="2229064" y="4615212"/>
                </a:moveTo>
                <a:cubicBezTo>
                  <a:pt x="2242369" y="4626098"/>
                  <a:pt x="307963" y="4112227"/>
                  <a:pt x="62519" y="3747233"/>
                </a:cubicBezTo>
                <a:cubicBezTo>
                  <a:pt x="-182925" y="3382239"/>
                  <a:pt x="345775" y="2858121"/>
                  <a:pt x="756399" y="2425249"/>
                </a:cubicBezTo>
                <a:cubicBezTo>
                  <a:pt x="1167023" y="1992377"/>
                  <a:pt x="2252273" y="1489815"/>
                  <a:pt x="2526262" y="1150002"/>
                </a:cubicBezTo>
                <a:cubicBezTo>
                  <a:pt x="2800251" y="810189"/>
                  <a:pt x="2095027" y="130629"/>
                  <a:pt x="1891827" y="0"/>
                </a:cubicBezTo>
              </a:path>
            </a:pathLst>
          </a:custGeom>
          <a:noFill/>
          <a:ln w="31750"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 name="Freeform: Shape 1">
            <a:extLst>
              <a:ext uri="{FF2B5EF4-FFF2-40B4-BE49-F238E27FC236}">
                <a16:creationId xmlns:a16="http://schemas.microsoft.com/office/drawing/2014/main" id="{40EC555E-CD61-44B1-8A27-00522575F5A2}"/>
              </a:ext>
            </a:extLst>
          </p:cNvPr>
          <p:cNvSpPr/>
          <p:nvPr/>
        </p:nvSpPr>
        <p:spPr bwMode="auto">
          <a:xfrm>
            <a:off x="9456979" y="1523999"/>
            <a:ext cx="1293450" cy="4644571"/>
          </a:xfrm>
          <a:custGeom>
            <a:avLst/>
            <a:gdLst>
              <a:gd name="connsiteX0" fmla="*/ 1016000 w 1295286"/>
              <a:gd name="connsiteY0" fmla="*/ 4644571 h 4649958"/>
              <a:gd name="connsiteX1" fmla="*/ 1088572 w 1295286"/>
              <a:gd name="connsiteY1" fmla="*/ 4499429 h 4649958"/>
              <a:gd name="connsiteX2" fmla="*/ 1291772 w 1295286"/>
              <a:gd name="connsiteY2" fmla="*/ 3643086 h 4649958"/>
              <a:gd name="connsiteX3" fmla="*/ 899886 w 1295286"/>
              <a:gd name="connsiteY3" fmla="*/ 1103086 h 4649958"/>
              <a:gd name="connsiteX4" fmla="*/ 0 w 1295286"/>
              <a:gd name="connsiteY4" fmla="*/ 0 h 4649958"/>
              <a:gd name="connsiteX0" fmla="*/ 1016000 w 1292889"/>
              <a:gd name="connsiteY0" fmla="*/ 4644571 h 4644571"/>
              <a:gd name="connsiteX1" fmla="*/ 1291772 w 1292889"/>
              <a:gd name="connsiteY1" fmla="*/ 3643086 h 4644571"/>
              <a:gd name="connsiteX2" fmla="*/ 899886 w 1292889"/>
              <a:gd name="connsiteY2" fmla="*/ 1103086 h 4644571"/>
              <a:gd name="connsiteX3" fmla="*/ 0 w 1292889"/>
              <a:gd name="connsiteY3" fmla="*/ 0 h 4644571"/>
              <a:gd name="connsiteX0" fmla="*/ 1016000 w 1293450"/>
              <a:gd name="connsiteY0" fmla="*/ 4644571 h 4644571"/>
              <a:gd name="connsiteX1" fmla="*/ 1291772 w 1293450"/>
              <a:gd name="connsiteY1" fmla="*/ 3643086 h 4644571"/>
              <a:gd name="connsiteX2" fmla="*/ 899886 w 1293450"/>
              <a:gd name="connsiteY2" fmla="*/ 1103086 h 4644571"/>
              <a:gd name="connsiteX3" fmla="*/ 0 w 1293450"/>
              <a:gd name="connsiteY3" fmla="*/ 0 h 4644571"/>
            </a:gdLst>
            <a:ahLst/>
            <a:cxnLst>
              <a:cxn ang="0">
                <a:pos x="connsiteX0" y="connsiteY0"/>
              </a:cxn>
              <a:cxn ang="0">
                <a:pos x="connsiteX1" y="connsiteY1"/>
              </a:cxn>
              <a:cxn ang="0">
                <a:pos x="connsiteX2" y="connsiteY2"/>
              </a:cxn>
              <a:cxn ang="0">
                <a:pos x="connsiteX3" y="connsiteY3"/>
              </a:cxn>
            </a:cxnLst>
            <a:rect l="l" t="t" r="r" b="b"/>
            <a:pathLst>
              <a:path w="1293450" h="4644571">
                <a:moveTo>
                  <a:pt x="1016000" y="4644571"/>
                </a:moveTo>
                <a:cubicBezTo>
                  <a:pt x="1159716" y="4453181"/>
                  <a:pt x="1311124" y="4233333"/>
                  <a:pt x="1291772" y="3643086"/>
                </a:cubicBezTo>
                <a:cubicBezTo>
                  <a:pt x="1260324" y="3077029"/>
                  <a:pt x="1115181" y="1710267"/>
                  <a:pt x="899886" y="1103086"/>
                </a:cubicBezTo>
                <a:cubicBezTo>
                  <a:pt x="684591" y="495905"/>
                  <a:pt x="203200" y="130629"/>
                  <a:pt x="0" y="0"/>
                </a:cubicBezTo>
              </a:path>
            </a:pathLst>
          </a:custGeom>
          <a:noFill/>
          <a:ln w="31750" cap="flat" cmpd="sng" algn="ctr">
            <a:solidFill>
              <a:schemeClr val="accent5"/>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4" name="Rectangle 73">
            <a:extLst>
              <a:ext uri="{FF2B5EF4-FFF2-40B4-BE49-F238E27FC236}">
                <a16:creationId xmlns:a16="http://schemas.microsoft.com/office/drawing/2014/main" id="{A9B362CB-C3A2-4792-8449-D3AC9B9C3445}"/>
              </a:ext>
            </a:extLst>
          </p:cNvPr>
          <p:cNvSpPr/>
          <p:nvPr/>
        </p:nvSpPr>
        <p:spPr bwMode="auto">
          <a:xfrm>
            <a:off x="9590912" y="3795925"/>
            <a:ext cx="2044683" cy="873757"/>
          </a:xfrm>
          <a:prstGeom prst="rect">
            <a:avLst/>
          </a:prstGeom>
          <a:no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err="1">
              <a:ln>
                <a:noFill/>
              </a:ln>
              <a:solidFill>
                <a:schemeClr val="bg1"/>
              </a:solidFill>
              <a:effectLst/>
              <a:latin typeface="+mn-lt"/>
            </a:endParaRPr>
          </a:p>
        </p:txBody>
      </p:sp>
      <p:sp>
        <p:nvSpPr>
          <p:cNvPr id="82" name="TextBox 81">
            <a:extLst>
              <a:ext uri="{FF2B5EF4-FFF2-40B4-BE49-F238E27FC236}">
                <a16:creationId xmlns:a16="http://schemas.microsoft.com/office/drawing/2014/main" id="{97F21DB5-A5B1-4465-B4F2-EC66B6D94ED5}"/>
              </a:ext>
            </a:extLst>
          </p:cNvPr>
          <p:cNvSpPr txBox="1"/>
          <p:nvPr/>
        </p:nvSpPr>
        <p:spPr bwMode="auto">
          <a:xfrm>
            <a:off x="9727546" y="3851190"/>
            <a:ext cx="480486" cy="779165"/>
          </a:xfrm>
          <a:prstGeom prst="rect">
            <a:avLst/>
          </a:prstGeom>
          <a:solidFill>
            <a:schemeClr val="bg1"/>
          </a:solidFill>
          <a:ln w="19050">
            <a:solidFill>
              <a:schemeClr val="accent2">
                <a:lumMod val="75000"/>
              </a:schemeClr>
            </a:solidFill>
            <a:prstDash val="solid"/>
            <a:miter lim="800000"/>
            <a:headEnd/>
            <a:tailEnd/>
          </a:ln>
        </p:spPr>
        <p:txBody>
          <a:bodyPr vert="horz" wrap="square" lIns="0" tIns="18000" rIns="0" bIns="0" numCol="1" rtlCol="0" anchor="t" anchorCtr="0" compatLnSpc="1">
            <a:prstTxWarp prst="textNoShape">
              <a:avLst/>
            </a:prstTxWarp>
            <a:noAutofit/>
          </a:bodyPr>
          <a:lstStyle/>
          <a:p>
            <a:pPr algn="ctr">
              <a:lnSpc>
                <a:spcPct val="90000"/>
              </a:lnSpc>
              <a:spcBef>
                <a:spcPts val="300"/>
              </a:spcBef>
              <a:buClr>
                <a:schemeClr val="tx1"/>
              </a:buClr>
            </a:pPr>
            <a:r>
              <a:rPr lang="en-US" sz="1600">
                <a:solidFill>
                  <a:schemeClr val="accent2">
                    <a:lumMod val="75000"/>
                  </a:schemeClr>
                </a:solidFill>
                <a:latin typeface="Ericsson Technical Icons" panose="00000500000000000000" pitchFamily="2" charset="0"/>
              </a:rPr>
              <a:t>s</a:t>
            </a:r>
            <a:br>
              <a:rPr lang="en-US" sz="1200">
                <a:solidFill>
                  <a:schemeClr val="accent2">
                    <a:lumMod val="75000"/>
                  </a:schemeClr>
                </a:solidFill>
                <a:latin typeface="Ericsson Technical Icons" panose="00000500000000000000" pitchFamily="2" charset="0"/>
              </a:rPr>
            </a:br>
            <a:endParaRPr lang="en-US" sz="1000">
              <a:solidFill>
                <a:schemeClr val="accent2">
                  <a:lumMod val="75000"/>
                </a:schemeClr>
              </a:solidFill>
            </a:endParaRPr>
          </a:p>
          <a:p>
            <a:pPr algn="ctr">
              <a:lnSpc>
                <a:spcPct val="90000"/>
              </a:lnSpc>
              <a:spcBef>
                <a:spcPts val="0"/>
              </a:spcBef>
              <a:buClr>
                <a:schemeClr val="tx1"/>
              </a:buClr>
            </a:pPr>
            <a:r>
              <a:rPr lang="en-US" sz="1200">
                <a:solidFill>
                  <a:schemeClr val="accent2">
                    <a:lumMod val="75000"/>
                  </a:schemeClr>
                </a:solidFill>
              </a:rPr>
              <a:t>MME</a:t>
            </a:r>
            <a:endParaRPr lang="en-US" sz="1050">
              <a:solidFill>
                <a:schemeClr val="accent2">
                  <a:lumMod val="75000"/>
                </a:schemeClr>
              </a:solidFill>
            </a:endParaRPr>
          </a:p>
        </p:txBody>
      </p:sp>
      <p:sp>
        <p:nvSpPr>
          <p:cNvPr id="65" name="TextBox 64">
            <a:extLst>
              <a:ext uri="{FF2B5EF4-FFF2-40B4-BE49-F238E27FC236}">
                <a16:creationId xmlns:a16="http://schemas.microsoft.com/office/drawing/2014/main" id="{88F6BC69-4012-4A84-83E3-46D4C5A9F611}"/>
              </a:ext>
            </a:extLst>
          </p:cNvPr>
          <p:cNvSpPr txBox="1"/>
          <p:nvPr/>
        </p:nvSpPr>
        <p:spPr>
          <a:xfrm>
            <a:off x="9794762" y="1671557"/>
            <a:ext cx="2481513" cy="307777"/>
          </a:xfrm>
          <a:prstGeom prst="rect">
            <a:avLst/>
          </a:prstGeom>
          <a:noFill/>
        </p:spPr>
        <p:txBody>
          <a:bodyPr wrap="none" rtlCol="0">
            <a:spAutoFit/>
          </a:bodyPr>
          <a:lstStyle/>
          <a:p>
            <a:r>
              <a:rPr lang="en-US" sz="1400"/>
              <a:t>5GC IWK arch + SGW, MME</a:t>
            </a:r>
          </a:p>
        </p:txBody>
      </p:sp>
    </p:spTree>
    <p:extLst>
      <p:ext uri="{BB962C8B-B14F-4D97-AF65-F5344CB8AC3E}">
        <p14:creationId xmlns:p14="http://schemas.microsoft.com/office/powerpoint/2010/main" val="96048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2"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2982A893-3C6C-4EF9-B10B-339A62891A60}"/>
              </a:ext>
            </a:extLst>
          </p:cNvPr>
          <p:cNvSpPr txBox="1"/>
          <p:nvPr/>
        </p:nvSpPr>
        <p:spPr bwMode="auto">
          <a:xfrm>
            <a:off x="1202953" y="3534174"/>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M</a:t>
            </a:r>
            <a:r>
              <a:rPr kumimoji="0" lang="en-US" sz="1600" b="0" i="0" u="none" strike="noStrike" kern="1200" cap="none" spc="0" normalizeH="0" baseline="0" noProof="0">
                <a:ln>
                  <a:noFill/>
                </a:ln>
                <a:solidFill>
                  <a:srgbClr val="0082F0"/>
                </a:solidFill>
                <a:effectLst/>
                <a:uLnTx/>
                <a:uFillTx/>
                <a:latin typeface="Ericsson Hilda"/>
                <a:ea typeface="+mn-ea"/>
                <a:cs typeface="+mn-cs"/>
              </a:rPr>
              <a:t>ME</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 name="Title 2">
            <a:extLst>
              <a:ext uri="{FF2B5EF4-FFF2-40B4-BE49-F238E27FC236}">
                <a16:creationId xmlns:a16="http://schemas.microsoft.com/office/drawing/2014/main" id="{79B1F829-6E88-45E3-9593-5E985EA53A35}"/>
              </a:ext>
            </a:extLst>
          </p:cNvPr>
          <p:cNvSpPr>
            <a:spLocks noGrp="1"/>
          </p:cNvSpPr>
          <p:nvPr>
            <p:ph type="title"/>
          </p:nvPr>
        </p:nvSpPr>
        <p:spPr/>
        <p:txBody>
          <a:bodyPr>
            <a:noAutofit/>
          </a:bodyPr>
          <a:lstStyle/>
          <a:p>
            <a:r>
              <a:rPr lang="en-US" sz="3600"/>
              <a:t>Idle mode mobility EPS to 5GS </a:t>
            </a:r>
          </a:p>
        </p:txBody>
      </p:sp>
      <p:grpSp>
        <p:nvGrpSpPr>
          <p:cNvPr id="49" name="Group 48">
            <a:extLst>
              <a:ext uri="{FF2B5EF4-FFF2-40B4-BE49-F238E27FC236}">
                <a16:creationId xmlns:a16="http://schemas.microsoft.com/office/drawing/2014/main" id="{77C9D867-16E7-48F6-A52F-E667AEF817BE}"/>
              </a:ext>
            </a:extLst>
          </p:cNvPr>
          <p:cNvGrpSpPr/>
          <p:nvPr/>
        </p:nvGrpSpPr>
        <p:grpSpPr>
          <a:xfrm>
            <a:off x="975010" y="5263469"/>
            <a:ext cx="992350" cy="1351944"/>
            <a:chOff x="9538020" y="331410"/>
            <a:chExt cx="992350" cy="1351944"/>
          </a:xfrm>
        </p:grpSpPr>
        <p:sp>
          <p:nvSpPr>
            <p:cNvPr id="50" name="Freeform 4">
              <a:extLst>
                <a:ext uri="{FF2B5EF4-FFF2-40B4-BE49-F238E27FC236}">
                  <a16:creationId xmlns:a16="http://schemas.microsoft.com/office/drawing/2014/main" id="{6B0AF121-F054-49DC-B3C1-E7E0FC3C64A9}"/>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Text Box 144">
              <a:extLst>
                <a:ext uri="{FF2B5EF4-FFF2-40B4-BE49-F238E27FC236}">
                  <a16:creationId xmlns:a16="http://schemas.microsoft.com/office/drawing/2014/main" id="{1A9FAFC5-3805-44AC-AD75-09E2C846706E}"/>
                </a:ext>
              </a:extLst>
            </p:cNvPr>
            <p:cNvSpPr txBox="1">
              <a:spLocks noChangeAspect="1" noChangeArrowheads="1"/>
            </p:cNvSpPr>
            <p:nvPr/>
          </p:nvSpPr>
          <p:spPr bwMode="auto">
            <a:xfrm>
              <a:off x="9538020" y="9964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sp>
        <p:nvSpPr>
          <p:cNvPr id="70" name="Rectangular Callout 104">
            <a:extLst>
              <a:ext uri="{FF2B5EF4-FFF2-40B4-BE49-F238E27FC236}">
                <a16:creationId xmlns:a16="http://schemas.microsoft.com/office/drawing/2014/main" id="{AFC8C705-7820-47D7-B800-82A093B59FC4}"/>
              </a:ext>
            </a:extLst>
          </p:cNvPr>
          <p:cNvSpPr/>
          <p:nvPr/>
        </p:nvSpPr>
        <p:spPr bwMode="auto">
          <a:xfrm>
            <a:off x="8347980" y="4902949"/>
            <a:ext cx="3159511" cy="1015663"/>
          </a:xfrm>
          <a:prstGeom prst="wedgeRectCallout">
            <a:avLst>
              <a:gd name="adj1" fmla="val -113645"/>
              <a:gd name="adj2" fmla="val -34105"/>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Registration procedure</a:t>
            </a:r>
          </a:p>
          <a:p>
            <a:pPr marL="171450" indent="-171450">
              <a:spcBef>
                <a:spcPts val="0"/>
              </a:spcBef>
              <a:buFont typeface="Arial" panose="020B0604020202020204" pitchFamily="34" charset="0"/>
              <a:buChar char="•"/>
            </a:pPr>
            <a:r>
              <a:rPr lang="en-US" sz="1200">
                <a:solidFill>
                  <a:srgbClr val="00285F"/>
                </a:solidFill>
              </a:rPr>
              <a:t>Requested NSSAI + </a:t>
            </a:r>
            <a:r>
              <a:rPr lang="en-US" sz="1200">
                <a:solidFill>
                  <a:schemeClr val="tx2"/>
                </a:solidFill>
              </a:rPr>
              <a:t>mapping to </a:t>
            </a:r>
            <a:r>
              <a:rPr lang="en-US" sz="1200">
                <a:solidFill>
                  <a:srgbClr val="00285F"/>
                </a:solidFill>
              </a:rPr>
              <a:t>HPMN values</a:t>
            </a:r>
            <a:br>
              <a:rPr lang="en-US" sz="1200">
                <a:solidFill>
                  <a:srgbClr val="00285F"/>
                </a:solidFill>
              </a:rPr>
            </a:br>
            <a:r>
              <a:rPr lang="en-US" sz="1200">
                <a:solidFill>
                  <a:srgbClr val="00285F"/>
                </a:solidFill>
              </a:rPr>
              <a:t>(S-NSSAIs for established PDN Connections) </a:t>
            </a:r>
          </a:p>
        </p:txBody>
      </p:sp>
      <p:sp>
        <p:nvSpPr>
          <p:cNvPr id="71" name="Rectangular Callout 104">
            <a:extLst>
              <a:ext uri="{FF2B5EF4-FFF2-40B4-BE49-F238E27FC236}">
                <a16:creationId xmlns:a16="http://schemas.microsoft.com/office/drawing/2014/main" id="{D01F7DD4-A01B-48C2-A0E8-48EFDEEEC1EB}"/>
              </a:ext>
            </a:extLst>
          </p:cNvPr>
          <p:cNvSpPr/>
          <p:nvPr/>
        </p:nvSpPr>
        <p:spPr bwMode="auto">
          <a:xfrm>
            <a:off x="2309901" y="4287451"/>
            <a:ext cx="3165544" cy="830997"/>
          </a:xfrm>
          <a:prstGeom prst="wedgeRectCallout">
            <a:avLst>
              <a:gd name="adj1" fmla="val 70047"/>
              <a:gd name="adj2" fmla="val -68823"/>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UE Context Request procedure</a:t>
            </a:r>
            <a:br>
              <a:rPr lang="en-US" sz="1200" b="1">
                <a:solidFill>
                  <a:srgbClr val="00285F"/>
                </a:solidFill>
              </a:rPr>
            </a:br>
            <a:r>
              <a:rPr lang="en-GB" sz="1200">
                <a:solidFill>
                  <a:srgbClr val="00285F"/>
                </a:solidFill>
              </a:rPr>
              <a:t>Per established PDN Connection</a:t>
            </a:r>
            <a:endParaRPr lang="en-US" sz="1200" b="1">
              <a:solidFill>
                <a:srgbClr val="00285F"/>
              </a:solidFill>
            </a:endParaRPr>
          </a:p>
          <a:p>
            <a:pPr marL="171450" indent="-171450">
              <a:spcBef>
                <a:spcPts val="0"/>
              </a:spcBef>
              <a:buFont typeface="Arial" panose="020B0604020202020204" pitchFamily="34" charset="0"/>
              <a:buChar char="•"/>
            </a:pPr>
            <a:r>
              <a:rPr lang="en-GB" sz="1200">
                <a:solidFill>
                  <a:srgbClr val="00285F"/>
                </a:solidFill>
              </a:rPr>
              <a:t>EPS Bearer Identity of the default bearer</a:t>
            </a:r>
          </a:p>
          <a:p>
            <a:pPr marL="171450" indent="-171450">
              <a:spcBef>
                <a:spcPts val="0"/>
              </a:spcBef>
              <a:buFont typeface="Arial" panose="020B0604020202020204" pitchFamily="34" charset="0"/>
              <a:buChar char="•"/>
            </a:pPr>
            <a:r>
              <a:rPr lang="en-US" sz="1200">
                <a:solidFill>
                  <a:srgbClr val="00285F"/>
                </a:solidFill>
              </a:rPr>
              <a:t>Address of the </a:t>
            </a:r>
            <a:r>
              <a:rPr lang="en-GB" sz="1200">
                <a:solidFill>
                  <a:srgbClr val="00285F"/>
                </a:solidFill>
              </a:rPr>
              <a:t>PGW-C+SMF</a:t>
            </a:r>
            <a:endParaRPr lang="en-US" sz="1200">
              <a:solidFill>
                <a:srgbClr val="00285F"/>
              </a:solidFill>
            </a:endParaRPr>
          </a:p>
        </p:txBody>
      </p:sp>
      <p:sp>
        <p:nvSpPr>
          <p:cNvPr id="77" name="Oval 76">
            <a:extLst>
              <a:ext uri="{FF2B5EF4-FFF2-40B4-BE49-F238E27FC236}">
                <a16:creationId xmlns:a16="http://schemas.microsoft.com/office/drawing/2014/main" id="{A8047EE4-718E-4E78-815F-DE7D383348E9}"/>
              </a:ext>
            </a:extLst>
          </p:cNvPr>
          <p:cNvSpPr/>
          <p:nvPr/>
        </p:nvSpPr>
        <p:spPr bwMode="auto">
          <a:xfrm>
            <a:off x="6300084" y="4854351"/>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2</a:t>
            </a:r>
          </a:p>
        </p:txBody>
      </p:sp>
      <p:sp>
        <p:nvSpPr>
          <p:cNvPr id="78" name="Oval 77">
            <a:extLst>
              <a:ext uri="{FF2B5EF4-FFF2-40B4-BE49-F238E27FC236}">
                <a16:creationId xmlns:a16="http://schemas.microsoft.com/office/drawing/2014/main" id="{9369779A-CD33-43D9-96AA-FA40B5CD37EB}"/>
              </a:ext>
            </a:extLst>
          </p:cNvPr>
          <p:cNvSpPr/>
          <p:nvPr/>
        </p:nvSpPr>
        <p:spPr bwMode="auto">
          <a:xfrm>
            <a:off x="5597167" y="2562949"/>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4</a:t>
            </a:r>
            <a:endParaRPr kumimoji="0" lang="en-US" sz="2000" b="0" i="0" u="none" strike="noStrike" cap="none" normalizeH="0" baseline="0">
              <a:ln>
                <a:noFill/>
              </a:ln>
              <a:solidFill>
                <a:schemeClr val="tx2"/>
              </a:solidFill>
              <a:effectLst/>
              <a:latin typeface="Arial" charset="0"/>
            </a:endParaRPr>
          </a:p>
        </p:txBody>
      </p:sp>
      <p:sp>
        <p:nvSpPr>
          <p:cNvPr id="79" name="Oval 78">
            <a:extLst>
              <a:ext uri="{FF2B5EF4-FFF2-40B4-BE49-F238E27FC236}">
                <a16:creationId xmlns:a16="http://schemas.microsoft.com/office/drawing/2014/main" id="{95D0901D-F69E-49C4-B068-1526FC72E9F6}"/>
              </a:ext>
            </a:extLst>
          </p:cNvPr>
          <p:cNvSpPr/>
          <p:nvPr/>
        </p:nvSpPr>
        <p:spPr bwMode="auto">
          <a:xfrm>
            <a:off x="7368879" y="367849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5</a:t>
            </a:r>
            <a:endParaRPr kumimoji="0" lang="en-US" sz="2000" b="0" i="0" u="none" strike="noStrike" cap="none" normalizeH="0" baseline="0">
              <a:ln>
                <a:noFill/>
              </a:ln>
              <a:solidFill>
                <a:schemeClr val="tx2"/>
              </a:solidFill>
              <a:effectLst/>
              <a:latin typeface="Arial" charset="0"/>
            </a:endParaRPr>
          </a:p>
        </p:txBody>
      </p:sp>
      <p:sp>
        <p:nvSpPr>
          <p:cNvPr id="81" name="Oval 80">
            <a:extLst>
              <a:ext uri="{FF2B5EF4-FFF2-40B4-BE49-F238E27FC236}">
                <a16:creationId xmlns:a16="http://schemas.microsoft.com/office/drawing/2014/main" id="{05DB31E4-99CA-42C5-8845-CD75D26BB2B4}"/>
              </a:ext>
            </a:extLst>
          </p:cNvPr>
          <p:cNvSpPr/>
          <p:nvPr/>
        </p:nvSpPr>
        <p:spPr bwMode="auto">
          <a:xfrm>
            <a:off x="5692986" y="3625802"/>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3</a:t>
            </a:r>
          </a:p>
        </p:txBody>
      </p:sp>
      <p:grpSp>
        <p:nvGrpSpPr>
          <p:cNvPr id="2" name="Group 1">
            <a:extLst>
              <a:ext uri="{FF2B5EF4-FFF2-40B4-BE49-F238E27FC236}">
                <a16:creationId xmlns:a16="http://schemas.microsoft.com/office/drawing/2014/main" id="{1CFDB8AD-BC35-4CE6-81A5-0DFA57A68FEA}"/>
              </a:ext>
            </a:extLst>
          </p:cNvPr>
          <p:cNvGrpSpPr/>
          <p:nvPr/>
        </p:nvGrpSpPr>
        <p:grpSpPr>
          <a:xfrm>
            <a:off x="1867897" y="5545868"/>
            <a:ext cx="4227041" cy="490879"/>
            <a:chOff x="1867897" y="5545868"/>
            <a:chExt cx="4227041" cy="490879"/>
          </a:xfrm>
        </p:grpSpPr>
        <p:sp>
          <p:nvSpPr>
            <p:cNvPr id="74" name="TextBox 73">
              <a:extLst>
                <a:ext uri="{FF2B5EF4-FFF2-40B4-BE49-F238E27FC236}">
                  <a16:creationId xmlns:a16="http://schemas.microsoft.com/office/drawing/2014/main" id="{7EA5658F-ABEB-4C7A-AF9F-26F243B73D9B}"/>
                </a:ext>
              </a:extLst>
            </p:cNvPr>
            <p:cNvSpPr txBox="1"/>
            <p:nvPr/>
          </p:nvSpPr>
          <p:spPr>
            <a:xfrm>
              <a:off x="1867897" y="5637418"/>
              <a:ext cx="4082138" cy="307777"/>
            </a:xfrm>
            <a:prstGeom prst="rect">
              <a:avLst/>
            </a:prstGeom>
            <a:noFill/>
          </p:spPr>
          <p:txBody>
            <a:bodyPr wrap="square" rtlCol="0">
              <a:spAutoFit/>
            </a:bodyPr>
            <a:lstStyle/>
            <a:p>
              <a:pPr algn="ctr"/>
              <a:r>
                <a:rPr lang="en-US" sz="1400" b="1">
                  <a:solidFill>
                    <a:srgbClr val="00285F"/>
                  </a:solidFill>
                </a:rPr>
                <a:t>UE moves in Idle mode from EPS to 5GS</a:t>
              </a:r>
            </a:p>
          </p:txBody>
        </p:sp>
        <p:sp>
          <p:nvSpPr>
            <p:cNvPr id="88" name="Arrow: Right 87">
              <a:extLst>
                <a:ext uri="{FF2B5EF4-FFF2-40B4-BE49-F238E27FC236}">
                  <a16:creationId xmlns:a16="http://schemas.microsoft.com/office/drawing/2014/main" id="{4688FC13-06DD-48D9-A1F2-C90A77D702C2}"/>
                </a:ext>
              </a:extLst>
            </p:cNvPr>
            <p:cNvSpPr/>
            <p:nvPr/>
          </p:nvSpPr>
          <p:spPr bwMode="auto">
            <a:xfrm>
              <a:off x="2012799" y="5545868"/>
              <a:ext cx="4082139" cy="490879"/>
            </a:xfrm>
            <a:prstGeom prst="rightArrow">
              <a:avLst/>
            </a:prstGeom>
            <a:noFill/>
            <a:ln w="1905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89" name="Group 88">
            <a:extLst>
              <a:ext uri="{FF2B5EF4-FFF2-40B4-BE49-F238E27FC236}">
                <a16:creationId xmlns:a16="http://schemas.microsoft.com/office/drawing/2014/main" id="{5E7646AE-6977-4144-AD9A-5AF11613709A}"/>
              </a:ext>
            </a:extLst>
          </p:cNvPr>
          <p:cNvGrpSpPr/>
          <p:nvPr/>
        </p:nvGrpSpPr>
        <p:grpSpPr>
          <a:xfrm>
            <a:off x="6239841" y="5291378"/>
            <a:ext cx="992350" cy="1351944"/>
            <a:chOff x="9538020" y="331410"/>
            <a:chExt cx="992350" cy="1351944"/>
          </a:xfrm>
        </p:grpSpPr>
        <p:sp>
          <p:nvSpPr>
            <p:cNvPr id="90" name="Freeform 4">
              <a:extLst>
                <a:ext uri="{FF2B5EF4-FFF2-40B4-BE49-F238E27FC236}">
                  <a16:creationId xmlns:a16="http://schemas.microsoft.com/office/drawing/2014/main" id="{2D01942B-3EBD-429C-B319-2102B83A42BE}"/>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Text Box 144">
              <a:extLst>
                <a:ext uri="{FF2B5EF4-FFF2-40B4-BE49-F238E27FC236}">
                  <a16:creationId xmlns:a16="http://schemas.microsoft.com/office/drawing/2014/main" id="{D4BC6E06-9CF6-4889-A4A1-6CF42E56A36C}"/>
                </a:ext>
              </a:extLst>
            </p:cNvPr>
            <p:cNvSpPr txBox="1">
              <a:spLocks noChangeAspect="1" noChangeArrowheads="1"/>
            </p:cNvSpPr>
            <p:nvPr/>
          </p:nvSpPr>
          <p:spPr bwMode="auto">
            <a:xfrm>
              <a:off x="9538020" y="9964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cxnSp>
        <p:nvCxnSpPr>
          <p:cNvPr id="94" name="Straight Arrow Connector 93">
            <a:extLst>
              <a:ext uri="{FF2B5EF4-FFF2-40B4-BE49-F238E27FC236}">
                <a16:creationId xmlns:a16="http://schemas.microsoft.com/office/drawing/2014/main" id="{9698372F-EEF7-43F4-997B-41EC91084E81}"/>
              </a:ext>
            </a:extLst>
          </p:cNvPr>
          <p:cNvCxnSpPr>
            <a:cxnSpLocks/>
          </p:cNvCxnSpPr>
          <p:nvPr/>
        </p:nvCxnSpPr>
        <p:spPr bwMode="auto">
          <a:xfrm flipV="1">
            <a:off x="6714928" y="4728092"/>
            <a:ext cx="1" cy="570081"/>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7" name="Straight Arrow Connector 96">
            <a:extLst>
              <a:ext uri="{FF2B5EF4-FFF2-40B4-BE49-F238E27FC236}">
                <a16:creationId xmlns:a16="http://schemas.microsoft.com/office/drawing/2014/main" id="{2E75B193-5A8F-48D4-B8E1-5C933BAEA034}"/>
              </a:ext>
            </a:extLst>
          </p:cNvPr>
          <p:cNvCxnSpPr>
            <a:cxnSpLocks/>
          </p:cNvCxnSpPr>
          <p:nvPr/>
        </p:nvCxnSpPr>
        <p:spPr bwMode="auto">
          <a:xfrm flipH="1">
            <a:off x="1990960" y="4051186"/>
            <a:ext cx="4237752" cy="0"/>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9" name="Straight Arrow Connector 98">
            <a:extLst>
              <a:ext uri="{FF2B5EF4-FFF2-40B4-BE49-F238E27FC236}">
                <a16:creationId xmlns:a16="http://schemas.microsoft.com/office/drawing/2014/main" id="{FEBF523B-DD01-466D-9F86-04620D8CB8CD}"/>
              </a:ext>
            </a:extLst>
          </p:cNvPr>
          <p:cNvCxnSpPr>
            <a:cxnSpLocks/>
          </p:cNvCxnSpPr>
          <p:nvPr/>
        </p:nvCxnSpPr>
        <p:spPr bwMode="auto">
          <a:xfrm flipH="1" flipV="1">
            <a:off x="4529675" y="2263231"/>
            <a:ext cx="2219063" cy="1283625"/>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101" name="Rectangular Callout 104">
            <a:extLst>
              <a:ext uri="{FF2B5EF4-FFF2-40B4-BE49-F238E27FC236}">
                <a16:creationId xmlns:a16="http://schemas.microsoft.com/office/drawing/2014/main" id="{16474AC1-84A4-4D17-A139-30F7D9C12A61}"/>
              </a:ext>
            </a:extLst>
          </p:cNvPr>
          <p:cNvSpPr/>
          <p:nvPr/>
        </p:nvSpPr>
        <p:spPr bwMode="auto">
          <a:xfrm>
            <a:off x="7697724" y="1524542"/>
            <a:ext cx="3043758" cy="1015663"/>
          </a:xfrm>
          <a:prstGeom prst="wedgeRectCallout">
            <a:avLst>
              <a:gd name="adj1" fmla="val -99573"/>
              <a:gd name="adj2" fmla="val 92177"/>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PDU session update procedure</a:t>
            </a:r>
          </a:p>
          <a:p>
            <a:pPr marL="171450" indent="-171450">
              <a:spcBef>
                <a:spcPts val="0"/>
              </a:spcBef>
              <a:buFont typeface="Arial" panose="020B0604020202020204" pitchFamily="34" charset="0"/>
              <a:buChar char="•"/>
            </a:pPr>
            <a:r>
              <a:rPr lang="en-US" sz="1200">
                <a:solidFill>
                  <a:srgbClr val="00285F"/>
                </a:solidFill>
              </a:rPr>
              <a:t>AMF provides </a:t>
            </a:r>
            <a:br>
              <a:rPr lang="en-US" sz="1200">
                <a:solidFill>
                  <a:srgbClr val="00285F"/>
                </a:solidFill>
              </a:rPr>
            </a:br>
            <a:r>
              <a:rPr lang="en-US" sz="1200">
                <a:solidFill>
                  <a:srgbClr val="00285F"/>
                </a:solidFill>
              </a:rPr>
              <a:t>- </a:t>
            </a:r>
            <a:r>
              <a:rPr lang="en-GB" sz="1200">
                <a:solidFill>
                  <a:srgbClr val="00285F"/>
                </a:solidFill>
              </a:rPr>
              <a:t>EPS Bearer Identity </a:t>
            </a:r>
          </a:p>
          <a:p>
            <a:pPr marL="171450" indent="-171450">
              <a:spcBef>
                <a:spcPts val="0"/>
              </a:spcBef>
              <a:buFont typeface="Arial" panose="020B0604020202020204" pitchFamily="34" charset="0"/>
              <a:buChar char="•"/>
            </a:pPr>
            <a:r>
              <a:rPr lang="en-GB" sz="1200">
                <a:solidFill>
                  <a:srgbClr val="00285F"/>
                </a:solidFill>
              </a:rPr>
              <a:t>AMF receives </a:t>
            </a:r>
            <a:br>
              <a:rPr lang="en-GB" sz="1200">
                <a:solidFill>
                  <a:srgbClr val="00285F"/>
                </a:solidFill>
              </a:rPr>
            </a:br>
            <a:r>
              <a:rPr lang="en-GB" sz="1200">
                <a:solidFill>
                  <a:srgbClr val="00285F"/>
                </a:solidFill>
              </a:rPr>
              <a:t>- </a:t>
            </a:r>
            <a:r>
              <a:rPr lang="en-US" sz="1200">
                <a:solidFill>
                  <a:srgbClr val="00285F"/>
                </a:solidFill>
              </a:rPr>
              <a:t>PDU Session ID and S-NSSAI</a:t>
            </a:r>
          </a:p>
        </p:txBody>
      </p:sp>
      <p:sp>
        <p:nvSpPr>
          <p:cNvPr id="103" name="Rectangular Callout 104">
            <a:extLst>
              <a:ext uri="{FF2B5EF4-FFF2-40B4-BE49-F238E27FC236}">
                <a16:creationId xmlns:a16="http://schemas.microsoft.com/office/drawing/2014/main" id="{6F9D1ACC-0110-4039-8F33-953315B65756}"/>
              </a:ext>
            </a:extLst>
          </p:cNvPr>
          <p:cNvSpPr/>
          <p:nvPr/>
        </p:nvSpPr>
        <p:spPr bwMode="auto">
          <a:xfrm>
            <a:off x="8395063" y="3624048"/>
            <a:ext cx="3611954" cy="646331"/>
          </a:xfrm>
          <a:prstGeom prst="wedgeRectCallout">
            <a:avLst>
              <a:gd name="adj1" fmla="val -82872"/>
              <a:gd name="adj2" fmla="val 33614"/>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AMF correlates, </a:t>
            </a:r>
            <a:r>
              <a:rPr lang="en-GB" sz="1200">
                <a:solidFill>
                  <a:srgbClr val="00285F"/>
                </a:solidFill>
              </a:rPr>
              <a:t>per PDU Session, </a:t>
            </a:r>
            <a:br>
              <a:rPr lang="en-GB" sz="1200">
                <a:solidFill>
                  <a:srgbClr val="00285F"/>
                </a:solidFill>
              </a:rPr>
            </a:br>
            <a:r>
              <a:rPr lang="en-GB" sz="1200">
                <a:solidFill>
                  <a:srgbClr val="00285F"/>
                </a:solidFill>
              </a:rPr>
              <a:t>information in the UE context with its respective PDU Session ID and S-NSSAI</a:t>
            </a:r>
          </a:p>
        </p:txBody>
      </p:sp>
      <p:sp>
        <p:nvSpPr>
          <p:cNvPr id="47" name="Rectangular Callout 104">
            <a:extLst>
              <a:ext uri="{FF2B5EF4-FFF2-40B4-BE49-F238E27FC236}">
                <a16:creationId xmlns:a16="http://schemas.microsoft.com/office/drawing/2014/main" id="{003E16CC-F6F0-40E1-9051-009669ACE187}"/>
              </a:ext>
            </a:extLst>
          </p:cNvPr>
          <p:cNvSpPr/>
          <p:nvPr/>
        </p:nvSpPr>
        <p:spPr bwMode="auto">
          <a:xfrm>
            <a:off x="7405629" y="6049299"/>
            <a:ext cx="4163855" cy="461665"/>
          </a:xfrm>
          <a:prstGeom prst="wedgeRectCallout">
            <a:avLst>
              <a:gd name="adj1" fmla="val 11927"/>
              <a:gd name="adj2" fmla="val -84029"/>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a:solidFill>
                  <a:srgbClr val="00285F"/>
                </a:solidFill>
              </a:rPr>
              <a:t>UE uses latest received info i.e. PCO or Configured NSSAI/Allowed NSSAI to derive Requested NSSAI</a:t>
            </a:r>
          </a:p>
        </p:txBody>
      </p:sp>
      <p:sp>
        <p:nvSpPr>
          <p:cNvPr id="48" name="TextBox 47">
            <a:extLst>
              <a:ext uri="{FF2B5EF4-FFF2-40B4-BE49-F238E27FC236}">
                <a16:creationId xmlns:a16="http://schemas.microsoft.com/office/drawing/2014/main" id="{9D2E1C8C-949F-4A68-B6F0-B49987EFEBF3}"/>
              </a:ext>
            </a:extLst>
          </p:cNvPr>
          <p:cNvSpPr txBox="1"/>
          <p:nvPr/>
        </p:nvSpPr>
        <p:spPr bwMode="auto">
          <a:xfrm>
            <a:off x="6379625" y="3603041"/>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52" name="TextBox 51">
            <a:extLst>
              <a:ext uri="{FF2B5EF4-FFF2-40B4-BE49-F238E27FC236}">
                <a16:creationId xmlns:a16="http://schemas.microsoft.com/office/drawing/2014/main" id="{000ECADF-B267-4C00-8743-F12EAB1B82EA}"/>
              </a:ext>
            </a:extLst>
          </p:cNvPr>
          <p:cNvSpPr txBox="1"/>
          <p:nvPr/>
        </p:nvSpPr>
        <p:spPr bwMode="auto">
          <a:xfrm>
            <a:off x="3782805" y="1736983"/>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S</a:t>
            </a:r>
            <a:r>
              <a:rPr kumimoji="0" lang="en-US" sz="1600" b="0" i="0" u="none" strike="noStrike" kern="1200" cap="none" spc="0" normalizeH="0" baseline="0" noProof="0">
                <a:ln>
                  <a:noFill/>
                </a:ln>
                <a:solidFill>
                  <a:srgbClr val="0082F0"/>
                </a:solidFill>
                <a:effectLst/>
                <a:uLnTx/>
                <a:uFillTx/>
                <a:latin typeface="Ericsson Hilda"/>
                <a:ea typeface="+mn-ea"/>
                <a:cs typeface="+mn-cs"/>
              </a:rPr>
              <a:t>MF</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PGW-C</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5" name="Rectangular Callout 104">
            <a:extLst>
              <a:ext uri="{FF2B5EF4-FFF2-40B4-BE49-F238E27FC236}">
                <a16:creationId xmlns:a16="http://schemas.microsoft.com/office/drawing/2014/main" id="{AEBC2338-76ED-4EA2-AC21-891581D96308}"/>
              </a:ext>
            </a:extLst>
          </p:cNvPr>
          <p:cNvSpPr/>
          <p:nvPr/>
        </p:nvSpPr>
        <p:spPr bwMode="auto">
          <a:xfrm>
            <a:off x="88025" y="1964905"/>
            <a:ext cx="2591325" cy="1015663"/>
          </a:xfrm>
          <a:prstGeom prst="wedgeRectCallout">
            <a:avLst>
              <a:gd name="adj1" fmla="val -3389"/>
              <a:gd name="adj2" fmla="val 97098"/>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MME has stored in UE Context </a:t>
            </a:r>
            <a:br>
              <a:rPr lang="en-US" sz="1200" b="1">
                <a:solidFill>
                  <a:srgbClr val="00285F"/>
                </a:solidFill>
              </a:rPr>
            </a:br>
            <a:r>
              <a:rPr lang="en-US" sz="1200">
                <a:solidFill>
                  <a:srgbClr val="00285F"/>
                </a:solidFill>
              </a:rPr>
              <a:t>UE Usage type (if received from HSS) and </a:t>
            </a:r>
            <a:r>
              <a:rPr lang="en-GB" sz="1200">
                <a:solidFill>
                  <a:srgbClr val="00285F"/>
                </a:solidFill>
              </a:rPr>
              <a:t>per PDN Connection: PDU Session ID, S-NSSAI, PGW address, and EPS Bearer ID</a:t>
            </a:r>
            <a:endParaRPr lang="en-US" sz="1200">
              <a:solidFill>
                <a:srgbClr val="00285F"/>
              </a:solidFill>
            </a:endParaRPr>
          </a:p>
        </p:txBody>
      </p:sp>
      <p:sp>
        <p:nvSpPr>
          <p:cNvPr id="36" name="TextBox 35">
            <a:extLst>
              <a:ext uri="{FF2B5EF4-FFF2-40B4-BE49-F238E27FC236}">
                <a16:creationId xmlns:a16="http://schemas.microsoft.com/office/drawing/2014/main" id="{FB4F78DD-F9EA-483A-94CD-D7814B031E17}"/>
              </a:ext>
            </a:extLst>
          </p:cNvPr>
          <p:cNvSpPr txBox="1"/>
          <p:nvPr/>
        </p:nvSpPr>
        <p:spPr bwMode="auto">
          <a:xfrm>
            <a:off x="524935" y="714822"/>
            <a:ext cx="6382264" cy="916734"/>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en-US" sz="1400"/>
              <a:t>Preconditions</a:t>
            </a:r>
          </a:p>
          <a:p>
            <a:pPr marL="342900" indent="-342900" algn="l">
              <a:buClr>
                <a:schemeClr val="tx1"/>
              </a:buClr>
              <a:buFontTx/>
              <a:buChar char="-"/>
            </a:pPr>
            <a:r>
              <a:rPr lang="en-US" sz="1400"/>
              <a:t>UE attached to EPC</a:t>
            </a:r>
          </a:p>
          <a:p>
            <a:pPr marL="342900" indent="-342900" algn="l">
              <a:buClr>
                <a:schemeClr val="tx1"/>
              </a:buClr>
              <a:buFontTx/>
              <a:buChar char="-"/>
            </a:pPr>
            <a:r>
              <a:rPr lang="en-US" sz="1400"/>
              <a:t>UE has one or more PDN connections incl. S-NSSAI</a:t>
            </a:r>
          </a:p>
          <a:p>
            <a:pPr algn="l">
              <a:buClr>
                <a:schemeClr val="tx1"/>
              </a:buClr>
            </a:pPr>
            <a:endParaRPr lang="en-150" sz="2000" err="1"/>
          </a:p>
        </p:txBody>
      </p:sp>
      <p:sp>
        <p:nvSpPr>
          <p:cNvPr id="37" name="Oval 36">
            <a:extLst>
              <a:ext uri="{FF2B5EF4-FFF2-40B4-BE49-F238E27FC236}">
                <a16:creationId xmlns:a16="http://schemas.microsoft.com/office/drawing/2014/main" id="{5DEE7A4E-6D7E-47E8-87C0-AC28E9B2786D}"/>
              </a:ext>
            </a:extLst>
          </p:cNvPr>
          <p:cNvSpPr/>
          <p:nvPr/>
        </p:nvSpPr>
        <p:spPr bwMode="auto">
          <a:xfrm>
            <a:off x="3555219" y="598511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1</a:t>
            </a:r>
          </a:p>
        </p:txBody>
      </p:sp>
      <p:sp>
        <p:nvSpPr>
          <p:cNvPr id="9" name="Freeform: Shape 8">
            <a:extLst>
              <a:ext uri="{FF2B5EF4-FFF2-40B4-BE49-F238E27FC236}">
                <a16:creationId xmlns:a16="http://schemas.microsoft.com/office/drawing/2014/main" id="{800EF874-1826-4998-A748-42C478D8155B}"/>
              </a:ext>
            </a:extLst>
          </p:cNvPr>
          <p:cNvSpPr/>
          <p:nvPr/>
        </p:nvSpPr>
        <p:spPr bwMode="auto">
          <a:xfrm>
            <a:off x="1262158" y="2558143"/>
            <a:ext cx="2395440" cy="2634343"/>
          </a:xfrm>
          <a:custGeom>
            <a:avLst/>
            <a:gdLst>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957943 w 2394857"/>
              <a:gd name="connsiteY16" fmla="*/ 435428 h 2634343"/>
              <a:gd name="connsiteX17" fmla="*/ 925286 w 2394857"/>
              <a:gd name="connsiteY17" fmla="*/ 446314 h 2634343"/>
              <a:gd name="connsiteX18" fmla="*/ 859971 w 2394857"/>
              <a:gd name="connsiteY18" fmla="*/ 489857 h 2634343"/>
              <a:gd name="connsiteX19" fmla="*/ 805543 w 2394857"/>
              <a:gd name="connsiteY19" fmla="*/ 533400 h 2634343"/>
              <a:gd name="connsiteX20" fmla="*/ 762000 w 2394857"/>
              <a:gd name="connsiteY20" fmla="*/ 555171 h 2634343"/>
              <a:gd name="connsiteX21" fmla="*/ 740228 w 2394857"/>
              <a:gd name="connsiteY21" fmla="*/ 576943 h 2634343"/>
              <a:gd name="connsiteX22" fmla="*/ 707571 w 2394857"/>
              <a:gd name="connsiteY22" fmla="*/ 587828 h 2634343"/>
              <a:gd name="connsiteX23" fmla="*/ 664028 w 2394857"/>
              <a:gd name="connsiteY23" fmla="*/ 609600 h 2634343"/>
              <a:gd name="connsiteX24" fmla="*/ 566057 w 2394857"/>
              <a:gd name="connsiteY24" fmla="*/ 685800 h 2634343"/>
              <a:gd name="connsiteX25" fmla="*/ 489857 w 2394857"/>
              <a:gd name="connsiteY25" fmla="*/ 740228 h 2634343"/>
              <a:gd name="connsiteX26" fmla="*/ 435428 w 2394857"/>
              <a:gd name="connsiteY26" fmla="*/ 783771 h 2634343"/>
              <a:gd name="connsiteX27" fmla="*/ 402771 w 2394857"/>
              <a:gd name="connsiteY27" fmla="*/ 794657 h 2634343"/>
              <a:gd name="connsiteX28" fmla="*/ 348343 w 2394857"/>
              <a:gd name="connsiteY28" fmla="*/ 870857 h 2634343"/>
              <a:gd name="connsiteX29" fmla="*/ 326571 w 2394857"/>
              <a:gd name="connsiteY29" fmla="*/ 892628 h 2634343"/>
              <a:gd name="connsiteX30" fmla="*/ 315686 w 2394857"/>
              <a:gd name="connsiteY30" fmla="*/ 936171 h 2634343"/>
              <a:gd name="connsiteX31" fmla="*/ 283028 w 2394857"/>
              <a:gd name="connsiteY31" fmla="*/ 947057 h 2634343"/>
              <a:gd name="connsiteX32" fmla="*/ 228600 w 2394857"/>
              <a:gd name="connsiteY32" fmla="*/ 1001486 h 2634343"/>
              <a:gd name="connsiteX33" fmla="*/ 206828 w 2394857"/>
              <a:gd name="connsiteY33" fmla="*/ 1023257 h 2634343"/>
              <a:gd name="connsiteX34" fmla="*/ 174171 w 2394857"/>
              <a:gd name="connsiteY34" fmla="*/ 1045028 h 2634343"/>
              <a:gd name="connsiteX35" fmla="*/ 152400 w 2394857"/>
              <a:gd name="connsiteY35" fmla="*/ 1110343 h 2634343"/>
              <a:gd name="connsiteX36" fmla="*/ 108857 w 2394857"/>
              <a:gd name="connsiteY36" fmla="*/ 1153886 h 2634343"/>
              <a:gd name="connsiteX37" fmla="*/ 97971 w 2394857"/>
              <a:gd name="connsiteY37" fmla="*/ 1186543 h 2634343"/>
              <a:gd name="connsiteX38" fmla="*/ 54428 w 2394857"/>
              <a:gd name="connsiteY38" fmla="*/ 1262743 h 2634343"/>
              <a:gd name="connsiteX39" fmla="*/ 43543 w 2394857"/>
              <a:gd name="connsiteY39" fmla="*/ 1328057 h 2634343"/>
              <a:gd name="connsiteX40" fmla="*/ 32657 w 2394857"/>
              <a:gd name="connsiteY40" fmla="*/ 1371600 h 2634343"/>
              <a:gd name="connsiteX41" fmla="*/ 21771 w 2394857"/>
              <a:gd name="connsiteY41" fmla="*/ 1513114 h 2634343"/>
              <a:gd name="connsiteX42" fmla="*/ 10886 w 2394857"/>
              <a:gd name="connsiteY42" fmla="*/ 1817914 h 2634343"/>
              <a:gd name="connsiteX43" fmla="*/ 0 w 2394857"/>
              <a:gd name="connsiteY43" fmla="*/ 2057400 h 2634343"/>
              <a:gd name="connsiteX44" fmla="*/ 10886 w 2394857"/>
              <a:gd name="connsiteY44"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957943 w 2394857"/>
              <a:gd name="connsiteY16" fmla="*/ 435428 h 2634343"/>
              <a:gd name="connsiteX17" fmla="*/ 859971 w 2394857"/>
              <a:gd name="connsiteY17" fmla="*/ 489857 h 2634343"/>
              <a:gd name="connsiteX18" fmla="*/ 805543 w 2394857"/>
              <a:gd name="connsiteY18" fmla="*/ 533400 h 2634343"/>
              <a:gd name="connsiteX19" fmla="*/ 762000 w 2394857"/>
              <a:gd name="connsiteY19" fmla="*/ 555171 h 2634343"/>
              <a:gd name="connsiteX20" fmla="*/ 740228 w 2394857"/>
              <a:gd name="connsiteY20" fmla="*/ 576943 h 2634343"/>
              <a:gd name="connsiteX21" fmla="*/ 707571 w 2394857"/>
              <a:gd name="connsiteY21" fmla="*/ 587828 h 2634343"/>
              <a:gd name="connsiteX22" fmla="*/ 664028 w 2394857"/>
              <a:gd name="connsiteY22" fmla="*/ 609600 h 2634343"/>
              <a:gd name="connsiteX23" fmla="*/ 566057 w 2394857"/>
              <a:gd name="connsiteY23" fmla="*/ 685800 h 2634343"/>
              <a:gd name="connsiteX24" fmla="*/ 489857 w 2394857"/>
              <a:gd name="connsiteY24" fmla="*/ 740228 h 2634343"/>
              <a:gd name="connsiteX25" fmla="*/ 435428 w 2394857"/>
              <a:gd name="connsiteY25" fmla="*/ 783771 h 2634343"/>
              <a:gd name="connsiteX26" fmla="*/ 402771 w 2394857"/>
              <a:gd name="connsiteY26" fmla="*/ 794657 h 2634343"/>
              <a:gd name="connsiteX27" fmla="*/ 348343 w 2394857"/>
              <a:gd name="connsiteY27" fmla="*/ 870857 h 2634343"/>
              <a:gd name="connsiteX28" fmla="*/ 326571 w 2394857"/>
              <a:gd name="connsiteY28" fmla="*/ 892628 h 2634343"/>
              <a:gd name="connsiteX29" fmla="*/ 315686 w 2394857"/>
              <a:gd name="connsiteY29" fmla="*/ 936171 h 2634343"/>
              <a:gd name="connsiteX30" fmla="*/ 283028 w 2394857"/>
              <a:gd name="connsiteY30" fmla="*/ 947057 h 2634343"/>
              <a:gd name="connsiteX31" fmla="*/ 228600 w 2394857"/>
              <a:gd name="connsiteY31" fmla="*/ 1001486 h 2634343"/>
              <a:gd name="connsiteX32" fmla="*/ 206828 w 2394857"/>
              <a:gd name="connsiteY32" fmla="*/ 1023257 h 2634343"/>
              <a:gd name="connsiteX33" fmla="*/ 174171 w 2394857"/>
              <a:gd name="connsiteY33" fmla="*/ 1045028 h 2634343"/>
              <a:gd name="connsiteX34" fmla="*/ 152400 w 2394857"/>
              <a:gd name="connsiteY34" fmla="*/ 1110343 h 2634343"/>
              <a:gd name="connsiteX35" fmla="*/ 108857 w 2394857"/>
              <a:gd name="connsiteY35" fmla="*/ 1153886 h 2634343"/>
              <a:gd name="connsiteX36" fmla="*/ 97971 w 2394857"/>
              <a:gd name="connsiteY36" fmla="*/ 1186543 h 2634343"/>
              <a:gd name="connsiteX37" fmla="*/ 54428 w 2394857"/>
              <a:gd name="connsiteY37" fmla="*/ 1262743 h 2634343"/>
              <a:gd name="connsiteX38" fmla="*/ 43543 w 2394857"/>
              <a:gd name="connsiteY38" fmla="*/ 1328057 h 2634343"/>
              <a:gd name="connsiteX39" fmla="*/ 32657 w 2394857"/>
              <a:gd name="connsiteY39" fmla="*/ 1371600 h 2634343"/>
              <a:gd name="connsiteX40" fmla="*/ 21771 w 2394857"/>
              <a:gd name="connsiteY40" fmla="*/ 1513114 h 2634343"/>
              <a:gd name="connsiteX41" fmla="*/ 10886 w 2394857"/>
              <a:gd name="connsiteY41" fmla="*/ 1817914 h 2634343"/>
              <a:gd name="connsiteX42" fmla="*/ 0 w 2394857"/>
              <a:gd name="connsiteY42" fmla="*/ 2057400 h 2634343"/>
              <a:gd name="connsiteX43" fmla="*/ 10886 w 2394857"/>
              <a:gd name="connsiteY43"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805543 w 2394857"/>
              <a:gd name="connsiteY17" fmla="*/ 533400 h 2634343"/>
              <a:gd name="connsiteX18" fmla="*/ 762000 w 2394857"/>
              <a:gd name="connsiteY18" fmla="*/ 555171 h 2634343"/>
              <a:gd name="connsiteX19" fmla="*/ 740228 w 2394857"/>
              <a:gd name="connsiteY19" fmla="*/ 576943 h 2634343"/>
              <a:gd name="connsiteX20" fmla="*/ 707571 w 2394857"/>
              <a:gd name="connsiteY20" fmla="*/ 587828 h 2634343"/>
              <a:gd name="connsiteX21" fmla="*/ 664028 w 2394857"/>
              <a:gd name="connsiteY21" fmla="*/ 609600 h 2634343"/>
              <a:gd name="connsiteX22" fmla="*/ 566057 w 2394857"/>
              <a:gd name="connsiteY22" fmla="*/ 685800 h 2634343"/>
              <a:gd name="connsiteX23" fmla="*/ 489857 w 2394857"/>
              <a:gd name="connsiteY23" fmla="*/ 740228 h 2634343"/>
              <a:gd name="connsiteX24" fmla="*/ 435428 w 2394857"/>
              <a:gd name="connsiteY24" fmla="*/ 783771 h 2634343"/>
              <a:gd name="connsiteX25" fmla="*/ 402771 w 2394857"/>
              <a:gd name="connsiteY25" fmla="*/ 794657 h 2634343"/>
              <a:gd name="connsiteX26" fmla="*/ 348343 w 2394857"/>
              <a:gd name="connsiteY26" fmla="*/ 870857 h 2634343"/>
              <a:gd name="connsiteX27" fmla="*/ 326571 w 2394857"/>
              <a:gd name="connsiteY27" fmla="*/ 892628 h 2634343"/>
              <a:gd name="connsiteX28" fmla="*/ 315686 w 2394857"/>
              <a:gd name="connsiteY28" fmla="*/ 936171 h 2634343"/>
              <a:gd name="connsiteX29" fmla="*/ 283028 w 2394857"/>
              <a:gd name="connsiteY29" fmla="*/ 947057 h 2634343"/>
              <a:gd name="connsiteX30" fmla="*/ 228600 w 2394857"/>
              <a:gd name="connsiteY30" fmla="*/ 1001486 h 2634343"/>
              <a:gd name="connsiteX31" fmla="*/ 206828 w 2394857"/>
              <a:gd name="connsiteY31" fmla="*/ 1023257 h 2634343"/>
              <a:gd name="connsiteX32" fmla="*/ 174171 w 2394857"/>
              <a:gd name="connsiteY32" fmla="*/ 1045028 h 2634343"/>
              <a:gd name="connsiteX33" fmla="*/ 152400 w 2394857"/>
              <a:gd name="connsiteY33" fmla="*/ 1110343 h 2634343"/>
              <a:gd name="connsiteX34" fmla="*/ 108857 w 2394857"/>
              <a:gd name="connsiteY34" fmla="*/ 1153886 h 2634343"/>
              <a:gd name="connsiteX35" fmla="*/ 97971 w 2394857"/>
              <a:gd name="connsiteY35" fmla="*/ 1186543 h 2634343"/>
              <a:gd name="connsiteX36" fmla="*/ 54428 w 2394857"/>
              <a:gd name="connsiteY36" fmla="*/ 1262743 h 2634343"/>
              <a:gd name="connsiteX37" fmla="*/ 43543 w 2394857"/>
              <a:gd name="connsiteY37" fmla="*/ 1328057 h 2634343"/>
              <a:gd name="connsiteX38" fmla="*/ 32657 w 2394857"/>
              <a:gd name="connsiteY38" fmla="*/ 1371600 h 2634343"/>
              <a:gd name="connsiteX39" fmla="*/ 21771 w 2394857"/>
              <a:gd name="connsiteY39" fmla="*/ 1513114 h 2634343"/>
              <a:gd name="connsiteX40" fmla="*/ 10886 w 2394857"/>
              <a:gd name="connsiteY40" fmla="*/ 1817914 h 2634343"/>
              <a:gd name="connsiteX41" fmla="*/ 0 w 2394857"/>
              <a:gd name="connsiteY41" fmla="*/ 2057400 h 2634343"/>
              <a:gd name="connsiteX42" fmla="*/ 10886 w 2394857"/>
              <a:gd name="connsiteY42"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707571 w 2394857"/>
              <a:gd name="connsiteY19" fmla="*/ 587828 h 2634343"/>
              <a:gd name="connsiteX20" fmla="*/ 664028 w 2394857"/>
              <a:gd name="connsiteY20" fmla="*/ 609600 h 2634343"/>
              <a:gd name="connsiteX21" fmla="*/ 566057 w 2394857"/>
              <a:gd name="connsiteY21" fmla="*/ 685800 h 2634343"/>
              <a:gd name="connsiteX22" fmla="*/ 489857 w 2394857"/>
              <a:gd name="connsiteY22" fmla="*/ 740228 h 2634343"/>
              <a:gd name="connsiteX23" fmla="*/ 435428 w 2394857"/>
              <a:gd name="connsiteY23" fmla="*/ 783771 h 2634343"/>
              <a:gd name="connsiteX24" fmla="*/ 402771 w 2394857"/>
              <a:gd name="connsiteY24" fmla="*/ 794657 h 2634343"/>
              <a:gd name="connsiteX25" fmla="*/ 348343 w 2394857"/>
              <a:gd name="connsiteY25" fmla="*/ 870857 h 2634343"/>
              <a:gd name="connsiteX26" fmla="*/ 326571 w 2394857"/>
              <a:gd name="connsiteY26" fmla="*/ 892628 h 2634343"/>
              <a:gd name="connsiteX27" fmla="*/ 315686 w 2394857"/>
              <a:gd name="connsiteY27" fmla="*/ 936171 h 2634343"/>
              <a:gd name="connsiteX28" fmla="*/ 283028 w 2394857"/>
              <a:gd name="connsiteY28" fmla="*/ 947057 h 2634343"/>
              <a:gd name="connsiteX29" fmla="*/ 228600 w 2394857"/>
              <a:gd name="connsiteY29" fmla="*/ 1001486 h 2634343"/>
              <a:gd name="connsiteX30" fmla="*/ 206828 w 2394857"/>
              <a:gd name="connsiteY30" fmla="*/ 1023257 h 2634343"/>
              <a:gd name="connsiteX31" fmla="*/ 174171 w 2394857"/>
              <a:gd name="connsiteY31" fmla="*/ 1045028 h 2634343"/>
              <a:gd name="connsiteX32" fmla="*/ 152400 w 2394857"/>
              <a:gd name="connsiteY32" fmla="*/ 1110343 h 2634343"/>
              <a:gd name="connsiteX33" fmla="*/ 108857 w 2394857"/>
              <a:gd name="connsiteY33" fmla="*/ 1153886 h 2634343"/>
              <a:gd name="connsiteX34" fmla="*/ 97971 w 2394857"/>
              <a:gd name="connsiteY34" fmla="*/ 1186543 h 2634343"/>
              <a:gd name="connsiteX35" fmla="*/ 54428 w 2394857"/>
              <a:gd name="connsiteY35" fmla="*/ 1262743 h 2634343"/>
              <a:gd name="connsiteX36" fmla="*/ 43543 w 2394857"/>
              <a:gd name="connsiteY36" fmla="*/ 1328057 h 2634343"/>
              <a:gd name="connsiteX37" fmla="*/ 32657 w 2394857"/>
              <a:gd name="connsiteY37" fmla="*/ 1371600 h 2634343"/>
              <a:gd name="connsiteX38" fmla="*/ 21771 w 2394857"/>
              <a:gd name="connsiteY38" fmla="*/ 1513114 h 2634343"/>
              <a:gd name="connsiteX39" fmla="*/ 10886 w 2394857"/>
              <a:gd name="connsiteY39" fmla="*/ 1817914 h 2634343"/>
              <a:gd name="connsiteX40" fmla="*/ 0 w 2394857"/>
              <a:gd name="connsiteY40" fmla="*/ 2057400 h 2634343"/>
              <a:gd name="connsiteX41" fmla="*/ 10886 w 2394857"/>
              <a:gd name="connsiteY41"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664028 w 2394857"/>
              <a:gd name="connsiteY19" fmla="*/ 609600 h 2634343"/>
              <a:gd name="connsiteX20" fmla="*/ 566057 w 2394857"/>
              <a:gd name="connsiteY20" fmla="*/ 685800 h 2634343"/>
              <a:gd name="connsiteX21" fmla="*/ 489857 w 2394857"/>
              <a:gd name="connsiteY21" fmla="*/ 740228 h 2634343"/>
              <a:gd name="connsiteX22" fmla="*/ 435428 w 2394857"/>
              <a:gd name="connsiteY22" fmla="*/ 783771 h 2634343"/>
              <a:gd name="connsiteX23" fmla="*/ 402771 w 2394857"/>
              <a:gd name="connsiteY23" fmla="*/ 794657 h 2634343"/>
              <a:gd name="connsiteX24" fmla="*/ 348343 w 2394857"/>
              <a:gd name="connsiteY24" fmla="*/ 870857 h 2634343"/>
              <a:gd name="connsiteX25" fmla="*/ 326571 w 2394857"/>
              <a:gd name="connsiteY25" fmla="*/ 892628 h 2634343"/>
              <a:gd name="connsiteX26" fmla="*/ 315686 w 2394857"/>
              <a:gd name="connsiteY26" fmla="*/ 936171 h 2634343"/>
              <a:gd name="connsiteX27" fmla="*/ 283028 w 2394857"/>
              <a:gd name="connsiteY27" fmla="*/ 947057 h 2634343"/>
              <a:gd name="connsiteX28" fmla="*/ 228600 w 2394857"/>
              <a:gd name="connsiteY28" fmla="*/ 1001486 h 2634343"/>
              <a:gd name="connsiteX29" fmla="*/ 206828 w 2394857"/>
              <a:gd name="connsiteY29" fmla="*/ 1023257 h 2634343"/>
              <a:gd name="connsiteX30" fmla="*/ 174171 w 2394857"/>
              <a:gd name="connsiteY30" fmla="*/ 1045028 h 2634343"/>
              <a:gd name="connsiteX31" fmla="*/ 152400 w 2394857"/>
              <a:gd name="connsiteY31" fmla="*/ 1110343 h 2634343"/>
              <a:gd name="connsiteX32" fmla="*/ 108857 w 2394857"/>
              <a:gd name="connsiteY32" fmla="*/ 1153886 h 2634343"/>
              <a:gd name="connsiteX33" fmla="*/ 97971 w 2394857"/>
              <a:gd name="connsiteY33" fmla="*/ 1186543 h 2634343"/>
              <a:gd name="connsiteX34" fmla="*/ 54428 w 2394857"/>
              <a:gd name="connsiteY34" fmla="*/ 1262743 h 2634343"/>
              <a:gd name="connsiteX35" fmla="*/ 43543 w 2394857"/>
              <a:gd name="connsiteY35" fmla="*/ 1328057 h 2634343"/>
              <a:gd name="connsiteX36" fmla="*/ 32657 w 2394857"/>
              <a:gd name="connsiteY36" fmla="*/ 1371600 h 2634343"/>
              <a:gd name="connsiteX37" fmla="*/ 21771 w 2394857"/>
              <a:gd name="connsiteY37" fmla="*/ 1513114 h 2634343"/>
              <a:gd name="connsiteX38" fmla="*/ 10886 w 2394857"/>
              <a:gd name="connsiteY38" fmla="*/ 1817914 h 2634343"/>
              <a:gd name="connsiteX39" fmla="*/ 0 w 2394857"/>
              <a:gd name="connsiteY39" fmla="*/ 2057400 h 2634343"/>
              <a:gd name="connsiteX40" fmla="*/ 10886 w 2394857"/>
              <a:gd name="connsiteY40"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664028 w 2394857"/>
              <a:gd name="connsiteY19" fmla="*/ 609600 h 2634343"/>
              <a:gd name="connsiteX20" fmla="*/ 489857 w 2394857"/>
              <a:gd name="connsiteY20" fmla="*/ 740228 h 2634343"/>
              <a:gd name="connsiteX21" fmla="*/ 435428 w 2394857"/>
              <a:gd name="connsiteY21" fmla="*/ 783771 h 2634343"/>
              <a:gd name="connsiteX22" fmla="*/ 402771 w 2394857"/>
              <a:gd name="connsiteY22" fmla="*/ 794657 h 2634343"/>
              <a:gd name="connsiteX23" fmla="*/ 348343 w 2394857"/>
              <a:gd name="connsiteY23" fmla="*/ 870857 h 2634343"/>
              <a:gd name="connsiteX24" fmla="*/ 326571 w 2394857"/>
              <a:gd name="connsiteY24" fmla="*/ 892628 h 2634343"/>
              <a:gd name="connsiteX25" fmla="*/ 315686 w 2394857"/>
              <a:gd name="connsiteY25" fmla="*/ 936171 h 2634343"/>
              <a:gd name="connsiteX26" fmla="*/ 283028 w 2394857"/>
              <a:gd name="connsiteY26" fmla="*/ 947057 h 2634343"/>
              <a:gd name="connsiteX27" fmla="*/ 228600 w 2394857"/>
              <a:gd name="connsiteY27" fmla="*/ 1001486 h 2634343"/>
              <a:gd name="connsiteX28" fmla="*/ 206828 w 2394857"/>
              <a:gd name="connsiteY28" fmla="*/ 1023257 h 2634343"/>
              <a:gd name="connsiteX29" fmla="*/ 174171 w 2394857"/>
              <a:gd name="connsiteY29" fmla="*/ 1045028 h 2634343"/>
              <a:gd name="connsiteX30" fmla="*/ 152400 w 2394857"/>
              <a:gd name="connsiteY30" fmla="*/ 1110343 h 2634343"/>
              <a:gd name="connsiteX31" fmla="*/ 108857 w 2394857"/>
              <a:gd name="connsiteY31" fmla="*/ 1153886 h 2634343"/>
              <a:gd name="connsiteX32" fmla="*/ 97971 w 2394857"/>
              <a:gd name="connsiteY32" fmla="*/ 1186543 h 2634343"/>
              <a:gd name="connsiteX33" fmla="*/ 54428 w 2394857"/>
              <a:gd name="connsiteY33" fmla="*/ 1262743 h 2634343"/>
              <a:gd name="connsiteX34" fmla="*/ 43543 w 2394857"/>
              <a:gd name="connsiteY34" fmla="*/ 1328057 h 2634343"/>
              <a:gd name="connsiteX35" fmla="*/ 32657 w 2394857"/>
              <a:gd name="connsiteY35" fmla="*/ 1371600 h 2634343"/>
              <a:gd name="connsiteX36" fmla="*/ 21771 w 2394857"/>
              <a:gd name="connsiteY36" fmla="*/ 1513114 h 2634343"/>
              <a:gd name="connsiteX37" fmla="*/ 10886 w 2394857"/>
              <a:gd name="connsiteY37" fmla="*/ 1817914 h 2634343"/>
              <a:gd name="connsiteX38" fmla="*/ 0 w 2394857"/>
              <a:gd name="connsiteY38" fmla="*/ 2057400 h 2634343"/>
              <a:gd name="connsiteX39" fmla="*/ 10886 w 2394857"/>
              <a:gd name="connsiteY39"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664028 w 2394857"/>
              <a:gd name="connsiteY19" fmla="*/ 609600 h 2634343"/>
              <a:gd name="connsiteX20" fmla="*/ 489857 w 2394857"/>
              <a:gd name="connsiteY20" fmla="*/ 740228 h 2634343"/>
              <a:gd name="connsiteX21" fmla="*/ 435428 w 2394857"/>
              <a:gd name="connsiteY21" fmla="*/ 783771 h 2634343"/>
              <a:gd name="connsiteX22" fmla="*/ 402771 w 2394857"/>
              <a:gd name="connsiteY22" fmla="*/ 794657 h 2634343"/>
              <a:gd name="connsiteX23" fmla="*/ 348343 w 2394857"/>
              <a:gd name="connsiteY23" fmla="*/ 870857 h 2634343"/>
              <a:gd name="connsiteX24" fmla="*/ 315686 w 2394857"/>
              <a:gd name="connsiteY24" fmla="*/ 936171 h 2634343"/>
              <a:gd name="connsiteX25" fmla="*/ 283028 w 2394857"/>
              <a:gd name="connsiteY25" fmla="*/ 947057 h 2634343"/>
              <a:gd name="connsiteX26" fmla="*/ 228600 w 2394857"/>
              <a:gd name="connsiteY26" fmla="*/ 1001486 h 2634343"/>
              <a:gd name="connsiteX27" fmla="*/ 206828 w 2394857"/>
              <a:gd name="connsiteY27" fmla="*/ 1023257 h 2634343"/>
              <a:gd name="connsiteX28" fmla="*/ 174171 w 2394857"/>
              <a:gd name="connsiteY28" fmla="*/ 1045028 h 2634343"/>
              <a:gd name="connsiteX29" fmla="*/ 152400 w 2394857"/>
              <a:gd name="connsiteY29" fmla="*/ 1110343 h 2634343"/>
              <a:gd name="connsiteX30" fmla="*/ 108857 w 2394857"/>
              <a:gd name="connsiteY30" fmla="*/ 1153886 h 2634343"/>
              <a:gd name="connsiteX31" fmla="*/ 97971 w 2394857"/>
              <a:gd name="connsiteY31" fmla="*/ 1186543 h 2634343"/>
              <a:gd name="connsiteX32" fmla="*/ 54428 w 2394857"/>
              <a:gd name="connsiteY32" fmla="*/ 1262743 h 2634343"/>
              <a:gd name="connsiteX33" fmla="*/ 43543 w 2394857"/>
              <a:gd name="connsiteY33" fmla="*/ 1328057 h 2634343"/>
              <a:gd name="connsiteX34" fmla="*/ 32657 w 2394857"/>
              <a:gd name="connsiteY34" fmla="*/ 1371600 h 2634343"/>
              <a:gd name="connsiteX35" fmla="*/ 21771 w 2394857"/>
              <a:gd name="connsiteY35" fmla="*/ 1513114 h 2634343"/>
              <a:gd name="connsiteX36" fmla="*/ 10886 w 2394857"/>
              <a:gd name="connsiteY36" fmla="*/ 1817914 h 2634343"/>
              <a:gd name="connsiteX37" fmla="*/ 0 w 2394857"/>
              <a:gd name="connsiteY37" fmla="*/ 2057400 h 2634343"/>
              <a:gd name="connsiteX38" fmla="*/ 10886 w 2394857"/>
              <a:gd name="connsiteY38"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664028 w 2394857"/>
              <a:gd name="connsiteY19" fmla="*/ 609600 h 2634343"/>
              <a:gd name="connsiteX20" fmla="*/ 489857 w 2394857"/>
              <a:gd name="connsiteY20" fmla="*/ 740228 h 2634343"/>
              <a:gd name="connsiteX21" fmla="*/ 435428 w 2394857"/>
              <a:gd name="connsiteY21" fmla="*/ 783771 h 2634343"/>
              <a:gd name="connsiteX22" fmla="*/ 402771 w 2394857"/>
              <a:gd name="connsiteY22" fmla="*/ 794657 h 2634343"/>
              <a:gd name="connsiteX23" fmla="*/ 348343 w 2394857"/>
              <a:gd name="connsiteY23" fmla="*/ 870857 h 2634343"/>
              <a:gd name="connsiteX24" fmla="*/ 315686 w 2394857"/>
              <a:gd name="connsiteY24" fmla="*/ 936171 h 2634343"/>
              <a:gd name="connsiteX25" fmla="*/ 283028 w 2394857"/>
              <a:gd name="connsiteY25" fmla="*/ 947057 h 2634343"/>
              <a:gd name="connsiteX26" fmla="*/ 228600 w 2394857"/>
              <a:gd name="connsiteY26" fmla="*/ 1001486 h 2634343"/>
              <a:gd name="connsiteX27" fmla="*/ 174171 w 2394857"/>
              <a:gd name="connsiteY27" fmla="*/ 1045028 h 2634343"/>
              <a:gd name="connsiteX28" fmla="*/ 152400 w 2394857"/>
              <a:gd name="connsiteY28" fmla="*/ 1110343 h 2634343"/>
              <a:gd name="connsiteX29" fmla="*/ 108857 w 2394857"/>
              <a:gd name="connsiteY29" fmla="*/ 1153886 h 2634343"/>
              <a:gd name="connsiteX30" fmla="*/ 97971 w 2394857"/>
              <a:gd name="connsiteY30" fmla="*/ 1186543 h 2634343"/>
              <a:gd name="connsiteX31" fmla="*/ 54428 w 2394857"/>
              <a:gd name="connsiteY31" fmla="*/ 1262743 h 2634343"/>
              <a:gd name="connsiteX32" fmla="*/ 43543 w 2394857"/>
              <a:gd name="connsiteY32" fmla="*/ 1328057 h 2634343"/>
              <a:gd name="connsiteX33" fmla="*/ 32657 w 2394857"/>
              <a:gd name="connsiteY33" fmla="*/ 1371600 h 2634343"/>
              <a:gd name="connsiteX34" fmla="*/ 21771 w 2394857"/>
              <a:gd name="connsiteY34" fmla="*/ 1513114 h 2634343"/>
              <a:gd name="connsiteX35" fmla="*/ 10886 w 2394857"/>
              <a:gd name="connsiteY35" fmla="*/ 1817914 h 2634343"/>
              <a:gd name="connsiteX36" fmla="*/ 0 w 2394857"/>
              <a:gd name="connsiteY36" fmla="*/ 2057400 h 2634343"/>
              <a:gd name="connsiteX37" fmla="*/ 10886 w 2394857"/>
              <a:gd name="connsiteY37"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2013857 w 2394857"/>
              <a:gd name="connsiteY3" fmla="*/ 43543 h 2634343"/>
              <a:gd name="connsiteX4" fmla="*/ 1915886 w 2394857"/>
              <a:gd name="connsiteY4" fmla="*/ 65314 h 2634343"/>
              <a:gd name="connsiteX5" fmla="*/ 1839686 w 2394857"/>
              <a:gd name="connsiteY5" fmla="*/ 87086 h 2634343"/>
              <a:gd name="connsiteX6" fmla="*/ 1741714 w 2394857"/>
              <a:gd name="connsiteY6" fmla="*/ 119743 h 2634343"/>
              <a:gd name="connsiteX7" fmla="*/ 1621971 w 2394857"/>
              <a:gd name="connsiteY7" fmla="*/ 163286 h 2634343"/>
              <a:gd name="connsiteX8" fmla="*/ 1567543 w 2394857"/>
              <a:gd name="connsiteY8" fmla="*/ 185057 h 2634343"/>
              <a:gd name="connsiteX9" fmla="*/ 1513114 w 2394857"/>
              <a:gd name="connsiteY9" fmla="*/ 195943 h 2634343"/>
              <a:gd name="connsiteX10" fmla="*/ 1404257 w 2394857"/>
              <a:gd name="connsiteY10" fmla="*/ 239486 h 2634343"/>
              <a:gd name="connsiteX11" fmla="*/ 1338943 w 2394857"/>
              <a:gd name="connsiteY11" fmla="*/ 250371 h 2634343"/>
              <a:gd name="connsiteX12" fmla="*/ 1251857 w 2394857"/>
              <a:gd name="connsiteY12" fmla="*/ 272143 h 2634343"/>
              <a:gd name="connsiteX13" fmla="*/ 1186543 w 2394857"/>
              <a:gd name="connsiteY13" fmla="*/ 293914 h 2634343"/>
              <a:gd name="connsiteX14" fmla="*/ 1121228 w 2394857"/>
              <a:gd name="connsiteY14" fmla="*/ 326571 h 2634343"/>
              <a:gd name="connsiteX15" fmla="*/ 1045028 w 2394857"/>
              <a:gd name="connsiteY15" fmla="*/ 370114 h 2634343"/>
              <a:gd name="connsiteX16" fmla="*/ 859971 w 2394857"/>
              <a:gd name="connsiteY16" fmla="*/ 489857 h 2634343"/>
              <a:gd name="connsiteX17" fmla="*/ 762000 w 2394857"/>
              <a:gd name="connsiteY17" fmla="*/ 555171 h 2634343"/>
              <a:gd name="connsiteX18" fmla="*/ 740228 w 2394857"/>
              <a:gd name="connsiteY18" fmla="*/ 576943 h 2634343"/>
              <a:gd name="connsiteX19" fmla="*/ 664028 w 2394857"/>
              <a:gd name="connsiteY19" fmla="*/ 609600 h 2634343"/>
              <a:gd name="connsiteX20" fmla="*/ 489857 w 2394857"/>
              <a:gd name="connsiteY20" fmla="*/ 740228 h 2634343"/>
              <a:gd name="connsiteX21" fmla="*/ 435428 w 2394857"/>
              <a:gd name="connsiteY21" fmla="*/ 783771 h 2634343"/>
              <a:gd name="connsiteX22" fmla="*/ 402771 w 2394857"/>
              <a:gd name="connsiteY22" fmla="*/ 794657 h 2634343"/>
              <a:gd name="connsiteX23" fmla="*/ 348343 w 2394857"/>
              <a:gd name="connsiteY23" fmla="*/ 870857 h 2634343"/>
              <a:gd name="connsiteX24" fmla="*/ 315686 w 2394857"/>
              <a:gd name="connsiteY24" fmla="*/ 936171 h 2634343"/>
              <a:gd name="connsiteX25" fmla="*/ 283028 w 2394857"/>
              <a:gd name="connsiteY25" fmla="*/ 947057 h 2634343"/>
              <a:gd name="connsiteX26" fmla="*/ 228600 w 2394857"/>
              <a:gd name="connsiteY26" fmla="*/ 1001486 h 2634343"/>
              <a:gd name="connsiteX27" fmla="*/ 174171 w 2394857"/>
              <a:gd name="connsiteY27" fmla="*/ 1045028 h 2634343"/>
              <a:gd name="connsiteX28" fmla="*/ 152400 w 2394857"/>
              <a:gd name="connsiteY28" fmla="*/ 1110343 h 2634343"/>
              <a:gd name="connsiteX29" fmla="*/ 108857 w 2394857"/>
              <a:gd name="connsiteY29" fmla="*/ 1153886 h 2634343"/>
              <a:gd name="connsiteX30" fmla="*/ 54428 w 2394857"/>
              <a:gd name="connsiteY30" fmla="*/ 1262743 h 2634343"/>
              <a:gd name="connsiteX31" fmla="*/ 43543 w 2394857"/>
              <a:gd name="connsiteY31" fmla="*/ 1328057 h 2634343"/>
              <a:gd name="connsiteX32" fmla="*/ 32657 w 2394857"/>
              <a:gd name="connsiteY32" fmla="*/ 1371600 h 2634343"/>
              <a:gd name="connsiteX33" fmla="*/ 21771 w 2394857"/>
              <a:gd name="connsiteY33" fmla="*/ 1513114 h 2634343"/>
              <a:gd name="connsiteX34" fmla="*/ 10886 w 2394857"/>
              <a:gd name="connsiteY34" fmla="*/ 1817914 h 2634343"/>
              <a:gd name="connsiteX35" fmla="*/ 0 w 2394857"/>
              <a:gd name="connsiteY35" fmla="*/ 2057400 h 2634343"/>
              <a:gd name="connsiteX36" fmla="*/ 10886 w 2394857"/>
              <a:gd name="connsiteY36"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1915886 w 2394857"/>
              <a:gd name="connsiteY3" fmla="*/ 65314 h 2634343"/>
              <a:gd name="connsiteX4" fmla="*/ 1839686 w 2394857"/>
              <a:gd name="connsiteY4" fmla="*/ 87086 h 2634343"/>
              <a:gd name="connsiteX5" fmla="*/ 1741714 w 2394857"/>
              <a:gd name="connsiteY5" fmla="*/ 119743 h 2634343"/>
              <a:gd name="connsiteX6" fmla="*/ 1621971 w 2394857"/>
              <a:gd name="connsiteY6" fmla="*/ 163286 h 2634343"/>
              <a:gd name="connsiteX7" fmla="*/ 1567543 w 2394857"/>
              <a:gd name="connsiteY7" fmla="*/ 185057 h 2634343"/>
              <a:gd name="connsiteX8" fmla="*/ 1513114 w 2394857"/>
              <a:gd name="connsiteY8" fmla="*/ 195943 h 2634343"/>
              <a:gd name="connsiteX9" fmla="*/ 1404257 w 2394857"/>
              <a:gd name="connsiteY9" fmla="*/ 239486 h 2634343"/>
              <a:gd name="connsiteX10" fmla="*/ 1338943 w 2394857"/>
              <a:gd name="connsiteY10" fmla="*/ 250371 h 2634343"/>
              <a:gd name="connsiteX11" fmla="*/ 1251857 w 2394857"/>
              <a:gd name="connsiteY11" fmla="*/ 272143 h 2634343"/>
              <a:gd name="connsiteX12" fmla="*/ 1186543 w 2394857"/>
              <a:gd name="connsiteY12" fmla="*/ 293914 h 2634343"/>
              <a:gd name="connsiteX13" fmla="*/ 1121228 w 2394857"/>
              <a:gd name="connsiteY13" fmla="*/ 326571 h 2634343"/>
              <a:gd name="connsiteX14" fmla="*/ 1045028 w 2394857"/>
              <a:gd name="connsiteY14" fmla="*/ 370114 h 2634343"/>
              <a:gd name="connsiteX15" fmla="*/ 859971 w 2394857"/>
              <a:gd name="connsiteY15" fmla="*/ 489857 h 2634343"/>
              <a:gd name="connsiteX16" fmla="*/ 762000 w 2394857"/>
              <a:gd name="connsiteY16" fmla="*/ 555171 h 2634343"/>
              <a:gd name="connsiteX17" fmla="*/ 740228 w 2394857"/>
              <a:gd name="connsiteY17" fmla="*/ 576943 h 2634343"/>
              <a:gd name="connsiteX18" fmla="*/ 664028 w 2394857"/>
              <a:gd name="connsiteY18" fmla="*/ 609600 h 2634343"/>
              <a:gd name="connsiteX19" fmla="*/ 489857 w 2394857"/>
              <a:gd name="connsiteY19" fmla="*/ 740228 h 2634343"/>
              <a:gd name="connsiteX20" fmla="*/ 435428 w 2394857"/>
              <a:gd name="connsiteY20" fmla="*/ 783771 h 2634343"/>
              <a:gd name="connsiteX21" fmla="*/ 402771 w 2394857"/>
              <a:gd name="connsiteY21" fmla="*/ 794657 h 2634343"/>
              <a:gd name="connsiteX22" fmla="*/ 348343 w 2394857"/>
              <a:gd name="connsiteY22" fmla="*/ 870857 h 2634343"/>
              <a:gd name="connsiteX23" fmla="*/ 315686 w 2394857"/>
              <a:gd name="connsiteY23" fmla="*/ 936171 h 2634343"/>
              <a:gd name="connsiteX24" fmla="*/ 283028 w 2394857"/>
              <a:gd name="connsiteY24" fmla="*/ 947057 h 2634343"/>
              <a:gd name="connsiteX25" fmla="*/ 228600 w 2394857"/>
              <a:gd name="connsiteY25" fmla="*/ 1001486 h 2634343"/>
              <a:gd name="connsiteX26" fmla="*/ 174171 w 2394857"/>
              <a:gd name="connsiteY26" fmla="*/ 1045028 h 2634343"/>
              <a:gd name="connsiteX27" fmla="*/ 152400 w 2394857"/>
              <a:gd name="connsiteY27" fmla="*/ 1110343 h 2634343"/>
              <a:gd name="connsiteX28" fmla="*/ 108857 w 2394857"/>
              <a:gd name="connsiteY28" fmla="*/ 1153886 h 2634343"/>
              <a:gd name="connsiteX29" fmla="*/ 54428 w 2394857"/>
              <a:gd name="connsiteY29" fmla="*/ 1262743 h 2634343"/>
              <a:gd name="connsiteX30" fmla="*/ 43543 w 2394857"/>
              <a:gd name="connsiteY30" fmla="*/ 1328057 h 2634343"/>
              <a:gd name="connsiteX31" fmla="*/ 32657 w 2394857"/>
              <a:gd name="connsiteY31" fmla="*/ 1371600 h 2634343"/>
              <a:gd name="connsiteX32" fmla="*/ 21771 w 2394857"/>
              <a:gd name="connsiteY32" fmla="*/ 1513114 h 2634343"/>
              <a:gd name="connsiteX33" fmla="*/ 10886 w 2394857"/>
              <a:gd name="connsiteY33" fmla="*/ 1817914 h 2634343"/>
              <a:gd name="connsiteX34" fmla="*/ 0 w 2394857"/>
              <a:gd name="connsiteY34" fmla="*/ 2057400 h 2634343"/>
              <a:gd name="connsiteX35" fmla="*/ 10886 w 2394857"/>
              <a:gd name="connsiteY35"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1915886 w 2394857"/>
              <a:gd name="connsiteY3" fmla="*/ 65314 h 2634343"/>
              <a:gd name="connsiteX4" fmla="*/ 1839686 w 2394857"/>
              <a:gd name="connsiteY4" fmla="*/ 87086 h 2634343"/>
              <a:gd name="connsiteX5" fmla="*/ 1621971 w 2394857"/>
              <a:gd name="connsiteY5" fmla="*/ 163286 h 2634343"/>
              <a:gd name="connsiteX6" fmla="*/ 1567543 w 2394857"/>
              <a:gd name="connsiteY6" fmla="*/ 185057 h 2634343"/>
              <a:gd name="connsiteX7" fmla="*/ 1513114 w 2394857"/>
              <a:gd name="connsiteY7" fmla="*/ 195943 h 2634343"/>
              <a:gd name="connsiteX8" fmla="*/ 1404257 w 2394857"/>
              <a:gd name="connsiteY8" fmla="*/ 239486 h 2634343"/>
              <a:gd name="connsiteX9" fmla="*/ 1338943 w 2394857"/>
              <a:gd name="connsiteY9" fmla="*/ 250371 h 2634343"/>
              <a:gd name="connsiteX10" fmla="*/ 1251857 w 2394857"/>
              <a:gd name="connsiteY10" fmla="*/ 272143 h 2634343"/>
              <a:gd name="connsiteX11" fmla="*/ 1186543 w 2394857"/>
              <a:gd name="connsiteY11" fmla="*/ 293914 h 2634343"/>
              <a:gd name="connsiteX12" fmla="*/ 1121228 w 2394857"/>
              <a:gd name="connsiteY12" fmla="*/ 326571 h 2634343"/>
              <a:gd name="connsiteX13" fmla="*/ 1045028 w 2394857"/>
              <a:gd name="connsiteY13" fmla="*/ 370114 h 2634343"/>
              <a:gd name="connsiteX14" fmla="*/ 859971 w 2394857"/>
              <a:gd name="connsiteY14" fmla="*/ 489857 h 2634343"/>
              <a:gd name="connsiteX15" fmla="*/ 762000 w 2394857"/>
              <a:gd name="connsiteY15" fmla="*/ 555171 h 2634343"/>
              <a:gd name="connsiteX16" fmla="*/ 740228 w 2394857"/>
              <a:gd name="connsiteY16" fmla="*/ 576943 h 2634343"/>
              <a:gd name="connsiteX17" fmla="*/ 664028 w 2394857"/>
              <a:gd name="connsiteY17" fmla="*/ 609600 h 2634343"/>
              <a:gd name="connsiteX18" fmla="*/ 489857 w 2394857"/>
              <a:gd name="connsiteY18" fmla="*/ 740228 h 2634343"/>
              <a:gd name="connsiteX19" fmla="*/ 435428 w 2394857"/>
              <a:gd name="connsiteY19" fmla="*/ 783771 h 2634343"/>
              <a:gd name="connsiteX20" fmla="*/ 402771 w 2394857"/>
              <a:gd name="connsiteY20" fmla="*/ 794657 h 2634343"/>
              <a:gd name="connsiteX21" fmla="*/ 348343 w 2394857"/>
              <a:gd name="connsiteY21" fmla="*/ 870857 h 2634343"/>
              <a:gd name="connsiteX22" fmla="*/ 315686 w 2394857"/>
              <a:gd name="connsiteY22" fmla="*/ 936171 h 2634343"/>
              <a:gd name="connsiteX23" fmla="*/ 283028 w 2394857"/>
              <a:gd name="connsiteY23" fmla="*/ 947057 h 2634343"/>
              <a:gd name="connsiteX24" fmla="*/ 228600 w 2394857"/>
              <a:gd name="connsiteY24" fmla="*/ 1001486 h 2634343"/>
              <a:gd name="connsiteX25" fmla="*/ 174171 w 2394857"/>
              <a:gd name="connsiteY25" fmla="*/ 1045028 h 2634343"/>
              <a:gd name="connsiteX26" fmla="*/ 152400 w 2394857"/>
              <a:gd name="connsiteY26" fmla="*/ 1110343 h 2634343"/>
              <a:gd name="connsiteX27" fmla="*/ 108857 w 2394857"/>
              <a:gd name="connsiteY27" fmla="*/ 1153886 h 2634343"/>
              <a:gd name="connsiteX28" fmla="*/ 54428 w 2394857"/>
              <a:gd name="connsiteY28" fmla="*/ 1262743 h 2634343"/>
              <a:gd name="connsiteX29" fmla="*/ 43543 w 2394857"/>
              <a:gd name="connsiteY29" fmla="*/ 1328057 h 2634343"/>
              <a:gd name="connsiteX30" fmla="*/ 32657 w 2394857"/>
              <a:gd name="connsiteY30" fmla="*/ 1371600 h 2634343"/>
              <a:gd name="connsiteX31" fmla="*/ 21771 w 2394857"/>
              <a:gd name="connsiteY31" fmla="*/ 1513114 h 2634343"/>
              <a:gd name="connsiteX32" fmla="*/ 10886 w 2394857"/>
              <a:gd name="connsiteY32" fmla="*/ 1817914 h 2634343"/>
              <a:gd name="connsiteX33" fmla="*/ 0 w 2394857"/>
              <a:gd name="connsiteY33" fmla="*/ 2057400 h 2634343"/>
              <a:gd name="connsiteX34" fmla="*/ 10886 w 2394857"/>
              <a:gd name="connsiteY34"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1915886 w 2394857"/>
              <a:gd name="connsiteY3" fmla="*/ 65314 h 2634343"/>
              <a:gd name="connsiteX4" fmla="*/ 1621971 w 2394857"/>
              <a:gd name="connsiteY4" fmla="*/ 163286 h 2634343"/>
              <a:gd name="connsiteX5" fmla="*/ 1567543 w 2394857"/>
              <a:gd name="connsiteY5" fmla="*/ 185057 h 2634343"/>
              <a:gd name="connsiteX6" fmla="*/ 1513114 w 2394857"/>
              <a:gd name="connsiteY6" fmla="*/ 195943 h 2634343"/>
              <a:gd name="connsiteX7" fmla="*/ 1404257 w 2394857"/>
              <a:gd name="connsiteY7" fmla="*/ 239486 h 2634343"/>
              <a:gd name="connsiteX8" fmla="*/ 1338943 w 2394857"/>
              <a:gd name="connsiteY8" fmla="*/ 250371 h 2634343"/>
              <a:gd name="connsiteX9" fmla="*/ 1251857 w 2394857"/>
              <a:gd name="connsiteY9" fmla="*/ 272143 h 2634343"/>
              <a:gd name="connsiteX10" fmla="*/ 1186543 w 2394857"/>
              <a:gd name="connsiteY10" fmla="*/ 293914 h 2634343"/>
              <a:gd name="connsiteX11" fmla="*/ 1121228 w 2394857"/>
              <a:gd name="connsiteY11" fmla="*/ 326571 h 2634343"/>
              <a:gd name="connsiteX12" fmla="*/ 1045028 w 2394857"/>
              <a:gd name="connsiteY12" fmla="*/ 370114 h 2634343"/>
              <a:gd name="connsiteX13" fmla="*/ 859971 w 2394857"/>
              <a:gd name="connsiteY13" fmla="*/ 489857 h 2634343"/>
              <a:gd name="connsiteX14" fmla="*/ 762000 w 2394857"/>
              <a:gd name="connsiteY14" fmla="*/ 555171 h 2634343"/>
              <a:gd name="connsiteX15" fmla="*/ 740228 w 2394857"/>
              <a:gd name="connsiteY15" fmla="*/ 576943 h 2634343"/>
              <a:gd name="connsiteX16" fmla="*/ 664028 w 2394857"/>
              <a:gd name="connsiteY16" fmla="*/ 609600 h 2634343"/>
              <a:gd name="connsiteX17" fmla="*/ 489857 w 2394857"/>
              <a:gd name="connsiteY17" fmla="*/ 740228 h 2634343"/>
              <a:gd name="connsiteX18" fmla="*/ 435428 w 2394857"/>
              <a:gd name="connsiteY18" fmla="*/ 783771 h 2634343"/>
              <a:gd name="connsiteX19" fmla="*/ 402771 w 2394857"/>
              <a:gd name="connsiteY19" fmla="*/ 794657 h 2634343"/>
              <a:gd name="connsiteX20" fmla="*/ 348343 w 2394857"/>
              <a:gd name="connsiteY20" fmla="*/ 870857 h 2634343"/>
              <a:gd name="connsiteX21" fmla="*/ 315686 w 2394857"/>
              <a:gd name="connsiteY21" fmla="*/ 936171 h 2634343"/>
              <a:gd name="connsiteX22" fmla="*/ 283028 w 2394857"/>
              <a:gd name="connsiteY22" fmla="*/ 947057 h 2634343"/>
              <a:gd name="connsiteX23" fmla="*/ 228600 w 2394857"/>
              <a:gd name="connsiteY23" fmla="*/ 1001486 h 2634343"/>
              <a:gd name="connsiteX24" fmla="*/ 174171 w 2394857"/>
              <a:gd name="connsiteY24" fmla="*/ 1045028 h 2634343"/>
              <a:gd name="connsiteX25" fmla="*/ 152400 w 2394857"/>
              <a:gd name="connsiteY25" fmla="*/ 1110343 h 2634343"/>
              <a:gd name="connsiteX26" fmla="*/ 108857 w 2394857"/>
              <a:gd name="connsiteY26" fmla="*/ 1153886 h 2634343"/>
              <a:gd name="connsiteX27" fmla="*/ 54428 w 2394857"/>
              <a:gd name="connsiteY27" fmla="*/ 1262743 h 2634343"/>
              <a:gd name="connsiteX28" fmla="*/ 43543 w 2394857"/>
              <a:gd name="connsiteY28" fmla="*/ 1328057 h 2634343"/>
              <a:gd name="connsiteX29" fmla="*/ 32657 w 2394857"/>
              <a:gd name="connsiteY29" fmla="*/ 1371600 h 2634343"/>
              <a:gd name="connsiteX30" fmla="*/ 21771 w 2394857"/>
              <a:gd name="connsiteY30" fmla="*/ 1513114 h 2634343"/>
              <a:gd name="connsiteX31" fmla="*/ 10886 w 2394857"/>
              <a:gd name="connsiteY31" fmla="*/ 1817914 h 2634343"/>
              <a:gd name="connsiteX32" fmla="*/ 0 w 2394857"/>
              <a:gd name="connsiteY32" fmla="*/ 2057400 h 2634343"/>
              <a:gd name="connsiteX33" fmla="*/ 10886 w 2394857"/>
              <a:gd name="connsiteY33" fmla="*/ 2634343 h 2634343"/>
              <a:gd name="connsiteX0" fmla="*/ 2394857 w 2394857"/>
              <a:gd name="connsiteY0" fmla="*/ 0 h 2634343"/>
              <a:gd name="connsiteX1" fmla="*/ 2111828 w 2394857"/>
              <a:gd name="connsiteY1" fmla="*/ 21771 h 2634343"/>
              <a:gd name="connsiteX2" fmla="*/ 2079171 w 2394857"/>
              <a:gd name="connsiteY2" fmla="*/ 32657 h 2634343"/>
              <a:gd name="connsiteX3" fmla="*/ 1621971 w 2394857"/>
              <a:gd name="connsiteY3" fmla="*/ 163286 h 2634343"/>
              <a:gd name="connsiteX4" fmla="*/ 1567543 w 2394857"/>
              <a:gd name="connsiteY4" fmla="*/ 185057 h 2634343"/>
              <a:gd name="connsiteX5" fmla="*/ 1513114 w 2394857"/>
              <a:gd name="connsiteY5" fmla="*/ 195943 h 2634343"/>
              <a:gd name="connsiteX6" fmla="*/ 1404257 w 2394857"/>
              <a:gd name="connsiteY6" fmla="*/ 239486 h 2634343"/>
              <a:gd name="connsiteX7" fmla="*/ 1338943 w 2394857"/>
              <a:gd name="connsiteY7" fmla="*/ 250371 h 2634343"/>
              <a:gd name="connsiteX8" fmla="*/ 1251857 w 2394857"/>
              <a:gd name="connsiteY8" fmla="*/ 272143 h 2634343"/>
              <a:gd name="connsiteX9" fmla="*/ 1186543 w 2394857"/>
              <a:gd name="connsiteY9" fmla="*/ 293914 h 2634343"/>
              <a:gd name="connsiteX10" fmla="*/ 1121228 w 2394857"/>
              <a:gd name="connsiteY10" fmla="*/ 326571 h 2634343"/>
              <a:gd name="connsiteX11" fmla="*/ 1045028 w 2394857"/>
              <a:gd name="connsiteY11" fmla="*/ 370114 h 2634343"/>
              <a:gd name="connsiteX12" fmla="*/ 859971 w 2394857"/>
              <a:gd name="connsiteY12" fmla="*/ 489857 h 2634343"/>
              <a:gd name="connsiteX13" fmla="*/ 762000 w 2394857"/>
              <a:gd name="connsiteY13" fmla="*/ 555171 h 2634343"/>
              <a:gd name="connsiteX14" fmla="*/ 740228 w 2394857"/>
              <a:gd name="connsiteY14" fmla="*/ 576943 h 2634343"/>
              <a:gd name="connsiteX15" fmla="*/ 664028 w 2394857"/>
              <a:gd name="connsiteY15" fmla="*/ 609600 h 2634343"/>
              <a:gd name="connsiteX16" fmla="*/ 489857 w 2394857"/>
              <a:gd name="connsiteY16" fmla="*/ 740228 h 2634343"/>
              <a:gd name="connsiteX17" fmla="*/ 435428 w 2394857"/>
              <a:gd name="connsiteY17" fmla="*/ 783771 h 2634343"/>
              <a:gd name="connsiteX18" fmla="*/ 402771 w 2394857"/>
              <a:gd name="connsiteY18" fmla="*/ 794657 h 2634343"/>
              <a:gd name="connsiteX19" fmla="*/ 348343 w 2394857"/>
              <a:gd name="connsiteY19" fmla="*/ 870857 h 2634343"/>
              <a:gd name="connsiteX20" fmla="*/ 315686 w 2394857"/>
              <a:gd name="connsiteY20" fmla="*/ 936171 h 2634343"/>
              <a:gd name="connsiteX21" fmla="*/ 283028 w 2394857"/>
              <a:gd name="connsiteY21" fmla="*/ 947057 h 2634343"/>
              <a:gd name="connsiteX22" fmla="*/ 228600 w 2394857"/>
              <a:gd name="connsiteY22" fmla="*/ 1001486 h 2634343"/>
              <a:gd name="connsiteX23" fmla="*/ 174171 w 2394857"/>
              <a:gd name="connsiteY23" fmla="*/ 1045028 h 2634343"/>
              <a:gd name="connsiteX24" fmla="*/ 152400 w 2394857"/>
              <a:gd name="connsiteY24" fmla="*/ 1110343 h 2634343"/>
              <a:gd name="connsiteX25" fmla="*/ 108857 w 2394857"/>
              <a:gd name="connsiteY25" fmla="*/ 1153886 h 2634343"/>
              <a:gd name="connsiteX26" fmla="*/ 54428 w 2394857"/>
              <a:gd name="connsiteY26" fmla="*/ 1262743 h 2634343"/>
              <a:gd name="connsiteX27" fmla="*/ 43543 w 2394857"/>
              <a:gd name="connsiteY27" fmla="*/ 1328057 h 2634343"/>
              <a:gd name="connsiteX28" fmla="*/ 32657 w 2394857"/>
              <a:gd name="connsiteY28" fmla="*/ 1371600 h 2634343"/>
              <a:gd name="connsiteX29" fmla="*/ 21771 w 2394857"/>
              <a:gd name="connsiteY29" fmla="*/ 1513114 h 2634343"/>
              <a:gd name="connsiteX30" fmla="*/ 10886 w 2394857"/>
              <a:gd name="connsiteY30" fmla="*/ 1817914 h 2634343"/>
              <a:gd name="connsiteX31" fmla="*/ 0 w 2394857"/>
              <a:gd name="connsiteY31" fmla="*/ 2057400 h 2634343"/>
              <a:gd name="connsiteX32" fmla="*/ 10886 w 2394857"/>
              <a:gd name="connsiteY32" fmla="*/ 2634343 h 2634343"/>
              <a:gd name="connsiteX0" fmla="*/ 2394857 w 2394857"/>
              <a:gd name="connsiteY0" fmla="*/ 0 h 2634343"/>
              <a:gd name="connsiteX1" fmla="*/ 2111828 w 2394857"/>
              <a:gd name="connsiteY1" fmla="*/ 21771 h 2634343"/>
              <a:gd name="connsiteX2" fmla="*/ 1621971 w 2394857"/>
              <a:gd name="connsiteY2" fmla="*/ 163286 h 2634343"/>
              <a:gd name="connsiteX3" fmla="*/ 1567543 w 2394857"/>
              <a:gd name="connsiteY3" fmla="*/ 185057 h 2634343"/>
              <a:gd name="connsiteX4" fmla="*/ 1513114 w 2394857"/>
              <a:gd name="connsiteY4" fmla="*/ 195943 h 2634343"/>
              <a:gd name="connsiteX5" fmla="*/ 1404257 w 2394857"/>
              <a:gd name="connsiteY5" fmla="*/ 239486 h 2634343"/>
              <a:gd name="connsiteX6" fmla="*/ 1338943 w 2394857"/>
              <a:gd name="connsiteY6" fmla="*/ 250371 h 2634343"/>
              <a:gd name="connsiteX7" fmla="*/ 1251857 w 2394857"/>
              <a:gd name="connsiteY7" fmla="*/ 272143 h 2634343"/>
              <a:gd name="connsiteX8" fmla="*/ 1186543 w 2394857"/>
              <a:gd name="connsiteY8" fmla="*/ 293914 h 2634343"/>
              <a:gd name="connsiteX9" fmla="*/ 1121228 w 2394857"/>
              <a:gd name="connsiteY9" fmla="*/ 326571 h 2634343"/>
              <a:gd name="connsiteX10" fmla="*/ 1045028 w 2394857"/>
              <a:gd name="connsiteY10" fmla="*/ 370114 h 2634343"/>
              <a:gd name="connsiteX11" fmla="*/ 859971 w 2394857"/>
              <a:gd name="connsiteY11" fmla="*/ 489857 h 2634343"/>
              <a:gd name="connsiteX12" fmla="*/ 762000 w 2394857"/>
              <a:gd name="connsiteY12" fmla="*/ 555171 h 2634343"/>
              <a:gd name="connsiteX13" fmla="*/ 740228 w 2394857"/>
              <a:gd name="connsiteY13" fmla="*/ 576943 h 2634343"/>
              <a:gd name="connsiteX14" fmla="*/ 664028 w 2394857"/>
              <a:gd name="connsiteY14" fmla="*/ 609600 h 2634343"/>
              <a:gd name="connsiteX15" fmla="*/ 489857 w 2394857"/>
              <a:gd name="connsiteY15" fmla="*/ 740228 h 2634343"/>
              <a:gd name="connsiteX16" fmla="*/ 435428 w 2394857"/>
              <a:gd name="connsiteY16" fmla="*/ 783771 h 2634343"/>
              <a:gd name="connsiteX17" fmla="*/ 402771 w 2394857"/>
              <a:gd name="connsiteY17" fmla="*/ 794657 h 2634343"/>
              <a:gd name="connsiteX18" fmla="*/ 348343 w 2394857"/>
              <a:gd name="connsiteY18" fmla="*/ 870857 h 2634343"/>
              <a:gd name="connsiteX19" fmla="*/ 315686 w 2394857"/>
              <a:gd name="connsiteY19" fmla="*/ 936171 h 2634343"/>
              <a:gd name="connsiteX20" fmla="*/ 283028 w 2394857"/>
              <a:gd name="connsiteY20" fmla="*/ 947057 h 2634343"/>
              <a:gd name="connsiteX21" fmla="*/ 228600 w 2394857"/>
              <a:gd name="connsiteY21" fmla="*/ 1001486 h 2634343"/>
              <a:gd name="connsiteX22" fmla="*/ 174171 w 2394857"/>
              <a:gd name="connsiteY22" fmla="*/ 1045028 h 2634343"/>
              <a:gd name="connsiteX23" fmla="*/ 152400 w 2394857"/>
              <a:gd name="connsiteY23" fmla="*/ 1110343 h 2634343"/>
              <a:gd name="connsiteX24" fmla="*/ 108857 w 2394857"/>
              <a:gd name="connsiteY24" fmla="*/ 1153886 h 2634343"/>
              <a:gd name="connsiteX25" fmla="*/ 54428 w 2394857"/>
              <a:gd name="connsiteY25" fmla="*/ 1262743 h 2634343"/>
              <a:gd name="connsiteX26" fmla="*/ 43543 w 2394857"/>
              <a:gd name="connsiteY26" fmla="*/ 1328057 h 2634343"/>
              <a:gd name="connsiteX27" fmla="*/ 32657 w 2394857"/>
              <a:gd name="connsiteY27" fmla="*/ 1371600 h 2634343"/>
              <a:gd name="connsiteX28" fmla="*/ 21771 w 2394857"/>
              <a:gd name="connsiteY28" fmla="*/ 1513114 h 2634343"/>
              <a:gd name="connsiteX29" fmla="*/ 10886 w 2394857"/>
              <a:gd name="connsiteY29" fmla="*/ 1817914 h 2634343"/>
              <a:gd name="connsiteX30" fmla="*/ 0 w 2394857"/>
              <a:gd name="connsiteY30" fmla="*/ 2057400 h 2634343"/>
              <a:gd name="connsiteX31" fmla="*/ 10886 w 2394857"/>
              <a:gd name="connsiteY31" fmla="*/ 2634343 h 2634343"/>
              <a:gd name="connsiteX0" fmla="*/ 2394857 w 2394857"/>
              <a:gd name="connsiteY0" fmla="*/ 0 h 2634343"/>
              <a:gd name="connsiteX1" fmla="*/ 1621971 w 2394857"/>
              <a:gd name="connsiteY1" fmla="*/ 163286 h 2634343"/>
              <a:gd name="connsiteX2" fmla="*/ 1567543 w 2394857"/>
              <a:gd name="connsiteY2" fmla="*/ 185057 h 2634343"/>
              <a:gd name="connsiteX3" fmla="*/ 1513114 w 2394857"/>
              <a:gd name="connsiteY3" fmla="*/ 195943 h 2634343"/>
              <a:gd name="connsiteX4" fmla="*/ 1404257 w 2394857"/>
              <a:gd name="connsiteY4" fmla="*/ 239486 h 2634343"/>
              <a:gd name="connsiteX5" fmla="*/ 1338943 w 2394857"/>
              <a:gd name="connsiteY5" fmla="*/ 250371 h 2634343"/>
              <a:gd name="connsiteX6" fmla="*/ 1251857 w 2394857"/>
              <a:gd name="connsiteY6" fmla="*/ 272143 h 2634343"/>
              <a:gd name="connsiteX7" fmla="*/ 1186543 w 2394857"/>
              <a:gd name="connsiteY7" fmla="*/ 293914 h 2634343"/>
              <a:gd name="connsiteX8" fmla="*/ 1121228 w 2394857"/>
              <a:gd name="connsiteY8" fmla="*/ 326571 h 2634343"/>
              <a:gd name="connsiteX9" fmla="*/ 1045028 w 2394857"/>
              <a:gd name="connsiteY9" fmla="*/ 370114 h 2634343"/>
              <a:gd name="connsiteX10" fmla="*/ 859971 w 2394857"/>
              <a:gd name="connsiteY10" fmla="*/ 489857 h 2634343"/>
              <a:gd name="connsiteX11" fmla="*/ 762000 w 2394857"/>
              <a:gd name="connsiteY11" fmla="*/ 555171 h 2634343"/>
              <a:gd name="connsiteX12" fmla="*/ 740228 w 2394857"/>
              <a:gd name="connsiteY12" fmla="*/ 576943 h 2634343"/>
              <a:gd name="connsiteX13" fmla="*/ 664028 w 2394857"/>
              <a:gd name="connsiteY13" fmla="*/ 609600 h 2634343"/>
              <a:gd name="connsiteX14" fmla="*/ 489857 w 2394857"/>
              <a:gd name="connsiteY14" fmla="*/ 740228 h 2634343"/>
              <a:gd name="connsiteX15" fmla="*/ 435428 w 2394857"/>
              <a:gd name="connsiteY15" fmla="*/ 783771 h 2634343"/>
              <a:gd name="connsiteX16" fmla="*/ 402771 w 2394857"/>
              <a:gd name="connsiteY16" fmla="*/ 794657 h 2634343"/>
              <a:gd name="connsiteX17" fmla="*/ 348343 w 2394857"/>
              <a:gd name="connsiteY17" fmla="*/ 870857 h 2634343"/>
              <a:gd name="connsiteX18" fmla="*/ 315686 w 2394857"/>
              <a:gd name="connsiteY18" fmla="*/ 936171 h 2634343"/>
              <a:gd name="connsiteX19" fmla="*/ 283028 w 2394857"/>
              <a:gd name="connsiteY19" fmla="*/ 947057 h 2634343"/>
              <a:gd name="connsiteX20" fmla="*/ 228600 w 2394857"/>
              <a:gd name="connsiteY20" fmla="*/ 1001486 h 2634343"/>
              <a:gd name="connsiteX21" fmla="*/ 174171 w 2394857"/>
              <a:gd name="connsiteY21" fmla="*/ 1045028 h 2634343"/>
              <a:gd name="connsiteX22" fmla="*/ 152400 w 2394857"/>
              <a:gd name="connsiteY22" fmla="*/ 1110343 h 2634343"/>
              <a:gd name="connsiteX23" fmla="*/ 108857 w 2394857"/>
              <a:gd name="connsiteY23" fmla="*/ 1153886 h 2634343"/>
              <a:gd name="connsiteX24" fmla="*/ 54428 w 2394857"/>
              <a:gd name="connsiteY24" fmla="*/ 1262743 h 2634343"/>
              <a:gd name="connsiteX25" fmla="*/ 43543 w 2394857"/>
              <a:gd name="connsiteY25" fmla="*/ 1328057 h 2634343"/>
              <a:gd name="connsiteX26" fmla="*/ 32657 w 2394857"/>
              <a:gd name="connsiteY26" fmla="*/ 1371600 h 2634343"/>
              <a:gd name="connsiteX27" fmla="*/ 21771 w 2394857"/>
              <a:gd name="connsiteY27" fmla="*/ 1513114 h 2634343"/>
              <a:gd name="connsiteX28" fmla="*/ 10886 w 2394857"/>
              <a:gd name="connsiteY28" fmla="*/ 1817914 h 2634343"/>
              <a:gd name="connsiteX29" fmla="*/ 0 w 2394857"/>
              <a:gd name="connsiteY29" fmla="*/ 2057400 h 2634343"/>
              <a:gd name="connsiteX30" fmla="*/ 10886 w 2394857"/>
              <a:gd name="connsiteY30" fmla="*/ 2634343 h 2634343"/>
              <a:gd name="connsiteX0" fmla="*/ 2394857 w 2394857"/>
              <a:gd name="connsiteY0" fmla="*/ 0 h 2634343"/>
              <a:gd name="connsiteX1" fmla="*/ 1621971 w 2394857"/>
              <a:gd name="connsiteY1" fmla="*/ 163286 h 2634343"/>
              <a:gd name="connsiteX2" fmla="*/ 1567543 w 2394857"/>
              <a:gd name="connsiteY2" fmla="*/ 185057 h 2634343"/>
              <a:gd name="connsiteX3" fmla="*/ 1404257 w 2394857"/>
              <a:gd name="connsiteY3" fmla="*/ 239486 h 2634343"/>
              <a:gd name="connsiteX4" fmla="*/ 1338943 w 2394857"/>
              <a:gd name="connsiteY4" fmla="*/ 250371 h 2634343"/>
              <a:gd name="connsiteX5" fmla="*/ 1251857 w 2394857"/>
              <a:gd name="connsiteY5" fmla="*/ 272143 h 2634343"/>
              <a:gd name="connsiteX6" fmla="*/ 1186543 w 2394857"/>
              <a:gd name="connsiteY6" fmla="*/ 293914 h 2634343"/>
              <a:gd name="connsiteX7" fmla="*/ 1121228 w 2394857"/>
              <a:gd name="connsiteY7" fmla="*/ 326571 h 2634343"/>
              <a:gd name="connsiteX8" fmla="*/ 1045028 w 2394857"/>
              <a:gd name="connsiteY8" fmla="*/ 370114 h 2634343"/>
              <a:gd name="connsiteX9" fmla="*/ 859971 w 2394857"/>
              <a:gd name="connsiteY9" fmla="*/ 489857 h 2634343"/>
              <a:gd name="connsiteX10" fmla="*/ 762000 w 2394857"/>
              <a:gd name="connsiteY10" fmla="*/ 555171 h 2634343"/>
              <a:gd name="connsiteX11" fmla="*/ 740228 w 2394857"/>
              <a:gd name="connsiteY11" fmla="*/ 576943 h 2634343"/>
              <a:gd name="connsiteX12" fmla="*/ 664028 w 2394857"/>
              <a:gd name="connsiteY12" fmla="*/ 609600 h 2634343"/>
              <a:gd name="connsiteX13" fmla="*/ 489857 w 2394857"/>
              <a:gd name="connsiteY13" fmla="*/ 740228 h 2634343"/>
              <a:gd name="connsiteX14" fmla="*/ 435428 w 2394857"/>
              <a:gd name="connsiteY14" fmla="*/ 783771 h 2634343"/>
              <a:gd name="connsiteX15" fmla="*/ 402771 w 2394857"/>
              <a:gd name="connsiteY15" fmla="*/ 794657 h 2634343"/>
              <a:gd name="connsiteX16" fmla="*/ 348343 w 2394857"/>
              <a:gd name="connsiteY16" fmla="*/ 870857 h 2634343"/>
              <a:gd name="connsiteX17" fmla="*/ 315686 w 2394857"/>
              <a:gd name="connsiteY17" fmla="*/ 936171 h 2634343"/>
              <a:gd name="connsiteX18" fmla="*/ 283028 w 2394857"/>
              <a:gd name="connsiteY18" fmla="*/ 947057 h 2634343"/>
              <a:gd name="connsiteX19" fmla="*/ 228600 w 2394857"/>
              <a:gd name="connsiteY19" fmla="*/ 1001486 h 2634343"/>
              <a:gd name="connsiteX20" fmla="*/ 174171 w 2394857"/>
              <a:gd name="connsiteY20" fmla="*/ 1045028 h 2634343"/>
              <a:gd name="connsiteX21" fmla="*/ 152400 w 2394857"/>
              <a:gd name="connsiteY21" fmla="*/ 1110343 h 2634343"/>
              <a:gd name="connsiteX22" fmla="*/ 108857 w 2394857"/>
              <a:gd name="connsiteY22" fmla="*/ 1153886 h 2634343"/>
              <a:gd name="connsiteX23" fmla="*/ 54428 w 2394857"/>
              <a:gd name="connsiteY23" fmla="*/ 1262743 h 2634343"/>
              <a:gd name="connsiteX24" fmla="*/ 43543 w 2394857"/>
              <a:gd name="connsiteY24" fmla="*/ 1328057 h 2634343"/>
              <a:gd name="connsiteX25" fmla="*/ 32657 w 2394857"/>
              <a:gd name="connsiteY25" fmla="*/ 1371600 h 2634343"/>
              <a:gd name="connsiteX26" fmla="*/ 21771 w 2394857"/>
              <a:gd name="connsiteY26" fmla="*/ 1513114 h 2634343"/>
              <a:gd name="connsiteX27" fmla="*/ 10886 w 2394857"/>
              <a:gd name="connsiteY27" fmla="*/ 1817914 h 2634343"/>
              <a:gd name="connsiteX28" fmla="*/ 0 w 2394857"/>
              <a:gd name="connsiteY28" fmla="*/ 2057400 h 2634343"/>
              <a:gd name="connsiteX29" fmla="*/ 10886 w 2394857"/>
              <a:gd name="connsiteY29" fmla="*/ 2634343 h 2634343"/>
              <a:gd name="connsiteX0" fmla="*/ 2394857 w 2394857"/>
              <a:gd name="connsiteY0" fmla="*/ 0 h 2634343"/>
              <a:gd name="connsiteX1" fmla="*/ 1621971 w 2394857"/>
              <a:gd name="connsiteY1" fmla="*/ 163286 h 2634343"/>
              <a:gd name="connsiteX2" fmla="*/ 1567543 w 2394857"/>
              <a:gd name="connsiteY2" fmla="*/ 185057 h 2634343"/>
              <a:gd name="connsiteX3" fmla="*/ 1404257 w 2394857"/>
              <a:gd name="connsiteY3" fmla="*/ 239486 h 2634343"/>
              <a:gd name="connsiteX4" fmla="*/ 1338943 w 2394857"/>
              <a:gd name="connsiteY4" fmla="*/ 250371 h 2634343"/>
              <a:gd name="connsiteX5" fmla="*/ 1186543 w 2394857"/>
              <a:gd name="connsiteY5" fmla="*/ 293914 h 2634343"/>
              <a:gd name="connsiteX6" fmla="*/ 1121228 w 2394857"/>
              <a:gd name="connsiteY6" fmla="*/ 326571 h 2634343"/>
              <a:gd name="connsiteX7" fmla="*/ 1045028 w 2394857"/>
              <a:gd name="connsiteY7" fmla="*/ 370114 h 2634343"/>
              <a:gd name="connsiteX8" fmla="*/ 859971 w 2394857"/>
              <a:gd name="connsiteY8" fmla="*/ 489857 h 2634343"/>
              <a:gd name="connsiteX9" fmla="*/ 762000 w 2394857"/>
              <a:gd name="connsiteY9" fmla="*/ 555171 h 2634343"/>
              <a:gd name="connsiteX10" fmla="*/ 740228 w 2394857"/>
              <a:gd name="connsiteY10" fmla="*/ 576943 h 2634343"/>
              <a:gd name="connsiteX11" fmla="*/ 664028 w 2394857"/>
              <a:gd name="connsiteY11" fmla="*/ 609600 h 2634343"/>
              <a:gd name="connsiteX12" fmla="*/ 489857 w 2394857"/>
              <a:gd name="connsiteY12" fmla="*/ 740228 h 2634343"/>
              <a:gd name="connsiteX13" fmla="*/ 435428 w 2394857"/>
              <a:gd name="connsiteY13" fmla="*/ 783771 h 2634343"/>
              <a:gd name="connsiteX14" fmla="*/ 402771 w 2394857"/>
              <a:gd name="connsiteY14" fmla="*/ 794657 h 2634343"/>
              <a:gd name="connsiteX15" fmla="*/ 348343 w 2394857"/>
              <a:gd name="connsiteY15" fmla="*/ 870857 h 2634343"/>
              <a:gd name="connsiteX16" fmla="*/ 315686 w 2394857"/>
              <a:gd name="connsiteY16" fmla="*/ 936171 h 2634343"/>
              <a:gd name="connsiteX17" fmla="*/ 283028 w 2394857"/>
              <a:gd name="connsiteY17" fmla="*/ 947057 h 2634343"/>
              <a:gd name="connsiteX18" fmla="*/ 228600 w 2394857"/>
              <a:gd name="connsiteY18" fmla="*/ 1001486 h 2634343"/>
              <a:gd name="connsiteX19" fmla="*/ 174171 w 2394857"/>
              <a:gd name="connsiteY19" fmla="*/ 1045028 h 2634343"/>
              <a:gd name="connsiteX20" fmla="*/ 152400 w 2394857"/>
              <a:gd name="connsiteY20" fmla="*/ 1110343 h 2634343"/>
              <a:gd name="connsiteX21" fmla="*/ 108857 w 2394857"/>
              <a:gd name="connsiteY21" fmla="*/ 1153886 h 2634343"/>
              <a:gd name="connsiteX22" fmla="*/ 54428 w 2394857"/>
              <a:gd name="connsiteY22" fmla="*/ 1262743 h 2634343"/>
              <a:gd name="connsiteX23" fmla="*/ 43543 w 2394857"/>
              <a:gd name="connsiteY23" fmla="*/ 1328057 h 2634343"/>
              <a:gd name="connsiteX24" fmla="*/ 32657 w 2394857"/>
              <a:gd name="connsiteY24" fmla="*/ 1371600 h 2634343"/>
              <a:gd name="connsiteX25" fmla="*/ 21771 w 2394857"/>
              <a:gd name="connsiteY25" fmla="*/ 1513114 h 2634343"/>
              <a:gd name="connsiteX26" fmla="*/ 10886 w 2394857"/>
              <a:gd name="connsiteY26" fmla="*/ 1817914 h 2634343"/>
              <a:gd name="connsiteX27" fmla="*/ 0 w 2394857"/>
              <a:gd name="connsiteY27" fmla="*/ 2057400 h 2634343"/>
              <a:gd name="connsiteX28" fmla="*/ 10886 w 2394857"/>
              <a:gd name="connsiteY28" fmla="*/ 2634343 h 2634343"/>
              <a:gd name="connsiteX0" fmla="*/ 2394857 w 2394857"/>
              <a:gd name="connsiteY0" fmla="*/ 0 h 2634343"/>
              <a:gd name="connsiteX1" fmla="*/ 1621971 w 2394857"/>
              <a:gd name="connsiteY1" fmla="*/ 163286 h 2634343"/>
              <a:gd name="connsiteX2" fmla="*/ 1567543 w 2394857"/>
              <a:gd name="connsiteY2" fmla="*/ 185057 h 2634343"/>
              <a:gd name="connsiteX3" fmla="*/ 1404257 w 2394857"/>
              <a:gd name="connsiteY3" fmla="*/ 239486 h 2634343"/>
              <a:gd name="connsiteX4" fmla="*/ 1338943 w 2394857"/>
              <a:gd name="connsiteY4" fmla="*/ 250371 h 2634343"/>
              <a:gd name="connsiteX5" fmla="*/ 1186543 w 2394857"/>
              <a:gd name="connsiteY5" fmla="*/ 293914 h 2634343"/>
              <a:gd name="connsiteX6" fmla="*/ 1121228 w 2394857"/>
              <a:gd name="connsiteY6" fmla="*/ 326571 h 2634343"/>
              <a:gd name="connsiteX7" fmla="*/ 859971 w 2394857"/>
              <a:gd name="connsiteY7" fmla="*/ 489857 h 2634343"/>
              <a:gd name="connsiteX8" fmla="*/ 762000 w 2394857"/>
              <a:gd name="connsiteY8" fmla="*/ 555171 h 2634343"/>
              <a:gd name="connsiteX9" fmla="*/ 740228 w 2394857"/>
              <a:gd name="connsiteY9" fmla="*/ 576943 h 2634343"/>
              <a:gd name="connsiteX10" fmla="*/ 664028 w 2394857"/>
              <a:gd name="connsiteY10" fmla="*/ 609600 h 2634343"/>
              <a:gd name="connsiteX11" fmla="*/ 489857 w 2394857"/>
              <a:gd name="connsiteY11" fmla="*/ 740228 h 2634343"/>
              <a:gd name="connsiteX12" fmla="*/ 435428 w 2394857"/>
              <a:gd name="connsiteY12" fmla="*/ 783771 h 2634343"/>
              <a:gd name="connsiteX13" fmla="*/ 402771 w 2394857"/>
              <a:gd name="connsiteY13" fmla="*/ 794657 h 2634343"/>
              <a:gd name="connsiteX14" fmla="*/ 348343 w 2394857"/>
              <a:gd name="connsiteY14" fmla="*/ 870857 h 2634343"/>
              <a:gd name="connsiteX15" fmla="*/ 315686 w 2394857"/>
              <a:gd name="connsiteY15" fmla="*/ 936171 h 2634343"/>
              <a:gd name="connsiteX16" fmla="*/ 283028 w 2394857"/>
              <a:gd name="connsiteY16" fmla="*/ 947057 h 2634343"/>
              <a:gd name="connsiteX17" fmla="*/ 228600 w 2394857"/>
              <a:gd name="connsiteY17" fmla="*/ 1001486 h 2634343"/>
              <a:gd name="connsiteX18" fmla="*/ 174171 w 2394857"/>
              <a:gd name="connsiteY18" fmla="*/ 1045028 h 2634343"/>
              <a:gd name="connsiteX19" fmla="*/ 152400 w 2394857"/>
              <a:gd name="connsiteY19" fmla="*/ 1110343 h 2634343"/>
              <a:gd name="connsiteX20" fmla="*/ 108857 w 2394857"/>
              <a:gd name="connsiteY20" fmla="*/ 1153886 h 2634343"/>
              <a:gd name="connsiteX21" fmla="*/ 54428 w 2394857"/>
              <a:gd name="connsiteY21" fmla="*/ 1262743 h 2634343"/>
              <a:gd name="connsiteX22" fmla="*/ 43543 w 2394857"/>
              <a:gd name="connsiteY22" fmla="*/ 1328057 h 2634343"/>
              <a:gd name="connsiteX23" fmla="*/ 32657 w 2394857"/>
              <a:gd name="connsiteY23" fmla="*/ 1371600 h 2634343"/>
              <a:gd name="connsiteX24" fmla="*/ 21771 w 2394857"/>
              <a:gd name="connsiteY24" fmla="*/ 1513114 h 2634343"/>
              <a:gd name="connsiteX25" fmla="*/ 10886 w 2394857"/>
              <a:gd name="connsiteY25" fmla="*/ 1817914 h 2634343"/>
              <a:gd name="connsiteX26" fmla="*/ 0 w 2394857"/>
              <a:gd name="connsiteY26" fmla="*/ 2057400 h 2634343"/>
              <a:gd name="connsiteX27" fmla="*/ 10886 w 2394857"/>
              <a:gd name="connsiteY27" fmla="*/ 2634343 h 2634343"/>
              <a:gd name="connsiteX0" fmla="*/ 2394857 w 2394857"/>
              <a:gd name="connsiteY0" fmla="*/ 0 h 2634343"/>
              <a:gd name="connsiteX1" fmla="*/ 1621971 w 2394857"/>
              <a:gd name="connsiteY1" fmla="*/ 163286 h 2634343"/>
              <a:gd name="connsiteX2" fmla="*/ 1404257 w 2394857"/>
              <a:gd name="connsiteY2" fmla="*/ 239486 h 2634343"/>
              <a:gd name="connsiteX3" fmla="*/ 1338943 w 2394857"/>
              <a:gd name="connsiteY3" fmla="*/ 250371 h 2634343"/>
              <a:gd name="connsiteX4" fmla="*/ 1186543 w 2394857"/>
              <a:gd name="connsiteY4" fmla="*/ 293914 h 2634343"/>
              <a:gd name="connsiteX5" fmla="*/ 1121228 w 2394857"/>
              <a:gd name="connsiteY5" fmla="*/ 326571 h 2634343"/>
              <a:gd name="connsiteX6" fmla="*/ 859971 w 2394857"/>
              <a:gd name="connsiteY6" fmla="*/ 489857 h 2634343"/>
              <a:gd name="connsiteX7" fmla="*/ 762000 w 2394857"/>
              <a:gd name="connsiteY7" fmla="*/ 555171 h 2634343"/>
              <a:gd name="connsiteX8" fmla="*/ 740228 w 2394857"/>
              <a:gd name="connsiteY8" fmla="*/ 576943 h 2634343"/>
              <a:gd name="connsiteX9" fmla="*/ 664028 w 2394857"/>
              <a:gd name="connsiteY9" fmla="*/ 609600 h 2634343"/>
              <a:gd name="connsiteX10" fmla="*/ 489857 w 2394857"/>
              <a:gd name="connsiteY10" fmla="*/ 740228 h 2634343"/>
              <a:gd name="connsiteX11" fmla="*/ 435428 w 2394857"/>
              <a:gd name="connsiteY11" fmla="*/ 783771 h 2634343"/>
              <a:gd name="connsiteX12" fmla="*/ 402771 w 2394857"/>
              <a:gd name="connsiteY12" fmla="*/ 794657 h 2634343"/>
              <a:gd name="connsiteX13" fmla="*/ 348343 w 2394857"/>
              <a:gd name="connsiteY13" fmla="*/ 870857 h 2634343"/>
              <a:gd name="connsiteX14" fmla="*/ 315686 w 2394857"/>
              <a:gd name="connsiteY14" fmla="*/ 936171 h 2634343"/>
              <a:gd name="connsiteX15" fmla="*/ 283028 w 2394857"/>
              <a:gd name="connsiteY15" fmla="*/ 947057 h 2634343"/>
              <a:gd name="connsiteX16" fmla="*/ 228600 w 2394857"/>
              <a:gd name="connsiteY16" fmla="*/ 1001486 h 2634343"/>
              <a:gd name="connsiteX17" fmla="*/ 174171 w 2394857"/>
              <a:gd name="connsiteY17" fmla="*/ 1045028 h 2634343"/>
              <a:gd name="connsiteX18" fmla="*/ 152400 w 2394857"/>
              <a:gd name="connsiteY18" fmla="*/ 1110343 h 2634343"/>
              <a:gd name="connsiteX19" fmla="*/ 108857 w 2394857"/>
              <a:gd name="connsiteY19" fmla="*/ 1153886 h 2634343"/>
              <a:gd name="connsiteX20" fmla="*/ 54428 w 2394857"/>
              <a:gd name="connsiteY20" fmla="*/ 1262743 h 2634343"/>
              <a:gd name="connsiteX21" fmla="*/ 43543 w 2394857"/>
              <a:gd name="connsiteY21" fmla="*/ 1328057 h 2634343"/>
              <a:gd name="connsiteX22" fmla="*/ 32657 w 2394857"/>
              <a:gd name="connsiteY22" fmla="*/ 1371600 h 2634343"/>
              <a:gd name="connsiteX23" fmla="*/ 21771 w 2394857"/>
              <a:gd name="connsiteY23" fmla="*/ 1513114 h 2634343"/>
              <a:gd name="connsiteX24" fmla="*/ 10886 w 2394857"/>
              <a:gd name="connsiteY24" fmla="*/ 1817914 h 2634343"/>
              <a:gd name="connsiteX25" fmla="*/ 0 w 2394857"/>
              <a:gd name="connsiteY25" fmla="*/ 2057400 h 2634343"/>
              <a:gd name="connsiteX26" fmla="*/ 10886 w 2394857"/>
              <a:gd name="connsiteY26" fmla="*/ 2634343 h 2634343"/>
              <a:gd name="connsiteX0" fmla="*/ 2394857 w 2394857"/>
              <a:gd name="connsiteY0" fmla="*/ 0 h 2634343"/>
              <a:gd name="connsiteX1" fmla="*/ 1621971 w 2394857"/>
              <a:gd name="connsiteY1" fmla="*/ 163286 h 2634343"/>
              <a:gd name="connsiteX2" fmla="*/ 1404257 w 2394857"/>
              <a:gd name="connsiteY2" fmla="*/ 239486 h 2634343"/>
              <a:gd name="connsiteX3" fmla="*/ 1186543 w 2394857"/>
              <a:gd name="connsiteY3" fmla="*/ 293914 h 2634343"/>
              <a:gd name="connsiteX4" fmla="*/ 1121228 w 2394857"/>
              <a:gd name="connsiteY4" fmla="*/ 326571 h 2634343"/>
              <a:gd name="connsiteX5" fmla="*/ 859971 w 2394857"/>
              <a:gd name="connsiteY5" fmla="*/ 489857 h 2634343"/>
              <a:gd name="connsiteX6" fmla="*/ 762000 w 2394857"/>
              <a:gd name="connsiteY6" fmla="*/ 555171 h 2634343"/>
              <a:gd name="connsiteX7" fmla="*/ 740228 w 2394857"/>
              <a:gd name="connsiteY7" fmla="*/ 576943 h 2634343"/>
              <a:gd name="connsiteX8" fmla="*/ 664028 w 2394857"/>
              <a:gd name="connsiteY8" fmla="*/ 609600 h 2634343"/>
              <a:gd name="connsiteX9" fmla="*/ 489857 w 2394857"/>
              <a:gd name="connsiteY9" fmla="*/ 740228 h 2634343"/>
              <a:gd name="connsiteX10" fmla="*/ 435428 w 2394857"/>
              <a:gd name="connsiteY10" fmla="*/ 783771 h 2634343"/>
              <a:gd name="connsiteX11" fmla="*/ 402771 w 2394857"/>
              <a:gd name="connsiteY11" fmla="*/ 794657 h 2634343"/>
              <a:gd name="connsiteX12" fmla="*/ 348343 w 2394857"/>
              <a:gd name="connsiteY12" fmla="*/ 870857 h 2634343"/>
              <a:gd name="connsiteX13" fmla="*/ 315686 w 2394857"/>
              <a:gd name="connsiteY13" fmla="*/ 936171 h 2634343"/>
              <a:gd name="connsiteX14" fmla="*/ 283028 w 2394857"/>
              <a:gd name="connsiteY14" fmla="*/ 947057 h 2634343"/>
              <a:gd name="connsiteX15" fmla="*/ 228600 w 2394857"/>
              <a:gd name="connsiteY15" fmla="*/ 1001486 h 2634343"/>
              <a:gd name="connsiteX16" fmla="*/ 174171 w 2394857"/>
              <a:gd name="connsiteY16" fmla="*/ 1045028 h 2634343"/>
              <a:gd name="connsiteX17" fmla="*/ 152400 w 2394857"/>
              <a:gd name="connsiteY17" fmla="*/ 1110343 h 2634343"/>
              <a:gd name="connsiteX18" fmla="*/ 108857 w 2394857"/>
              <a:gd name="connsiteY18" fmla="*/ 1153886 h 2634343"/>
              <a:gd name="connsiteX19" fmla="*/ 54428 w 2394857"/>
              <a:gd name="connsiteY19" fmla="*/ 1262743 h 2634343"/>
              <a:gd name="connsiteX20" fmla="*/ 43543 w 2394857"/>
              <a:gd name="connsiteY20" fmla="*/ 1328057 h 2634343"/>
              <a:gd name="connsiteX21" fmla="*/ 32657 w 2394857"/>
              <a:gd name="connsiteY21" fmla="*/ 1371600 h 2634343"/>
              <a:gd name="connsiteX22" fmla="*/ 21771 w 2394857"/>
              <a:gd name="connsiteY22" fmla="*/ 1513114 h 2634343"/>
              <a:gd name="connsiteX23" fmla="*/ 10886 w 2394857"/>
              <a:gd name="connsiteY23" fmla="*/ 1817914 h 2634343"/>
              <a:gd name="connsiteX24" fmla="*/ 0 w 2394857"/>
              <a:gd name="connsiteY24" fmla="*/ 2057400 h 2634343"/>
              <a:gd name="connsiteX25" fmla="*/ 10886 w 2394857"/>
              <a:gd name="connsiteY25" fmla="*/ 2634343 h 2634343"/>
              <a:gd name="connsiteX0" fmla="*/ 2394857 w 2394857"/>
              <a:gd name="connsiteY0" fmla="*/ 0 h 2634343"/>
              <a:gd name="connsiteX1" fmla="*/ 1404257 w 2394857"/>
              <a:gd name="connsiteY1" fmla="*/ 239486 h 2634343"/>
              <a:gd name="connsiteX2" fmla="*/ 1186543 w 2394857"/>
              <a:gd name="connsiteY2" fmla="*/ 293914 h 2634343"/>
              <a:gd name="connsiteX3" fmla="*/ 1121228 w 2394857"/>
              <a:gd name="connsiteY3" fmla="*/ 326571 h 2634343"/>
              <a:gd name="connsiteX4" fmla="*/ 859971 w 2394857"/>
              <a:gd name="connsiteY4" fmla="*/ 489857 h 2634343"/>
              <a:gd name="connsiteX5" fmla="*/ 762000 w 2394857"/>
              <a:gd name="connsiteY5" fmla="*/ 555171 h 2634343"/>
              <a:gd name="connsiteX6" fmla="*/ 740228 w 2394857"/>
              <a:gd name="connsiteY6" fmla="*/ 576943 h 2634343"/>
              <a:gd name="connsiteX7" fmla="*/ 664028 w 2394857"/>
              <a:gd name="connsiteY7" fmla="*/ 609600 h 2634343"/>
              <a:gd name="connsiteX8" fmla="*/ 489857 w 2394857"/>
              <a:gd name="connsiteY8" fmla="*/ 740228 h 2634343"/>
              <a:gd name="connsiteX9" fmla="*/ 435428 w 2394857"/>
              <a:gd name="connsiteY9" fmla="*/ 783771 h 2634343"/>
              <a:gd name="connsiteX10" fmla="*/ 402771 w 2394857"/>
              <a:gd name="connsiteY10" fmla="*/ 794657 h 2634343"/>
              <a:gd name="connsiteX11" fmla="*/ 348343 w 2394857"/>
              <a:gd name="connsiteY11" fmla="*/ 870857 h 2634343"/>
              <a:gd name="connsiteX12" fmla="*/ 315686 w 2394857"/>
              <a:gd name="connsiteY12" fmla="*/ 936171 h 2634343"/>
              <a:gd name="connsiteX13" fmla="*/ 283028 w 2394857"/>
              <a:gd name="connsiteY13" fmla="*/ 947057 h 2634343"/>
              <a:gd name="connsiteX14" fmla="*/ 228600 w 2394857"/>
              <a:gd name="connsiteY14" fmla="*/ 1001486 h 2634343"/>
              <a:gd name="connsiteX15" fmla="*/ 174171 w 2394857"/>
              <a:gd name="connsiteY15" fmla="*/ 1045028 h 2634343"/>
              <a:gd name="connsiteX16" fmla="*/ 152400 w 2394857"/>
              <a:gd name="connsiteY16" fmla="*/ 1110343 h 2634343"/>
              <a:gd name="connsiteX17" fmla="*/ 108857 w 2394857"/>
              <a:gd name="connsiteY17" fmla="*/ 1153886 h 2634343"/>
              <a:gd name="connsiteX18" fmla="*/ 54428 w 2394857"/>
              <a:gd name="connsiteY18" fmla="*/ 1262743 h 2634343"/>
              <a:gd name="connsiteX19" fmla="*/ 43543 w 2394857"/>
              <a:gd name="connsiteY19" fmla="*/ 1328057 h 2634343"/>
              <a:gd name="connsiteX20" fmla="*/ 32657 w 2394857"/>
              <a:gd name="connsiteY20" fmla="*/ 1371600 h 2634343"/>
              <a:gd name="connsiteX21" fmla="*/ 21771 w 2394857"/>
              <a:gd name="connsiteY21" fmla="*/ 1513114 h 2634343"/>
              <a:gd name="connsiteX22" fmla="*/ 10886 w 2394857"/>
              <a:gd name="connsiteY22" fmla="*/ 1817914 h 2634343"/>
              <a:gd name="connsiteX23" fmla="*/ 0 w 2394857"/>
              <a:gd name="connsiteY23" fmla="*/ 2057400 h 2634343"/>
              <a:gd name="connsiteX24" fmla="*/ 10886 w 2394857"/>
              <a:gd name="connsiteY24" fmla="*/ 2634343 h 2634343"/>
              <a:gd name="connsiteX0" fmla="*/ 2394857 w 2394857"/>
              <a:gd name="connsiteY0" fmla="*/ 0 h 2634343"/>
              <a:gd name="connsiteX1" fmla="*/ 1186543 w 2394857"/>
              <a:gd name="connsiteY1" fmla="*/ 293914 h 2634343"/>
              <a:gd name="connsiteX2" fmla="*/ 1121228 w 2394857"/>
              <a:gd name="connsiteY2" fmla="*/ 326571 h 2634343"/>
              <a:gd name="connsiteX3" fmla="*/ 859971 w 2394857"/>
              <a:gd name="connsiteY3" fmla="*/ 489857 h 2634343"/>
              <a:gd name="connsiteX4" fmla="*/ 762000 w 2394857"/>
              <a:gd name="connsiteY4" fmla="*/ 555171 h 2634343"/>
              <a:gd name="connsiteX5" fmla="*/ 740228 w 2394857"/>
              <a:gd name="connsiteY5" fmla="*/ 576943 h 2634343"/>
              <a:gd name="connsiteX6" fmla="*/ 664028 w 2394857"/>
              <a:gd name="connsiteY6" fmla="*/ 609600 h 2634343"/>
              <a:gd name="connsiteX7" fmla="*/ 489857 w 2394857"/>
              <a:gd name="connsiteY7" fmla="*/ 740228 h 2634343"/>
              <a:gd name="connsiteX8" fmla="*/ 435428 w 2394857"/>
              <a:gd name="connsiteY8" fmla="*/ 783771 h 2634343"/>
              <a:gd name="connsiteX9" fmla="*/ 402771 w 2394857"/>
              <a:gd name="connsiteY9" fmla="*/ 794657 h 2634343"/>
              <a:gd name="connsiteX10" fmla="*/ 348343 w 2394857"/>
              <a:gd name="connsiteY10" fmla="*/ 870857 h 2634343"/>
              <a:gd name="connsiteX11" fmla="*/ 315686 w 2394857"/>
              <a:gd name="connsiteY11" fmla="*/ 936171 h 2634343"/>
              <a:gd name="connsiteX12" fmla="*/ 283028 w 2394857"/>
              <a:gd name="connsiteY12" fmla="*/ 947057 h 2634343"/>
              <a:gd name="connsiteX13" fmla="*/ 228600 w 2394857"/>
              <a:gd name="connsiteY13" fmla="*/ 1001486 h 2634343"/>
              <a:gd name="connsiteX14" fmla="*/ 174171 w 2394857"/>
              <a:gd name="connsiteY14" fmla="*/ 1045028 h 2634343"/>
              <a:gd name="connsiteX15" fmla="*/ 152400 w 2394857"/>
              <a:gd name="connsiteY15" fmla="*/ 1110343 h 2634343"/>
              <a:gd name="connsiteX16" fmla="*/ 108857 w 2394857"/>
              <a:gd name="connsiteY16" fmla="*/ 1153886 h 2634343"/>
              <a:gd name="connsiteX17" fmla="*/ 54428 w 2394857"/>
              <a:gd name="connsiteY17" fmla="*/ 1262743 h 2634343"/>
              <a:gd name="connsiteX18" fmla="*/ 43543 w 2394857"/>
              <a:gd name="connsiteY18" fmla="*/ 1328057 h 2634343"/>
              <a:gd name="connsiteX19" fmla="*/ 32657 w 2394857"/>
              <a:gd name="connsiteY19" fmla="*/ 1371600 h 2634343"/>
              <a:gd name="connsiteX20" fmla="*/ 21771 w 2394857"/>
              <a:gd name="connsiteY20" fmla="*/ 1513114 h 2634343"/>
              <a:gd name="connsiteX21" fmla="*/ 10886 w 2394857"/>
              <a:gd name="connsiteY21" fmla="*/ 1817914 h 2634343"/>
              <a:gd name="connsiteX22" fmla="*/ 0 w 2394857"/>
              <a:gd name="connsiteY22" fmla="*/ 2057400 h 2634343"/>
              <a:gd name="connsiteX23" fmla="*/ 10886 w 2394857"/>
              <a:gd name="connsiteY23" fmla="*/ 2634343 h 2634343"/>
              <a:gd name="connsiteX0" fmla="*/ 2394857 w 2394857"/>
              <a:gd name="connsiteY0" fmla="*/ 0 h 2634343"/>
              <a:gd name="connsiteX1" fmla="*/ 1186543 w 2394857"/>
              <a:gd name="connsiteY1" fmla="*/ 293914 h 2634343"/>
              <a:gd name="connsiteX2" fmla="*/ 859971 w 2394857"/>
              <a:gd name="connsiteY2" fmla="*/ 489857 h 2634343"/>
              <a:gd name="connsiteX3" fmla="*/ 762000 w 2394857"/>
              <a:gd name="connsiteY3" fmla="*/ 555171 h 2634343"/>
              <a:gd name="connsiteX4" fmla="*/ 740228 w 2394857"/>
              <a:gd name="connsiteY4" fmla="*/ 576943 h 2634343"/>
              <a:gd name="connsiteX5" fmla="*/ 664028 w 2394857"/>
              <a:gd name="connsiteY5" fmla="*/ 609600 h 2634343"/>
              <a:gd name="connsiteX6" fmla="*/ 489857 w 2394857"/>
              <a:gd name="connsiteY6" fmla="*/ 740228 h 2634343"/>
              <a:gd name="connsiteX7" fmla="*/ 435428 w 2394857"/>
              <a:gd name="connsiteY7" fmla="*/ 783771 h 2634343"/>
              <a:gd name="connsiteX8" fmla="*/ 402771 w 2394857"/>
              <a:gd name="connsiteY8" fmla="*/ 794657 h 2634343"/>
              <a:gd name="connsiteX9" fmla="*/ 348343 w 2394857"/>
              <a:gd name="connsiteY9" fmla="*/ 870857 h 2634343"/>
              <a:gd name="connsiteX10" fmla="*/ 315686 w 2394857"/>
              <a:gd name="connsiteY10" fmla="*/ 936171 h 2634343"/>
              <a:gd name="connsiteX11" fmla="*/ 283028 w 2394857"/>
              <a:gd name="connsiteY11" fmla="*/ 947057 h 2634343"/>
              <a:gd name="connsiteX12" fmla="*/ 228600 w 2394857"/>
              <a:gd name="connsiteY12" fmla="*/ 1001486 h 2634343"/>
              <a:gd name="connsiteX13" fmla="*/ 174171 w 2394857"/>
              <a:gd name="connsiteY13" fmla="*/ 1045028 h 2634343"/>
              <a:gd name="connsiteX14" fmla="*/ 152400 w 2394857"/>
              <a:gd name="connsiteY14" fmla="*/ 1110343 h 2634343"/>
              <a:gd name="connsiteX15" fmla="*/ 108857 w 2394857"/>
              <a:gd name="connsiteY15" fmla="*/ 1153886 h 2634343"/>
              <a:gd name="connsiteX16" fmla="*/ 54428 w 2394857"/>
              <a:gd name="connsiteY16" fmla="*/ 1262743 h 2634343"/>
              <a:gd name="connsiteX17" fmla="*/ 43543 w 2394857"/>
              <a:gd name="connsiteY17" fmla="*/ 1328057 h 2634343"/>
              <a:gd name="connsiteX18" fmla="*/ 32657 w 2394857"/>
              <a:gd name="connsiteY18" fmla="*/ 1371600 h 2634343"/>
              <a:gd name="connsiteX19" fmla="*/ 21771 w 2394857"/>
              <a:gd name="connsiteY19" fmla="*/ 1513114 h 2634343"/>
              <a:gd name="connsiteX20" fmla="*/ 10886 w 2394857"/>
              <a:gd name="connsiteY20" fmla="*/ 1817914 h 2634343"/>
              <a:gd name="connsiteX21" fmla="*/ 0 w 2394857"/>
              <a:gd name="connsiteY21" fmla="*/ 2057400 h 2634343"/>
              <a:gd name="connsiteX22" fmla="*/ 10886 w 2394857"/>
              <a:gd name="connsiteY22" fmla="*/ 2634343 h 2634343"/>
              <a:gd name="connsiteX0" fmla="*/ 2394857 w 2394857"/>
              <a:gd name="connsiteY0" fmla="*/ 0 h 2634343"/>
              <a:gd name="connsiteX1" fmla="*/ 1186543 w 2394857"/>
              <a:gd name="connsiteY1" fmla="*/ 293914 h 2634343"/>
              <a:gd name="connsiteX2" fmla="*/ 859971 w 2394857"/>
              <a:gd name="connsiteY2" fmla="*/ 489857 h 2634343"/>
              <a:gd name="connsiteX3" fmla="*/ 762000 w 2394857"/>
              <a:gd name="connsiteY3" fmla="*/ 555171 h 2634343"/>
              <a:gd name="connsiteX4" fmla="*/ 740228 w 2394857"/>
              <a:gd name="connsiteY4" fmla="*/ 576943 h 2634343"/>
              <a:gd name="connsiteX5" fmla="*/ 489857 w 2394857"/>
              <a:gd name="connsiteY5" fmla="*/ 740228 h 2634343"/>
              <a:gd name="connsiteX6" fmla="*/ 435428 w 2394857"/>
              <a:gd name="connsiteY6" fmla="*/ 783771 h 2634343"/>
              <a:gd name="connsiteX7" fmla="*/ 402771 w 2394857"/>
              <a:gd name="connsiteY7" fmla="*/ 794657 h 2634343"/>
              <a:gd name="connsiteX8" fmla="*/ 348343 w 2394857"/>
              <a:gd name="connsiteY8" fmla="*/ 870857 h 2634343"/>
              <a:gd name="connsiteX9" fmla="*/ 315686 w 2394857"/>
              <a:gd name="connsiteY9" fmla="*/ 936171 h 2634343"/>
              <a:gd name="connsiteX10" fmla="*/ 283028 w 2394857"/>
              <a:gd name="connsiteY10" fmla="*/ 947057 h 2634343"/>
              <a:gd name="connsiteX11" fmla="*/ 228600 w 2394857"/>
              <a:gd name="connsiteY11" fmla="*/ 1001486 h 2634343"/>
              <a:gd name="connsiteX12" fmla="*/ 174171 w 2394857"/>
              <a:gd name="connsiteY12" fmla="*/ 1045028 h 2634343"/>
              <a:gd name="connsiteX13" fmla="*/ 152400 w 2394857"/>
              <a:gd name="connsiteY13" fmla="*/ 1110343 h 2634343"/>
              <a:gd name="connsiteX14" fmla="*/ 108857 w 2394857"/>
              <a:gd name="connsiteY14" fmla="*/ 1153886 h 2634343"/>
              <a:gd name="connsiteX15" fmla="*/ 54428 w 2394857"/>
              <a:gd name="connsiteY15" fmla="*/ 1262743 h 2634343"/>
              <a:gd name="connsiteX16" fmla="*/ 43543 w 2394857"/>
              <a:gd name="connsiteY16" fmla="*/ 1328057 h 2634343"/>
              <a:gd name="connsiteX17" fmla="*/ 32657 w 2394857"/>
              <a:gd name="connsiteY17" fmla="*/ 1371600 h 2634343"/>
              <a:gd name="connsiteX18" fmla="*/ 21771 w 2394857"/>
              <a:gd name="connsiteY18" fmla="*/ 1513114 h 2634343"/>
              <a:gd name="connsiteX19" fmla="*/ 10886 w 2394857"/>
              <a:gd name="connsiteY19" fmla="*/ 1817914 h 2634343"/>
              <a:gd name="connsiteX20" fmla="*/ 0 w 2394857"/>
              <a:gd name="connsiteY20" fmla="*/ 2057400 h 2634343"/>
              <a:gd name="connsiteX21" fmla="*/ 10886 w 2394857"/>
              <a:gd name="connsiteY21" fmla="*/ 2634343 h 2634343"/>
              <a:gd name="connsiteX0" fmla="*/ 2394857 w 2394857"/>
              <a:gd name="connsiteY0" fmla="*/ 0 h 2634343"/>
              <a:gd name="connsiteX1" fmla="*/ 1186543 w 2394857"/>
              <a:gd name="connsiteY1" fmla="*/ 293914 h 2634343"/>
              <a:gd name="connsiteX2" fmla="*/ 859971 w 2394857"/>
              <a:gd name="connsiteY2" fmla="*/ 489857 h 2634343"/>
              <a:gd name="connsiteX3" fmla="*/ 740228 w 2394857"/>
              <a:gd name="connsiteY3" fmla="*/ 576943 h 2634343"/>
              <a:gd name="connsiteX4" fmla="*/ 489857 w 2394857"/>
              <a:gd name="connsiteY4" fmla="*/ 740228 h 2634343"/>
              <a:gd name="connsiteX5" fmla="*/ 435428 w 2394857"/>
              <a:gd name="connsiteY5" fmla="*/ 783771 h 2634343"/>
              <a:gd name="connsiteX6" fmla="*/ 402771 w 2394857"/>
              <a:gd name="connsiteY6" fmla="*/ 794657 h 2634343"/>
              <a:gd name="connsiteX7" fmla="*/ 348343 w 2394857"/>
              <a:gd name="connsiteY7" fmla="*/ 870857 h 2634343"/>
              <a:gd name="connsiteX8" fmla="*/ 315686 w 2394857"/>
              <a:gd name="connsiteY8" fmla="*/ 936171 h 2634343"/>
              <a:gd name="connsiteX9" fmla="*/ 283028 w 2394857"/>
              <a:gd name="connsiteY9" fmla="*/ 947057 h 2634343"/>
              <a:gd name="connsiteX10" fmla="*/ 228600 w 2394857"/>
              <a:gd name="connsiteY10" fmla="*/ 1001486 h 2634343"/>
              <a:gd name="connsiteX11" fmla="*/ 174171 w 2394857"/>
              <a:gd name="connsiteY11" fmla="*/ 1045028 h 2634343"/>
              <a:gd name="connsiteX12" fmla="*/ 152400 w 2394857"/>
              <a:gd name="connsiteY12" fmla="*/ 1110343 h 2634343"/>
              <a:gd name="connsiteX13" fmla="*/ 108857 w 2394857"/>
              <a:gd name="connsiteY13" fmla="*/ 1153886 h 2634343"/>
              <a:gd name="connsiteX14" fmla="*/ 54428 w 2394857"/>
              <a:gd name="connsiteY14" fmla="*/ 1262743 h 2634343"/>
              <a:gd name="connsiteX15" fmla="*/ 43543 w 2394857"/>
              <a:gd name="connsiteY15" fmla="*/ 1328057 h 2634343"/>
              <a:gd name="connsiteX16" fmla="*/ 32657 w 2394857"/>
              <a:gd name="connsiteY16" fmla="*/ 1371600 h 2634343"/>
              <a:gd name="connsiteX17" fmla="*/ 21771 w 2394857"/>
              <a:gd name="connsiteY17" fmla="*/ 1513114 h 2634343"/>
              <a:gd name="connsiteX18" fmla="*/ 10886 w 2394857"/>
              <a:gd name="connsiteY18" fmla="*/ 1817914 h 2634343"/>
              <a:gd name="connsiteX19" fmla="*/ 0 w 2394857"/>
              <a:gd name="connsiteY19" fmla="*/ 2057400 h 2634343"/>
              <a:gd name="connsiteX20" fmla="*/ 10886 w 2394857"/>
              <a:gd name="connsiteY20" fmla="*/ 2634343 h 2634343"/>
              <a:gd name="connsiteX0" fmla="*/ 2394857 w 2394857"/>
              <a:gd name="connsiteY0" fmla="*/ 0 h 2634343"/>
              <a:gd name="connsiteX1" fmla="*/ 1186543 w 2394857"/>
              <a:gd name="connsiteY1" fmla="*/ 293914 h 2634343"/>
              <a:gd name="connsiteX2" fmla="*/ 740228 w 2394857"/>
              <a:gd name="connsiteY2" fmla="*/ 576943 h 2634343"/>
              <a:gd name="connsiteX3" fmla="*/ 489857 w 2394857"/>
              <a:gd name="connsiteY3" fmla="*/ 740228 h 2634343"/>
              <a:gd name="connsiteX4" fmla="*/ 435428 w 2394857"/>
              <a:gd name="connsiteY4" fmla="*/ 783771 h 2634343"/>
              <a:gd name="connsiteX5" fmla="*/ 402771 w 2394857"/>
              <a:gd name="connsiteY5" fmla="*/ 794657 h 2634343"/>
              <a:gd name="connsiteX6" fmla="*/ 348343 w 2394857"/>
              <a:gd name="connsiteY6" fmla="*/ 870857 h 2634343"/>
              <a:gd name="connsiteX7" fmla="*/ 315686 w 2394857"/>
              <a:gd name="connsiteY7" fmla="*/ 936171 h 2634343"/>
              <a:gd name="connsiteX8" fmla="*/ 283028 w 2394857"/>
              <a:gd name="connsiteY8" fmla="*/ 947057 h 2634343"/>
              <a:gd name="connsiteX9" fmla="*/ 228600 w 2394857"/>
              <a:gd name="connsiteY9" fmla="*/ 1001486 h 2634343"/>
              <a:gd name="connsiteX10" fmla="*/ 174171 w 2394857"/>
              <a:gd name="connsiteY10" fmla="*/ 1045028 h 2634343"/>
              <a:gd name="connsiteX11" fmla="*/ 152400 w 2394857"/>
              <a:gd name="connsiteY11" fmla="*/ 1110343 h 2634343"/>
              <a:gd name="connsiteX12" fmla="*/ 108857 w 2394857"/>
              <a:gd name="connsiteY12" fmla="*/ 1153886 h 2634343"/>
              <a:gd name="connsiteX13" fmla="*/ 54428 w 2394857"/>
              <a:gd name="connsiteY13" fmla="*/ 1262743 h 2634343"/>
              <a:gd name="connsiteX14" fmla="*/ 43543 w 2394857"/>
              <a:gd name="connsiteY14" fmla="*/ 1328057 h 2634343"/>
              <a:gd name="connsiteX15" fmla="*/ 32657 w 2394857"/>
              <a:gd name="connsiteY15" fmla="*/ 1371600 h 2634343"/>
              <a:gd name="connsiteX16" fmla="*/ 21771 w 2394857"/>
              <a:gd name="connsiteY16" fmla="*/ 1513114 h 2634343"/>
              <a:gd name="connsiteX17" fmla="*/ 10886 w 2394857"/>
              <a:gd name="connsiteY17" fmla="*/ 1817914 h 2634343"/>
              <a:gd name="connsiteX18" fmla="*/ 0 w 2394857"/>
              <a:gd name="connsiteY18" fmla="*/ 2057400 h 2634343"/>
              <a:gd name="connsiteX19" fmla="*/ 10886 w 2394857"/>
              <a:gd name="connsiteY19" fmla="*/ 2634343 h 2634343"/>
              <a:gd name="connsiteX0" fmla="*/ 2394857 w 2394857"/>
              <a:gd name="connsiteY0" fmla="*/ 0 h 2634343"/>
              <a:gd name="connsiteX1" fmla="*/ 1186543 w 2394857"/>
              <a:gd name="connsiteY1" fmla="*/ 293914 h 2634343"/>
              <a:gd name="connsiteX2" fmla="*/ 489857 w 2394857"/>
              <a:gd name="connsiteY2" fmla="*/ 740228 h 2634343"/>
              <a:gd name="connsiteX3" fmla="*/ 435428 w 2394857"/>
              <a:gd name="connsiteY3" fmla="*/ 783771 h 2634343"/>
              <a:gd name="connsiteX4" fmla="*/ 402771 w 2394857"/>
              <a:gd name="connsiteY4" fmla="*/ 794657 h 2634343"/>
              <a:gd name="connsiteX5" fmla="*/ 348343 w 2394857"/>
              <a:gd name="connsiteY5" fmla="*/ 870857 h 2634343"/>
              <a:gd name="connsiteX6" fmla="*/ 315686 w 2394857"/>
              <a:gd name="connsiteY6" fmla="*/ 936171 h 2634343"/>
              <a:gd name="connsiteX7" fmla="*/ 283028 w 2394857"/>
              <a:gd name="connsiteY7" fmla="*/ 947057 h 2634343"/>
              <a:gd name="connsiteX8" fmla="*/ 228600 w 2394857"/>
              <a:gd name="connsiteY8" fmla="*/ 1001486 h 2634343"/>
              <a:gd name="connsiteX9" fmla="*/ 174171 w 2394857"/>
              <a:gd name="connsiteY9" fmla="*/ 1045028 h 2634343"/>
              <a:gd name="connsiteX10" fmla="*/ 152400 w 2394857"/>
              <a:gd name="connsiteY10" fmla="*/ 1110343 h 2634343"/>
              <a:gd name="connsiteX11" fmla="*/ 108857 w 2394857"/>
              <a:gd name="connsiteY11" fmla="*/ 1153886 h 2634343"/>
              <a:gd name="connsiteX12" fmla="*/ 54428 w 2394857"/>
              <a:gd name="connsiteY12" fmla="*/ 1262743 h 2634343"/>
              <a:gd name="connsiteX13" fmla="*/ 43543 w 2394857"/>
              <a:gd name="connsiteY13" fmla="*/ 1328057 h 2634343"/>
              <a:gd name="connsiteX14" fmla="*/ 32657 w 2394857"/>
              <a:gd name="connsiteY14" fmla="*/ 1371600 h 2634343"/>
              <a:gd name="connsiteX15" fmla="*/ 21771 w 2394857"/>
              <a:gd name="connsiteY15" fmla="*/ 1513114 h 2634343"/>
              <a:gd name="connsiteX16" fmla="*/ 10886 w 2394857"/>
              <a:gd name="connsiteY16" fmla="*/ 1817914 h 2634343"/>
              <a:gd name="connsiteX17" fmla="*/ 0 w 2394857"/>
              <a:gd name="connsiteY17" fmla="*/ 2057400 h 2634343"/>
              <a:gd name="connsiteX18" fmla="*/ 10886 w 2394857"/>
              <a:gd name="connsiteY18" fmla="*/ 2634343 h 2634343"/>
              <a:gd name="connsiteX0" fmla="*/ 2394857 w 2394857"/>
              <a:gd name="connsiteY0" fmla="*/ 0 h 2634343"/>
              <a:gd name="connsiteX1" fmla="*/ 1186543 w 2394857"/>
              <a:gd name="connsiteY1" fmla="*/ 293914 h 2634343"/>
              <a:gd name="connsiteX2" fmla="*/ 489857 w 2394857"/>
              <a:gd name="connsiteY2" fmla="*/ 740228 h 2634343"/>
              <a:gd name="connsiteX3" fmla="*/ 435428 w 2394857"/>
              <a:gd name="connsiteY3" fmla="*/ 783771 h 2634343"/>
              <a:gd name="connsiteX4" fmla="*/ 348343 w 2394857"/>
              <a:gd name="connsiteY4" fmla="*/ 870857 h 2634343"/>
              <a:gd name="connsiteX5" fmla="*/ 315686 w 2394857"/>
              <a:gd name="connsiteY5" fmla="*/ 936171 h 2634343"/>
              <a:gd name="connsiteX6" fmla="*/ 283028 w 2394857"/>
              <a:gd name="connsiteY6" fmla="*/ 947057 h 2634343"/>
              <a:gd name="connsiteX7" fmla="*/ 228600 w 2394857"/>
              <a:gd name="connsiteY7" fmla="*/ 1001486 h 2634343"/>
              <a:gd name="connsiteX8" fmla="*/ 174171 w 2394857"/>
              <a:gd name="connsiteY8" fmla="*/ 1045028 h 2634343"/>
              <a:gd name="connsiteX9" fmla="*/ 152400 w 2394857"/>
              <a:gd name="connsiteY9" fmla="*/ 1110343 h 2634343"/>
              <a:gd name="connsiteX10" fmla="*/ 108857 w 2394857"/>
              <a:gd name="connsiteY10" fmla="*/ 1153886 h 2634343"/>
              <a:gd name="connsiteX11" fmla="*/ 54428 w 2394857"/>
              <a:gd name="connsiteY11" fmla="*/ 1262743 h 2634343"/>
              <a:gd name="connsiteX12" fmla="*/ 43543 w 2394857"/>
              <a:gd name="connsiteY12" fmla="*/ 1328057 h 2634343"/>
              <a:gd name="connsiteX13" fmla="*/ 32657 w 2394857"/>
              <a:gd name="connsiteY13" fmla="*/ 1371600 h 2634343"/>
              <a:gd name="connsiteX14" fmla="*/ 21771 w 2394857"/>
              <a:gd name="connsiteY14" fmla="*/ 1513114 h 2634343"/>
              <a:gd name="connsiteX15" fmla="*/ 10886 w 2394857"/>
              <a:gd name="connsiteY15" fmla="*/ 1817914 h 2634343"/>
              <a:gd name="connsiteX16" fmla="*/ 0 w 2394857"/>
              <a:gd name="connsiteY16" fmla="*/ 2057400 h 2634343"/>
              <a:gd name="connsiteX17" fmla="*/ 10886 w 2394857"/>
              <a:gd name="connsiteY17" fmla="*/ 2634343 h 2634343"/>
              <a:gd name="connsiteX0" fmla="*/ 2394857 w 2394857"/>
              <a:gd name="connsiteY0" fmla="*/ 0 h 2634343"/>
              <a:gd name="connsiteX1" fmla="*/ 1186543 w 2394857"/>
              <a:gd name="connsiteY1" fmla="*/ 293914 h 2634343"/>
              <a:gd name="connsiteX2" fmla="*/ 489857 w 2394857"/>
              <a:gd name="connsiteY2" fmla="*/ 740228 h 2634343"/>
              <a:gd name="connsiteX3" fmla="*/ 435428 w 2394857"/>
              <a:gd name="connsiteY3" fmla="*/ 783771 h 2634343"/>
              <a:gd name="connsiteX4" fmla="*/ 315686 w 2394857"/>
              <a:gd name="connsiteY4" fmla="*/ 936171 h 2634343"/>
              <a:gd name="connsiteX5" fmla="*/ 283028 w 2394857"/>
              <a:gd name="connsiteY5" fmla="*/ 947057 h 2634343"/>
              <a:gd name="connsiteX6" fmla="*/ 228600 w 2394857"/>
              <a:gd name="connsiteY6" fmla="*/ 1001486 h 2634343"/>
              <a:gd name="connsiteX7" fmla="*/ 174171 w 2394857"/>
              <a:gd name="connsiteY7" fmla="*/ 1045028 h 2634343"/>
              <a:gd name="connsiteX8" fmla="*/ 152400 w 2394857"/>
              <a:gd name="connsiteY8" fmla="*/ 1110343 h 2634343"/>
              <a:gd name="connsiteX9" fmla="*/ 108857 w 2394857"/>
              <a:gd name="connsiteY9" fmla="*/ 1153886 h 2634343"/>
              <a:gd name="connsiteX10" fmla="*/ 54428 w 2394857"/>
              <a:gd name="connsiteY10" fmla="*/ 1262743 h 2634343"/>
              <a:gd name="connsiteX11" fmla="*/ 43543 w 2394857"/>
              <a:gd name="connsiteY11" fmla="*/ 1328057 h 2634343"/>
              <a:gd name="connsiteX12" fmla="*/ 32657 w 2394857"/>
              <a:gd name="connsiteY12" fmla="*/ 1371600 h 2634343"/>
              <a:gd name="connsiteX13" fmla="*/ 21771 w 2394857"/>
              <a:gd name="connsiteY13" fmla="*/ 1513114 h 2634343"/>
              <a:gd name="connsiteX14" fmla="*/ 10886 w 2394857"/>
              <a:gd name="connsiteY14" fmla="*/ 1817914 h 2634343"/>
              <a:gd name="connsiteX15" fmla="*/ 0 w 2394857"/>
              <a:gd name="connsiteY15" fmla="*/ 2057400 h 2634343"/>
              <a:gd name="connsiteX16" fmla="*/ 10886 w 2394857"/>
              <a:gd name="connsiteY16" fmla="*/ 2634343 h 2634343"/>
              <a:gd name="connsiteX0" fmla="*/ 2395034 w 2395034"/>
              <a:gd name="connsiteY0" fmla="*/ 0 h 2634343"/>
              <a:gd name="connsiteX1" fmla="*/ 1186720 w 2395034"/>
              <a:gd name="connsiteY1" fmla="*/ 293914 h 2634343"/>
              <a:gd name="connsiteX2" fmla="*/ 490034 w 2395034"/>
              <a:gd name="connsiteY2" fmla="*/ 740228 h 2634343"/>
              <a:gd name="connsiteX3" fmla="*/ 435605 w 2395034"/>
              <a:gd name="connsiteY3" fmla="*/ 783771 h 2634343"/>
              <a:gd name="connsiteX4" fmla="*/ 315863 w 2395034"/>
              <a:gd name="connsiteY4" fmla="*/ 936171 h 2634343"/>
              <a:gd name="connsiteX5" fmla="*/ 283205 w 2395034"/>
              <a:gd name="connsiteY5" fmla="*/ 947057 h 2634343"/>
              <a:gd name="connsiteX6" fmla="*/ 228777 w 2395034"/>
              <a:gd name="connsiteY6" fmla="*/ 1001486 h 2634343"/>
              <a:gd name="connsiteX7" fmla="*/ 174348 w 2395034"/>
              <a:gd name="connsiteY7" fmla="*/ 1045028 h 2634343"/>
              <a:gd name="connsiteX8" fmla="*/ 152577 w 2395034"/>
              <a:gd name="connsiteY8" fmla="*/ 1110343 h 2634343"/>
              <a:gd name="connsiteX9" fmla="*/ 109034 w 2395034"/>
              <a:gd name="connsiteY9" fmla="*/ 1153886 h 2634343"/>
              <a:gd name="connsiteX10" fmla="*/ 54605 w 2395034"/>
              <a:gd name="connsiteY10" fmla="*/ 1262743 h 2634343"/>
              <a:gd name="connsiteX11" fmla="*/ 43720 w 2395034"/>
              <a:gd name="connsiteY11" fmla="*/ 1328057 h 2634343"/>
              <a:gd name="connsiteX12" fmla="*/ 32834 w 2395034"/>
              <a:gd name="connsiteY12" fmla="*/ 1371600 h 2634343"/>
              <a:gd name="connsiteX13" fmla="*/ 21948 w 2395034"/>
              <a:gd name="connsiteY13" fmla="*/ 1513114 h 2634343"/>
              <a:gd name="connsiteX14" fmla="*/ 177 w 2395034"/>
              <a:gd name="connsiteY14" fmla="*/ 2057400 h 2634343"/>
              <a:gd name="connsiteX15" fmla="*/ 11063 w 2395034"/>
              <a:gd name="connsiteY15"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229182 w 2395439"/>
              <a:gd name="connsiteY6" fmla="*/ 1001486 h 2634343"/>
              <a:gd name="connsiteX7" fmla="*/ 174753 w 2395439"/>
              <a:gd name="connsiteY7" fmla="*/ 1045028 h 2634343"/>
              <a:gd name="connsiteX8" fmla="*/ 152982 w 2395439"/>
              <a:gd name="connsiteY8" fmla="*/ 1110343 h 2634343"/>
              <a:gd name="connsiteX9" fmla="*/ 109439 w 2395439"/>
              <a:gd name="connsiteY9" fmla="*/ 1153886 h 2634343"/>
              <a:gd name="connsiteX10" fmla="*/ 55010 w 2395439"/>
              <a:gd name="connsiteY10" fmla="*/ 1262743 h 2634343"/>
              <a:gd name="connsiteX11" fmla="*/ 44125 w 2395439"/>
              <a:gd name="connsiteY11" fmla="*/ 1328057 h 2634343"/>
              <a:gd name="connsiteX12" fmla="*/ 33239 w 2395439"/>
              <a:gd name="connsiteY12" fmla="*/ 1371600 h 2634343"/>
              <a:gd name="connsiteX13" fmla="*/ 582 w 2395439"/>
              <a:gd name="connsiteY13" fmla="*/ 2057400 h 2634343"/>
              <a:gd name="connsiteX14" fmla="*/ 11468 w 2395439"/>
              <a:gd name="connsiteY14"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229182 w 2395439"/>
              <a:gd name="connsiteY6" fmla="*/ 1001486 h 2634343"/>
              <a:gd name="connsiteX7" fmla="*/ 174753 w 2395439"/>
              <a:gd name="connsiteY7" fmla="*/ 1045028 h 2634343"/>
              <a:gd name="connsiteX8" fmla="*/ 152982 w 2395439"/>
              <a:gd name="connsiteY8" fmla="*/ 1110343 h 2634343"/>
              <a:gd name="connsiteX9" fmla="*/ 109439 w 2395439"/>
              <a:gd name="connsiteY9" fmla="*/ 1153886 h 2634343"/>
              <a:gd name="connsiteX10" fmla="*/ 55010 w 2395439"/>
              <a:gd name="connsiteY10" fmla="*/ 1262743 h 2634343"/>
              <a:gd name="connsiteX11" fmla="*/ 33239 w 2395439"/>
              <a:gd name="connsiteY11" fmla="*/ 1371600 h 2634343"/>
              <a:gd name="connsiteX12" fmla="*/ 582 w 2395439"/>
              <a:gd name="connsiteY12" fmla="*/ 2057400 h 2634343"/>
              <a:gd name="connsiteX13" fmla="*/ 11468 w 2395439"/>
              <a:gd name="connsiteY13"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229182 w 2395439"/>
              <a:gd name="connsiteY6" fmla="*/ 1001486 h 2634343"/>
              <a:gd name="connsiteX7" fmla="*/ 174753 w 2395439"/>
              <a:gd name="connsiteY7" fmla="*/ 1045028 h 2634343"/>
              <a:gd name="connsiteX8" fmla="*/ 152982 w 2395439"/>
              <a:gd name="connsiteY8" fmla="*/ 1110343 h 2634343"/>
              <a:gd name="connsiteX9" fmla="*/ 55010 w 2395439"/>
              <a:gd name="connsiteY9" fmla="*/ 1262743 h 2634343"/>
              <a:gd name="connsiteX10" fmla="*/ 33239 w 2395439"/>
              <a:gd name="connsiteY10" fmla="*/ 1371600 h 2634343"/>
              <a:gd name="connsiteX11" fmla="*/ 582 w 2395439"/>
              <a:gd name="connsiteY11" fmla="*/ 2057400 h 2634343"/>
              <a:gd name="connsiteX12" fmla="*/ 11468 w 2395439"/>
              <a:gd name="connsiteY12"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229182 w 2395439"/>
              <a:gd name="connsiteY6" fmla="*/ 1001486 h 2634343"/>
              <a:gd name="connsiteX7" fmla="*/ 174753 w 2395439"/>
              <a:gd name="connsiteY7" fmla="*/ 1045028 h 2634343"/>
              <a:gd name="connsiteX8" fmla="*/ 55010 w 2395439"/>
              <a:gd name="connsiteY8" fmla="*/ 1262743 h 2634343"/>
              <a:gd name="connsiteX9" fmla="*/ 33239 w 2395439"/>
              <a:gd name="connsiteY9" fmla="*/ 1371600 h 2634343"/>
              <a:gd name="connsiteX10" fmla="*/ 582 w 2395439"/>
              <a:gd name="connsiteY10" fmla="*/ 2057400 h 2634343"/>
              <a:gd name="connsiteX11" fmla="*/ 11468 w 2395439"/>
              <a:gd name="connsiteY11"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229182 w 2395439"/>
              <a:gd name="connsiteY6" fmla="*/ 1001486 h 2634343"/>
              <a:gd name="connsiteX7" fmla="*/ 55010 w 2395439"/>
              <a:gd name="connsiteY7" fmla="*/ 1262743 h 2634343"/>
              <a:gd name="connsiteX8" fmla="*/ 33239 w 2395439"/>
              <a:gd name="connsiteY8" fmla="*/ 1371600 h 2634343"/>
              <a:gd name="connsiteX9" fmla="*/ 582 w 2395439"/>
              <a:gd name="connsiteY9" fmla="*/ 2057400 h 2634343"/>
              <a:gd name="connsiteX10" fmla="*/ 11468 w 2395439"/>
              <a:gd name="connsiteY10"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283610 w 2395439"/>
              <a:gd name="connsiteY5" fmla="*/ 947057 h 2634343"/>
              <a:gd name="connsiteX6" fmla="*/ 55010 w 2395439"/>
              <a:gd name="connsiteY6" fmla="*/ 1262743 h 2634343"/>
              <a:gd name="connsiteX7" fmla="*/ 33239 w 2395439"/>
              <a:gd name="connsiteY7" fmla="*/ 1371600 h 2634343"/>
              <a:gd name="connsiteX8" fmla="*/ 582 w 2395439"/>
              <a:gd name="connsiteY8" fmla="*/ 2057400 h 2634343"/>
              <a:gd name="connsiteX9" fmla="*/ 11468 w 2395439"/>
              <a:gd name="connsiteY9"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316268 w 2395439"/>
              <a:gd name="connsiteY4" fmla="*/ 936171 h 2634343"/>
              <a:gd name="connsiteX5" fmla="*/ 55010 w 2395439"/>
              <a:gd name="connsiteY5" fmla="*/ 1262743 h 2634343"/>
              <a:gd name="connsiteX6" fmla="*/ 33239 w 2395439"/>
              <a:gd name="connsiteY6" fmla="*/ 1371600 h 2634343"/>
              <a:gd name="connsiteX7" fmla="*/ 582 w 2395439"/>
              <a:gd name="connsiteY7" fmla="*/ 2057400 h 2634343"/>
              <a:gd name="connsiteX8" fmla="*/ 11468 w 2395439"/>
              <a:gd name="connsiteY8"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436010 w 2395439"/>
              <a:gd name="connsiteY3" fmla="*/ 783771 h 2634343"/>
              <a:gd name="connsiteX4" fmla="*/ 55010 w 2395439"/>
              <a:gd name="connsiteY4" fmla="*/ 1262743 h 2634343"/>
              <a:gd name="connsiteX5" fmla="*/ 33239 w 2395439"/>
              <a:gd name="connsiteY5" fmla="*/ 1371600 h 2634343"/>
              <a:gd name="connsiteX6" fmla="*/ 582 w 2395439"/>
              <a:gd name="connsiteY6" fmla="*/ 2057400 h 2634343"/>
              <a:gd name="connsiteX7" fmla="*/ 11468 w 2395439"/>
              <a:gd name="connsiteY7" fmla="*/ 2634343 h 2634343"/>
              <a:gd name="connsiteX0" fmla="*/ 2395439 w 2395439"/>
              <a:gd name="connsiteY0" fmla="*/ 0 h 2634343"/>
              <a:gd name="connsiteX1" fmla="*/ 1187125 w 2395439"/>
              <a:gd name="connsiteY1" fmla="*/ 293914 h 2634343"/>
              <a:gd name="connsiteX2" fmla="*/ 490439 w 2395439"/>
              <a:gd name="connsiteY2" fmla="*/ 740228 h 2634343"/>
              <a:gd name="connsiteX3" fmla="*/ 55010 w 2395439"/>
              <a:gd name="connsiteY3" fmla="*/ 1262743 h 2634343"/>
              <a:gd name="connsiteX4" fmla="*/ 33239 w 2395439"/>
              <a:gd name="connsiteY4" fmla="*/ 1371600 h 2634343"/>
              <a:gd name="connsiteX5" fmla="*/ 582 w 2395439"/>
              <a:gd name="connsiteY5" fmla="*/ 2057400 h 2634343"/>
              <a:gd name="connsiteX6" fmla="*/ 11468 w 2395439"/>
              <a:gd name="connsiteY6" fmla="*/ 2634343 h 2634343"/>
              <a:gd name="connsiteX0" fmla="*/ 2395439 w 2395439"/>
              <a:gd name="connsiteY0" fmla="*/ 0 h 2634343"/>
              <a:gd name="connsiteX1" fmla="*/ 1187125 w 2395439"/>
              <a:gd name="connsiteY1" fmla="*/ 293914 h 2634343"/>
              <a:gd name="connsiteX2" fmla="*/ 272725 w 2395439"/>
              <a:gd name="connsiteY2" fmla="*/ 718457 h 2634343"/>
              <a:gd name="connsiteX3" fmla="*/ 55010 w 2395439"/>
              <a:gd name="connsiteY3" fmla="*/ 1262743 h 2634343"/>
              <a:gd name="connsiteX4" fmla="*/ 33239 w 2395439"/>
              <a:gd name="connsiteY4" fmla="*/ 1371600 h 2634343"/>
              <a:gd name="connsiteX5" fmla="*/ 582 w 2395439"/>
              <a:gd name="connsiteY5" fmla="*/ 2057400 h 2634343"/>
              <a:gd name="connsiteX6" fmla="*/ 11468 w 2395439"/>
              <a:gd name="connsiteY6" fmla="*/ 2634343 h 2634343"/>
              <a:gd name="connsiteX0" fmla="*/ 2395439 w 2395439"/>
              <a:gd name="connsiteY0" fmla="*/ 0 h 2634343"/>
              <a:gd name="connsiteX1" fmla="*/ 1187125 w 2395439"/>
              <a:gd name="connsiteY1" fmla="*/ 293914 h 2634343"/>
              <a:gd name="connsiteX2" fmla="*/ 272725 w 2395439"/>
              <a:gd name="connsiteY2" fmla="*/ 718457 h 2634343"/>
              <a:gd name="connsiteX3" fmla="*/ 33239 w 2395439"/>
              <a:gd name="connsiteY3" fmla="*/ 1371600 h 2634343"/>
              <a:gd name="connsiteX4" fmla="*/ 582 w 2395439"/>
              <a:gd name="connsiteY4" fmla="*/ 2057400 h 2634343"/>
              <a:gd name="connsiteX5" fmla="*/ 11468 w 2395439"/>
              <a:gd name="connsiteY5" fmla="*/ 2634343 h 2634343"/>
              <a:gd name="connsiteX0" fmla="*/ 2395967 w 2395967"/>
              <a:gd name="connsiteY0" fmla="*/ 0 h 2634343"/>
              <a:gd name="connsiteX1" fmla="*/ 1187653 w 2395967"/>
              <a:gd name="connsiteY1" fmla="*/ 293914 h 2634343"/>
              <a:gd name="connsiteX2" fmla="*/ 273253 w 2395967"/>
              <a:gd name="connsiteY2" fmla="*/ 718457 h 2634343"/>
              <a:gd name="connsiteX3" fmla="*/ 44653 w 2395967"/>
              <a:gd name="connsiteY3" fmla="*/ 1099457 h 2634343"/>
              <a:gd name="connsiteX4" fmla="*/ 1110 w 2395967"/>
              <a:gd name="connsiteY4" fmla="*/ 2057400 h 2634343"/>
              <a:gd name="connsiteX5" fmla="*/ 11996 w 2395967"/>
              <a:gd name="connsiteY5" fmla="*/ 2634343 h 2634343"/>
              <a:gd name="connsiteX0" fmla="*/ 2396504 w 2396504"/>
              <a:gd name="connsiteY0" fmla="*/ 0 h 2634343"/>
              <a:gd name="connsiteX1" fmla="*/ 1188190 w 2396504"/>
              <a:gd name="connsiteY1" fmla="*/ 293914 h 2634343"/>
              <a:gd name="connsiteX2" fmla="*/ 273790 w 2396504"/>
              <a:gd name="connsiteY2" fmla="*/ 718457 h 2634343"/>
              <a:gd name="connsiteX3" fmla="*/ 45190 w 2396504"/>
              <a:gd name="connsiteY3" fmla="*/ 1099457 h 2634343"/>
              <a:gd name="connsiteX4" fmla="*/ 1647 w 2396504"/>
              <a:gd name="connsiteY4" fmla="*/ 2057400 h 2634343"/>
              <a:gd name="connsiteX5" fmla="*/ 12533 w 2396504"/>
              <a:gd name="connsiteY5" fmla="*/ 2634343 h 2634343"/>
              <a:gd name="connsiteX0" fmla="*/ 2396504 w 2396504"/>
              <a:gd name="connsiteY0" fmla="*/ 0 h 2634343"/>
              <a:gd name="connsiteX1" fmla="*/ 1188190 w 2396504"/>
              <a:gd name="connsiteY1" fmla="*/ 293914 h 2634343"/>
              <a:gd name="connsiteX2" fmla="*/ 273790 w 2396504"/>
              <a:gd name="connsiteY2" fmla="*/ 718457 h 2634343"/>
              <a:gd name="connsiteX3" fmla="*/ 45190 w 2396504"/>
              <a:gd name="connsiteY3" fmla="*/ 1099457 h 2634343"/>
              <a:gd name="connsiteX4" fmla="*/ 1647 w 2396504"/>
              <a:gd name="connsiteY4" fmla="*/ 2057400 h 2634343"/>
              <a:gd name="connsiteX5" fmla="*/ 12533 w 2396504"/>
              <a:gd name="connsiteY5" fmla="*/ 2634343 h 2634343"/>
              <a:gd name="connsiteX0" fmla="*/ 2403493 w 2403493"/>
              <a:gd name="connsiteY0" fmla="*/ 0 h 2634343"/>
              <a:gd name="connsiteX1" fmla="*/ 1195179 w 2403493"/>
              <a:gd name="connsiteY1" fmla="*/ 293914 h 2634343"/>
              <a:gd name="connsiteX2" fmla="*/ 280779 w 2403493"/>
              <a:gd name="connsiteY2" fmla="*/ 718457 h 2634343"/>
              <a:gd name="connsiteX3" fmla="*/ 52179 w 2403493"/>
              <a:gd name="connsiteY3" fmla="*/ 1099457 h 2634343"/>
              <a:gd name="connsiteX4" fmla="*/ 8636 w 2403493"/>
              <a:gd name="connsiteY4" fmla="*/ 2057400 h 2634343"/>
              <a:gd name="connsiteX5" fmla="*/ 19522 w 2403493"/>
              <a:gd name="connsiteY5" fmla="*/ 2634343 h 2634343"/>
              <a:gd name="connsiteX0" fmla="*/ 2417285 w 2417285"/>
              <a:gd name="connsiteY0" fmla="*/ 0 h 2634343"/>
              <a:gd name="connsiteX1" fmla="*/ 1208971 w 2417285"/>
              <a:gd name="connsiteY1" fmla="*/ 293914 h 2634343"/>
              <a:gd name="connsiteX2" fmla="*/ 294571 w 2417285"/>
              <a:gd name="connsiteY2" fmla="*/ 718457 h 2634343"/>
              <a:gd name="connsiteX3" fmla="*/ 65971 w 2417285"/>
              <a:gd name="connsiteY3" fmla="*/ 1099457 h 2634343"/>
              <a:gd name="connsiteX4" fmla="*/ 22428 w 2417285"/>
              <a:gd name="connsiteY4" fmla="*/ 2057400 h 2634343"/>
              <a:gd name="connsiteX5" fmla="*/ 33314 w 2417285"/>
              <a:gd name="connsiteY5" fmla="*/ 2634343 h 2634343"/>
              <a:gd name="connsiteX0" fmla="*/ 2417285 w 2417285"/>
              <a:gd name="connsiteY0" fmla="*/ 0 h 2634343"/>
              <a:gd name="connsiteX1" fmla="*/ 1208971 w 2417285"/>
              <a:gd name="connsiteY1" fmla="*/ 293914 h 2634343"/>
              <a:gd name="connsiteX2" fmla="*/ 294571 w 2417285"/>
              <a:gd name="connsiteY2" fmla="*/ 718457 h 2634343"/>
              <a:gd name="connsiteX3" fmla="*/ 65971 w 2417285"/>
              <a:gd name="connsiteY3" fmla="*/ 1099457 h 2634343"/>
              <a:gd name="connsiteX4" fmla="*/ 22428 w 2417285"/>
              <a:gd name="connsiteY4" fmla="*/ 2057400 h 2634343"/>
              <a:gd name="connsiteX5" fmla="*/ 33314 w 2417285"/>
              <a:gd name="connsiteY5" fmla="*/ 2634343 h 2634343"/>
              <a:gd name="connsiteX0" fmla="*/ 2426692 w 2426692"/>
              <a:gd name="connsiteY0" fmla="*/ 0 h 2634343"/>
              <a:gd name="connsiteX1" fmla="*/ 1218378 w 2426692"/>
              <a:gd name="connsiteY1" fmla="*/ 293914 h 2634343"/>
              <a:gd name="connsiteX2" fmla="*/ 303978 w 2426692"/>
              <a:gd name="connsiteY2" fmla="*/ 718457 h 2634343"/>
              <a:gd name="connsiteX3" fmla="*/ 75378 w 2426692"/>
              <a:gd name="connsiteY3" fmla="*/ 1099457 h 2634343"/>
              <a:gd name="connsiteX4" fmla="*/ 31835 w 2426692"/>
              <a:gd name="connsiteY4" fmla="*/ 2057400 h 2634343"/>
              <a:gd name="connsiteX5" fmla="*/ 42721 w 2426692"/>
              <a:gd name="connsiteY5" fmla="*/ 2634343 h 2634343"/>
              <a:gd name="connsiteX0" fmla="*/ 2426692 w 2426692"/>
              <a:gd name="connsiteY0" fmla="*/ 0 h 2634343"/>
              <a:gd name="connsiteX1" fmla="*/ 1218378 w 2426692"/>
              <a:gd name="connsiteY1" fmla="*/ 293914 h 2634343"/>
              <a:gd name="connsiteX2" fmla="*/ 303978 w 2426692"/>
              <a:gd name="connsiteY2" fmla="*/ 718457 h 2634343"/>
              <a:gd name="connsiteX3" fmla="*/ 75378 w 2426692"/>
              <a:gd name="connsiteY3" fmla="*/ 1099457 h 2634343"/>
              <a:gd name="connsiteX4" fmla="*/ 31835 w 2426692"/>
              <a:gd name="connsiteY4" fmla="*/ 2057400 h 2634343"/>
              <a:gd name="connsiteX5" fmla="*/ 42721 w 2426692"/>
              <a:gd name="connsiteY5" fmla="*/ 2634343 h 2634343"/>
              <a:gd name="connsiteX0" fmla="*/ 2426692 w 2426692"/>
              <a:gd name="connsiteY0" fmla="*/ 0 h 2634343"/>
              <a:gd name="connsiteX1" fmla="*/ 1218378 w 2426692"/>
              <a:gd name="connsiteY1" fmla="*/ 293914 h 2634343"/>
              <a:gd name="connsiteX2" fmla="*/ 303978 w 2426692"/>
              <a:gd name="connsiteY2" fmla="*/ 718457 h 2634343"/>
              <a:gd name="connsiteX3" fmla="*/ 75378 w 2426692"/>
              <a:gd name="connsiteY3" fmla="*/ 1099457 h 2634343"/>
              <a:gd name="connsiteX4" fmla="*/ 31835 w 2426692"/>
              <a:gd name="connsiteY4" fmla="*/ 2057400 h 2634343"/>
              <a:gd name="connsiteX5" fmla="*/ 42721 w 2426692"/>
              <a:gd name="connsiteY5" fmla="*/ 2634343 h 2634343"/>
              <a:gd name="connsiteX0" fmla="*/ 2396505 w 2396505"/>
              <a:gd name="connsiteY0" fmla="*/ 0 h 2634343"/>
              <a:gd name="connsiteX1" fmla="*/ 1188191 w 2396505"/>
              <a:gd name="connsiteY1" fmla="*/ 293914 h 2634343"/>
              <a:gd name="connsiteX2" fmla="*/ 273791 w 2396505"/>
              <a:gd name="connsiteY2" fmla="*/ 718457 h 2634343"/>
              <a:gd name="connsiteX3" fmla="*/ 45191 w 2396505"/>
              <a:gd name="connsiteY3" fmla="*/ 1099457 h 2634343"/>
              <a:gd name="connsiteX4" fmla="*/ 1648 w 2396505"/>
              <a:gd name="connsiteY4" fmla="*/ 2057400 h 2634343"/>
              <a:gd name="connsiteX5" fmla="*/ 12534 w 2396505"/>
              <a:gd name="connsiteY5" fmla="*/ 2634343 h 2634343"/>
              <a:gd name="connsiteX0" fmla="*/ 2396505 w 2396505"/>
              <a:gd name="connsiteY0" fmla="*/ 0 h 2634343"/>
              <a:gd name="connsiteX1" fmla="*/ 1188191 w 2396505"/>
              <a:gd name="connsiteY1" fmla="*/ 293914 h 2634343"/>
              <a:gd name="connsiteX2" fmla="*/ 273791 w 2396505"/>
              <a:gd name="connsiteY2" fmla="*/ 718457 h 2634343"/>
              <a:gd name="connsiteX3" fmla="*/ 45191 w 2396505"/>
              <a:gd name="connsiteY3" fmla="*/ 1099457 h 2634343"/>
              <a:gd name="connsiteX4" fmla="*/ 1648 w 2396505"/>
              <a:gd name="connsiteY4" fmla="*/ 2057400 h 2634343"/>
              <a:gd name="connsiteX5" fmla="*/ 12534 w 2396505"/>
              <a:gd name="connsiteY5" fmla="*/ 2634343 h 2634343"/>
              <a:gd name="connsiteX0" fmla="*/ 2396505 w 2396505"/>
              <a:gd name="connsiteY0" fmla="*/ 0 h 2634343"/>
              <a:gd name="connsiteX1" fmla="*/ 1188191 w 2396505"/>
              <a:gd name="connsiteY1" fmla="*/ 293914 h 2634343"/>
              <a:gd name="connsiteX2" fmla="*/ 273791 w 2396505"/>
              <a:gd name="connsiteY2" fmla="*/ 718457 h 2634343"/>
              <a:gd name="connsiteX3" fmla="*/ 45191 w 2396505"/>
              <a:gd name="connsiteY3" fmla="*/ 1099457 h 2634343"/>
              <a:gd name="connsiteX4" fmla="*/ 1648 w 2396505"/>
              <a:gd name="connsiteY4" fmla="*/ 2057400 h 2634343"/>
              <a:gd name="connsiteX5" fmla="*/ 12534 w 2396505"/>
              <a:gd name="connsiteY5" fmla="*/ 2634343 h 2634343"/>
              <a:gd name="connsiteX0" fmla="*/ 2399078 w 2399078"/>
              <a:gd name="connsiteY0" fmla="*/ 0 h 2634343"/>
              <a:gd name="connsiteX1" fmla="*/ 1190764 w 2399078"/>
              <a:gd name="connsiteY1" fmla="*/ 293914 h 2634343"/>
              <a:gd name="connsiteX2" fmla="*/ 276364 w 2399078"/>
              <a:gd name="connsiteY2" fmla="*/ 718457 h 2634343"/>
              <a:gd name="connsiteX3" fmla="*/ 47764 w 2399078"/>
              <a:gd name="connsiteY3" fmla="*/ 1099457 h 2634343"/>
              <a:gd name="connsiteX4" fmla="*/ 4221 w 2399078"/>
              <a:gd name="connsiteY4" fmla="*/ 2057400 h 2634343"/>
              <a:gd name="connsiteX5" fmla="*/ 15107 w 2399078"/>
              <a:gd name="connsiteY5" fmla="*/ 2634343 h 2634343"/>
              <a:gd name="connsiteX0" fmla="*/ 2399078 w 2399078"/>
              <a:gd name="connsiteY0" fmla="*/ 0 h 2634343"/>
              <a:gd name="connsiteX1" fmla="*/ 1452021 w 2399078"/>
              <a:gd name="connsiteY1" fmla="*/ 272142 h 2634343"/>
              <a:gd name="connsiteX2" fmla="*/ 276364 w 2399078"/>
              <a:gd name="connsiteY2" fmla="*/ 718457 h 2634343"/>
              <a:gd name="connsiteX3" fmla="*/ 47764 w 2399078"/>
              <a:gd name="connsiteY3" fmla="*/ 1099457 h 2634343"/>
              <a:gd name="connsiteX4" fmla="*/ 4221 w 2399078"/>
              <a:gd name="connsiteY4" fmla="*/ 2057400 h 2634343"/>
              <a:gd name="connsiteX5" fmla="*/ 15107 w 2399078"/>
              <a:gd name="connsiteY5" fmla="*/ 2634343 h 2634343"/>
              <a:gd name="connsiteX0" fmla="*/ 2397104 w 2397104"/>
              <a:gd name="connsiteY0" fmla="*/ 0 h 2634343"/>
              <a:gd name="connsiteX1" fmla="*/ 1450047 w 2397104"/>
              <a:gd name="connsiteY1" fmla="*/ 272142 h 2634343"/>
              <a:gd name="connsiteX2" fmla="*/ 470333 w 2397104"/>
              <a:gd name="connsiteY2" fmla="*/ 653143 h 2634343"/>
              <a:gd name="connsiteX3" fmla="*/ 45790 w 2397104"/>
              <a:gd name="connsiteY3" fmla="*/ 1099457 h 2634343"/>
              <a:gd name="connsiteX4" fmla="*/ 2247 w 2397104"/>
              <a:gd name="connsiteY4" fmla="*/ 2057400 h 2634343"/>
              <a:gd name="connsiteX5" fmla="*/ 13133 w 2397104"/>
              <a:gd name="connsiteY5" fmla="*/ 2634343 h 2634343"/>
              <a:gd name="connsiteX0" fmla="*/ 2406733 w 2406733"/>
              <a:gd name="connsiteY0" fmla="*/ 0 h 2634343"/>
              <a:gd name="connsiteX1" fmla="*/ 1459676 w 2406733"/>
              <a:gd name="connsiteY1" fmla="*/ 272142 h 2634343"/>
              <a:gd name="connsiteX2" fmla="*/ 479962 w 2406733"/>
              <a:gd name="connsiteY2" fmla="*/ 653143 h 2634343"/>
              <a:gd name="connsiteX3" fmla="*/ 44534 w 2406733"/>
              <a:gd name="connsiteY3" fmla="*/ 1143000 h 2634343"/>
              <a:gd name="connsiteX4" fmla="*/ 11876 w 2406733"/>
              <a:gd name="connsiteY4" fmla="*/ 2057400 h 2634343"/>
              <a:gd name="connsiteX5" fmla="*/ 22762 w 2406733"/>
              <a:gd name="connsiteY5" fmla="*/ 2634343 h 2634343"/>
              <a:gd name="connsiteX0" fmla="*/ 2395440 w 2395440"/>
              <a:gd name="connsiteY0" fmla="*/ 0 h 2634343"/>
              <a:gd name="connsiteX1" fmla="*/ 1448383 w 2395440"/>
              <a:gd name="connsiteY1" fmla="*/ 272142 h 2634343"/>
              <a:gd name="connsiteX2" fmla="*/ 468669 w 2395440"/>
              <a:gd name="connsiteY2" fmla="*/ 653143 h 2634343"/>
              <a:gd name="connsiteX3" fmla="*/ 33241 w 2395440"/>
              <a:gd name="connsiteY3" fmla="*/ 1143000 h 2634343"/>
              <a:gd name="connsiteX4" fmla="*/ 583 w 2395440"/>
              <a:gd name="connsiteY4" fmla="*/ 2057400 h 2634343"/>
              <a:gd name="connsiteX5" fmla="*/ 11469 w 2395440"/>
              <a:gd name="connsiteY5" fmla="*/ 2634343 h 2634343"/>
              <a:gd name="connsiteX0" fmla="*/ 2395440 w 2395440"/>
              <a:gd name="connsiteY0" fmla="*/ 0 h 2634343"/>
              <a:gd name="connsiteX1" fmla="*/ 1448383 w 2395440"/>
              <a:gd name="connsiteY1" fmla="*/ 272142 h 2634343"/>
              <a:gd name="connsiteX2" fmla="*/ 468669 w 2395440"/>
              <a:gd name="connsiteY2" fmla="*/ 653143 h 2634343"/>
              <a:gd name="connsiteX3" fmla="*/ 33241 w 2395440"/>
              <a:gd name="connsiteY3" fmla="*/ 1143000 h 2634343"/>
              <a:gd name="connsiteX4" fmla="*/ 583 w 2395440"/>
              <a:gd name="connsiteY4" fmla="*/ 2057400 h 2634343"/>
              <a:gd name="connsiteX5" fmla="*/ 11469 w 2395440"/>
              <a:gd name="connsiteY5" fmla="*/ 2634343 h 2634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5440" h="2634343">
                <a:moveTo>
                  <a:pt x="2395440" y="0"/>
                </a:moveTo>
                <a:cubicBezTo>
                  <a:pt x="1992669" y="97971"/>
                  <a:pt x="1769511" y="163285"/>
                  <a:pt x="1448383" y="272142"/>
                </a:cubicBezTo>
                <a:cubicBezTo>
                  <a:pt x="1127255" y="380999"/>
                  <a:pt x="593855" y="571500"/>
                  <a:pt x="468669" y="653143"/>
                </a:cubicBezTo>
                <a:cubicBezTo>
                  <a:pt x="298127" y="778329"/>
                  <a:pt x="67712" y="1061357"/>
                  <a:pt x="33241" y="1143000"/>
                </a:cubicBezTo>
                <a:cubicBezTo>
                  <a:pt x="-1230" y="1224643"/>
                  <a:pt x="4212" y="1808843"/>
                  <a:pt x="583" y="2057400"/>
                </a:cubicBezTo>
                <a:cubicBezTo>
                  <a:pt x="-3046" y="2305957"/>
                  <a:pt x="11469" y="2441994"/>
                  <a:pt x="11469" y="2634343"/>
                </a:cubicBezTo>
              </a:path>
            </a:pathLst>
          </a:custGeom>
          <a:ln>
            <a:headEnd type="triangl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sv-SE"/>
          </a:p>
        </p:txBody>
      </p:sp>
      <p:sp>
        <p:nvSpPr>
          <p:cNvPr id="38" name="Rectangular Callout 104">
            <a:extLst>
              <a:ext uri="{FF2B5EF4-FFF2-40B4-BE49-F238E27FC236}">
                <a16:creationId xmlns:a16="http://schemas.microsoft.com/office/drawing/2014/main" id="{857D2126-ABB9-48AF-A83A-88CD6DC92CB6}"/>
              </a:ext>
            </a:extLst>
          </p:cNvPr>
          <p:cNvSpPr/>
          <p:nvPr/>
        </p:nvSpPr>
        <p:spPr bwMode="auto">
          <a:xfrm>
            <a:off x="2364326" y="2978162"/>
            <a:ext cx="3232841" cy="830997"/>
          </a:xfrm>
          <a:prstGeom prst="wedgeRectCallout">
            <a:avLst>
              <a:gd name="adj1" fmla="val -67248"/>
              <a:gd name="adj2" fmla="val -20798"/>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sv-SE" sz="1200" b="1">
                <a:solidFill>
                  <a:srgbClr val="00285F"/>
                </a:solidFill>
              </a:rPr>
              <a:t>0) PDN Connection established (PCO)</a:t>
            </a:r>
            <a:endParaRPr lang="sv-SE" sz="1200">
              <a:solidFill>
                <a:srgbClr val="00285F"/>
              </a:solidFill>
            </a:endParaRPr>
          </a:p>
          <a:p>
            <a:pPr marL="171450" indent="-171450">
              <a:spcBef>
                <a:spcPts val="0"/>
              </a:spcBef>
              <a:buFont typeface="Arial" panose="020B0604020202020204" pitchFamily="34" charset="0"/>
              <a:buChar char="•"/>
            </a:pPr>
            <a:r>
              <a:rPr lang="sv-SE" sz="1200">
                <a:solidFill>
                  <a:srgbClr val="00285F"/>
                </a:solidFill>
              </a:rPr>
              <a:t>PDU Session ID to PGW-C</a:t>
            </a:r>
          </a:p>
          <a:p>
            <a:pPr marL="171450" indent="-171450">
              <a:spcBef>
                <a:spcPts val="0"/>
              </a:spcBef>
              <a:buFont typeface="Arial" panose="020B0604020202020204" pitchFamily="34" charset="0"/>
              <a:buChar char="•"/>
            </a:pPr>
            <a:r>
              <a:rPr lang="sv-SE" sz="1200">
                <a:solidFill>
                  <a:srgbClr val="00285F"/>
                </a:solidFill>
              </a:rPr>
              <a:t>S-NSSAI-PLMN-ID to UE</a:t>
            </a:r>
          </a:p>
          <a:p>
            <a:pPr marL="171450" indent="-171450">
              <a:spcBef>
                <a:spcPts val="0"/>
              </a:spcBef>
              <a:buFont typeface="Arial" panose="020B0604020202020204" pitchFamily="34" charset="0"/>
              <a:buChar char="•"/>
            </a:pPr>
            <a:r>
              <a:rPr lang="sv-SE" sz="1200">
                <a:solidFill>
                  <a:srgbClr val="00285F"/>
                </a:solidFill>
              </a:rPr>
              <a:t>SMF/PGW-C assures S-NNSAI subscribed</a:t>
            </a:r>
            <a:endParaRPr lang="en-US" sz="1200">
              <a:solidFill>
                <a:srgbClr val="00285F"/>
              </a:solidFill>
            </a:endParaRPr>
          </a:p>
        </p:txBody>
      </p:sp>
      <p:sp>
        <p:nvSpPr>
          <p:cNvPr id="39" name="Oval 38">
            <a:extLst>
              <a:ext uri="{FF2B5EF4-FFF2-40B4-BE49-F238E27FC236}">
                <a16:creationId xmlns:a16="http://schemas.microsoft.com/office/drawing/2014/main" id="{6DDB74A6-D928-48D0-BA8F-744BFC561204}"/>
              </a:ext>
            </a:extLst>
          </p:cNvPr>
          <p:cNvSpPr/>
          <p:nvPr/>
        </p:nvSpPr>
        <p:spPr bwMode="auto">
          <a:xfrm>
            <a:off x="3065062" y="218295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0</a:t>
            </a:r>
            <a:endParaRPr kumimoji="0" lang="en-US" sz="2000" b="0" i="0" u="none" strike="noStrike" cap="none" normalizeH="0" baseline="0">
              <a:ln>
                <a:noFill/>
              </a:ln>
              <a:solidFill>
                <a:schemeClr val="tx2"/>
              </a:solidFill>
              <a:effectLst/>
              <a:latin typeface="Arial" charset="0"/>
            </a:endParaRPr>
          </a:p>
        </p:txBody>
      </p:sp>
    </p:spTree>
    <p:extLst>
      <p:ext uri="{BB962C8B-B14F-4D97-AF65-F5344CB8AC3E}">
        <p14:creationId xmlns:p14="http://schemas.microsoft.com/office/powerpoint/2010/main" val="325304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35"/>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fade">
                                      <p:cBhvr>
                                        <p:cTn id="24" dur="500"/>
                                        <p:tgtEl>
                                          <p:spTgt spid="70"/>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fade">
                                      <p:cBhvr>
                                        <p:cTn id="33" dur="500"/>
                                        <p:tgtEl>
                                          <p:spTgt spid="4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500"/>
                                        <p:tgtEl>
                                          <p:spTgt spid="71"/>
                                        </p:tgtEl>
                                      </p:cBhvr>
                                    </p:animEffect>
                                  </p:childTnLst>
                                </p:cTn>
                              </p:par>
                              <p:par>
                                <p:cTn id="39" presetID="1" presetClass="entr" presetSubtype="0" fill="hold" grpId="0" nodeType="withEffect">
                                  <p:stCondLst>
                                    <p:cond delay="0"/>
                                  </p:stCondLst>
                                  <p:childTnLst>
                                    <p:set>
                                      <p:cBhvr>
                                        <p:cTn id="40" dur="1" fill="hold">
                                          <p:stCondLst>
                                            <p:cond delay="0"/>
                                          </p:stCondLst>
                                        </p:cTn>
                                        <p:tgtEl>
                                          <p:spTgt spid="8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01"/>
                                        </p:tgtEl>
                                        <p:attrNameLst>
                                          <p:attrName>style.visibility</p:attrName>
                                        </p:attrNameLst>
                                      </p:cBhvr>
                                      <p:to>
                                        <p:strVal val="visible"/>
                                      </p:to>
                                    </p:set>
                                    <p:animEffect transition="in" filter="fade">
                                      <p:cBhvr>
                                        <p:cTn id="47" dur="500"/>
                                        <p:tgtEl>
                                          <p:spTgt spid="101"/>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78"/>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9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03"/>
                                        </p:tgtEl>
                                        <p:attrNameLst>
                                          <p:attrName>style.visibility</p:attrName>
                                        </p:attrNameLst>
                                      </p:cBhvr>
                                      <p:to>
                                        <p:strVal val="visible"/>
                                      </p:to>
                                    </p:set>
                                    <p:animEffect transition="in" filter="fade">
                                      <p:cBhvr>
                                        <p:cTn id="56" dur="500"/>
                                        <p:tgtEl>
                                          <p:spTgt spid="103"/>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7" grpId="0" animBg="1"/>
      <p:bldP spid="78" grpId="0" animBg="1"/>
      <p:bldP spid="79" grpId="0" animBg="1"/>
      <p:bldP spid="81" grpId="0" animBg="1"/>
      <p:bldP spid="101" grpId="0" animBg="1"/>
      <p:bldP spid="103" grpId="0" animBg="1"/>
      <p:bldP spid="47" grpId="0" animBg="1"/>
      <p:bldP spid="35" grpId="0" animBg="1"/>
      <p:bldP spid="37" grpId="0" animBg="1"/>
      <p:bldP spid="9" grpId="0" animBg="1"/>
      <p:bldP spid="38" grpId="0" animBg="1"/>
      <p:bldP spid="39"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2982A893-3C6C-4EF9-B10B-339A62891A60}"/>
              </a:ext>
            </a:extLst>
          </p:cNvPr>
          <p:cNvSpPr txBox="1"/>
          <p:nvPr/>
        </p:nvSpPr>
        <p:spPr bwMode="auto">
          <a:xfrm>
            <a:off x="3414529" y="3534174"/>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M</a:t>
            </a:r>
            <a:r>
              <a:rPr kumimoji="0" lang="en-US" sz="1600" b="0" i="0" u="none" strike="noStrike" kern="1200" cap="none" spc="0" normalizeH="0" baseline="0" noProof="0">
                <a:ln>
                  <a:noFill/>
                </a:ln>
                <a:solidFill>
                  <a:srgbClr val="0082F0"/>
                </a:solidFill>
                <a:effectLst/>
                <a:uLnTx/>
                <a:uFillTx/>
                <a:latin typeface="Ericsson Hilda"/>
                <a:ea typeface="+mn-ea"/>
                <a:cs typeface="+mn-cs"/>
              </a:rPr>
              <a:t>ME</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 name="Title 2">
            <a:extLst>
              <a:ext uri="{FF2B5EF4-FFF2-40B4-BE49-F238E27FC236}">
                <a16:creationId xmlns:a16="http://schemas.microsoft.com/office/drawing/2014/main" id="{79B1F829-6E88-45E3-9593-5E985EA53A35}"/>
              </a:ext>
            </a:extLst>
          </p:cNvPr>
          <p:cNvSpPr>
            <a:spLocks noGrp="1"/>
          </p:cNvSpPr>
          <p:nvPr>
            <p:ph type="title"/>
          </p:nvPr>
        </p:nvSpPr>
        <p:spPr/>
        <p:txBody>
          <a:bodyPr>
            <a:noAutofit/>
          </a:bodyPr>
          <a:lstStyle/>
          <a:p>
            <a:r>
              <a:rPr lang="en-US" sz="3600"/>
              <a:t>Idle mode mobility 5GS to EPS 	</a:t>
            </a:r>
          </a:p>
        </p:txBody>
      </p:sp>
      <p:grpSp>
        <p:nvGrpSpPr>
          <p:cNvPr id="49" name="Group 48">
            <a:extLst>
              <a:ext uri="{FF2B5EF4-FFF2-40B4-BE49-F238E27FC236}">
                <a16:creationId xmlns:a16="http://schemas.microsoft.com/office/drawing/2014/main" id="{77C9D867-16E7-48F6-A52F-E667AEF817BE}"/>
              </a:ext>
            </a:extLst>
          </p:cNvPr>
          <p:cNvGrpSpPr/>
          <p:nvPr/>
        </p:nvGrpSpPr>
        <p:grpSpPr>
          <a:xfrm>
            <a:off x="3272104" y="5263469"/>
            <a:ext cx="992350" cy="1351944"/>
            <a:chOff x="9538020" y="331410"/>
            <a:chExt cx="992350" cy="1351944"/>
          </a:xfrm>
        </p:grpSpPr>
        <p:sp>
          <p:nvSpPr>
            <p:cNvPr id="50" name="Freeform 4">
              <a:extLst>
                <a:ext uri="{FF2B5EF4-FFF2-40B4-BE49-F238E27FC236}">
                  <a16:creationId xmlns:a16="http://schemas.microsoft.com/office/drawing/2014/main" id="{6B0AF121-F054-49DC-B3C1-E7E0FC3C64A9}"/>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Text Box 144">
              <a:extLst>
                <a:ext uri="{FF2B5EF4-FFF2-40B4-BE49-F238E27FC236}">
                  <a16:creationId xmlns:a16="http://schemas.microsoft.com/office/drawing/2014/main" id="{1A9FAFC5-3805-44AC-AD75-09E2C846706E}"/>
                </a:ext>
              </a:extLst>
            </p:cNvPr>
            <p:cNvSpPr txBox="1">
              <a:spLocks noChangeAspect="1" noChangeArrowheads="1"/>
            </p:cNvSpPr>
            <p:nvPr/>
          </p:nvSpPr>
          <p:spPr bwMode="auto">
            <a:xfrm>
              <a:off x="9538020" y="9964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sp>
        <p:nvSpPr>
          <p:cNvPr id="70" name="Rectangular Callout 104">
            <a:extLst>
              <a:ext uri="{FF2B5EF4-FFF2-40B4-BE49-F238E27FC236}">
                <a16:creationId xmlns:a16="http://schemas.microsoft.com/office/drawing/2014/main" id="{AFC8C705-7820-47D7-B800-82A093B59FC4}"/>
              </a:ext>
            </a:extLst>
          </p:cNvPr>
          <p:cNvSpPr/>
          <p:nvPr/>
        </p:nvSpPr>
        <p:spPr bwMode="auto">
          <a:xfrm>
            <a:off x="375606" y="5289127"/>
            <a:ext cx="1775323" cy="646331"/>
          </a:xfrm>
          <a:prstGeom prst="wedgeRectCallout">
            <a:avLst>
              <a:gd name="adj1" fmla="val 104219"/>
              <a:gd name="adj2" fmla="val -79081"/>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TAU procedure</a:t>
            </a:r>
          </a:p>
          <a:p>
            <a:pPr>
              <a:spcBef>
                <a:spcPts val="0"/>
              </a:spcBef>
            </a:pPr>
            <a:r>
              <a:rPr lang="en-US" sz="1200">
                <a:solidFill>
                  <a:srgbClr val="00285F"/>
                </a:solidFill>
              </a:rPr>
              <a:t>UE provides  EPS bearer status</a:t>
            </a:r>
          </a:p>
        </p:txBody>
      </p:sp>
      <p:sp>
        <p:nvSpPr>
          <p:cNvPr id="71" name="Rectangular Callout 104">
            <a:extLst>
              <a:ext uri="{FF2B5EF4-FFF2-40B4-BE49-F238E27FC236}">
                <a16:creationId xmlns:a16="http://schemas.microsoft.com/office/drawing/2014/main" id="{D01F7DD4-A01B-48C2-A0E8-48EFDEEEC1EB}"/>
              </a:ext>
            </a:extLst>
          </p:cNvPr>
          <p:cNvSpPr/>
          <p:nvPr/>
        </p:nvSpPr>
        <p:spPr bwMode="auto">
          <a:xfrm>
            <a:off x="4521477" y="4287451"/>
            <a:ext cx="3165544" cy="1015663"/>
          </a:xfrm>
          <a:prstGeom prst="wedgeRectCallout">
            <a:avLst>
              <a:gd name="adj1" fmla="val 48550"/>
              <a:gd name="adj2" fmla="val -72727"/>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UE Context Request procedure. AMF provides:</a:t>
            </a:r>
            <a:br>
              <a:rPr lang="en-US" sz="1200" b="1">
                <a:solidFill>
                  <a:srgbClr val="00285F"/>
                </a:solidFill>
              </a:rPr>
            </a:br>
            <a:r>
              <a:rPr lang="en-US" sz="1200" b="1">
                <a:solidFill>
                  <a:srgbClr val="00285F"/>
                </a:solidFill>
              </a:rPr>
              <a:t>- </a:t>
            </a:r>
            <a:r>
              <a:rPr lang="en-US" sz="1200">
                <a:solidFill>
                  <a:srgbClr val="00285F"/>
                </a:solidFill>
              </a:rPr>
              <a:t>UE Usage type, if available</a:t>
            </a:r>
          </a:p>
          <a:p>
            <a:pPr>
              <a:spcBef>
                <a:spcPts val="0"/>
              </a:spcBef>
            </a:pPr>
            <a:r>
              <a:rPr lang="en-US" sz="1200">
                <a:solidFill>
                  <a:srgbClr val="00285F"/>
                </a:solidFill>
              </a:rPr>
              <a:t>- EPS UE Context, incl. EPS Bearer ID </a:t>
            </a:r>
          </a:p>
          <a:p>
            <a:pPr>
              <a:spcBef>
                <a:spcPts val="0"/>
              </a:spcBef>
            </a:pPr>
            <a:r>
              <a:rPr lang="en-US" sz="1200">
                <a:solidFill>
                  <a:srgbClr val="00285F"/>
                </a:solidFill>
              </a:rPr>
              <a:t>- PDN GW address(es)</a:t>
            </a:r>
          </a:p>
        </p:txBody>
      </p:sp>
      <p:sp>
        <p:nvSpPr>
          <p:cNvPr id="77" name="Oval 76">
            <a:extLst>
              <a:ext uri="{FF2B5EF4-FFF2-40B4-BE49-F238E27FC236}">
                <a16:creationId xmlns:a16="http://schemas.microsoft.com/office/drawing/2014/main" id="{A8047EE4-718E-4E78-815F-DE7D383348E9}"/>
              </a:ext>
            </a:extLst>
          </p:cNvPr>
          <p:cNvSpPr/>
          <p:nvPr/>
        </p:nvSpPr>
        <p:spPr bwMode="auto">
          <a:xfrm>
            <a:off x="3167122" y="473458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2</a:t>
            </a:r>
            <a:endParaRPr kumimoji="0" lang="en-US" sz="2000" b="0" i="0" u="none" strike="noStrike" cap="none" normalizeH="0" baseline="0">
              <a:ln>
                <a:noFill/>
              </a:ln>
              <a:solidFill>
                <a:schemeClr val="tx2"/>
              </a:solidFill>
              <a:effectLst/>
              <a:latin typeface="Arial" charset="0"/>
            </a:endParaRPr>
          </a:p>
        </p:txBody>
      </p:sp>
      <p:sp>
        <p:nvSpPr>
          <p:cNvPr id="78" name="Oval 77">
            <a:extLst>
              <a:ext uri="{FF2B5EF4-FFF2-40B4-BE49-F238E27FC236}">
                <a16:creationId xmlns:a16="http://schemas.microsoft.com/office/drawing/2014/main" id="{9369779A-CD33-43D9-96AA-FA40B5CD37EB}"/>
              </a:ext>
            </a:extLst>
          </p:cNvPr>
          <p:cNvSpPr/>
          <p:nvPr/>
        </p:nvSpPr>
        <p:spPr bwMode="auto">
          <a:xfrm>
            <a:off x="4085139" y="267469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4</a:t>
            </a:r>
            <a:endParaRPr kumimoji="0" lang="en-US" sz="2000" b="0" i="0" u="none" strike="noStrike" cap="none" normalizeH="0" baseline="0">
              <a:ln>
                <a:noFill/>
              </a:ln>
              <a:solidFill>
                <a:schemeClr val="tx2"/>
              </a:solidFill>
              <a:effectLst/>
              <a:latin typeface="Arial" charset="0"/>
            </a:endParaRPr>
          </a:p>
        </p:txBody>
      </p:sp>
      <p:sp>
        <p:nvSpPr>
          <p:cNvPr id="79" name="Oval 78">
            <a:extLst>
              <a:ext uri="{FF2B5EF4-FFF2-40B4-BE49-F238E27FC236}">
                <a16:creationId xmlns:a16="http://schemas.microsoft.com/office/drawing/2014/main" id="{95D0901D-F69E-49C4-B068-1526FC72E9F6}"/>
              </a:ext>
            </a:extLst>
          </p:cNvPr>
          <p:cNvSpPr/>
          <p:nvPr/>
        </p:nvSpPr>
        <p:spPr bwMode="auto">
          <a:xfrm>
            <a:off x="2844398" y="3932581"/>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5</a:t>
            </a:r>
          </a:p>
        </p:txBody>
      </p:sp>
      <p:sp>
        <p:nvSpPr>
          <p:cNvPr id="81" name="Oval 80">
            <a:extLst>
              <a:ext uri="{FF2B5EF4-FFF2-40B4-BE49-F238E27FC236}">
                <a16:creationId xmlns:a16="http://schemas.microsoft.com/office/drawing/2014/main" id="{05DB31E4-99CA-42C5-8845-CD75D26BB2B4}"/>
              </a:ext>
            </a:extLst>
          </p:cNvPr>
          <p:cNvSpPr/>
          <p:nvPr/>
        </p:nvSpPr>
        <p:spPr bwMode="auto">
          <a:xfrm>
            <a:off x="7503023" y="3614867"/>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3</a:t>
            </a:r>
          </a:p>
        </p:txBody>
      </p:sp>
      <p:grpSp>
        <p:nvGrpSpPr>
          <p:cNvPr id="4" name="Group 3">
            <a:extLst>
              <a:ext uri="{FF2B5EF4-FFF2-40B4-BE49-F238E27FC236}">
                <a16:creationId xmlns:a16="http://schemas.microsoft.com/office/drawing/2014/main" id="{5EB85221-B22A-489A-A32C-24496FAC84E4}"/>
              </a:ext>
            </a:extLst>
          </p:cNvPr>
          <p:cNvGrpSpPr/>
          <p:nvPr/>
        </p:nvGrpSpPr>
        <p:grpSpPr>
          <a:xfrm>
            <a:off x="4280450" y="5519073"/>
            <a:ext cx="3881160" cy="490879"/>
            <a:chOff x="4280450" y="5519073"/>
            <a:chExt cx="3881160" cy="490879"/>
          </a:xfrm>
        </p:grpSpPr>
        <p:sp>
          <p:nvSpPr>
            <p:cNvPr id="74" name="TextBox 73">
              <a:extLst>
                <a:ext uri="{FF2B5EF4-FFF2-40B4-BE49-F238E27FC236}">
                  <a16:creationId xmlns:a16="http://schemas.microsoft.com/office/drawing/2014/main" id="{7EA5658F-ABEB-4C7A-AF9F-26F243B73D9B}"/>
                </a:ext>
              </a:extLst>
            </p:cNvPr>
            <p:cNvSpPr txBox="1"/>
            <p:nvPr/>
          </p:nvSpPr>
          <p:spPr>
            <a:xfrm>
              <a:off x="4344741" y="5637418"/>
              <a:ext cx="3816869" cy="307777"/>
            </a:xfrm>
            <a:prstGeom prst="rect">
              <a:avLst/>
            </a:prstGeom>
            <a:noFill/>
          </p:spPr>
          <p:txBody>
            <a:bodyPr wrap="square" rtlCol="0">
              <a:spAutoFit/>
            </a:bodyPr>
            <a:lstStyle/>
            <a:p>
              <a:pPr algn="ctr"/>
              <a:r>
                <a:rPr lang="en-US" sz="1400" b="1">
                  <a:solidFill>
                    <a:srgbClr val="00285F"/>
                  </a:solidFill>
                </a:rPr>
                <a:t>UE moves in Idle mode from 5GS to EPS</a:t>
              </a:r>
            </a:p>
          </p:txBody>
        </p:sp>
        <p:sp>
          <p:nvSpPr>
            <p:cNvPr id="88" name="Arrow: Right 87">
              <a:extLst>
                <a:ext uri="{FF2B5EF4-FFF2-40B4-BE49-F238E27FC236}">
                  <a16:creationId xmlns:a16="http://schemas.microsoft.com/office/drawing/2014/main" id="{4688FC13-06DD-48D9-A1F2-C90A77D702C2}"/>
                </a:ext>
              </a:extLst>
            </p:cNvPr>
            <p:cNvSpPr/>
            <p:nvPr/>
          </p:nvSpPr>
          <p:spPr bwMode="auto">
            <a:xfrm flipH="1">
              <a:off x="4280450" y="5519073"/>
              <a:ext cx="3702197" cy="490879"/>
            </a:xfrm>
            <a:prstGeom prst="rightArrow">
              <a:avLst>
                <a:gd name="adj1" fmla="val 53515"/>
                <a:gd name="adj2" fmla="val 50000"/>
              </a:avLst>
            </a:prstGeom>
            <a:noFill/>
            <a:ln w="1905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89" name="Group 88">
            <a:extLst>
              <a:ext uri="{FF2B5EF4-FFF2-40B4-BE49-F238E27FC236}">
                <a16:creationId xmlns:a16="http://schemas.microsoft.com/office/drawing/2014/main" id="{5E7646AE-6977-4144-AD9A-5AF11613709A}"/>
              </a:ext>
            </a:extLst>
          </p:cNvPr>
          <p:cNvGrpSpPr/>
          <p:nvPr/>
        </p:nvGrpSpPr>
        <p:grpSpPr>
          <a:xfrm>
            <a:off x="8451417" y="5291378"/>
            <a:ext cx="992350" cy="1351944"/>
            <a:chOff x="9538020" y="331410"/>
            <a:chExt cx="992350" cy="1351944"/>
          </a:xfrm>
        </p:grpSpPr>
        <p:sp>
          <p:nvSpPr>
            <p:cNvPr id="90" name="Freeform 4">
              <a:extLst>
                <a:ext uri="{FF2B5EF4-FFF2-40B4-BE49-F238E27FC236}">
                  <a16:creationId xmlns:a16="http://schemas.microsoft.com/office/drawing/2014/main" id="{2D01942B-3EBD-429C-B319-2102B83A42BE}"/>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Text Box 144">
              <a:extLst>
                <a:ext uri="{FF2B5EF4-FFF2-40B4-BE49-F238E27FC236}">
                  <a16:creationId xmlns:a16="http://schemas.microsoft.com/office/drawing/2014/main" id="{D4BC6E06-9CF6-4889-A4A1-6CF42E56A36C}"/>
                </a:ext>
              </a:extLst>
            </p:cNvPr>
            <p:cNvSpPr txBox="1">
              <a:spLocks noChangeAspect="1" noChangeArrowheads="1"/>
            </p:cNvSpPr>
            <p:nvPr/>
          </p:nvSpPr>
          <p:spPr bwMode="auto">
            <a:xfrm>
              <a:off x="9538020" y="99641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cxnSp>
        <p:nvCxnSpPr>
          <p:cNvPr id="94" name="Straight Arrow Connector 93">
            <a:extLst>
              <a:ext uri="{FF2B5EF4-FFF2-40B4-BE49-F238E27FC236}">
                <a16:creationId xmlns:a16="http://schemas.microsoft.com/office/drawing/2014/main" id="{9698372F-EEF7-43F4-997B-41EC91084E81}"/>
              </a:ext>
            </a:extLst>
          </p:cNvPr>
          <p:cNvCxnSpPr>
            <a:cxnSpLocks/>
            <a:endCxn id="53" idx="2"/>
          </p:cNvCxnSpPr>
          <p:nvPr/>
        </p:nvCxnSpPr>
        <p:spPr bwMode="auto">
          <a:xfrm flipV="1">
            <a:off x="3749834" y="4603039"/>
            <a:ext cx="0" cy="660430"/>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7" name="Straight Arrow Connector 96">
            <a:extLst>
              <a:ext uri="{FF2B5EF4-FFF2-40B4-BE49-F238E27FC236}">
                <a16:creationId xmlns:a16="http://schemas.microsoft.com/office/drawing/2014/main" id="{2E75B193-5A8F-48D4-B8E1-5C933BAEA034}"/>
              </a:ext>
            </a:extLst>
          </p:cNvPr>
          <p:cNvCxnSpPr>
            <a:cxnSpLocks/>
          </p:cNvCxnSpPr>
          <p:nvPr/>
        </p:nvCxnSpPr>
        <p:spPr bwMode="auto">
          <a:xfrm flipH="1">
            <a:off x="4202536" y="4051186"/>
            <a:ext cx="4237752" cy="0"/>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9" name="Straight Arrow Connector 98">
            <a:extLst>
              <a:ext uri="{FF2B5EF4-FFF2-40B4-BE49-F238E27FC236}">
                <a16:creationId xmlns:a16="http://schemas.microsoft.com/office/drawing/2014/main" id="{FEBF523B-DD01-466D-9F86-04620D8CB8CD}"/>
              </a:ext>
            </a:extLst>
          </p:cNvPr>
          <p:cNvCxnSpPr>
            <a:cxnSpLocks/>
          </p:cNvCxnSpPr>
          <p:nvPr/>
        </p:nvCxnSpPr>
        <p:spPr bwMode="auto">
          <a:xfrm flipV="1">
            <a:off x="3935969" y="2529680"/>
            <a:ext cx="2053699" cy="899322"/>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101" name="Rectangular Callout 104">
            <a:extLst>
              <a:ext uri="{FF2B5EF4-FFF2-40B4-BE49-F238E27FC236}">
                <a16:creationId xmlns:a16="http://schemas.microsoft.com/office/drawing/2014/main" id="{16474AC1-84A4-4D17-A139-30F7D9C12A61}"/>
              </a:ext>
            </a:extLst>
          </p:cNvPr>
          <p:cNvSpPr/>
          <p:nvPr/>
        </p:nvSpPr>
        <p:spPr bwMode="auto">
          <a:xfrm>
            <a:off x="2680657" y="1614469"/>
            <a:ext cx="3043758" cy="600164"/>
          </a:xfrm>
          <a:prstGeom prst="wedgeRectCallout">
            <a:avLst>
              <a:gd name="adj1" fmla="val 3376"/>
              <a:gd name="adj2" fmla="val 110917"/>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100" b="1">
                <a:solidFill>
                  <a:srgbClr val="00285F"/>
                </a:solidFill>
              </a:rPr>
              <a:t>Create session request procedure</a:t>
            </a:r>
          </a:p>
          <a:p>
            <a:pPr marL="171450" indent="-171450">
              <a:spcBef>
                <a:spcPts val="0"/>
              </a:spcBef>
              <a:buFont typeface="Arial" panose="020B0604020202020204" pitchFamily="34" charset="0"/>
              <a:buChar char="•"/>
            </a:pPr>
            <a:r>
              <a:rPr lang="en-US" sz="1100">
                <a:solidFill>
                  <a:srgbClr val="00285F"/>
                </a:solidFill>
              </a:rPr>
              <a:t>MME provides </a:t>
            </a:r>
            <a:br>
              <a:rPr lang="en-US" sz="1100">
                <a:solidFill>
                  <a:srgbClr val="00285F"/>
                </a:solidFill>
              </a:rPr>
            </a:br>
            <a:r>
              <a:rPr lang="en-US" sz="1100">
                <a:solidFill>
                  <a:srgbClr val="00285F"/>
                </a:solidFill>
              </a:rPr>
              <a:t>- </a:t>
            </a:r>
            <a:r>
              <a:rPr lang="en-GB" sz="1100">
                <a:solidFill>
                  <a:srgbClr val="00285F"/>
                </a:solidFill>
              </a:rPr>
              <a:t>bearer context </a:t>
            </a:r>
          </a:p>
        </p:txBody>
      </p:sp>
      <p:sp>
        <p:nvSpPr>
          <p:cNvPr id="103" name="Rectangular Callout 104">
            <a:extLst>
              <a:ext uri="{FF2B5EF4-FFF2-40B4-BE49-F238E27FC236}">
                <a16:creationId xmlns:a16="http://schemas.microsoft.com/office/drawing/2014/main" id="{6F9D1ACC-0110-4039-8F33-953315B65756}"/>
              </a:ext>
            </a:extLst>
          </p:cNvPr>
          <p:cNvSpPr/>
          <p:nvPr/>
        </p:nvSpPr>
        <p:spPr bwMode="auto">
          <a:xfrm>
            <a:off x="112119" y="2452033"/>
            <a:ext cx="2740424" cy="1231106"/>
          </a:xfrm>
          <a:prstGeom prst="wedgeRectCallout">
            <a:avLst>
              <a:gd name="adj1" fmla="val 48445"/>
              <a:gd name="adj2" fmla="val 68495"/>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MME stores in </a:t>
            </a:r>
            <a:r>
              <a:rPr lang="en-GB" sz="1200">
                <a:solidFill>
                  <a:srgbClr val="00285F"/>
                </a:solidFill>
              </a:rPr>
              <a:t>the UE context</a:t>
            </a:r>
            <a:br>
              <a:rPr lang="en-GB" sz="1200">
                <a:solidFill>
                  <a:srgbClr val="00285F"/>
                </a:solidFill>
              </a:rPr>
            </a:br>
            <a:r>
              <a:rPr lang="en-GB" sz="1200">
                <a:solidFill>
                  <a:srgbClr val="00285F"/>
                </a:solidFill>
              </a:rPr>
              <a:t>per established PDN Connection</a:t>
            </a:r>
            <a:endParaRPr lang="en-US" sz="1200" b="1">
              <a:solidFill>
                <a:srgbClr val="00285F"/>
              </a:solidFill>
            </a:endParaRPr>
          </a:p>
          <a:p>
            <a:pPr marL="171450" indent="-171450">
              <a:spcBef>
                <a:spcPts val="0"/>
              </a:spcBef>
              <a:buFont typeface="Arial" panose="020B0604020202020204" pitchFamily="34" charset="0"/>
              <a:buChar char="•"/>
            </a:pPr>
            <a:r>
              <a:rPr lang="en-GB" sz="1200">
                <a:solidFill>
                  <a:srgbClr val="00285F"/>
                </a:solidFill>
              </a:rPr>
              <a:t>EPS Bearer Identity of the default bearer</a:t>
            </a:r>
          </a:p>
          <a:p>
            <a:pPr marL="171450" indent="-171450">
              <a:spcBef>
                <a:spcPts val="0"/>
              </a:spcBef>
              <a:buFont typeface="Arial" panose="020B0604020202020204" pitchFamily="34" charset="0"/>
              <a:buChar char="•"/>
            </a:pPr>
            <a:r>
              <a:rPr lang="en-US" sz="1200">
                <a:solidFill>
                  <a:srgbClr val="00285F"/>
                </a:solidFill>
              </a:rPr>
              <a:t>Address of the </a:t>
            </a:r>
            <a:r>
              <a:rPr lang="en-GB" sz="1200">
                <a:solidFill>
                  <a:srgbClr val="00285F"/>
                </a:solidFill>
              </a:rPr>
              <a:t>PGW-C+SMF</a:t>
            </a:r>
            <a:endParaRPr lang="en-US" sz="1200">
              <a:solidFill>
                <a:srgbClr val="00285F"/>
              </a:solidFill>
            </a:endParaRPr>
          </a:p>
          <a:p>
            <a:pPr>
              <a:spcBef>
                <a:spcPts val="0"/>
              </a:spcBef>
            </a:pPr>
            <a:endParaRPr lang="en-US" sz="1400">
              <a:solidFill>
                <a:srgbClr val="00285F"/>
              </a:solidFill>
            </a:endParaRPr>
          </a:p>
        </p:txBody>
      </p:sp>
      <p:sp>
        <p:nvSpPr>
          <p:cNvPr id="48" name="TextBox 47">
            <a:extLst>
              <a:ext uri="{FF2B5EF4-FFF2-40B4-BE49-F238E27FC236}">
                <a16:creationId xmlns:a16="http://schemas.microsoft.com/office/drawing/2014/main" id="{9D2E1C8C-949F-4A68-B6F0-B49987EFEBF3}"/>
              </a:ext>
            </a:extLst>
          </p:cNvPr>
          <p:cNvSpPr txBox="1"/>
          <p:nvPr/>
        </p:nvSpPr>
        <p:spPr bwMode="auto">
          <a:xfrm>
            <a:off x="8591201" y="3603041"/>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52" name="TextBox 51">
            <a:extLst>
              <a:ext uri="{FF2B5EF4-FFF2-40B4-BE49-F238E27FC236}">
                <a16:creationId xmlns:a16="http://schemas.microsoft.com/office/drawing/2014/main" id="{000ECADF-B267-4C00-8743-F12EAB1B82EA}"/>
              </a:ext>
            </a:extLst>
          </p:cNvPr>
          <p:cNvSpPr txBox="1"/>
          <p:nvPr/>
        </p:nvSpPr>
        <p:spPr bwMode="auto">
          <a:xfrm>
            <a:off x="6063348" y="2064323"/>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S</a:t>
            </a:r>
            <a:r>
              <a:rPr kumimoji="0" lang="en-US" sz="1600" b="0" i="0" u="none" strike="noStrike" kern="1200" cap="none" spc="0" normalizeH="0" baseline="0" noProof="0">
                <a:ln>
                  <a:noFill/>
                </a:ln>
                <a:solidFill>
                  <a:srgbClr val="0082F0"/>
                </a:solidFill>
                <a:effectLst/>
                <a:uLnTx/>
                <a:uFillTx/>
                <a:latin typeface="Ericsson Hilda"/>
                <a:ea typeface="+mn-ea"/>
                <a:cs typeface="+mn-cs"/>
              </a:rPr>
              <a:t>MF</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PGW-C</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1" name="Rectangular Callout 104">
            <a:extLst>
              <a:ext uri="{FF2B5EF4-FFF2-40B4-BE49-F238E27FC236}">
                <a16:creationId xmlns:a16="http://schemas.microsoft.com/office/drawing/2014/main" id="{6AFF0EEF-6E4E-4C25-AB98-8F06EB5D63BF}"/>
              </a:ext>
            </a:extLst>
          </p:cNvPr>
          <p:cNvSpPr/>
          <p:nvPr/>
        </p:nvSpPr>
        <p:spPr bwMode="auto">
          <a:xfrm>
            <a:off x="9377545" y="2691454"/>
            <a:ext cx="2591325" cy="1015663"/>
          </a:xfrm>
          <a:prstGeom prst="wedgeRectCallout">
            <a:avLst>
              <a:gd name="adj1" fmla="val -50861"/>
              <a:gd name="adj2" fmla="val 71224"/>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AMF has stored in UE Context </a:t>
            </a:r>
            <a:br>
              <a:rPr lang="en-US" sz="1200" b="1">
                <a:solidFill>
                  <a:srgbClr val="00285F"/>
                </a:solidFill>
              </a:rPr>
            </a:br>
            <a:r>
              <a:rPr lang="en-US" sz="1200">
                <a:solidFill>
                  <a:srgbClr val="00285F"/>
                </a:solidFill>
              </a:rPr>
              <a:t>UE Usage type (if received from UDM) and </a:t>
            </a:r>
            <a:r>
              <a:rPr lang="en-GB" sz="1200">
                <a:solidFill>
                  <a:srgbClr val="00285F"/>
                </a:solidFill>
              </a:rPr>
              <a:t>per PDU Session: PDU Session ID, S-NSSAI, PDN GW address, and EPS Bearer ID</a:t>
            </a:r>
            <a:endParaRPr lang="en-US" sz="1200">
              <a:solidFill>
                <a:srgbClr val="00285F"/>
              </a:solidFill>
            </a:endParaRPr>
          </a:p>
        </p:txBody>
      </p:sp>
      <p:sp>
        <p:nvSpPr>
          <p:cNvPr id="2" name="TextBox 1">
            <a:extLst>
              <a:ext uri="{FF2B5EF4-FFF2-40B4-BE49-F238E27FC236}">
                <a16:creationId xmlns:a16="http://schemas.microsoft.com/office/drawing/2014/main" id="{8C305F58-DFC5-4787-8DF9-5DE1430CC7DB}"/>
              </a:ext>
            </a:extLst>
          </p:cNvPr>
          <p:cNvSpPr txBox="1"/>
          <p:nvPr/>
        </p:nvSpPr>
        <p:spPr bwMode="auto">
          <a:xfrm>
            <a:off x="9480854" y="4786784"/>
            <a:ext cx="2748233" cy="1158411"/>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en-US" sz="1200"/>
              <a:t>Note: 3) PDU Sessions without EPS Bearer ID are released by AMF during idle mobility to EPS.</a:t>
            </a:r>
            <a:endParaRPr lang="en-150" sz="1200" err="1"/>
          </a:p>
        </p:txBody>
      </p:sp>
      <p:sp>
        <p:nvSpPr>
          <p:cNvPr id="39" name="TextBox 38">
            <a:extLst>
              <a:ext uri="{FF2B5EF4-FFF2-40B4-BE49-F238E27FC236}">
                <a16:creationId xmlns:a16="http://schemas.microsoft.com/office/drawing/2014/main" id="{2BC1537B-42D7-4566-B00F-92A78EAA584B}"/>
              </a:ext>
            </a:extLst>
          </p:cNvPr>
          <p:cNvSpPr txBox="1"/>
          <p:nvPr/>
        </p:nvSpPr>
        <p:spPr bwMode="auto">
          <a:xfrm>
            <a:off x="524935" y="674450"/>
            <a:ext cx="5111627" cy="635421"/>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l">
              <a:buClr>
                <a:schemeClr val="tx1"/>
              </a:buClr>
            </a:pPr>
            <a:r>
              <a:rPr lang="en-US" sz="1400"/>
              <a:t>Preconditions</a:t>
            </a:r>
          </a:p>
          <a:p>
            <a:pPr marL="342900" indent="-342900" algn="l">
              <a:buClr>
                <a:schemeClr val="tx1"/>
              </a:buClr>
              <a:buFontTx/>
              <a:buChar char="-"/>
            </a:pPr>
            <a:r>
              <a:rPr lang="en-US" sz="1400"/>
              <a:t>UE attached to 5GC</a:t>
            </a:r>
          </a:p>
          <a:p>
            <a:pPr marL="342900" indent="-342900" algn="l">
              <a:buClr>
                <a:schemeClr val="tx1"/>
              </a:buClr>
              <a:buFontTx/>
              <a:buChar char="-"/>
            </a:pPr>
            <a:r>
              <a:rPr lang="en-US" sz="1400"/>
              <a:t>UE has one or more PDU sessions</a:t>
            </a:r>
          </a:p>
          <a:p>
            <a:pPr algn="l">
              <a:buClr>
                <a:schemeClr val="tx1"/>
              </a:buClr>
            </a:pPr>
            <a:endParaRPr lang="en-150" sz="2000" err="1">
              <a:solidFill>
                <a:schemeClr val="accent1"/>
              </a:solidFill>
            </a:endParaRPr>
          </a:p>
        </p:txBody>
      </p:sp>
      <p:sp>
        <p:nvSpPr>
          <p:cNvPr id="40" name="Oval 39">
            <a:extLst>
              <a:ext uri="{FF2B5EF4-FFF2-40B4-BE49-F238E27FC236}">
                <a16:creationId xmlns:a16="http://schemas.microsoft.com/office/drawing/2014/main" id="{BFCF3E2A-EDC3-4AB2-A226-222144D9A19E}"/>
              </a:ext>
            </a:extLst>
          </p:cNvPr>
          <p:cNvSpPr/>
          <p:nvPr/>
        </p:nvSpPr>
        <p:spPr bwMode="auto">
          <a:xfrm>
            <a:off x="5628598" y="5907965"/>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1</a:t>
            </a:r>
          </a:p>
        </p:txBody>
      </p:sp>
    </p:spTree>
    <p:extLst>
      <p:ext uri="{BB962C8B-B14F-4D97-AF65-F5344CB8AC3E}">
        <p14:creationId xmlns:p14="http://schemas.microsoft.com/office/powerpoint/2010/main" val="1052258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0"/>
                                        </p:tgtEl>
                                        <p:attrNameLst>
                                          <p:attrName>style.visibility</p:attrName>
                                        </p:attrNameLst>
                                      </p:cBhvr>
                                      <p:to>
                                        <p:strVal val="visible"/>
                                      </p:to>
                                    </p:set>
                                    <p:animEffect transition="in" filter="fade">
                                      <p:cBhvr>
                                        <p:cTn id="13" dur="500"/>
                                        <p:tgtEl>
                                          <p:spTgt spid="70"/>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9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01"/>
                                        </p:tgtEl>
                                        <p:attrNameLst>
                                          <p:attrName>style.visibility</p:attrName>
                                        </p:attrNameLst>
                                      </p:cBhvr>
                                      <p:to>
                                        <p:strVal val="visible"/>
                                      </p:to>
                                    </p:set>
                                    <p:animEffect transition="in" filter="fade">
                                      <p:cBhvr>
                                        <p:cTn id="35" dur="500"/>
                                        <p:tgtEl>
                                          <p:spTgt spid="101"/>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78"/>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9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fade">
                                      <p:cBhvr>
                                        <p:cTn id="44" dur="500"/>
                                        <p:tgtEl>
                                          <p:spTgt spid="103"/>
                                        </p:tgtEl>
                                      </p:cBhvr>
                                    </p:animEffect>
                                  </p:childTnLst>
                                </p:cTn>
                              </p:par>
                              <p:par>
                                <p:cTn id="45" presetID="1" presetClass="entr" presetSubtype="0" fill="hold" grpId="0" nodeType="withEffect">
                                  <p:stCondLst>
                                    <p:cond delay="0"/>
                                  </p:stCondLst>
                                  <p:childTnLst>
                                    <p:set>
                                      <p:cBhvr>
                                        <p:cTn id="46"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7" grpId="0" animBg="1"/>
      <p:bldP spid="78" grpId="0" animBg="1"/>
      <p:bldP spid="79" grpId="0" animBg="1"/>
      <p:bldP spid="81" grpId="0" animBg="1"/>
      <p:bldP spid="101" grpId="0" animBg="1"/>
      <p:bldP spid="103" grpId="0" animBg="1"/>
      <p:bldP spid="2" grpId="0"/>
      <p:bldP spid="40"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2982A893-3C6C-4EF9-B10B-339A62891A60}"/>
              </a:ext>
            </a:extLst>
          </p:cNvPr>
          <p:cNvSpPr txBox="1"/>
          <p:nvPr/>
        </p:nvSpPr>
        <p:spPr bwMode="auto">
          <a:xfrm>
            <a:off x="3287383" y="2751035"/>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M</a:t>
            </a:r>
            <a:r>
              <a:rPr kumimoji="0" lang="en-US" sz="1600" b="0" i="0" u="none" strike="noStrike" kern="1200" cap="none" spc="0" normalizeH="0" baseline="0" noProof="0">
                <a:ln>
                  <a:noFill/>
                </a:ln>
                <a:solidFill>
                  <a:srgbClr val="0082F0"/>
                </a:solidFill>
                <a:effectLst/>
                <a:uLnTx/>
                <a:uFillTx/>
                <a:latin typeface="Ericsson Hilda"/>
                <a:ea typeface="+mn-ea"/>
                <a:cs typeface="+mn-cs"/>
              </a:rPr>
              <a:t>ME</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 name="Title 2">
            <a:extLst>
              <a:ext uri="{FF2B5EF4-FFF2-40B4-BE49-F238E27FC236}">
                <a16:creationId xmlns:a16="http://schemas.microsoft.com/office/drawing/2014/main" id="{79B1F829-6E88-45E3-9593-5E985EA53A35}"/>
              </a:ext>
            </a:extLst>
          </p:cNvPr>
          <p:cNvSpPr>
            <a:spLocks noGrp="1"/>
          </p:cNvSpPr>
          <p:nvPr>
            <p:ph type="title"/>
          </p:nvPr>
        </p:nvSpPr>
        <p:spPr/>
        <p:txBody>
          <a:bodyPr>
            <a:noAutofit/>
          </a:bodyPr>
          <a:lstStyle/>
          <a:p>
            <a:r>
              <a:rPr lang="en-US" sz="3600"/>
              <a:t>Connected mode mobility 5GS to EPS</a:t>
            </a:r>
            <a:br>
              <a:rPr lang="en-US" sz="3600"/>
            </a:br>
            <a:r>
              <a:rPr lang="en-US" sz="2800"/>
              <a:t>Simplified</a:t>
            </a:r>
            <a:r>
              <a:rPr lang="en-US" sz="3600"/>
              <a:t> 	</a:t>
            </a:r>
          </a:p>
        </p:txBody>
      </p:sp>
      <p:grpSp>
        <p:nvGrpSpPr>
          <p:cNvPr id="49" name="Group 48">
            <a:extLst>
              <a:ext uri="{FF2B5EF4-FFF2-40B4-BE49-F238E27FC236}">
                <a16:creationId xmlns:a16="http://schemas.microsoft.com/office/drawing/2014/main" id="{77C9D867-16E7-48F6-A52F-E667AEF817BE}"/>
              </a:ext>
            </a:extLst>
          </p:cNvPr>
          <p:cNvGrpSpPr/>
          <p:nvPr/>
        </p:nvGrpSpPr>
        <p:grpSpPr>
          <a:xfrm>
            <a:off x="3101522" y="5632020"/>
            <a:ext cx="992350" cy="1213715"/>
            <a:chOff x="9527387" y="331410"/>
            <a:chExt cx="992350" cy="1213715"/>
          </a:xfrm>
        </p:grpSpPr>
        <p:sp>
          <p:nvSpPr>
            <p:cNvPr id="50" name="Freeform 4">
              <a:extLst>
                <a:ext uri="{FF2B5EF4-FFF2-40B4-BE49-F238E27FC236}">
                  <a16:creationId xmlns:a16="http://schemas.microsoft.com/office/drawing/2014/main" id="{6B0AF121-F054-49DC-B3C1-E7E0FC3C64A9}"/>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Text Box 144">
              <a:extLst>
                <a:ext uri="{FF2B5EF4-FFF2-40B4-BE49-F238E27FC236}">
                  <a16:creationId xmlns:a16="http://schemas.microsoft.com/office/drawing/2014/main" id="{1A9FAFC5-3805-44AC-AD75-09E2C846706E}"/>
                </a:ext>
              </a:extLst>
            </p:cNvPr>
            <p:cNvSpPr txBox="1">
              <a:spLocks noChangeAspect="1" noChangeArrowheads="1"/>
            </p:cNvSpPr>
            <p:nvPr/>
          </p:nvSpPr>
          <p:spPr bwMode="auto">
            <a:xfrm>
              <a:off x="9527387" y="858183"/>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sp>
        <p:nvSpPr>
          <p:cNvPr id="70" name="Rectangular Callout 104">
            <a:extLst>
              <a:ext uri="{FF2B5EF4-FFF2-40B4-BE49-F238E27FC236}">
                <a16:creationId xmlns:a16="http://schemas.microsoft.com/office/drawing/2014/main" id="{AFC8C705-7820-47D7-B800-82A093B59FC4}"/>
              </a:ext>
            </a:extLst>
          </p:cNvPr>
          <p:cNvSpPr/>
          <p:nvPr/>
        </p:nvSpPr>
        <p:spPr bwMode="auto">
          <a:xfrm>
            <a:off x="375606" y="5289127"/>
            <a:ext cx="1775323" cy="646331"/>
          </a:xfrm>
          <a:prstGeom prst="wedgeRectCallout">
            <a:avLst>
              <a:gd name="adj1" fmla="val 97393"/>
              <a:gd name="adj2" fmla="val -34808"/>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Handover Complete followed by TAU procedure</a:t>
            </a:r>
          </a:p>
        </p:txBody>
      </p:sp>
      <p:sp>
        <p:nvSpPr>
          <p:cNvPr id="71" name="Rectangular Callout 104">
            <a:extLst>
              <a:ext uri="{FF2B5EF4-FFF2-40B4-BE49-F238E27FC236}">
                <a16:creationId xmlns:a16="http://schemas.microsoft.com/office/drawing/2014/main" id="{D01F7DD4-A01B-48C2-A0E8-48EFDEEEC1EB}"/>
              </a:ext>
            </a:extLst>
          </p:cNvPr>
          <p:cNvSpPr/>
          <p:nvPr/>
        </p:nvSpPr>
        <p:spPr bwMode="auto">
          <a:xfrm>
            <a:off x="4654777" y="4086636"/>
            <a:ext cx="3165544" cy="1015663"/>
          </a:xfrm>
          <a:prstGeom prst="wedgeRectCallout">
            <a:avLst>
              <a:gd name="adj1" fmla="val 7135"/>
              <a:gd name="adj2" fmla="val -80263"/>
            </a:avLst>
          </a:prstGeom>
          <a:solidFill>
            <a:schemeClr val="bg1"/>
          </a:solid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Forward Relocation Request procedure. AMF provides:</a:t>
            </a:r>
            <a:br>
              <a:rPr lang="en-US" sz="1200" b="1">
                <a:solidFill>
                  <a:srgbClr val="00285F"/>
                </a:solidFill>
              </a:rPr>
            </a:br>
            <a:r>
              <a:rPr lang="en-US" sz="1200" b="1">
                <a:solidFill>
                  <a:srgbClr val="00285F"/>
                </a:solidFill>
              </a:rPr>
              <a:t>- </a:t>
            </a:r>
            <a:r>
              <a:rPr lang="en-US" sz="1200">
                <a:solidFill>
                  <a:srgbClr val="00285F"/>
                </a:solidFill>
              </a:rPr>
              <a:t>UE Usage type, if available</a:t>
            </a:r>
          </a:p>
          <a:p>
            <a:pPr>
              <a:spcBef>
                <a:spcPts val="0"/>
              </a:spcBef>
            </a:pPr>
            <a:r>
              <a:rPr lang="en-US" sz="1200">
                <a:solidFill>
                  <a:srgbClr val="00285F"/>
                </a:solidFill>
              </a:rPr>
              <a:t>- EPS UE Context, incl. EPS Bearer ID </a:t>
            </a:r>
          </a:p>
          <a:p>
            <a:pPr>
              <a:spcBef>
                <a:spcPts val="0"/>
              </a:spcBef>
            </a:pPr>
            <a:r>
              <a:rPr lang="en-US" sz="1200">
                <a:solidFill>
                  <a:srgbClr val="00285F"/>
                </a:solidFill>
              </a:rPr>
              <a:t>- PDN GW address(es)</a:t>
            </a:r>
            <a:endParaRPr lang="en-US" sz="1400">
              <a:solidFill>
                <a:srgbClr val="00285F"/>
              </a:solidFill>
            </a:endParaRPr>
          </a:p>
        </p:txBody>
      </p:sp>
      <p:sp>
        <p:nvSpPr>
          <p:cNvPr id="77" name="Oval 76">
            <a:extLst>
              <a:ext uri="{FF2B5EF4-FFF2-40B4-BE49-F238E27FC236}">
                <a16:creationId xmlns:a16="http://schemas.microsoft.com/office/drawing/2014/main" id="{A8047EE4-718E-4E78-815F-DE7D383348E9}"/>
              </a:ext>
            </a:extLst>
          </p:cNvPr>
          <p:cNvSpPr/>
          <p:nvPr/>
        </p:nvSpPr>
        <p:spPr bwMode="auto">
          <a:xfrm>
            <a:off x="3002588" y="3863476"/>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4</a:t>
            </a:r>
            <a:endParaRPr kumimoji="0" lang="en-US" sz="2000" b="0" i="0" u="none" strike="noStrike" cap="none" normalizeH="0" baseline="0">
              <a:ln>
                <a:noFill/>
              </a:ln>
              <a:solidFill>
                <a:schemeClr val="tx2"/>
              </a:solidFill>
              <a:effectLst/>
              <a:latin typeface="Arial" charset="0"/>
            </a:endParaRPr>
          </a:p>
        </p:txBody>
      </p:sp>
      <p:sp>
        <p:nvSpPr>
          <p:cNvPr id="81" name="Oval 80">
            <a:extLst>
              <a:ext uri="{FF2B5EF4-FFF2-40B4-BE49-F238E27FC236}">
                <a16:creationId xmlns:a16="http://schemas.microsoft.com/office/drawing/2014/main" id="{05DB31E4-99CA-42C5-8845-CD75D26BB2B4}"/>
              </a:ext>
            </a:extLst>
          </p:cNvPr>
          <p:cNvSpPr/>
          <p:nvPr/>
        </p:nvSpPr>
        <p:spPr bwMode="auto">
          <a:xfrm>
            <a:off x="8419413" y="3780486"/>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1</a:t>
            </a:r>
          </a:p>
        </p:txBody>
      </p:sp>
      <p:grpSp>
        <p:nvGrpSpPr>
          <p:cNvPr id="2" name="Group 1">
            <a:extLst>
              <a:ext uri="{FF2B5EF4-FFF2-40B4-BE49-F238E27FC236}">
                <a16:creationId xmlns:a16="http://schemas.microsoft.com/office/drawing/2014/main" id="{58489D36-09D5-4EBA-9965-3187E887CA19}"/>
              </a:ext>
            </a:extLst>
          </p:cNvPr>
          <p:cNvGrpSpPr/>
          <p:nvPr/>
        </p:nvGrpSpPr>
        <p:grpSpPr>
          <a:xfrm>
            <a:off x="4079473" y="6025849"/>
            <a:ext cx="4082138" cy="490879"/>
            <a:chOff x="4079473" y="6025849"/>
            <a:chExt cx="4082138" cy="490879"/>
          </a:xfrm>
        </p:grpSpPr>
        <p:sp>
          <p:nvSpPr>
            <p:cNvPr id="74" name="TextBox 73">
              <a:extLst>
                <a:ext uri="{FF2B5EF4-FFF2-40B4-BE49-F238E27FC236}">
                  <a16:creationId xmlns:a16="http://schemas.microsoft.com/office/drawing/2014/main" id="{7EA5658F-ABEB-4C7A-AF9F-26F243B73D9B}"/>
                </a:ext>
              </a:extLst>
            </p:cNvPr>
            <p:cNvSpPr txBox="1"/>
            <p:nvPr/>
          </p:nvSpPr>
          <p:spPr>
            <a:xfrm>
              <a:off x="4079473" y="6144194"/>
              <a:ext cx="4082138" cy="307777"/>
            </a:xfrm>
            <a:prstGeom prst="rect">
              <a:avLst/>
            </a:prstGeom>
            <a:noFill/>
          </p:spPr>
          <p:txBody>
            <a:bodyPr wrap="square" rtlCol="0">
              <a:spAutoFit/>
            </a:bodyPr>
            <a:lstStyle/>
            <a:p>
              <a:pPr algn="ctr"/>
              <a:r>
                <a:rPr lang="en-US" sz="1400" b="1">
                  <a:solidFill>
                    <a:srgbClr val="00285F"/>
                  </a:solidFill>
                </a:rPr>
                <a:t>6) UE moves from 5GS to EPS</a:t>
              </a:r>
            </a:p>
          </p:txBody>
        </p:sp>
        <p:sp>
          <p:nvSpPr>
            <p:cNvPr id="88" name="Arrow: Right 87">
              <a:extLst>
                <a:ext uri="{FF2B5EF4-FFF2-40B4-BE49-F238E27FC236}">
                  <a16:creationId xmlns:a16="http://schemas.microsoft.com/office/drawing/2014/main" id="{4688FC13-06DD-48D9-A1F2-C90A77D702C2}"/>
                </a:ext>
              </a:extLst>
            </p:cNvPr>
            <p:cNvSpPr/>
            <p:nvPr/>
          </p:nvSpPr>
          <p:spPr bwMode="auto">
            <a:xfrm flipH="1">
              <a:off x="4280450" y="6025849"/>
              <a:ext cx="3702197" cy="490879"/>
            </a:xfrm>
            <a:prstGeom prst="rightArrow">
              <a:avLst>
                <a:gd name="adj1" fmla="val 53515"/>
                <a:gd name="adj2" fmla="val 50000"/>
              </a:avLst>
            </a:prstGeom>
            <a:noFill/>
            <a:ln w="1905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89" name="Group 88">
            <a:extLst>
              <a:ext uri="{FF2B5EF4-FFF2-40B4-BE49-F238E27FC236}">
                <a16:creationId xmlns:a16="http://schemas.microsoft.com/office/drawing/2014/main" id="{5E7646AE-6977-4144-AD9A-5AF11613709A}"/>
              </a:ext>
            </a:extLst>
          </p:cNvPr>
          <p:cNvGrpSpPr/>
          <p:nvPr/>
        </p:nvGrpSpPr>
        <p:grpSpPr>
          <a:xfrm>
            <a:off x="8366616" y="5628763"/>
            <a:ext cx="992350" cy="1202373"/>
            <a:chOff x="9538020" y="331410"/>
            <a:chExt cx="992350" cy="1202373"/>
          </a:xfrm>
        </p:grpSpPr>
        <p:sp>
          <p:nvSpPr>
            <p:cNvPr id="90" name="Freeform 4">
              <a:extLst>
                <a:ext uri="{FF2B5EF4-FFF2-40B4-BE49-F238E27FC236}">
                  <a16:creationId xmlns:a16="http://schemas.microsoft.com/office/drawing/2014/main" id="{2D01942B-3EBD-429C-B319-2102B83A42BE}"/>
                </a:ext>
              </a:extLst>
            </p:cNvPr>
            <p:cNvSpPr>
              <a:spLocks noChangeAspect="1" noEditPoints="1"/>
            </p:cNvSpPr>
            <p:nvPr/>
          </p:nvSpPr>
          <p:spPr bwMode="auto">
            <a:xfrm>
              <a:off x="9780989" y="33141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Text Box 144">
              <a:extLst>
                <a:ext uri="{FF2B5EF4-FFF2-40B4-BE49-F238E27FC236}">
                  <a16:creationId xmlns:a16="http://schemas.microsoft.com/office/drawing/2014/main" id="{D4BC6E06-9CF6-4889-A4A1-6CF42E56A36C}"/>
                </a:ext>
              </a:extLst>
            </p:cNvPr>
            <p:cNvSpPr txBox="1">
              <a:spLocks noChangeAspect="1" noChangeArrowheads="1"/>
            </p:cNvSpPr>
            <p:nvPr/>
          </p:nvSpPr>
          <p:spPr bwMode="auto">
            <a:xfrm>
              <a:off x="9538020" y="846841"/>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UE</a:t>
              </a:r>
            </a:p>
          </p:txBody>
        </p:sp>
      </p:grpSp>
      <p:cxnSp>
        <p:nvCxnSpPr>
          <p:cNvPr id="94" name="Straight Arrow Connector 93">
            <a:extLst>
              <a:ext uri="{FF2B5EF4-FFF2-40B4-BE49-F238E27FC236}">
                <a16:creationId xmlns:a16="http://schemas.microsoft.com/office/drawing/2014/main" id="{9698372F-EEF7-43F4-997B-41EC91084E81}"/>
              </a:ext>
            </a:extLst>
          </p:cNvPr>
          <p:cNvCxnSpPr>
            <a:cxnSpLocks/>
            <a:stCxn id="36" idx="0"/>
            <a:endCxn id="53" idx="2"/>
          </p:cNvCxnSpPr>
          <p:nvPr/>
        </p:nvCxnSpPr>
        <p:spPr bwMode="auto">
          <a:xfrm flipV="1">
            <a:off x="3618589" y="3819900"/>
            <a:ext cx="4099" cy="390723"/>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7" name="Straight Arrow Connector 96">
            <a:extLst>
              <a:ext uri="{FF2B5EF4-FFF2-40B4-BE49-F238E27FC236}">
                <a16:creationId xmlns:a16="http://schemas.microsoft.com/office/drawing/2014/main" id="{2E75B193-5A8F-48D4-B8E1-5C933BAEA034}"/>
              </a:ext>
            </a:extLst>
          </p:cNvPr>
          <p:cNvCxnSpPr>
            <a:cxnSpLocks/>
            <a:stCxn id="48" idx="1"/>
            <a:endCxn id="53" idx="3"/>
          </p:cNvCxnSpPr>
          <p:nvPr/>
        </p:nvCxnSpPr>
        <p:spPr bwMode="auto">
          <a:xfrm flipH="1">
            <a:off x="3957993" y="3270496"/>
            <a:ext cx="4574274" cy="14972"/>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99" name="Straight Arrow Connector 98">
            <a:extLst>
              <a:ext uri="{FF2B5EF4-FFF2-40B4-BE49-F238E27FC236}">
                <a16:creationId xmlns:a16="http://schemas.microsoft.com/office/drawing/2014/main" id="{FEBF523B-DD01-466D-9F86-04620D8CB8CD}"/>
              </a:ext>
            </a:extLst>
          </p:cNvPr>
          <p:cNvCxnSpPr>
            <a:cxnSpLocks/>
            <a:stCxn id="53" idx="0"/>
            <a:endCxn id="52" idx="1"/>
          </p:cNvCxnSpPr>
          <p:nvPr/>
        </p:nvCxnSpPr>
        <p:spPr bwMode="auto">
          <a:xfrm flipV="1">
            <a:off x="3622688" y="1901125"/>
            <a:ext cx="2137250" cy="849910"/>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103" name="Rectangular Callout 104">
            <a:extLst>
              <a:ext uri="{FF2B5EF4-FFF2-40B4-BE49-F238E27FC236}">
                <a16:creationId xmlns:a16="http://schemas.microsoft.com/office/drawing/2014/main" id="{6F9D1ACC-0110-4039-8F33-953315B65756}"/>
              </a:ext>
            </a:extLst>
          </p:cNvPr>
          <p:cNvSpPr/>
          <p:nvPr/>
        </p:nvSpPr>
        <p:spPr bwMode="auto">
          <a:xfrm>
            <a:off x="211654" y="1530231"/>
            <a:ext cx="2740424" cy="1046440"/>
          </a:xfrm>
          <a:prstGeom prst="wedgeRectCallout">
            <a:avLst>
              <a:gd name="adj1" fmla="val 50385"/>
              <a:gd name="adj2" fmla="val 99993"/>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r>
              <a:rPr lang="en-US" sz="1400" b="1">
                <a:solidFill>
                  <a:srgbClr val="00285F"/>
                </a:solidFill>
              </a:rPr>
              <a:t> </a:t>
            </a:r>
            <a:r>
              <a:rPr lang="en-US" sz="1200" b="1">
                <a:solidFill>
                  <a:srgbClr val="00285F"/>
                </a:solidFill>
              </a:rPr>
              <a:t>If DECOR is used, t</a:t>
            </a:r>
            <a:r>
              <a:rPr lang="en-US" sz="1200"/>
              <a:t>he initially selected MME may select a different target MME by invoking redirection. Requires TAU from the UE after being forced to Idle mode.</a:t>
            </a:r>
          </a:p>
        </p:txBody>
      </p:sp>
      <p:sp>
        <p:nvSpPr>
          <p:cNvPr id="48" name="TextBox 47">
            <a:extLst>
              <a:ext uri="{FF2B5EF4-FFF2-40B4-BE49-F238E27FC236}">
                <a16:creationId xmlns:a16="http://schemas.microsoft.com/office/drawing/2014/main" id="{9D2E1C8C-949F-4A68-B6F0-B49987EFEBF3}"/>
              </a:ext>
            </a:extLst>
          </p:cNvPr>
          <p:cNvSpPr txBox="1"/>
          <p:nvPr/>
        </p:nvSpPr>
        <p:spPr bwMode="auto">
          <a:xfrm>
            <a:off x="8532267" y="2736063"/>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1600" b="0" i="0" u="none" strike="noStrike" kern="1200" cap="none" spc="0" normalizeH="0" baseline="0" noProof="0">
                <a:ln>
                  <a:noFill/>
                </a:ln>
                <a:solidFill>
                  <a:srgbClr val="0082F0"/>
                </a:solidFill>
                <a:effectLst/>
                <a:uLnTx/>
                <a:uFillTx/>
                <a:latin typeface="Ericsson Hilda"/>
                <a:ea typeface="+mn-ea"/>
                <a:cs typeface="+mn-cs"/>
              </a:rPr>
              <a:t>AMF</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52" name="TextBox 51">
            <a:extLst>
              <a:ext uri="{FF2B5EF4-FFF2-40B4-BE49-F238E27FC236}">
                <a16:creationId xmlns:a16="http://schemas.microsoft.com/office/drawing/2014/main" id="{000ECADF-B267-4C00-8743-F12EAB1B82EA}"/>
              </a:ext>
            </a:extLst>
          </p:cNvPr>
          <p:cNvSpPr txBox="1"/>
          <p:nvPr/>
        </p:nvSpPr>
        <p:spPr bwMode="auto">
          <a:xfrm>
            <a:off x="5759938" y="1366692"/>
            <a:ext cx="670610" cy="1068865"/>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kumimoji="0" lang="en-US" sz="24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s</a:t>
            </a: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endParaRPr kumimoji="0" lang="en-US" sz="16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90000"/>
              </a:lnSpc>
              <a:spcBef>
                <a:spcPts val="0"/>
              </a:spcBef>
              <a:spcAft>
                <a:spcPts val="0"/>
              </a:spcAft>
              <a:buClr>
                <a:srgbClr val="181818"/>
              </a:buClr>
              <a:buSzTx/>
              <a:buFontTx/>
              <a:buNone/>
              <a:tabLst/>
              <a:defRPr/>
            </a:pPr>
            <a:r>
              <a:rPr lang="en-US" sz="1600">
                <a:solidFill>
                  <a:srgbClr val="0082F0"/>
                </a:solidFill>
                <a:latin typeface="Ericsson Hilda"/>
              </a:rPr>
              <a:t>S</a:t>
            </a:r>
            <a:r>
              <a:rPr kumimoji="0" lang="en-US" sz="1600" b="0" i="0" u="none" strike="noStrike" kern="1200" cap="none" spc="0" normalizeH="0" baseline="0" noProof="0">
                <a:ln>
                  <a:noFill/>
                </a:ln>
                <a:solidFill>
                  <a:srgbClr val="0082F0"/>
                </a:solidFill>
                <a:effectLst/>
                <a:uLnTx/>
                <a:uFillTx/>
                <a:latin typeface="Ericsson Hilda"/>
                <a:ea typeface="+mn-ea"/>
                <a:cs typeface="+mn-cs"/>
              </a:rPr>
              <a:t>MF</a:t>
            </a:r>
            <a:br>
              <a:rPr kumimoji="0" lang="en-US" sz="1600" b="0" i="0" u="none" strike="noStrike" kern="1200" cap="none" spc="0" normalizeH="0" baseline="0" noProof="0">
                <a:ln>
                  <a:noFill/>
                </a:ln>
                <a:solidFill>
                  <a:srgbClr val="0082F0"/>
                </a:solidFill>
                <a:effectLst/>
                <a:uLnTx/>
                <a:uFillTx/>
                <a:latin typeface="Ericsson Hilda"/>
                <a:ea typeface="+mn-ea"/>
                <a:cs typeface="+mn-cs"/>
              </a:rPr>
            </a:br>
            <a:r>
              <a:rPr kumimoji="0" lang="en-US" sz="1600" b="0" i="0" u="none" strike="noStrike" kern="1200" cap="none" spc="0" normalizeH="0" baseline="0" noProof="0">
                <a:ln>
                  <a:noFill/>
                </a:ln>
                <a:solidFill>
                  <a:srgbClr val="0082F0"/>
                </a:solidFill>
                <a:effectLst/>
                <a:uLnTx/>
                <a:uFillTx/>
                <a:latin typeface="Ericsson Hilda"/>
                <a:ea typeface="+mn-ea"/>
                <a:cs typeface="+mn-cs"/>
              </a:rPr>
              <a:t>PGW-C</a:t>
            </a:r>
            <a:br>
              <a:rPr kumimoji="0" lang="en-US" sz="1400" b="0" i="0" u="none" strike="noStrike" kern="1200" cap="none" spc="0" normalizeH="0" baseline="0" noProof="0">
                <a:ln>
                  <a:noFill/>
                </a:ln>
                <a:solidFill>
                  <a:srgbClr val="0082F0"/>
                </a:solidFill>
                <a:effectLst/>
                <a:uLnTx/>
                <a:uFillTx/>
                <a:latin typeface="Ericsson Hilda"/>
                <a:ea typeface="+mn-ea"/>
                <a:cs typeface="+mn-cs"/>
              </a:rPr>
            </a:br>
            <a:endParaRPr kumimoji="0" lang="en-US" sz="1400" b="0" i="0" u="none" strike="noStrike" kern="1200" cap="none" spc="0" normalizeH="0" baseline="0" noProof="0">
              <a:ln>
                <a:noFill/>
              </a:ln>
              <a:solidFill>
                <a:srgbClr val="0082F0"/>
              </a:solidFill>
              <a:effectLst/>
              <a:uLnTx/>
              <a:uFillTx/>
              <a:latin typeface="Ericsson Hilda"/>
              <a:ea typeface="+mn-ea"/>
              <a:cs typeface="+mn-cs"/>
            </a:endParaRPr>
          </a:p>
        </p:txBody>
      </p:sp>
      <p:sp>
        <p:nvSpPr>
          <p:cNvPr id="31" name="Rectangular Callout 104">
            <a:extLst>
              <a:ext uri="{FF2B5EF4-FFF2-40B4-BE49-F238E27FC236}">
                <a16:creationId xmlns:a16="http://schemas.microsoft.com/office/drawing/2014/main" id="{6AFF0EEF-6E4E-4C25-AB98-8F06EB5D63BF}"/>
              </a:ext>
            </a:extLst>
          </p:cNvPr>
          <p:cNvSpPr/>
          <p:nvPr/>
        </p:nvSpPr>
        <p:spPr bwMode="auto">
          <a:xfrm>
            <a:off x="9349462" y="2284231"/>
            <a:ext cx="2591325" cy="646331"/>
          </a:xfrm>
          <a:prstGeom prst="wedgeRectCallout">
            <a:avLst>
              <a:gd name="adj1" fmla="val -50861"/>
              <a:gd name="adj2" fmla="val 71224"/>
            </a:avLst>
          </a:prstGeom>
          <a:noFill/>
          <a:ln w="19050" cap="flat" cmpd="sng" algn="ctr">
            <a:solidFill>
              <a:srgbClr val="E3211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spAutoFit/>
          </a:bodyPr>
          <a:lstStyle/>
          <a:p>
            <a:pPr>
              <a:spcBef>
                <a:spcPts val="0"/>
              </a:spcBef>
            </a:pPr>
            <a:r>
              <a:rPr lang="en-US" sz="1200" b="1">
                <a:solidFill>
                  <a:srgbClr val="00285F"/>
                </a:solidFill>
              </a:rPr>
              <a:t>AMF selects MME</a:t>
            </a:r>
            <a:br>
              <a:rPr lang="en-US" sz="1200" b="1">
                <a:solidFill>
                  <a:srgbClr val="00285F"/>
                </a:solidFill>
              </a:rPr>
            </a:br>
            <a:r>
              <a:rPr lang="en-US" sz="1200"/>
              <a:t>based on target location information and possibly the UE Usage Type</a:t>
            </a:r>
            <a:endParaRPr lang="en-US" sz="1200">
              <a:solidFill>
                <a:srgbClr val="00285F"/>
              </a:solidFill>
            </a:endParaRPr>
          </a:p>
        </p:txBody>
      </p:sp>
      <p:cxnSp>
        <p:nvCxnSpPr>
          <p:cNvPr id="29" name="Straight Arrow Connector 28">
            <a:extLst>
              <a:ext uri="{FF2B5EF4-FFF2-40B4-BE49-F238E27FC236}">
                <a16:creationId xmlns:a16="http://schemas.microsoft.com/office/drawing/2014/main" id="{F8BB4FFC-5A97-49A7-910F-B918ADE68AB9}"/>
              </a:ext>
            </a:extLst>
          </p:cNvPr>
          <p:cNvCxnSpPr>
            <a:cxnSpLocks/>
            <a:stCxn id="35" idx="0"/>
            <a:endCxn id="48" idx="2"/>
          </p:cNvCxnSpPr>
          <p:nvPr/>
        </p:nvCxnSpPr>
        <p:spPr bwMode="auto">
          <a:xfrm flipH="1" flipV="1">
            <a:off x="8867572" y="3804928"/>
            <a:ext cx="35570" cy="384291"/>
          </a:xfrm>
          <a:prstGeom prst="straightConnector1">
            <a:avLst/>
          </a:prstGeom>
          <a:noFill/>
          <a:ln w="12700" cap="flat" cmpd="sng" algn="ctr">
            <a:solidFill>
              <a:schemeClr val="tx1"/>
            </a:solidFill>
            <a:prstDash val="solid"/>
            <a:round/>
            <a:headEnd type="triangle" w="med" len="med"/>
            <a:tailEnd type="triangle" w="med" len="med"/>
          </a:ln>
          <a:effectLst/>
        </p:spPr>
      </p:cxnSp>
      <p:sp>
        <p:nvSpPr>
          <p:cNvPr id="33" name="Oval 32">
            <a:extLst>
              <a:ext uri="{FF2B5EF4-FFF2-40B4-BE49-F238E27FC236}">
                <a16:creationId xmlns:a16="http://schemas.microsoft.com/office/drawing/2014/main" id="{F27588AD-673A-48F3-93ED-054FF1DD1CB6}"/>
              </a:ext>
            </a:extLst>
          </p:cNvPr>
          <p:cNvSpPr/>
          <p:nvPr/>
        </p:nvSpPr>
        <p:spPr bwMode="auto">
          <a:xfrm>
            <a:off x="9075772" y="5278650"/>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5</a:t>
            </a:r>
            <a:endParaRPr kumimoji="0" lang="en-US" sz="2000" b="0" i="0" u="none" strike="noStrike" cap="none" normalizeH="0" baseline="0">
              <a:ln>
                <a:noFill/>
              </a:ln>
              <a:solidFill>
                <a:schemeClr val="tx2"/>
              </a:solidFill>
              <a:effectLst/>
              <a:latin typeface="Arial" charset="0"/>
            </a:endParaRPr>
          </a:p>
        </p:txBody>
      </p:sp>
      <p:sp>
        <p:nvSpPr>
          <p:cNvPr id="34" name="Oval 33">
            <a:extLst>
              <a:ext uri="{FF2B5EF4-FFF2-40B4-BE49-F238E27FC236}">
                <a16:creationId xmlns:a16="http://schemas.microsoft.com/office/drawing/2014/main" id="{0D090601-1A1B-4D0C-887C-5965FA3A6F32}"/>
              </a:ext>
            </a:extLst>
          </p:cNvPr>
          <p:cNvSpPr/>
          <p:nvPr/>
        </p:nvSpPr>
        <p:spPr bwMode="auto">
          <a:xfrm>
            <a:off x="3002588" y="5307467"/>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7</a:t>
            </a:r>
          </a:p>
        </p:txBody>
      </p:sp>
      <p:sp>
        <p:nvSpPr>
          <p:cNvPr id="35" name="TextBox 34">
            <a:extLst>
              <a:ext uri="{FF2B5EF4-FFF2-40B4-BE49-F238E27FC236}">
                <a16:creationId xmlns:a16="http://schemas.microsoft.com/office/drawing/2014/main" id="{147F27E6-3779-4C78-9917-3ACF681A34C9}"/>
              </a:ext>
            </a:extLst>
          </p:cNvPr>
          <p:cNvSpPr txBox="1"/>
          <p:nvPr/>
        </p:nvSpPr>
        <p:spPr bwMode="auto">
          <a:xfrm>
            <a:off x="8610781" y="4189219"/>
            <a:ext cx="584721" cy="1080583"/>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NG-</a:t>
            </a:r>
            <a:br>
              <a:rPr kumimoji="0" lang="en-US" sz="1400" b="0" i="0" u="none" strike="noStrike" kern="1200" cap="none" spc="0" normalizeH="0" baseline="0" noProof="0">
                <a:ln>
                  <a:noFill/>
                </a:ln>
                <a:solidFill>
                  <a:srgbClr val="0082F0"/>
                </a:solidFill>
                <a:effectLst/>
                <a:uLnTx/>
                <a:uFillTx/>
                <a:latin typeface="Ericsson Hilda"/>
                <a:ea typeface="+mn-ea"/>
                <a:cs typeface="+mn-cs"/>
              </a:rPr>
            </a:br>
            <a:r>
              <a:rPr kumimoji="0" lang="en-US" sz="1400" b="0" i="0" u="none" strike="noStrike" kern="1200" cap="none" spc="0" normalizeH="0" baseline="0" noProof="0">
                <a:ln>
                  <a:noFill/>
                </a:ln>
                <a:solidFill>
                  <a:srgbClr val="0082F0"/>
                </a:solidFill>
                <a:effectLst/>
                <a:uLnTx/>
                <a:uFillTx/>
                <a:latin typeface="Ericsson Hilda"/>
                <a:ea typeface="+mn-ea"/>
                <a:cs typeface="+mn-cs"/>
              </a:rPr>
              <a:t>RAN</a:t>
            </a:r>
          </a:p>
        </p:txBody>
      </p:sp>
      <p:sp>
        <p:nvSpPr>
          <p:cNvPr id="36" name="TextBox 35">
            <a:extLst>
              <a:ext uri="{FF2B5EF4-FFF2-40B4-BE49-F238E27FC236}">
                <a16:creationId xmlns:a16="http://schemas.microsoft.com/office/drawing/2014/main" id="{CAD98DE2-DB5F-4623-9434-275B5872042C}"/>
              </a:ext>
            </a:extLst>
          </p:cNvPr>
          <p:cNvSpPr txBox="1"/>
          <p:nvPr/>
        </p:nvSpPr>
        <p:spPr bwMode="auto">
          <a:xfrm>
            <a:off x="3326228" y="4210623"/>
            <a:ext cx="584721" cy="1080583"/>
          </a:xfrm>
          <a:prstGeom prst="rect">
            <a:avLst/>
          </a:prstGeom>
          <a:solidFill>
            <a:schemeClr val="bg1"/>
          </a:solidFill>
          <a:ln w="19050">
            <a:solidFill>
              <a:schemeClr val="accent1"/>
            </a:solidFill>
            <a:prstDash val="solid"/>
            <a:miter lim="800000"/>
            <a:headEnd/>
            <a:tailEnd/>
          </a:ln>
        </p:spPr>
        <p:txBody>
          <a:bodyPr vert="horz" wrap="square" lIns="0" tIns="18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2800" b="0" i="0" u="none" strike="noStrike" kern="1200" cap="none" spc="0" normalizeH="0" baseline="0" noProof="0">
                <a:ln>
                  <a:noFill/>
                </a:ln>
                <a:solidFill>
                  <a:srgbClr val="0082F0"/>
                </a:solidFill>
                <a:effectLst/>
                <a:uLnTx/>
                <a:uFillTx/>
                <a:latin typeface="Ericsson Technical Icons" panose="00000500000000000000" pitchFamily="2" charset="0"/>
                <a:ea typeface="+mn-ea"/>
                <a:cs typeface="+mn-cs"/>
              </a:rPr>
              <a:t>B</a:t>
            </a:r>
            <a:endParaRPr kumimoji="0" lang="en-US" sz="2800" b="0" i="0" u="none" strike="noStrike" kern="1200" cap="none" spc="0" normalizeH="0" baseline="0" noProof="0">
              <a:ln>
                <a:noFill/>
              </a:ln>
              <a:solidFill>
                <a:srgbClr val="0082F0"/>
              </a:solidFill>
              <a:effectLst/>
              <a:uLnTx/>
              <a:uFillTx/>
              <a:latin typeface="Ericsson Hilda"/>
              <a:ea typeface="+mn-ea"/>
              <a:cs typeface="+mn-cs"/>
            </a:endParaRPr>
          </a:p>
          <a:p>
            <a:pPr marL="0" marR="0" lvl="0" indent="0" algn="ctr" defTabSz="914400" rtl="0" eaLnBrk="1" fontAlgn="auto" latinLnBrk="0" hangingPunct="1">
              <a:lnSpc>
                <a:spcPct val="100000"/>
              </a:lnSpc>
              <a:spcBef>
                <a:spcPts val="0"/>
              </a:spcBef>
              <a:spcAft>
                <a:spcPts val="0"/>
              </a:spcAft>
              <a:buClr>
                <a:srgbClr val="181818"/>
              </a:buClr>
              <a:buSzTx/>
              <a:buFontTx/>
              <a:buNone/>
              <a:tabLst/>
              <a:defRPr/>
            </a:pPr>
            <a:r>
              <a:rPr kumimoji="0" lang="en-US" sz="1400" b="0" i="0" u="none" strike="noStrike" kern="1200" cap="none" spc="0" normalizeH="0" baseline="0" noProof="0">
                <a:ln>
                  <a:noFill/>
                </a:ln>
                <a:solidFill>
                  <a:srgbClr val="0082F0"/>
                </a:solidFill>
                <a:effectLst/>
                <a:uLnTx/>
                <a:uFillTx/>
                <a:latin typeface="Ericsson Hilda"/>
                <a:ea typeface="+mn-ea"/>
                <a:cs typeface="+mn-cs"/>
              </a:rPr>
              <a:t>E-UTRAN</a:t>
            </a:r>
          </a:p>
        </p:txBody>
      </p:sp>
      <p:sp>
        <p:nvSpPr>
          <p:cNvPr id="45" name="Oval 44">
            <a:extLst>
              <a:ext uri="{FF2B5EF4-FFF2-40B4-BE49-F238E27FC236}">
                <a16:creationId xmlns:a16="http://schemas.microsoft.com/office/drawing/2014/main" id="{985C8926-2F59-40DB-90BB-D4D147898AD4}"/>
              </a:ext>
            </a:extLst>
          </p:cNvPr>
          <p:cNvSpPr/>
          <p:nvPr/>
        </p:nvSpPr>
        <p:spPr bwMode="auto">
          <a:xfrm>
            <a:off x="6095243" y="3322872"/>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3</a:t>
            </a:r>
            <a:endParaRPr kumimoji="0" lang="en-US" sz="2000" b="0" i="0" u="none" strike="noStrike" cap="none" normalizeH="0" baseline="0">
              <a:ln>
                <a:noFill/>
              </a:ln>
              <a:solidFill>
                <a:schemeClr val="tx2"/>
              </a:solidFill>
              <a:effectLst/>
              <a:latin typeface="Arial" charset="0"/>
            </a:endParaRPr>
          </a:p>
        </p:txBody>
      </p:sp>
      <p:cxnSp>
        <p:nvCxnSpPr>
          <p:cNvPr id="54" name="Straight Arrow Connector 53">
            <a:extLst>
              <a:ext uri="{FF2B5EF4-FFF2-40B4-BE49-F238E27FC236}">
                <a16:creationId xmlns:a16="http://schemas.microsoft.com/office/drawing/2014/main" id="{0FA562F4-B6E2-4327-902E-1EF86DB35E9E}"/>
              </a:ext>
            </a:extLst>
          </p:cNvPr>
          <p:cNvCxnSpPr>
            <a:cxnSpLocks/>
            <a:stCxn id="52" idx="3"/>
            <a:endCxn id="48" idx="0"/>
          </p:cNvCxnSpPr>
          <p:nvPr/>
        </p:nvCxnSpPr>
        <p:spPr bwMode="auto">
          <a:xfrm>
            <a:off x="6430548" y="1901125"/>
            <a:ext cx="2437024" cy="834938"/>
          </a:xfrm>
          <a:prstGeom prst="straightConnector1">
            <a:avLst/>
          </a:prstGeom>
          <a:noFill/>
          <a:ln w="12700" cap="flat" cmpd="sng" algn="ctr">
            <a:solidFill>
              <a:schemeClr val="tx1"/>
            </a:solidFill>
            <a:prstDash val="solid"/>
            <a:round/>
            <a:headEnd type="triangle" w="med" len="med"/>
            <a:tailEnd type="triangle" w="med" len="med"/>
          </a:ln>
          <a:effectLst/>
        </p:spPr>
      </p:cxnSp>
      <p:cxnSp>
        <p:nvCxnSpPr>
          <p:cNvPr id="55" name="Straight Arrow Connector 54">
            <a:extLst>
              <a:ext uri="{FF2B5EF4-FFF2-40B4-BE49-F238E27FC236}">
                <a16:creationId xmlns:a16="http://schemas.microsoft.com/office/drawing/2014/main" id="{6DF54489-550F-4E0F-AA52-23CF593FB931}"/>
              </a:ext>
            </a:extLst>
          </p:cNvPr>
          <p:cNvCxnSpPr>
            <a:cxnSpLocks/>
            <a:stCxn id="35" idx="2"/>
          </p:cNvCxnSpPr>
          <p:nvPr/>
        </p:nvCxnSpPr>
        <p:spPr bwMode="auto">
          <a:xfrm flipH="1">
            <a:off x="8901944" y="5269802"/>
            <a:ext cx="1198" cy="365756"/>
          </a:xfrm>
          <a:prstGeom prst="straightConnector1">
            <a:avLst/>
          </a:prstGeom>
          <a:noFill/>
          <a:ln w="12700" cap="flat" cmpd="sng" algn="ctr">
            <a:solidFill>
              <a:schemeClr val="tx1"/>
            </a:solidFill>
            <a:prstDash val="solid"/>
            <a:round/>
            <a:headEnd type="none" w="med" len="med"/>
            <a:tailEnd type="triangle" w="med" len="med"/>
          </a:ln>
          <a:effectLst/>
        </p:spPr>
      </p:cxnSp>
      <p:cxnSp>
        <p:nvCxnSpPr>
          <p:cNvPr id="56" name="Straight Arrow Connector 55">
            <a:extLst>
              <a:ext uri="{FF2B5EF4-FFF2-40B4-BE49-F238E27FC236}">
                <a16:creationId xmlns:a16="http://schemas.microsoft.com/office/drawing/2014/main" id="{6BFF7102-8691-48C4-A7AA-4CB0C9656078}"/>
              </a:ext>
            </a:extLst>
          </p:cNvPr>
          <p:cNvCxnSpPr>
            <a:cxnSpLocks/>
            <a:endCxn id="36" idx="2"/>
          </p:cNvCxnSpPr>
          <p:nvPr/>
        </p:nvCxnSpPr>
        <p:spPr bwMode="auto">
          <a:xfrm flipV="1">
            <a:off x="3618589" y="5291206"/>
            <a:ext cx="0" cy="340814"/>
          </a:xfrm>
          <a:prstGeom prst="straightConnector1">
            <a:avLst/>
          </a:prstGeom>
          <a:noFill/>
          <a:ln w="12700" cap="flat" cmpd="sng" algn="ctr">
            <a:solidFill>
              <a:schemeClr val="tx1"/>
            </a:solidFill>
            <a:prstDash val="solid"/>
            <a:round/>
            <a:headEnd type="none" w="med" len="med"/>
            <a:tailEnd type="triangle" w="med" len="med"/>
          </a:ln>
          <a:effectLst/>
        </p:spPr>
      </p:cxnSp>
      <p:sp>
        <p:nvSpPr>
          <p:cNvPr id="61" name="Oval 60">
            <a:extLst>
              <a:ext uri="{FF2B5EF4-FFF2-40B4-BE49-F238E27FC236}">
                <a16:creationId xmlns:a16="http://schemas.microsoft.com/office/drawing/2014/main" id="{989CDA3B-A88D-4861-8343-A0EFBBFCFEF9}"/>
              </a:ext>
            </a:extLst>
          </p:cNvPr>
          <p:cNvSpPr/>
          <p:nvPr/>
        </p:nvSpPr>
        <p:spPr bwMode="auto">
          <a:xfrm>
            <a:off x="2915826" y="3267517"/>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8</a:t>
            </a:r>
          </a:p>
        </p:txBody>
      </p:sp>
      <p:sp>
        <p:nvSpPr>
          <p:cNvPr id="37" name="Oval 36">
            <a:extLst>
              <a:ext uri="{FF2B5EF4-FFF2-40B4-BE49-F238E27FC236}">
                <a16:creationId xmlns:a16="http://schemas.microsoft.com/office/drawing/2014/main" id="{F85FC429-2C77-497E-A1D4-63C1BC83389E}"/>
              </a:ext>
            </a:extLst>
          </p:cNvPr>
          <p:cNvSpPr/>
          <p:nvPr/>
        </p:nvSpPr>
        <p:spPr bwMode="auto">
          <a:xfrm>
            <a:off x="5575940" y="5670536"/>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2000">
                <a:solidFill>
                  <a:schemeClr val="tx2"/>
                </a:solidFill>
                <a:latin typeface="Arial" charset="0"/>
              </a:rPr>
              <a:t>6</a:t>
            </a:r>
            <a:endParaRPr kumimoji="0" lang="en-US" sz="2000" b="0" i="0" u="none" strike="noStrike" cap="none" normalizeH="0" baseline="0">
              <a:ln>
                <a:noFill/>
              </a:ln>
              <a:solidFill>
                <a:schemeClr val="tx2"/>
              </a:solidFill>
              <a:effectLst/>
              <a:latin typeface="Arial" charset="0"/>
            </a:endParaRPr>
          </a:p>
        </p:txBody>
      </p:sp>
      <p:sp>
        <p:nvSpPr>
          <p:cNvPr id="39" name="Oval 38">
            <a:extLst>
              <a:ext uri="{FF2B5EF4-FFF2-40B4-BE49-F238E27FC236}">
                <a16:creationId xmlns:a16="http://schemas.microsoft.com/office/drawing/2014/main" id="{9F383562-D098-4BCA-A9A8-912A4CCA3639}"/>
              </a:ext>
            </a:extLst>
          </p:cNvPr>
          <p:cNvSpPr/>
          <p:nvPr/>
        </p:nvSpPr>
        <p:spPr bwMode="auto">
          <a:xfrm>
            <a:off x="9259769" y="3489973"/>
            <a:ext cx="367995" cy="391886"/>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a:ln>
                  <a:noFill/>
                </a:ln>
                <a:solidFill>
                  <a:schemeClr val="tx2"/>
                </a:solidFill>
                <a:effectLst/>
                <a:latin typeface="Arial" charset="0"/>
              </a:rPr>
              <a:t>2</a:t>
            </a:r>
          </a:p>
        </p:txBody>
      </p:sp>
    </p:spTree>
    <p:extLst>
      <p:ext uri="{BB962C8B-B14F-4D97-AF65-F5344CB8AC3E}">
        <p14:creationId xmlns:p14="http://schemas.microsoft.com/office/powerpoint/2010/main" val="2659213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103"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VDDpCh_JE2PElwUIFsD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wN4mcNrp0aXAYzjcMMz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SBYCFvLZ0OH.dMBSd_2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NGPXr_.yUSNqHvghLUZ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T1YghVO9UmCHHj66xbf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SZGam7M70.6CKF.tKRg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FNGTLKeESQBbu96Xf_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VJ83skPUEurJcl0UZeo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NP8j0zRp0SaJX8QqM73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nUjIZ_7i0ORHFpoknYJ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YSxrFRgxUuOxjufgAUX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R2ez0wei0ufGn1DkUOp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vCu5f_RnEKaAL1GCGah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rBiTZUfsE6.kFwj4Did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j2FDEGk5EK8gjHbX6W8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J0kURWRJUyifZOEO.nv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A5sYRu3x0KgXDW.4iA8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Vi6snm9m0egh.6xLCOm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tCwUcJprUWEfzJmvBq5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Ra8j0r2FU.LJaNimnsTtw"/>
</p:tagLst>
</file>

<file path=ppt/theme/theme1.xml><?xml version="1.0" encoding="utf-8"?>
<a:theme xmlns:a="http://schemas.openxmlformats.org/drawingml/2006/main" name="6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bwMode="auto">
        <a:noFill/>
        <a:ln w="12700">
          <a:noFill/>
          <a:miter lim="800000"/>
          <a:headEnd/>
          <a:tailEnd/>
        </a:ln>
      </a:spPr>
      <a:bodyPr vert="horz" wrap="square" lIns="72000" tIns="36000" rIns="73152" bIns="36576" numCol="1" rtlCol="0" anchor="t" anchorCtr="0" compatLnSpc="1">
        <a:prstTxWarp prst="textNoShape">
          <a:avLst/>
        </a:prstTxWarp>
        <a:noAutofit/>
      </a:bodyPr>
      <a:lstStyle>
        <a:defPPr marL="344488" indent="-344488" algn="l">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Template2017 - WIP.potx" id="{56BE051D-EBDD-4BF1-9C2A-BB639C0CB390}" vid="{D57F5D35-91CA-47FC-A086-1CC56DBC92AE}"/>
    </a:ext>
  </a:extLst>
</a:theme>
</file>

<file path=ppt/theme/theme2.xml><?xml version="1.0" encoding="utf-8"?>
<a:theme xmlns:a="http://schemas.openxmlformats.org/drawingml/2006/main" name="2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none"/>
        </a:ln>
        <a:effectLst/>
      </a:spPr>
      <a:bodyPr/>
      <a:lstStyle/>
    </a:lnDef>
    <a:txDef>
      <a:spPr bwMode="auto">
        <a:noFill/>
        <a:ln w="9525">
          <a:noFill/>
          <a:miter lim="800000"/>
          <a:headEnd/>
          <a:tailEnd/>
        </a:ln>
      </a:spPr>
      <a:bodyPr vert="horz" wrap="square" lIns="72000" tIns="36000" rIns="0" bIns="0" numCol="1" rtlCol="0" anchor="t" anchorCtr="0" compatLnSpc="1">
        <a:prstTxWarp prst="textNoShape">
          <a:avLst/>
        </a:prstTxWarp>
        <a:spAutoFit/>
      </a:bodyPr>
      <a:lstStyle>
        <a:defPPr marL="344488" indent="-344488">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Template_Early_Adopter_Beta_6.potx" id="{23309F28-07FE-4A4F-B22B-D909528E4804}" vid="{3F95330C-3735-4FC1-A35C-EA324CFEAFA4}"/>
    </a:ext>
  </a:extLst>
</a:theme>
</file>

<file path=ppt/theme/theme3.xml><?xml version="1.0" encoding="utf-8"?>
<a:theme xmlns:a="http://schemas.openxmlformats.org/drawingml/2006/main" name="PPT_Template_Early_Adopter_Beta_6">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none"/>
        </a:ln>
        <a:effectLst/>
      </a:spPr>
      <a:bodyPr/>
      <a:lstStyle/>
    </a:lnDef>
    <a:txDef>
      <a:spPr bwMode="auto">
        <a:noFill/>
        <a:ln w="9525">
          <a:noFill/>
          <a:miter lim="800000"/>
          <a:headEnd/>
          <a:tailEnd/>
        </a:ln>
      </a:spPr>
      <a:bodyPr vert="horz" wrap="square" lIns="72000" tIns="36000" rIns="0" bIns="0" numCol="1" rtlCol="0" anchor="t" anchorCtr="0" compatLnSpc="1">
        <a:prstTxWarp prst="textNoShape">
          <a:avLst/>
        </a:prstTxWarp>
        <a:spAutoFit/>
      </a:bodyPr>
      <a:lstStyle>
        <a:defPPr marL="344488" indent="-344488">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Template_Early_Adopter_Beta_6.potx" id="{23309F28-07FE-4A4F-B22B-D909528E4804}" vid="{3F95330C-3735-4FC1-A35C-EA324CFEAFA4}"/>
    </a:ext>
  </a:extLst>
</a:theme>
</file>

<file path=ppt/theme/theme4.xml><?xml version="1.0" encoding="utf-8"?>
<a:theme xmlns:a="http://schemas.openxmlformats.org/drawingml/2006/main" name="1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noFill/>
          <a:prstDash val="solid"/>
          <a:round/>
          <a:headEnd type="none" w="med" len="med"/>
          <a:tailEnd type="none" w="med" len="med"/>
        </a:ln>
        <a:effectLst/>
      </a:spPr>
      <a:bodyPr rot="0" spcFirstLastPara="0" vertOverflow="overflow" horzOverflow="overflow" vert="horz" wrap="square" lIns="72000" tIns="36000" rIns="0" bIns="0"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3175" cap="flat" cmpd="sng" algn="ctr">
          <a:solidFill>
            <a:schemeClr val="tx1"/>
          </a:solidFill>
          <a:prstDash val="solid"/>
          <a:round/>
          <a:headEnd type="none" w="med" len="med"/>
          <a:tailEnd type="none"/>
        </a:ln>
        <a:effectLst/>
      </a:spPr>
      <a:bodyPr/>
      <a:lstStyle/>
    </a:lnDef>
    <a:txDef>
      <a:spPr bwMode="auto">
        <a:noFill/>
        <a:ln w="3175">
          <a:noFill/>
          <a:miter lim="800000"/>
          <a:headEnd/>
          <a:tailEnd/>
        </a:ln>
      </a:spPr>
      <a:bodyPr vert="horz" wrap="square" lIns="72000" tIns="36000" rIns="0" bIns="0" numCol="1" rtlCol="0" anchor="t" anchorCtr="0" compatLnSpc="1">
        <a:prstTxWarp prst="textNoShape">
          <a:avLst/>
        </a:prstTxWarp>
        <a:spAutoFit/>
      </a:bodyPr>
      <a:lstStyle>
        <a:defPPr marL="344488" indent="-344488" algn="l">
          <a:buClr>
            <a:schemeClr val="tx1"/>
          </a:buClr>
          <a:buFont typeface="Ericsson Hilda Light" panose="00000400000000000000" pitchFamily="2" charset="0"/>
          <a:buChar char="—"/>
          <a:defRPr sz="2000" dirty="0"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Template_Final.potx" id="{5895EA82-5623-48A5-AF7A-206B2E961F86}" vid="{5C32A098-78CA-4FA9-83AE-7ACC71155327}"/>
    </a:ext>
  </a:extLst>
</a:theme>
</file>

<file path=ppt/theme/theme5.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_rels/item4.xml.rels><?xml version="1.0" encoding="UTF-8" standalone="yes"?><Relationships xmlns="http://schemas.openxmlformats.org/package/2006/relationships"><Relationship Id="rId1" Target="itemProps4.xml" Type="http://schemas.openxmlformats.org/officeDocument/2006/relationships/customXmlProps"/></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TaxCatchAll xmlns="d8762117-8292-4133-b1c7-eab5c6487cfd"/>
    <_dlc_DocIdPersistId xmlns="cfd83566-2634-4b69-8fef-1ee66fc49c86" xsi:nil="true"/>
    <TaxKeywordTaxHTField xmlns="d8762117-8292-4133-b1c7-eab5c6487cfd">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43C0C4097A7AC47B7122C741F4813BB" ma:contentTypeVersion="41" ma:contentTypeDescription="Create a new document." ma:contentTypeScope="" ma:versionID="e06dabeb5a732effea08676b55b62067">
  <xsd:schema xmlns:xsd="http://www.w3.org/2001/XMLSchema" xmlns:xs="http://www.w3.org/2001/XMLSchema" xmlns:p="http://schemas.microsoft.com/office/2006/metadata/properties" xmlns:ns2="cfd83566-2634-4b69-8fef-1ee66fc49c86" xmlns:ns3="d8762117-8292-4133-b1c7-eab5c6487cfd" targetNamespace="http://schemas.microsoft.com/office/2006/metadata/properties" ma:root="true" ma:fieldsID="9f3068fb643e67d6d36bf1c5186a026e" ns2:_="" ns3:_="">
    <xsd:import namespace="cfd83566-2634-4b69-8fef-1ee66fc49c86"/>
    <xsd:import namespace="d8762117-8292-4133-b1c7-eab5c6487cfd"/>
    <xsd:element name="properties">
      <xsd:complexType>
        <xsd:sequence>
          <xsd:element name="documentManagement">
            <xsd:complexType>
              <xsd:all>
                <xsd:element ref="ns2:_dlc_DocId" minOccurs="0"/>
                <xsd:element ref="ns2:_dlc_DocIdUrl" minOccurs="0"/>
                <xsd:element ref="ns2:_dlc_DocIdPersistId"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d83566-2634-4b69-8fef-1ee66fc49c8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8762117-8292-4133-b1c7-eab5c6487cfd" elementFormDefault="qualified">
    <xsd:import namespace="http://schemas.microsoft.com/office/2006/documentManagement/types"/>
    <xsd:import namespace="http://schemas.microsoft.com/office/infopath/2007/PartnerControls"/>
    <xsd:element name="TaxKeywordTaxHTField" ma:index="12" nillable="true" ma:taxonomy="true" ma:internalName="TaxKeywordTaxHTField" ma:taxonomyFieldName="TaxKeyword" ma:displayName="Enterprise Keywords" ma:fieldId="{23f27201-bee3-471e-b2e7-b64fd8b7ca38}" ma:taxonomyMulti="true" ma:sspId="c3d31b72-c4b9-4223-ac69-1d9539891dc8" ma:termSetId="00000000-0000-0000-0000-000000000000" ma:anchorId="00000000-0000-0000-0000-000000000000" ma:open="true" ma:isKeyword="true">
      <xsd:complexType>
        <xsd:sequence>
          <xsd:element ref="pc:Terms" minOccurs="0" maxOccurs="1"/>
        </xsd:sequence>
      </xsd:complexType>
    </xsd:element>
    <xsd:element name="TaxCatchAll" ma:index="13" nillable="true" ma:displayName="Taxonomy Catch All Column" ma:description="" ma:hidden="true" ma:list="{10f322f9-7b3f-4761-91b2-cf1056a4c7a3}" ma:internalName="TaxCatchAll" ma:readOnly="false" ma:showField="CatchAllData" ma:web="cfd83566-2634-4b69-8fef-1ee66fc49c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925122-D54F-4404-A0B4-2B17B9AD4BDD}">
  <ds:schemaRefs>
    <ds:schemaRef ds:uri="http://schemas.microsoft.com/sharepoint/events"/>
  </ds:schemaRefs>
</ds:datastoreItem>
</file>

<file path=customXml/itemProps2.xml><?xml version="1.0" encoding="utf-8"?>
<ds:datastoreItem xmlns:ds="http://schemas.openxmlformats.org/officeDocument/2006/customXml" ds:itemID="{6FDDE9F6-44F8-4BDE-A461-85D93293E56A}">
  <ds:schemaRefs>
    <ds:schemaRef ds:uri="http://purl.org/dc/terms/"/>
    <ds:schemaRef ds:uri="cfd83566-2634-4b69-8fef-1ee66fc49c86"/>
    <ds:schemaRef ds:uri="http://schemas.microsoft.com/office/2006/documentManagement/types"/>
    <ds:schemaRef ds:uri="http://schemas.microsoft.com/office/infopath/2007/PartnerControls"/>
    <ds:schemaRef ds:uri="http://purl.org/dc/elements/1.1/"/>
    <ds:schemaRef ds:uri="http://schemas.microsoft.com/office/2006/metadata/properties"/>
    <ds:schemaRef ds:uri="d8762117-8292-4133-b1c7-eab5c6487cfd"/>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BD1FE1D-020E-4134-BD68-8C25DC05D9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d83566-2634-4b69-8fef-1ee66fc49c86"/>
    <ds:schemaRef ds:uri="d8762117-8292-4133-b1c7-eab5c6487c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AF96FFE-C071-4022-B16E-FA689EE4A2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40205</Words>
  <Application>Microsoft Office PowerPoint</Application>
  <PresentationFormat>Widescreen</PresentationFormat>
  <Paragraphs>5693</Paragraphs>
  <Slides>116</Slides>
  <Notes>113</Notes>
  <HiddenSlides>4</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4</vt:i4>
      </vt:variant>
      <vt:variant>
        <vt:lpstr>Slide Titles</vt:lpstr>
      </vt:variant>
      <vt:variant>
        <vt:i4>116</vt:i4>
      </vt:variant>
    </vt:vector>
  </HeadingPairs>
  <TitlesOfParts>
    <vt:vector size="137" baseType="lpstr">
      <vt:lpstr>Ericsson Hilda</vt:lpstr>
      <vt:lpstr>Calibri</vt:lpstr>
      <vt:lpstr>Segoe UI</vt:lpstr>
      <vt:lpstr>Lucida Grande</vt:lpstr>
      <vt:lpstr>Ericsson Hilda Light</vt:lpstr>
      <vt:lpstr>MS Shell Dlg 2</vt:lpstr>
      <vt:lpstr>Times New Roman</vt:lpstr>
      <vt:lpstr>Wingdings</vt:lpstr>
      <vt:lpstr>Ericsson Hilda Regular</vt:lpstr>
      <vt:lpstr>StarSymbol</vt:lpstr>
      <vt:lpstr>Arial</vt:lpstr>
      <vt:lpstr>Ericsson Capital TT</vt:lpstr>
      <vt:lpstr>Ericsson Technical Icons</vt:lpstr>
      <vt:lpstr>6_PresentationTemplate2017</vt:lpstr>
      <vt:lpstr>2_PresentationTemplate2017</vt:lpstr>
      <vt:lpstr>PPT_Template_Early_Adopter_Beta_6</vt:lpstr>
      <vt:lpstr>1_PresentationTemplate2017</vt:lpstr>
      <vt:lpstr>think-cell Slide</vt:lpstr>
      <vt:lpstr>Visio</vt:lpstr>
      <vt:lpstr>Picture</vt:lpstr>
      <vt:lpstr>Visio.Drawing.11</vt:lpstr>
      <vt:lpstr>Ericsson 5G CORE System  5G Core Network deep dive </vt:lpstr>
      <vt:lpstr>About this presentation – slide to be removed</vt:lpstr>
      <vt:lpstr>Outline</vt:lpstr>
      <vt:lpstr>5G core – key concepts</vt:lpstr>
      <vt:lpstr>Overall 5G Core Architecture Strategy   </vt:lpstr>
      <vt:lpstr>Outline</vt:lpstr>
      <vt:lpstr>5GC Network Architecture Key Principles</vt:lpstr>
      <vt:lpstr>5GC system architecture 3GPP TS 23.501 V15.6.0 (2019-06) </vt:lpstr>
      <vt:lpstr>3GPP 5GC architecture Key benefits of 5GC</vt:lpstr>
      <vt:lpstr>5G System architecture Release 15 – simplified view</vt:lpstr>
      <vt:lpstr>5G System architecture Release 15 included 5GC NFs </vt:lpstr>
      <vt:lpstr>5G CORE architecture overview Mapping the EPC functions to new 5G CN functions</vt:lpstr>
      <vt:lpstr>5G CORE architecture Distributed User Plane Function</vt:lpstr>
      <vt:lpstr>5G Core for Non-3GPP access Conceptual architecture</vt:lpstr>
      <vt:lpstr>5G System architecture Release 16 included 5G Core NFs </vt:lpstr>
      <vt:lpstr>5G CORE architecture terminology </vt:lpstr>
      <vt:lpstr>Outline</vt:lpstr>
      <vt:lpstr>Service Based Architecture</vt:lpstr>
      <vt:lpstr>Service framework – Discovery and Selection R16 SCP: Indirect communication and Delegated Discovery</vt:lpstr>
      <vt:lpstr>Service framework – Discovery and Selection SBA service communication option details</vt:lpstr>
      <vt:lpstr>Service framework – Discovery and Selection SBA service communication option details</vt:lpstr>
      <vt:lpstr>Service framework – Discovery and Selection Candidates, Filtering and Selection </vt:lpstr>
      <vt:lpstr>Service framework – NF Set and NF Service sets Introduction of definitions</vt:lpstr>
      <vt:lpstr>Service framework – Rel-16 SCP potential initial use cases</vt:lpstr>
      <vt:lpstr>Service framework Introduction to signaling services beyond discovery and selection</vt:lpstr>
      <vt:lpstr>Service framework - Recommendations </vt:lpstr>
      <vt:lpstr>Outline</vt:lpstr>
      <vt:lpstr>Using Network Slicing to build use-case-specific networks</vt:lpstr>
      <vt:lpstr>Network slicing two perspectives</vt:lpstr>
      <vt:lpstr>Examples of Network Slicing used for different services</vt:lpstr>
      <vt:lpstr>Basic mechanism for steering traffic in the network </vt:lpstr>
      <vt:lpstr>Traffic steering mechanisms in EPS and 5GS</vt:lpstr>
      <vt:lpstr>5GS Network slicing introduction</vt:lpstr>
      <vt:lpstr>5GS Network slicing introduction</vt:lpstr>
      <vt:lpstr>Network Slice selection in 5GS</vt:lpstr>
      <vt:lpstr>Network Slice selection in 5GS</vt:lpstr>
      <vt:lpstr>Network Slicing in 5G – a UE connected to multiple Network Slices</vt:lpstr>
      <vt:lpstr>3GPP S-NSSAI Usage in Network Slicing</vt:lpstr>
      <vt:lpstr>AMF &amp; Slice Selection – with NSSF registration procedure interactions  - non  roaming - redirect</vt:lpstr>
      <vt:lpstr>Enhanced Network Slicing in Rel-16</vt:lpstr>
      <vt:lpstr>Outline</vt:lpstr>
      <vt:lpstr>5GC CP-UP split relation to CUPS</vt:lpstr>
      <vt:lpstr>5GC User plane handling</vt:lpstr>
      <vt:lpstr>5GC Support for Edge Computing</vt:lpstr>
      <vt:lpstr>Application Distribution </vt:lpstr>
      <vt:lpstr>MNO Hosting Models</vt:lpstr>
      <vt:lpstr>The Traffic Routing Challenge </vt:lpstr>
      <vt:lpstr>5GC alternatives for Session anchoring and breakout</vt:lpstr>
      <vt:lpstr>Session Management</vt:lpstr>
      <vt:lpstr>Session Management – I-SMF example use cases (ETSUN)</vt:lpstr>
      <vt:lpstr>Session Management – I-SMF example use cases Inter-region mobility example</vt:lpstr>
      <vt:lpstr>Session Management – I-SMF example use cases Support for architectures also with I-SMF controlling UL-CL/BP, for edge breakout </vt:lpstr>
      <vt:lpstr>Session Management – SMF-UPF cardinality</vt:lpstr>
      <vt:lpstr>Session Management – SMF-UPF cardinality Rel-16 outcome</vt:lpstr>
      <vt:lpstr>5G Mobility Management</vt:lpstr>
      <vt:lpstr>UCMF in RACS enabled deployment</vt:lpstr>
      <vt:lpstr>Signaling flow, RACS  </vt:lpstr>
      <vt:lpstr>5G Quality of Service Overview</vt:lpstr>
      <vt:lpstr>5G Quality of Service Details</vt:lpstr>
      <vt:lpstr>5GC Identity and Access Management Overview</vt:lpstr>
      <vt:lpstr>5GC Identity and Access Management Authentication Architecture overview</vt:lpstr>
      <vt:lpstr>Network slice-specific authentication and authorization</vt:lpstr>
      <vt:lpstr>Subscription Data Management UDM Role </vt:lpstr>
      <vt:lpstr>Subscription Data Management Data storage – UDR</vt:lpstr>
      <vt:lpstr>Subscription Data Management Interworking</vt:lpstr>
      <vt:lpstr>UDICOM (Rel-16) User data interworking, coexistence and migration</vt:lpstr>
      <vt:lpstr>5G Policy Framework Details</vt:lpstr>
      <vt:lpstr>Policy Architecture Details</vt:lpstr>
      <vt:lpstr>5GC Charging related highlights  Supporting new business </vt:lpstr>
      <vt:lpstr>Voice migration to 5GS Introduction</vt:lpstr>
      <vt:lpstr>5G voice architectures in the 5G evolution</vt:lpstr>
      <vt:lpstr>5G voice evolution steps</vt:lpstr>
      <vt:lpstr>Voice with EPS Fallback  (option 2)</vt:lpstr>
      <vt:lpstr>Voice in EN-DC (option 3)</vt:lpstr>
      <vt:lpstr>Voice over NR (option 2)</vt:lpstr>
      <vt:lpstr>Emergency call in the 5GS</vt:lpstr>
      <vt:lpstr>SMS in 5GS</vt:lpstr>
      <vt:lpstr>Enhanced Network Analytics Reference Architecture</vt:lpstr>
      <vt:lpstr>Enhanced Network Analytics General list of analytics IDs</vt:lpstr>
      <vt:lpstr>Enhanced Network Analytics Analytics ID</vt:lpstr>
      <vt:lpstr>Enhanced Network Analytics Discovery and selection</vt:lpstr>
      <vt:lpstr>Enhanced Network Analytics Procedures</vt:lpstr>
      <vt:lpstr>IoT – 5G LAN, NPN and URLLC 5G LAN – Session and UP management</vt:lpstr>
      <vt:lpstr>IoT – 5G LAN, NPN and URLLC  Vertical_LAN - Non-Public Network (NPN), SNPN and PNI NPN deployment scenarios</vt:lpstr>
      <vt:lpstr>IoT – 5G LAN, NPN and URLLC  Private networks – different models serving different needs</vt:lpstr>
      <vt:lpstr>IoT – 5G LAN, NPN and URLLC Time-Critical Communications – Primarily a NR  feature</vt:lpstr>
      <vt:lpstr>IoT – 5G LAN, NPN and URLLC GBR QoS flows for Critical IoT </vt:lpstr>
      <vt:lpstr>IoT – 5G LAN, NPN and URLLC Rel-16 URLLC Solutions for User Plane redundancy</vt:lpstr>
      <vt:lpstr>5G FMC – Basic Fixed Access Model</vt:lpstr>
      <vt:lpstr>Outline</vt:lpstr>
      <vt:lpstr>5GC and EPC interworking variants Multiple deployment alternatives</vt:lpstr>
      <vt:lpstr>5GC and EPC interworking – variants, single vs dual registration UE</vt:lpstr>
      <vt:lpstr>3GPP: EPC-5GC tight interworking + CUPS Supporting voice and data service continuity</vt:lpstr>
      <vt:lpstr>5GC-EPC tight interworking architecture – alt. a User plane path for 5GC capable UEs</vt:lpstr>
      <vt:lpstr>5GC-EPC tight interworking architecture – alt. b User plane path for 5GC capable UEs</vt:lpstr>
      <vt:lpstr>5GC-EPC tight interworking architecture – alt. c User plane path for 5GC capable UEs</vt:lpstr>
      <vt:lpstr>Idle mode mobility EPS to 5GS </vt:lpstr>
      <vt:lpstr>Idle mode mobility 5GS to EPS  </vt:lpstr>
      <vt:lpstr>Connected mode mobility 5GS to EPS Simplified  </vt:lpstr>
      <vt:lpstr>Connected mode mobility EPS to 5GS Simplified  </vt:lpstr>
      <vt:lpstr>Network slicing – mapping of selection parameters Based on 5GC w/ EPC tight interworking</vt:lpstr>
      <vt:lpstr>Supporting 2-5G</vt:lpstr>
      <vt:lpstr>EPC/5GC Interworking for WiFi integration</vt:lpstr>
      <vt:lpstr>High Level Interworking Architecture for ePDG integrated with 5GC </vt:lpstr>
      <vt:lpstr>EPC/5GC Interworking for WiFi integration Recommended evolution path</vt:lpstr>
      <vt:lpstr>Outline</vt:lpstr>
      <vt:lpstr>Rel. 15 EPC for EN-DC (aka NR NSA, Option 3) Functional  architecture – impacted NFs</vt:lpstr>
      <vt:lpstr>5G EPC functions</vt:lpstr>
      <vt:lpstr>5G RAN – 5G EPC option 3/EN-DC</vt:lpstr>
      <vt:lpstr>5G EPC &amp; NSA NR – Options 3, 3a, 3x  3GPP TR 38.801  3GPP TS 37.340</vt:lpstr>
      <vt:lpstr>Interpretation of sub-option mapping From 3GPP TR 38.801 (sub)-options 3/3a/3x to 3GPP TS 37.340 EN-DC bearer types</vt:lpstr>
      <vt:lpstr>Additional clarifications of EN-DC bearer types</vt:lpstr>
      <vt:lpstr>EN-DC impact on 5G EPC</vt:lpstr>
      <vt:lpstr>Network partitioning in EPC based on DECOR</vt:lpstr>
      <vt:lpstr>Network partitioning in EPC based on eDECO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xsi="http://www.w3.org/2001/XMLSchema-instance">
  <dc:creator>ERVGH Göran Hall</dc:creator>
  <dc:description>BICP-16:000214 Uen_x000d_  Rev PN2</dc:description>
  <cp:lastModifiedBy>Stig Puustinen</cp:lastModifiedBy>
  <cp:lastPrinted>2019-06-27T12:06:19Z</cp:lastPrinted>
  <dcterms:modified xsi:type="dcterms:W3CDTF">2020-09-28T14:05:16Z</dcterms:modified>
  <cp:revision>1</cp:revision>
  <dc:subject>The 5G Core Network Deep Dive</dc:subject>
  <dc:title>The 5G Core Network Deep Dive</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1A</vt:lpwstr>
  </property>
  <property fmtid="{D5CDD505-2E9C-101B-9397-08002B2CF9AE}" pid="5" name="EmbeddedFonts">
    <vt:bool>true</vt:bool>
  </property>
  <property fmtid="{D5CDD505-2E9C-101B-9397-08002B2CF9AE}" pid="6" name="PackageNo">
    <vt:lpwstr>LXA 119 603</vt:lpwstr>
  </property>
  <property fmtid="{D5CDD505-2E9C-101B-9397-08002B2CF9AE}" pid="7" name="PackageVersion">
    <vt:lpwstr>R6B</vt:lpwstr>
  </property>
  <property fmtid="{D5CDD505-2E9C-101B-9397-08002B2CF9AE}" pid="8" name="FooterType">
    <vt:lpwstr>PresTemp</vt:lpwstr>
  </property>
  <property fmtid="{D5CDD505-2E9C-101B-9397-08002B2CF9AE}" pid="9" name="UsedFont">
    <vt:lpwstr>Ericsson Capital TT</vt:lpwstr>
  </property>
  <property fmtid="{D5CDD505-2E9C-101B-9397-08002B2CF9AE}" pid="10" name="x">
    <vt:lpwstr>1</vt:lpwstr>
  </property>
  <property fmtid="{D5CDD505-2E9C-101B-9397-08002B2CF9AE}" pid="11" name="White">
    <vt:bool>true</vt:bool>
  </property>
  <property fmtid="{D5CDD505-2E9C-101B-9397-08002B2CF9AE}" pid="12" name="chkMetaData">
    <vt:bool>false</vt:bool>
  </property>
  <property fmtid="{D5CDD505-2E9C-101B-9397-08002B2CF9AE}" pid="13" name="chkTaglines">
    <vt:bool>false</vt:bool>
  </property>
  <property fmtid="{D5CDD505-2E9C-101B-9397-08002B2CF9AE}" pid="14" name="SecurityClass">
    <vt:lpwstr>Ericsson Internal</vt:lpwstr>
  </property>
  <property fmtid="{D5CDD505-2E9C-101B-9397-08002B2CF9AE}" pid="15" name="txtConfLabel">
    <vt:lpwstr>Commercial in confidence</vt:lpwstr>
  </property>
  <property fmtid="{D5CDD505-2E9C-101B-9397-08002B2CF9AE}" pid="16" name="optUseConfClass">
    <vt:bool>false</vt:bool>
  </property>
  <property fmtid="{D5CDD505-2E9C-101B-9397-08002B2CF9AE}" pid="17" name="optUseConfLabel">
    <vt:bool>true</vt:bool>
  </property>
  <property fmtid="{D5CDD505-2E9C-101B-9397-08002B2CF9AE}" pid="18" name="optFooterCVLDocNo">
    <vt:bool>true</vt:bool>
  </property>
  <property fmtid="{D5CDD505-2E9C-101B-9397-08002B2CF9AE}" pid="19" name="optFooterCVLCopyright">
    <vt:bool>false</vt:bool>
  </property>
  <property fmtid="{D5CDD505-2E9C-101B-9397-08002B2CF9AE}" pid="20" name="optEnterText1">
    <vt:bool>false</vt:bool>
  </property>
  <property fmtid="{D5CDD505-2E9C-101B-9397-08002B2CF9AE}" pid="21" name="optFooterCVLConfLabel">
    <vt:bool>true</vt:bool>
  </property>
  <property fmtid="{D5CDD505-2E9C-101B-9397-08002B2CF9AE}" pid="22" name="optEnterText2">
    <vt:bool>false</vt:bool>
  </property>
  <property fmtid="{D5CDD505-2E9C-101B-9397-08002B2CF9AE}" pid="23" name="optFooterCVLTitle">
    <vt:bool>true</vt:bool>
  </property>
  <property fmtid="{D5CDD505-2E9C-101B-9397-08002B2CF9AE}" pid="24" name="optFooterCVLPrep">
    <vt:bool>false</vt:bool>
  </property>
  <property fmtid="{D5CDD505-2E9C-101B-9397-08002B2CF9AE}" pid="25" name="optEnterText3">
    <vt:bool>false</vt:bool>
  </property>
  <property fmtid="{D5CDD505-2E9C-101B-9397-08002B2CF9AE}" pid="26" name="optFooterCVLDate">
    <vt:bool>true</vt:bool>
  </property>
  <property fmtid="{D5CDD505-2E9C-101B-9397-08002B2CF9AE}" pid="27" name="optEnterText4">
    <vt:bool>false</vt:bool>
  </property>
  <property fmtid="{D5CDD505-2E9C-101B-9397-08002B2CF9AE}" pid="28" name="LeftFooterField">
    <vt:lpwstr>BICP-16:000214 Uen, Rev N</vt:lpwstr>
  </property>
  <property fmtid="{D5CDD505-2E9C-101B-9397-08002B2CF9AE}" pid="29" name="MiddleFooterField">
    <vt:lpwstr>Commercial in confidence</vt:lpwstr>
  </property>
  <property fmtid="{D5CDD505-2E9C-101B-9397-08002B2CF9AE}" pid="30" name="RightFooterField">
    <vt:lpwstr>The 5G Core Network Deep Dive</vt:lpwstr>
  </property>
  <property fmtid="{D5CDD505-2E9C-101B-9397-08002B2CF9AE}" pid="31" name="RightFooterField2">
    <vt:lpwstr>2019-10-07</vt:lpwstr>
  </property>
  <property fmtid="{D5CDD505-2E9C-101B-9397-08002B2CF9AE}" pid="32" name="TotalNumb">
    <vt:bool>false</vt:bool>
  </property>
  <property fmtid="{D5CDD505-2E9C-101B-9397-08002B2CF9AE}" pid="33" name="Pages">
    <vt:bool>true</vt:bool>
  </property>
  <property fmtid="{D5CDD505-2E9C-101B-9397-08002B2CF9AE}" pid="34" name="DocumentType2">
    <vt:lpwstr>Presentation2011</vt:lpwstr>
  </property>
  <property fmtid="{D5CDD505-2E9C-101B-9397-08002B2CF9AE}" pid="35" name="TemplateName2">
    <vt:lpwstr>CXC 173 2731/1</vt:lpwstr>
  </property>
  <property fmtid="{D5CDD505-2E9C-101B-9397-08002B2CF9AE}" pid="36" name="TemplateVersion2">
    <vt:lpwstr>R1A</vt:lpwstr>
  </property>
  <property fmtid="{D5CDD505-2E9C-101B-9397-08002B2CF9AE}" pid="37" name="Checked">
    <vt:lpwstr/>
  </property>
  <property fmtid="{D5CDD505-2E9C-101B-9397-08002B2CF9AE}" pid="38" name="Title">
    <vt:lpwstr>The 5G Core Network Deep Dive</vt:lpwstr>
  </property>
  <property fmtid="{D5CDD505-2E9C-101B-9397-08002B2CF9AE}" pid="39" name="Reference">
    <vt:lpwstr/>
  </property>
  <property fmtid="{D5CDD505-2E9C-101B-9397-08002B2CF9AE}" pid="40" name="Keyword">
    <vt:lpwstr/>
  </property>
  <property fmtid="{D5CDD505-2E9C-101B-9397-08002B2CF9AE}" pid="41" name="UpdateProcess">
    <vt:lpwstr>End</vt:lpwstr>
  </property>
  <property fmtid="{D5CDD505-2E9C-101B-9397-08002B2CF9AE}" pid="42" name="ContentTypeId">
    <vt:lpwstr>0x010100043C0C4097A7AC47B7122C741F4813BB</vt:lpwstr>
  </property>
  <property fmtid="{D5CDD505-2E9C-101B-9397-08002B2CF9AE}" pid="43" name="EriCOLLCategory">
    <vt:lpwstr/>
  </property>
  <property fmtid="{D5CDD505-2E9C-101B-9397-08002B2CF9AE}" pid="44" name="TaxKeyword">
    <vt:lpwstr/>
  </property>
  <property fmtid="{D5CDD505-2E9C-101B-9397-08002B2CF9AE}" pid="45" name="EriCOLLCountry">
    <vt:lpwstr/>
  </property>
  <property fmtid="{D5CDD505-2E9C-101B-9397-08002B2CF9AE}" pid="46" name="EriCOLLCompetence">
    <vt:lpwstr/>
  </property>
  <property fmtid="{D5CDD505-2E9C-101B-9397-08002B2CF9AE}" pid="47" name="EriCOLLProcess">
    <vt:lpwstr/>
  </property>
  <property fmtid="{D5CDD505-2E9C-101B-9397-08002B2CF9AE}" pid="48" name="EriCOLLOrganizationUnit">
    <vt:lpwstr/>
  </property>
  <property fmtid="{D5CDD505-2E9C-101B-9397-08002B2CF9AE}" pid="49" name="EriCOLLCustomer">
    <vt:lpwstr/>
  </property>
  <property fmtid="{D5CDD505-2E9C-101B-9397-08002B2CF9AE}" pid="50" name="EriCOLLProducts">
    <vt:lpwstr/>
  </property>
  <property fmtid="{D5CDD505-2E9C-101B-9397-08002B2CF9AE}" pid="51" name="EriCOLLProjects">
    <vt:lpwstr/>
  </property>
  <property fmtid="{D5CDD505-2E9C-101B-9397-08002B2CF9AE}" pid="52" name="DocNo">
    <vt:lpwstr>BICP-16:000214 Uen</vt:lpwstr>
  </property>
  <property fmtid="{D5CDD505-2E9C-101B-9397-08002B2CF9AE}" pid="53" name="Prepared">
    <vt:lpwstr>ERVGH Göran Hall</vt:lpwstr>
  </property>
  <property fmtid="{D5CDD505-2E9C-101B-9397-08002B2CF9AE}" pid="54" name="EriCOLLProjectsTaxHTField0">
    <vt:lpwstr/>
  </property>
  <property fmtid="{D5CDD505-2E9C-101B-9397-08002B2CF9AE}" pid="55" name="EriCOLLCategoryTaxHTField0">
    <vt:lpwstr/>
  </property>
  <property fmtid="{D5CDD505-2E9C-101B-9397-08002B2CF9AE}" pid="56" name="EriCOLLCompetenceTaxHTField0">
    <vt:lpwstr/>
  </property>
  <property fmtid="{D5CDD505-2E9C-101B-9397-08002B2CF9AE}" pid="57" name="EriCOLLOrganizationUnitTaxHTField0">
    <vt:lpwstr/>
  </property>
  <property fmtid="{D5CDD505-2E9C-101B-9397-08002B2CF9AE}" pid="58" name="_dlc_DocIdItemGuid">
    <vt:lpwstr>d27e3613-1330-47f5-946d-fe25fc5b150c</vt:lpwstr>
  </property>
  <property fmtid="{D5CDD505-2E9C-101B-9397-08002B2CF9AE}" pid="59" name="EriCOLLCustomerTaxHTField0">
    <vt:lpwstr/>
  </property>
  <property fmtid="{D5CDD505-2E9C-101B-9397-08002B2CF9AE}" pid="60" name="EriCOLLCountryTaxHTField0">
    <vt:lpwstr/>
  </property>
  <property fmtid="{D5CDD505-2E9C-101B-9397-08002B2CF9AE}" pid="61" name="EriCOLLProcessTaxHTField0">
    <vt:lpwstr/>
  </property>
  <property fmtid="{D5CDD505-2E9C-101B-9397-08002B2CF9AE}" pid="62" name="EriCOLLProductsTaxHTField0">
    <vt:lpwstr/>
  </property>
  <property fmtid="{D5CDD505-2E9C-101B-9397-08002B2CF9AE}" pid="63" name="chkShowAll">
    <vt:bool>false</vt:bool>
  </property>
  <property fmtid="{D5CDD505-2E9C-101B-9397-08002B2CF9AE}" pid="64" name="chkOnlyTitle">
    <vt:bool>false</vt:bool>
  </property>
  <property fmtid="{D5CDD505-2E9C-101B-9397-08002B2CF9AE}" pid="65" name="chkPrep">
    <vt:bool>true</vt:bool>
  </property>
  <property fmtid="{D5CDD505-2E9C-101B-9397-08002B2CF9AE}" pid="66" name="chkAppr">
    <vt:bool>true</vt:bool>
  </property>
  <property fmtid="{D5CDD505-2E9C-101B-9397-08002B2CF9AE}" pid="67" name="chkDocNo">
    <vt:bool>true</vt:bool>
  </property>
  <property fmtid="{D5CDD505-2E9C-101B-9397-08002B2CF9AE}" pid="68" name="chkRev">
    <vt:bool>true</vt:bool>
  </property>
  <property fmtid="{D5CDD505-2E9C-101B-9397-08002B2CF9AE}" pid="69" name="chkTitle">
    <vt:bool>false</vt:bool>
  </property>
  <property fmtid="{D5CDD505-2E9C-101B-9397-08002B2CF9AE}" pid="70" name="chkConf">
    <vt:bool>true</vt:bool>
  </property>
  <property fmtid="{D5CDD505-2E9C-101B-9397-08002B2CF9AE}" pid="71" name="ExtConf">
    <vt:lpwstr/>
  </property>
  <property fmtid="{D5CDD505-2E9C-101B-9397-08002B2CF9AE}" pid="72" name="chkDate">
    <vt:bool>true</vt:bool>
  </property>
  <property fmtid="{D5CDD505-2E9C-101B-9397-08002B2CF9AE}" pid="73" name="chkExtConf">
    <vt:bool>false</vt:bool>
  </property>
  <property fmtid="{D5CDD505-2E9C-101B-9397-08002B2CF9AE}" pid="74" name="BCategory">
    <vt:lpwstr>Research &amp; Development</vt:lpwstr>
  </property>
  <property fmtid="{D5CDD505-2E9C-101B-9397-08002B2CF9AE}" pid="75" name="BSubject">
    <vt:lpwstr>System &amp; Application Software Development</vt:lpwstr>
  </property>
  <property fmtid="{D5CDD505-2E9C-101B-9397-08002B2CF9AE}" pid="76" name="DocType">
    <vt:lpwstr>Presentation</vt:lpwstr>
  </property>
  <property fmtid="{D5CDD505-2E9C-101B-9397-08002B2CF9AE}" pid="77" name="DocName">
    <vt:lpwstr>PRESENTATION MTRL</vt:lpwstr>
  </property>
  <property pid="81" fmtid="{D5CDD505-2E9C-101B-9397-08002B2CF9AE}" name="Date">
    <vt:lpwstr>2020-09-28</vt:lpwstr>
  </property>
  <property pid="84" fmtid="{D5CDD505-2E9C-101B-9397-08002B2CF9AE}" name="ApprovedBy">
    <vt:lpwstr>BDGSGDC [Stig Puustinen]</vt:lpwstr>
  </property>
  <property pid="85" fmtid="{D5CDD505-2E9C-101B-9397-08002B2CF9AE}" name="Revision">
    <vt:lpwstr>T</vt:lpwstr>
  </property>
</Properties>
</file>